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9" r:id="rId5"/>
    <p:sldMasterId id="2147483695" r:id="rId6"/>
    <p:sldMasterId id="2147483709" r:id="rId7"/>
    <p:sldMasterId id="2147483724" r:id="rId8"/>
    <p:sldMasterId id="2147483731" r:id="rId9"/>
  </p:sldMasterIdLst>
  <p:notesMasterIdLst>
    <p:notesMasterId r:id="rId23"/>
  </p:notesMasterIdLst>
  <p:handoutMasterIdLst>
    <p:handoutMasterId r:id="rId24"/>
  </p:handoutMasterIdLst>
  <p:sldIdLst>
    <p:sldId id="461" r:id="rId10"/>
    <p:sldId id="2141411914" r:id="rId11"/>
    <p:sldId id="302" r:id="rId12"/>
    <p:sldId id="333" r:id="rId13"/>
    <p:sldId id="335" r:id="rId14"/>
    <p:sldId id="336" r:id="rId15"/>
    <p:sldId id="337" r:id="rId16"/>
    <p:sldId id="2141411915" r:id="rId17"/>
    <p:sldId id="2141411918" r:id="rId18"/>
    <p:sldId id="2141411919" r:id="rId19"/>
    <p:sldId id="2141411920" r:id="rId20"/>
    <p:sldId id="2141411917" r:id="rId21"/>
    <p:sldId id="2141411916" r:id="rId2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32"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Carol Pandak" initials="CP" lastIdx="6" clrIdx="0">
    <p:extLst>
      <p:ext uri="{19B8F6BF-5375-455C-9EA6-DF929625EA0E}">
        <p15:presenceInfo xmlns:p15="http://schemas.microsoft.com/office/powerpoint/2012/main" userId="S::Carol.Pandak@rotary.org::2da987ac-ff8f-4b06-ba96-60e8a607a61d" providerId="AD"/>
      </p:ext>
    </p:extLst>
  </p:cmAuthor>
  <p:cmAuthor id="3" name="Audrey Carl" initials="AC" lastIdx="3" clrIdx="1">
    <p:extLst>
      <p:ext uri="{19B8F6BF-5375-455C-9EA6-DF929625EA0E}">
        <p15:presenceInfo xmlns:p15="http://schemas.microsoft.com/office/powerpoint/2012/main" userId="S-1-5-21-2052111302-1645522239-682003330-887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A81B"/>
    <a:srgbClr val="000000"/>
    <a:srgbClr val="01B4E7"/>
    <a:srgbClr val="FF7600"/>
    <a:srgbClr val="872175"/>
    <a:srgbClr val="009999"/>
    <a:srgbClr val="17458F"/>
    <a:srgbClr val="D91B5C"/>
    <a:srgbClr val="005DAA"/>
    <a:srgbClr val="1A72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1DFD41-01CF-437E-9B37-42DFDD3D51A3}" v="1" dt="2023-06-28T13:14:48.7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9780" autoAdjust="0"/>
  </p:normalViewPr>
  <p:slideViewPr>
    <p:cSldViewPr snapToGrid="0" showGuides="1">
      <p:cViewPr varScale="1">
        <p:scale>
          <a:sx n="48" d="100"/>
          <a:sy n="48" d="100"/>
        </p:scale>
        <p:origin x="462" y="54"/>
      </p:cViewPr>
      <p:guideLst>
        <p:guide orient="horz" pos="2632"/>
        <p:guide pos="3840"/>
      </p:guideLst>
    </p:cSldViewPr>
  </p:slideViewPr>
  <p:outlineViewPr>
    <p:cViewPr>
      <p:scale>
        <a:sx n="33" d="100"/>
        <a:sy n="33" d="100"/>
      </p:scale>
      <p:origin x="0" y="-416"/>
    </p:cViewPr>
  </p:outlineViewPr>
  <p:notesTextViewPr>
    <p:cViewPr>
      <p:scale>
        <a:sx n="3" d="2"/>
        <a:sy n="3" d="2"/>
      </p:scale>
      <p:origin x="0" y="0"/>
    </p:cViewPr>
  </p:notesTextViewPr>
  <p:sorterViewPr>
    <p:cViewPr>
      <p:scale>
        <a:sx n="100" d="100"/>
        <a:sy n="100" d="100"/>
      </p:scale>
      <p:origin x="0" y="-2740"/>
    </p:cViewPr>
  </p:sorterViewPr>
  <p:notesViewPr>
    <p:cSldViewPr snapToGrid="0">
      <p:cViewPr varScale="1">
        <p:scale>
          <a:sx n="62" d="100"/>
          <a:sy n="62" d="100"/>
        </p:scale>
        <p:origin x="3197"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sha Sargent" userId="1d496c5a-c3ca-486d-ab77-e47fa7c418fe" providerId="ADAL" clId="{741DFD41-01CF-437E-9B37-42DFDD3D51A3}"/>
    <pc:docChg chg="undo custSel modSld">
      <pc:chgData name="Tasha Sargent" userId="1d496c5a-c3ca-486d-ab77-e47fa7c418fe" providerId="ADAL" clId="{741DFD41-01CF-437E-9B37-42DFDD3D51A3}" dt="2023-06-28T13:15:38.697" v="22" actId="20577"/>
      <pc:docMkLst>
        <pc:docMk/>
      </pc:docMkLst>
      <pc:sldChg chg="modSp mod">
        <pc:chgData name="Tasha Sargent" userId="1d496c5a-c3ca-486d-ab77-e47fa7c418fe" providerId="ADAL" clId="{741DFD41-01CF-437E-9B37-42DFDD3D51A3}" dt="2023-06-28T13:13:25.735" v="6" actId="313"/>
        <pc:sldMkLst>
          <pc:docMk/>
          <pc:sldMk cId="2687634733" sldId="335"/>
        </pc:sldMkLst>
        <pc:spChg chg="mod">
          <ac:chgData name="Tasha Sargent" userId="1d496c5a-c3ca-486d-ab77-e47fa7c418fe" providerId="ADAL" clId="{741DFD41-01CF-437E-9B37-42DFDD3D51A3}" dt="2023-06-28T13:13:25.735" v="6" actId="313"/>
          <ac:spMkLst>
            <pc:docMk/>
            <pc:sldMk cId="2687634733" sldId="335"/>
            <ac:spMk id="2" creationId="{00000000-0000-0000-0000-000000000000}"/>
          </ac:spMkLst>
        </pc:spChg>
      </pc:sldChg>
      <pc:sldChg chg="addSp delSp modSp mod modNotesTx">
        <pc:chgData name="Tasha Sargent" userId="1d496c5a-c3ca-486d-ab77-e47fa7c418fe" providerId="ADAL" clId="{741DFD41-01CF-437E-9B37-42DFDD3D51A3}" dt="2023-06-28T13:15:38.697" v="22" actId="20577"/>
        <pc:sldMkLst>
          <pc:docMk/>
          <pc:sldMk cId="3546523628" sldId="461"/>
        </pc:sldMkLst>
        <pc:picChg chg="add del mod">
          <ac:chgData name="Tasha Sargent" userId="1d496c5a-c3ca-486d-ab77-e47fa7c418fe" providerId="ADAL" clId="{741DFD41-01CF-437E-9B37-42DFDD3D51A3}" dt="2023-06-28T13:15:32.841" v="20" actId="478"/>
          <ac:picMkLst>
            <pc:docMk/>
            <pc:sldMk cId="3546523628" sldId="461"/>
            <ac:picMk id="3" creationId="{E24E1D7B-A284-F876-651E-B7C3628E707A}"/>
          </ac:picMkLst>
        </pc:picChg>
        <pc:picChg chg="add del mod">
          <ac:chgData name="Tasha Sargent" userId="1d496c5a-c3ca-486d-ab77-e47fa7c418fe" providerId="ADAL" clId="{741DFD41-01CF-437E-9B37-42DFDD3D51A3}" dt="2023-06-28T13:15:34.751" v="21" actId="478"/>
          <ac:picMkLst>
            <pc:docMk/>
            <pc:sldMk cId="3546523628" sldId="461"/>
            <ac:picMk id="4" creationId="{7D3697C6-D336-3349-3F11-1FBF588C8B1A}"/>
          </ac:picMkLst>
        </pc:picChg>
      </pc:sldChg>
      <pc:sldChg chg="modNotesTx">
        <pc:chgData name="Tasha Sargent" userId="1d496c5a-c3ca-486d-ab77-e47fa7c418fe" providerId="ADAL" clId="{741DFD41-01CF-437E-9B37-42DFDD3D51A3}" dt="2023-06-28T13:12:57.503" v="5" actId="20577"/>
        <pc:sldMkLst>
          <pc:docMk/>
          <pc:sldMk cId="3058790124" sldId="2141411914"/>
        </pc:sldMkLst>
      </pc:sldChg>
      <pc:sldChg chg="delSp modSp mod">
        <pc:chgData name="Tasha Sargent" userId="1d496c5a-c3ca-486d-ab77-e47fa7c418fe" providerId="ADAL" clId="{741DFD41-01CF-437E-9B37-42DFDD3D51A3}" dt="2023-06-28T13:14:03.994" v="7" actId="1076"/>
        <pc:sldMkLst>
          <pc:docMk/>
          <pc:sldMk cId="4136758550" sldId="2141411918"/>
        </pc:sldMkLst>
        <pc:spChg chg="mod">
          <ac:chgData name="Tasha Sargent" userId="1d496c5a-c3ca-486d-ab77-e47fa7c418fe" providerId="ADAL" clId="{741DFD41-01CF-437E-9B37-42DFDD3D51A3}" dt="2023-06-19T16:08:59.945" v="4" actId="14100"/>
          <ac:spMkLst>
            <pc:docMk/>
            <pc:sldMk cId="4136758550" sldId="2141411918"/>
            <ac:spMk id="4" creationId="{00000000-0000-0000-0000-000000000000}"/>
          </ac:spMkLst>
        </pc:spChg>
        <pc:spChg chg="del">
          <ac:chgData name="Tasha Sargent" userId="1d496c5a-c3ca-486d-ab77-e47fa7c418fe" providerId="ADAL" clId="{741DFD41-01CF-437E-9B37-42DFDD3D51A3}" dt="2023-06-19T16:08:54.264" v="2" actId="478"/>
          <ac:spMkLst>
            <pc:docMk/>
            <pc:sldMk cId="4136758550" sldId="2141411918"/>
            <ac:spMk id="5" creationId="{E7EEADFF-C1C9-43A2-9BD6-5851B44B387A}"/>
          </ac:spMkLst>
        </pc:spChg>
        <pc:spChg chg="mod">
          <ac:chgData name="Tasha Sargent" userId="1d496c5a-c3ca-486d-ab77-e47fa7c418fe" providerId="ADAL" clId="{741DFD41-01CF-437E-9B37-42DFDD3D51A3}" dt="2023-06-28T13:14:03.994" v="7" actId="1076"/>
          <ac:spMkLst>
            <pc:docMk/>
            <pc:sldMk cId="4136758550" sldId="2141411918"/>
            <ac:spMk id="10" creationId="{390FA823-EC3B-4113-85A8-815F44BCC31C}"/>
          </ac:spMkLst>
        </pc:spChg>
      </pc:sldChg>
      <pc:sldChg chg="delSp modSp mod">
        <pc:chgData name="Tasha Sargent" userId="1d496c5a-c3ca-486d-ab77-e47fa7c418fe" providerId="ADAL" clId="{741DFD41-01CF-437E-9B37-42DFDD3D51A3}" dt="2023-06-19T16:08:46.240" v="1" actId="478"/>
        <pc:sldMkLst>
          <pc:docMk/>
          <pc:sldMk cId="1297482847" sldId="2141411920"/>
        </pc:sldMkLst>
        <pc:spChg chg="del mod">
          <ac:chgData name="Tasha Sargent" userId="1d496c5a-c3ca-486d-ab77-e47fa7c418fe" providerId="ADAL" clId="{741DFD41-01CF-437E-9B37-42DFDD3D51A3}" dt="2023-06-19T16:08:46.240" v="1" actId="478"/>
          <ac:spMkLst>
            <pc:docMk/>
            <pc:sldMk cId="1297482847" sldId="2141411920"/>
            <ac:spMk id="11" creationId="{93DBD8BD-174F-47C1-BAFF-3DC650F431A3}"/>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D45AFC-DF74-4ED0-9EE5-884750AA73ED}"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796C83BE-D5F5-4D82-A149-8BE50B879C80}">
      <dgm:prSet/>
      <dgm:spPr/>
      <dgm:t>
        <a:bodyPr/>
        <a:lstStyle/>
        <a:p>
          <a:r>
            <a:rPr lang="en-US" dirty="0"/>
            <a:t>Where the PolioPlus Society idea began?</a:t>
          </a:r>
        </a:p>
      </dgm:t>
    </dgm:pt>
    <dgm:pt modelId="{47E4AF2A-4AA6-4514-8D15-B243935B3DA3}" type="parTrans" cxnId="{4B717F84-BDDD-446F-B629-07ABD1122C02}">
      <dgm:prSet/>
      <dgm:spPr/>
      <dgm:t>
        <a:bodyPr/>
        <a:lstStyle/>
        <a:p>
          <a:endParaRPr lang="en-US"/>
        </a:p>
      </dgm:t>
    </dgm:pt>
    <dgm:pt modelId="{6176E386-96F1-48C1-B385-1BDDE77D45A2}" type="sibTrans" cxnId="{4B717F84-BDDD-446F-B629-07ABD1122C02}">
      <dgm:prSet/>
      <dgm:spPr/>
      <dgm:t>
        <a:bodyPr/>
        <a:lstStyle/>
        <a:p>
          <a:endParaRPr lang="en-US"/>
        </a:p>
      </dgm:t>
    </dgm:pt>
    <dgm:pt modelId="{D8604413-FA33-4D8B-9DE6-FE489123A8BD}">
      <dgm:prSet/>
      <dgm:spPr/>
      <dgm:t>
        <a:bodyPr/>
        <a:lstStyle/>
        <a:p>
          <a:r>
            <a:rPr lang="en-US"/>
            <a:t>Why a Global initiative </a:t>
          </a:r>
        </a:p>
      </dgm:t>
    </dgm:pt>
    <dgm:pt modelId="{12A51925-C340-4682-ADD2-3BCB7D4C022B}" type="parTrans" cxnId="{2273E3A9-1A9A-496A-843F-4EFA790098A9}">
      <dgm:prSet/>
      <dgm:spPr/>
      <dgm:t>
        <a:bodyPr/>
        <a:lstStyle/>
        <a:p>
          <a:endParaRPr lang="en-US"/>
        </a:p>
      </dgm:t>
    </dgm:pt>
    <dgm:pt modelId="{DBE797A8-51CE-4619-AFC1-D9CC9D11C1E1}" type="sibTrans" cxnId="{2273E3A9-1A9A-496A-843F-4EFA790098A9}">
      <dgm:prSet/>
      <dgm:spPr/>
      <dgm:t>
        <a:bodyPr/>
        <a:lstStyle/>
        <a:p>
          <a:endParaRPr lang="en-US"/>
        </a:p>
      </dgm:t>
    </dgm:pt>
    <dgm:pt modelId="{12051D94-3FF2-49E4-AD34-7F8FF6525B74}">
      <dgm:prSet/>
      <dgm:spPr/>
      <dgm:t>
        <a:bodyPr/>
        <a:lstStyle/>
        <a:p>
          <a:r>
            <a:rPr lang="en-US"/>
            <a:t>The Initiative – Grassroots is best</a:t>
          </a:r>
        </a:p>
      </dgm:t>
    </dgm:pt>
    <dgm:pt modelId="{5205CEEC-7EE8-42B1-8B17-255551E51BC0}" type="parTrans" cxnId="{130E1FD6-670E-4478-9411-932D4FCD366E}">
      <dgm:prSet/>
      <dgm:spPr/>
      <dgm:t>
        <a:bodyPr/>
        <a:lstStyle/>
        <a:p>
          <a:endParaRPr lang="en-US"/>
        </a:p>
      </dgm:t>
    </dgm:pt>
    <dgm:pt modelId="{C57785B2-8F23-4116-B903-EFFB8A49C65D}" type="sibTrans" cxnId="{130E1FD6-670E-4478-9411-932D4FCD366E}">
      <dgm:prSet/>
      <dgm:spPr/>
      <dgm:t>
        <a:bodyPr/>
        <a:lstStyle/>
        <a:p>
          <a:endParaRPr lang="en-US"/>
        </a:p>
      </dgm:t>
    </dgm:pt>
    <dgm:pt modelId="{6400E8EE-5035-4A33-BEB7-DE0393862552}">
      <dgm:prSet/>
      <dgm:spPr/>
      <dgm:t>
        <a:bodyPr/>
        <a:lstStyle/>
        <a:p>
          <a:r>
            <a:rPr lang="en-US" dirty="0"/>
            <a:t>District led rather than a trustee-approved program</a:t>
          </a:r>
        </a:p>
      </dgm:t>
    </dgm:pt>
    <dgm:pt modelId="{545A8C83-7238-4022-BD9C-23B542DE9289}" type="parTrans" cxnId="{1E84BD07-E060-4137-9387-A46EE3235ED1}">
      <dgm:prSet/>
      <dgm:spPr/>
      <dgm:t>
        <a:bodyPr/>
        <a:lstStyle/>
        <a:p>
          <a:endParaRPr lang="en-US"/>
        </a:p>
      </dgm:t>
    </dgm:pt>
    <dgm:pt modelId="{E5B665DB-C5C9-44E0-B18D-61AC0C3F880B}" type="sibTrans" cxnId="{1E84BD07-E060-4137-9387-A46EE3235ED1}">
      <dgm:prSet/>
      <dgm:spPr/>
      <dgm:t>
        <a:bodyPr/>
        <a:lstStyle/>
        <a:p>
          <a:endParaRPr lang="en-US"/>
        </a:p>
      </dgm:t>
    </dgm:pt>
    <dgm:pt modelId="{28EE6A6A-B6E9-43FE-9CE3-9829D4A123C6}">
      <dgm:prSet/>
      <dgm:spPr/>
      <dgm:t>
        <a:bodyPr/>
        <a:lstStyle/>
        <a:p>
          <a:r>
            <a:rPr lang="en-US"/>
            <a:t>Rotary Foundation Support</a:t>
          </a:r>
        </a:p>
      </dgm:t>
    </dgm:pt>
    <dgm:pt modelId="{0AB08354-0F45-4058-912A-50BD84F3CC25}" type="parTrans" cxnId="{EBFD0727-A601-49ED-A41F-737CC85A8443}">
      <dgm:prSet/>
      <dgm:spPr/>
      <dgm:t>
        <a:bodyPr/>
        <a:lstStyle/>
        <a:p>
          <a:endParaRPr lang="en-US"/>
        </a:p>
      </dgm:t>
    </dgm:pt>
    <dgm:pt modelId="{7F33571D-EC87-4D9E-B229-E4DC81E40FEA}" type="sibTrans" cxnId="{EBFD0727-A601-49ED-A41F-737CC85A8443}">
      <dgm:prSet/>
      <dgm:spPr/>
      <dgm:t>
        <a:bodyPr/>
        <a:lstStyle/>
        <a:p>
          <a:endParaRPr lang="en-US"/>
        </a:p>
      </dgm:t>
    </dgm:pt>
    <dgm:pt modelId="{71C4C7A0-6666-4447-B720-267C1686BDE2}">
      <dgm:prSet/>
      <dgm:spPr/>
      <dgm:t>
        <a:bodyPr/>
        <a:lstStyle/>
        <a:p>
          <a:r>
            <a:rPr lang="en-US"/>
            <a:t>New and updated reports</a:t>
          </a:r>
        </a:p>
      </dgm:t>
    </dgm:pt>
    <dgm:pt modelId="{2E9177C0-C3F0-46DB-9D3D-5422EA59714F}" type="parTrans" cxnId="{3CEFEB21-7BF3-4DA1-8BA7-E74C27447A4A}">
      <dgm:prSet/>
      <dgm:spPr/>
      <dgm:t>
        <a:bodyPr/>
        <a:lstStyle/>
        <a:p>
          <a:endParaRPr lang="en-US"/>
        </a:p>
      </dgm:t>
    </dgm:pt>
    <dgm:pt modelId="{1963CA7C-1F8E-4FD8-8304-5C52C111B482}" type="sibTrans" cxnId="{3CEFEB21-7BF3-4DA1-8BA7-E74C27447A4A}">
      <dgm:prSet/>
      <dgm:spPr/>
      <dgm:t>
        <a:bodyPr/>
        <a:lstStyle/>
        <a:p>
          <a:endParaRPr lang="en-US"/>
        </a:p>
      </dgm:t>
    </dgm:pt>
    <dgm:pt modelId="{9981E7CE-9FAF-44D9-897F-73936D1DB7EE}">
      <dgm:prSet/>
      <dgm:spPr/>
      <dgm:t>
        <a:bodyPr/>
        <a:lstStyle/>
        <a:p>
          <a:r>
            <a:rPr lang="en-US" dirty="0"/>
            <a:t>Power Point Presentation showing </a:t>
          </a:r>
          <a:r>
            <a:rPr lang="en-US" b="1" dirty="0"/>
            <a:t>Best Practices</a:t>
          </a:r>
        </a:p>
      </dgm:t>
    </dgm:pt>
    <dgm:pt modelId="{5326EE62-4BCD-46E0-88BF-8169C4336E02}" type="parTrans" cxnId="{7BB59767-DF0D-4757-A597-8CE03D84FFBF}">
      <dgm:prSet/>
      <dgm:spPr/>
      <dgm:t>
        <a:bodyPr/>
        <a:lstStyle/>
        <a:p>
          <a:endParaRPr lang="en-US"/>
        </a:p>
      </dgm:t>
    </dgm:pt>
    <dgm:pt modelId="{C5DB194F-B557-49B5-AD78-BC2DF0EFACAA}" type="sibTrans" cxnId="{7BB59767-DF0D-4757-A597-8CE03D84FFBF}">
      <dgm:prSet/>
      <dgm:spPr/>
      <dgm:t>
        <a:bodyPr/>
        <a:lstStyle/>
        <a:p>
          <a:endParaRPr lang="en-US"/>
        </a:p>
      </dgm:t>
    </dgm:pt>
    <dgm:pt modelId="{D9A55E75-AF51-4287-BB64-CBCC5C8F0FAE}">
      <dgm:prSet/>
      <dgm:spPr/>
      <dgm:t>
        <a:bodyPr/>
        <a:lstStyle/>
        <a:p>
          <a:r>
            <a:rPr lang="en-US"/>
            <a:t>Recognition</a:t>
          </a:r>
        </a:p>
      </dgm:t>
    </dgm:pt>
    <dgm:pt modelId="{4785C4E0-0228-48DA-BCC3-94CEAD6B7F00}" type="parTrans" cxnId="{0A96B101-B7A2-44D3-B374-D92D6B5DB8E8}">
      <dgm:prSet/>
      <dgm:spPr/>
      <dgm:t>
        <a:bodyPr/>
        <a:lstStyle/>
        <a:p>
          <a:endParaRPr lang="en-US"/>
        </a:p>
      </dgm:t>
    </dgm:pt>
    <dgm:pt modelId="{D1EA38AB-4F1D-43DB-B372-B0EEB63F4DC1}" type="sibTrans" cxnId="{0A96B101-B7A2-44D3-B374-D92D6B5DB8E8}">
      <dgm:prSet/>
      <dgm:spPr/>
      <dgm:t>
        <a:bodyPr/>
        <a:lstStyle/>
        <a:p>
          <a:endParaRPr lang="en-US"/>
        </a:p>
      </dgm:t>
    </dgm:pt>
    <dgm:pt modelId="{6A2785E8-D8CE-4852-86C9-2D3529380224}">
      <dgm:prSet/>
      <dgm:spPr/>
      <dgm:t>
        <a:bodyPr/>
        <a:lstStyle/>
        <a:p>
          <a:r>
            <a:rPr lang="en-US"/>
            <a:t>Sample digital certificates to personalize and print</a:t>
          </a:r>
        </a:p>
      </dgm:t>
    </dgm:pt>
    <dgm:pt modelId="{A617C058-C80C-466A-A895-FE6EB58BCC19}" type="parTrans" cxnId="{622A81A9-DFA0-445E-AE6A-97993432DB79}">
      <dgm:prSet/>
      <dgm:spPr/>
      <dgm:t>
        <a:bodyPr/>
        <a:lstStyle/>
        <a:p>
          <a:endParaRPr lang="en-US"/>
        </a:p>
      </dgm:t>
    </dgm:pt>
    <dgm:pt modelId="{3C5A2BD7-7F43-4FBA-9EED-116AF61A8DA1}" type="sibTrans" cxnId="{622A81A9-DFA0-445E-AE6A-97993432DB79}">
      <dgm:prSet/>
      <dgm:spPr/>
      <dgm:t>
        <a:bodyPr/>
        <a:lstStyle/>
        <a:p>
          <a:endParaRPr lang="en-US"/>
        </a:p>
      </dgm:t>
    </dgm:pt>
    <dgm:pt modelId="{3B09B85A-E6ED-4B00-B2A1-50CE7C410ECD}">
      <dgm:prSet/>
      <dgm:spPr/>
      <dgm:t>
        <a:bodyPr/>
        <a:lstStyle/>
        <a:p>
          <a:r>
            <a:rPr lang="en-US" dirty="0"/>
            <a:t>PolioPlus Society pins available using Rotary licensed vendors</a:t>
          </a:r>
        </a:p>
      </dgm:t>
    </dgm:pt>
    <dgm:pt modelId="{AE6B9E7A-123C-4617-AB26-B0C38D0CB6D5}" type="parTrans" cxnId="{B6E2D915-ED94-4195-B722-49D21A76DE53}">
      <dgm:prSet/>
      <dgm:spPr/>
      <dgm:t>
        <a:bodyPr/>
        <a:lstStyle/>
        <a:p>
          <a:endParaRPr lang="en-US"/>
        </a:p>
      </dgm:t>
    </dgm:pt>
    <dgm:pt modelId="{E2B43D47-A8F3-46D5-89E3-52D7E8F09E2D}" type="sibTrans" cxnId="{B6E2D915-ED94-4195-B722-49D21A76DE53}">
      <dgm:prSet/>
      <dgm:spPr/>
      <dgm:t>
        <a:bodyPr/>
        <a:lstStyle/>
        <a:p>
          <a:endParaRPr lang="en-US"/>
        </a:p>
      </dgm:t>
    </dgm:pt>
    <dgm:pt modelId="{66C71D35-7DE0-4DFA-9ED1-179C54CE7B1D}" type="pres">
      <dgm:prSet presAssocID="{A6D45AFC-DF74-4ED0-9EE5-884750AA73ED}" presName="linear" presStyleCnt="0">
        <dgm:presLayoutVars>
          <dgm:animLvl val="lvl"/>
          <dgm:resizeHandles val="exact"/>
        </dgm:presLayoutVars>
      </dgm:prSet>
      <dgm:spPr/>
    </dgm:pt>
    <dgm:pt modelId="{7A109AD2-365E-46EE-BF52-2DDFB88B54FE}" type="pres">
      <dgm:prSet presAssocID="{796C83BE-D5F5-4D82-A149-8BE50B879C80}" presName="parentText" presStyleLbl="node1" presStyleIdx="0" presStyleCnt="5">
        <dgm:presLayoutVars>
          <dgm:chMax val="0"/>
          <dgm:bulletEnabled val="1"/>
        </dgm:presLayoutVars>
      </dgm:prSet>
      <dgm:spPr/>
    </dgm:pt>
    <dgm:pt modelId="{5112AED5-99F5-4CEC-B18F-D38F1582187B}" type="pres">
      <dgm:prSet presAssocID="{6176E386-96F1-48C1-B385-1BDDE77D45A2}" presName="spacer" presStyleCnt="0"/>
      <dgm:spPr/>
    </dgm:pt>
    <dgm:pt modelId="{9877D1E6-D1C5-4301-A11A-0C6C37DD792F}" type="pres">
      <dgm:prSet presAssocID="{D8604413-FA33-4D8B-9DE6-FE489123A8BD}" presName="parentText" presStyleLbl="node1" presStyleIdx="1" presStyleCnt="5">
        <dgm:presLayoutVars>
          <dgm:chMax val="0"/>
          <dgm:bulletEnabled val="1"/>
        </dgm:presLayoutVars>
      </dgm:prSet>
      <dgm:spPr/>
    </dgm:pt>
    <dgm:pt modelId="{29A08DBF-6C19-437A-A556-423BA782C224}" type="pres">
      <dgm:prSet presAssocID="{DBE797A8-51CE-4619-AFC1-D9CC9D11C1E1}" presName="spacer" presStyleCnt="0"/>
      <dgm:spPr/>
    </dgm:pt>
    <dgm:pt modelId="{4FC36413-CEF9-4EC5-9343-5C5363E31397}" type="pres">
      <dgm:prSet presAssocID="{12051D94-3FF2-49E4-AD34-7F8FF6525B74}" presName="parentText" presStyleLbl="node1" presStyleIdx="2" presStyleCnt="5">
        <dgm:presLayoutVars>
          <dgm:chMax val="0"/>
          <dgm:bulletEnabled val="1"/>
        </dgm:presLayoutVars>
      </dgm:prSet>
      <dgm:spPr/>
    </dgm:pt>
    <dgm:pt modelId="{10DDA35B-37FC-438F-849E-CA0AE0C8F009}" type="pres">
      <dgm:prSet presAssocID="{12051D94-3FF2-49E4-AD34-7F8FF6525B74}" presName="childText" presStyleLbl="revTx" presStyleIdx="0" presStyleCnt="3">
        <dgm:presLayoutVars>
          <dgm:bulletEnabled val="1"/>
        </dgm:presLayoutVars>
      </dgm:prSet>
      <dgm:spPr/>
    </dgm:pt>
    <dgm:pt modelId="{A52A36AB-BE13-4C47-A37F-46408924F226}" type="pres">
      <dgm:prSet presAssocID="{28EE6A6A-B6E9-43FE-9CE3-9829D4A123C6}" presName="parentText" presStyleLbl="node1" presStyleIdx="3" presStyleCnt="5">
        <dgm:presLayoutVars>
          <dgm:chMax val="0"/>
          <dgm:bulletEnabled val="1"/>
        </dgm:presLayoutVars>
      </dgm:prSet>
      <dgm:spPr/>
    </dgm:pt>
    <dgm:pt modelId="{7CCFCBFF-950F-422D-A847-D5CB1A8EB9F3}" type="pres">
      <dgm:prSet presAssocID="{28EE6A6A-B6E9-43FE-9CE3-9829D4A123C6}" presName="childText" presStyleLbl="revTx" presStyleIdx="1" presStyleCnt="3">
        <dgm:presLayoutVars>
          <dgm:bulletEnabled val="1"/>
        </dgm:presLayoutVars>
      </dgm:prSet>
      <dgm:spPr/>
    </dgm:pt>
    <dgm:pt modelId="{FBFE4318-5B61-46EB-A9A6-3C4F360D4002}" type="pres">
      <dgm:prSet presAssocID="{D9A55E75-AF51-4287-BB64-CBCC5C8F0FAE}" presName="parentText" presStyleLbl="node1" presStyleIdx="4" presStyleCnt="5">
        <dgm:presLayoutVars>
          <dgm:chMax val="0"/>
          <dgm:bulletEnabled val="1"/>
        </dgm:presLayoutVars>
      </dgm:prSet>
      <dgm:spPr/>
    </dgm:pt>
    <dgm:pt modelId="{9171F6AC-C4E5-4045-A83D-EF88A6852404}" type="pres">
      <dgm:prSet presAssocID="{D9A55E75-AF51-4287-BB64-CBCC5C8F0FAE}" presName="childText" presStyleLbl="revTx" presStyleIdx="2" presStyleCnt="3">
        <dgm:presLayoutVars>
          <dgm:bulletEnabled val="1"/>
        </dgm:presLayoutVars>
      </dgm:prSet>
      <dgm:spPr/>
    </dgm:pt>
  </dgm:ptLst>
  <dgm:cxnLst>
    <dgm:cxn modelId="{0A96B101-B7A2-44D3-B374-D92D6B5DB8E8}" srcId="{A6D45AFC-DF74-4ED0-9EE5-884750AA73ED}" destId="{D9A55E75-AF51-4287-BB64-CBCC5C8F0FAE}" srcOrd="4" destOrd="0" parTransId="{4785C4E0-0228-48DA-BCC3-94CEAD6B7F00}" sibTransId="{D1EA38AB-4F1D-43DB-B372-B0EEB63F4DC1}"/>
    <dgm:cxn modelId="{6790BD01-769E-4F46-8420-05EFFA13127F}" type="presOf" srcId="{9981E7CE-9FAF-44D9-897F-73936D1DB7EE}" destId="{7CCFCBFF-950F-422D-A847-D5CB1A8EB9F3}" srcOrd="0" destOrd="1" presId="urn:microsoft.com/office/officeart/2005/8/layout/vList2"/>
    <dgm:cxn modelId="{1E84BD07-E060-4137-9387-A46EE3235ED1}" srcId="{12051D94-3FF2-49E4-AD34-7F8FF6525B74}" destId="{6400E8EE-5035-4A33-BEB7-DE0393862552}" srcOrd="0" destOrd="0" parTransId="{545A8C83-7238-4022-BD9C-23B542DE9289}" sibTransId="{E5B665DB-C5C9-44E0-B18D-61AC0C3F880B}"/>
    <dgm:cxn modelId="{33A4100B-9BC5-4541-8546-97BC256EB43C}" type="presOf" srcId="{796C83BE-D5F5-4D82-A149-8BE50B879C80}" destId="{7A109AD2-365E-46EE-BF52-2DDFB88B54FE}" srcOrd="0" destOrd="0" presId="urn:microsoft.com/office/officeart/2005/8/layout/vList2"/>
    <dgm:cxn modelId="{B6E2D915-ED94-4195-B722-49D21A76DE53}" srcId="{D9A55E75-AF51-4287-BB64-CBCC5C8F0FAE}" destId="{3B09B85A-E6ED-4B00-B2A1-50CE7C410ECD}" srcOrd="1" destOrd="0" parTransId="{AE6B9E7A-123C-4617-AB26-B0C38D0CB6D5}" sibTransId="{E2B43D47-A8F3-46D5-89E3-52D7E8F09E2D}"/>
    <dgm:cxn modelId="{EFC03716-F92A-4D43-8648-5ADE9C59EF49}" type="presOf" srcId="{12051D94-3FF2-49E4-AD34-7F8FF6525B74}" destId="{4FC36413-CEF9-4EC5-9343-5C5363E31397}" srcOrd="0" destOrd="0" presId="urn:microsoft.com/office/officeart/2005/8/layout/vList2"/>
    <dgm:cxn modelId="{3CEFEB21-7BF3-4DA1-8BA7-E74C27447A4A}" srcId="{28EE6A6A-B6E9-43FE-9CE3-9829D4A123C6}" destId="{71C4C7A0-6666-4447-B720-267C1686BDE2}" srcOrd="0" destOrd="0" parTransId="{2E9177C0-C3F0-46DB-9D3D-5422EA59714F}" sibTransId="{1963CA7C-1F8E-4FD8-8304-5C52C111B482}"/>
    <dgm:cxn modelId="{EBFD0727-A601-49ED-A41F-737CC85A8443}" srcId="{A6D45AFC-DF74-4ED0-9EE5-884750AA73ED}" destId="{28EE6A6A-B6E9-43FE-9CE3-9829D4A123C6}" srcOrd="3" destOrd="0" parTransId="{0AB08354-0F45-4058-912A-50BD84F3CC25}" sibTransId="{7F33571D-EC87-4D9E-B229-E4DC81E40FEA}"/>
    <dgm:cxn modelId="{B9366962-ACFE-45A2-AFD5-C17F3EFF3FA5}" type="presOf" srcId="{3B09B85A-E6ED-4B00-B2A1-50CE7C410ECD}" destId="{9171F6AC-C4E5-4045-A83D-EF88A6852404}" srcOrd="0" destOrd="1" presId="urn:microsoft.com/office/officeart/2005/8/layout/vList2"/>
    <dgm:cxn modelId="{7BB59767-DF0D-4757-A597-8CE03D84FFBF}" srcId="{28EE6A6A-B6E9-43FE-9CE3-9829D4A123C6}" destId="{9981E7CE-9FAF-44D9-897F-73936D1DB7EE}" srcOrd="1" destOrd="0" parTransId="{5326EE62-4BCD-46E0-88BF-8169C4336E02}" sibTransId="{C5DB194F-B557-49B5-AD78-BC2DF0EFACAA}"/>
    <dgm:cxn modelId="{4B717F84-BDDD-446F-B629-07ABD1122C02}" srcId="{A6D45AFC-DF74-4ED0-9EE5-884750AA73ED}" destId="{796C83BE-D5F5-4D82-A149-8BE50B879C80}" srcOrd="0" destOrd="0" parTransId="{47E4AF2A-4AA6-4514-8D15-B243935B3DA3}" sibTransId="{6176E386-96F1-48C1-B385-1BDDE77D45A2}"/>
    <dgm:cxn modelId="{8743A085-54AE-4353-87C6-9C238C383D95}" type="presOf" srcId="{28EE6A6A-B6E9-43FE-9CE3-9829D4A123C6}" destId="{A52A36AB-BE13-4C47-A37F-46408924F226}" srcOrd="0" destOrd="0" presId="urn:microsoft.com/office/officeart/2005/8/layout/vList2"/>
    <dgm:cxn modelId="{622A81A9-DFA0-445E-AE6A-97993432DB79}" srcId="{D9A55E75-AF51-4287-BB64-CBCC5C8F0FAE}" destId="{6A2785E8-D8CE-4852-86C9-2D3529380224}" srcOrd="0" destOrd="0" parTransId="{A617C058-C80C-466A-A895-FE6EB58BCC19}" sibTransId="{3C5A2BD7-7F43-4FBA-9EED-116AF61A8DA1}"/>
    <dgm:cxn modelId="{2273E3A9-1A9A-496A-843F-4EFA790098A9}" srcId="{A6D45AFC-DF74-4ED0-9EE5-884750AA73ED}" destId="{D8604413-FA33-4D8B-9DE6-FE489123A8BD}" srcOrd="1" destOrd="0" parTransId="{12A51925-C340-4682-ADD2-3BCB7D4C022B}" sibTransId="{DBE797A8-51CE-4619-AFC1-D9CC9D11C1E1}"/>
    <dgm:cxn modelId="{2BAF6BB3-C0A1-4D2A-A51F-A09B1F42729D}" type="presOf" srcId="{A6D45AFC-DF74-4ED0-9EE5-884750AA73ED}" destId="{66C71D35-7DE0-4DFA-9ED1-179C54CE7B1D}" srcOrd="0" destOrd="0" presId="urn:microsoft.com/office/officeart/2005/8/layout/vList2"/>
    <dgm:cxn modelId="{58164FB6-D104-49E3-9A00-30DE3DE692A5}" type="presOf" srcId="{6A2785E8-D8CE-4852-86C9-2D3529380224}" destId="{9171F6AC-C4E5-4045-A83D-EF88A6852404}" srcOrd="0" destOrd="0" presId="urn:microsoft.com/office/officeart/2005/8/layout/vList2"/>
    <dgm:cxn modelId="{03CE8FBB-B059-40E3-866A-6E3D6630465C}" type="presOf" srcId="{71C4C7A0-6666-4447-B720-267C1686BDE2}" destId="{7CCFCBFF-950F-422D-A847-D5CB1A8EB9F3}" srcOrd="0" destOrd="0" presId="urn:microsoft.com/office/officeart/2005/8/layout/vList2"/>
    <dgm:cxn modelId="{C4A850C4-057D-40CC-AFAA-E8E45AE51023}" type="presOf" srcId="{D8604413-FA33-4D8B-9DE6-FE489123A8BD}" destId="{9877D1E6-D1C5-4301-A11A-0C6C37DD792F}" srcOrd="0" destOrd="0" presId="urn:microsoft.com/office/officeart/2005/8/layout/vList2"/>
    <dgm:cxn modelId="{130E1FD6-670E-4478-9411-932D4FCD366E}" srcId="{A6D45AFC-DF74-4ED0-9EE5-884750AA73ED}" destId="{12051D94-3FF2-49E4-AD34-7F8FF6525B74}" srcOrd="2" destOrd="0" parTransId="{5205CEEC-7EE8-42B1-8B17-255551E51BC0}" sibTransId="{C57785B2-8F23-4116-B903-EFFB8A49C65D}"/>
    <dgm:cxn modelId="{35CA20F6-6CFE-442A-8A08-BC8725757758}" type="presOf" srcId="{D9A55E75-AF51-4287-BB64-CBCC5C8F0FAE}" destId="{FBFE4318-5B61-46EB-A9A6-3C4F360D4002}" srcOrd="0" destOrd="0" presId="urn:microsoft.com/office/officeart/2005/8/layout/vList2"/>
    <dgm:cxn modelId="{C00733F7-A8D4-49AF-A073-E7AFE885B6C7}" type="presOf" srcId="{6400E8EE-5035-4A33-BEB7-DE0393862552}" destId="{10DDA35B-37FC-438F-849E-CA0AE0C8F009}" srcOrd="0" destOrd="0" presId="urn:microsoft.com/office/officeart/2005/8/layout/vList2"/>
    <dgm:cxn modelId="{7360354B-56B0-4430-8594-9B152E4C58DE}" type="presParOf" srcId="{66C71D35-7DE0-4DFA-9ED1-179C54CE7B1D}" destId="{7A109AD2-365E-46EE-BF52-2DDFB88B54FE}" srcOrd="0" destOrd="0" presId="urn:microsoft.com/office/officeart/2005/8/layout/vList2"/>
    <dgm:cxn modelId="{BA06D884-D671-411A-BEAD-827D54D6E06F}" type="presParOf" srcId="{66C71D35-7DE0-4DFA-9ED1-179C54CE7B1D}" destId="{5112AED5-99F5-4CEC-B18F-D38F1582187B}" srcOrd="1" destOrd="0" presId="urn:microsoft.com/office/officeart/2005/8/layout/vList2"/>
    <dgm:cxn modelId="{005F5666-889C-4C5A-B105-47371A0AE81D}" type="presParOf" srcId="{66C71D35-7DE0-4DFA-9ED1-179C54CE7B1D}" destId="{9877D1E6-D1C5-4301-A11A-0C6C37DD792F}" srcOrd="2" destOrd="0" presId="urn:microsoft.com/office/officeart/2005/8/layout/vList2"/>
    <dgm:cxn modelId="{469C9707-93DE-4C78-B182-2658A1646968}" type="presParOf" srcId="{66C71D35-7DE0-4DFA-9ED1-179C54CE7B1D}" destId="{29A08DBF-6C19-437A-A556-423BA782C224}" srcOrd="3" destOrd="0" presId="urn:microsoft.com/office/officeart/2005/8/layout/vList2"/>
    <dgm:cxn modelId="{B53F5D84-0274-4BB5-BAD1-9074DAB4ABFA}" type="presParOf" srcId="{66C71D35-7DE0-4DFA-9ED1-179C54CE7B1D}" destId="{4FC36413-CEF9-4EC5-9343-5C5363E31397}" srcOrd="4" destOrd="0" presId="urn:microsoft.com/office/officeart/2005/8/layout/vList2"/>
    <dgm:cxn modelId="{EED4DA94-6295-4E24-8E9B-DCAB2545FE9C}" type="presParOf" srcId="{66C71D35-7DE0-4DFA-9ED1-179C54CE7B1D}" destId="{10DDA35B-37FC-438F-849E-CA0AE0C8F009}" srcOrd="5" destOrd="0" presId="urn:microsoft.com/office/officeart/2005/8/layout/vList2"/>
    <dgm:cxn modelId="{8FE4D899-143C-4AFA-B048-0A30182F6E03}" type="presParOf" srcId="{66C71D35-7DE0-4DFA-9ED1-179C54CE7B1D}" destId="{A52A36AB-BE13-4C47-A37F-46408924F226}" srcOrd="6" destOrd="0" presId="urn:microsoft.com/office/officeart/2005/8/layout/vList2"/>
    <dgm:cxn modelId="{BFE97909-1F44-444A-BBEE-C7BE78DA9E67}" type="presParOf" srcId="{66C71D35-7DE0-4DFA-9ED1-179C54CE7B1D}" destId="{7CCFCBFF-950F-422D-A847-D5CB1A8EB9F3}" srcOrd="7" destOrd="0" presId="urn:microsoft.com/office/officeart/2005/8/layout/vList2"/>
    <dgm:cxn modelId="{02F6BCD5-A6D9-40BD-AE51-33FA88F30E90}" type="presParOf" srcId="{66C71D35-7DE0-4DFA-9ED1-179C54CE7B1D}" destId="{FBFE4318-5B61-46EB-A9A6-3C4F360D4002}" srcOrd="8" destOrd="0" presId="urn:microsoft.com/office/officeart/2005/8/layout/vList2"/>
    <dgm:cxn modelId="{2FD85928-7DA2-492E-83A9-6CBC17F2685D}" type="presParOf" srcId="{66C71D35-7DE0-4DFA-9ED1-179C54CE7B1D}" destId="{9171F6AC-C4E5-4045-A83D-EF88A6852404}" srcOrd="9"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55964C9-FB5D-4B48-A21D-BF68251B814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207D4A7-766D-4A2B-BC37-EBA9E25B5F9D}">
      <dgm:prSet/>
      <dgm:spPr/>
      <dgm:t>
        <a:bodyPr/>
        <a:lstStyle/>
        <a:p>
          <a:r>
            <a:rPr lang="en-US" dirty="0"/>
            <a:t>Perhaps District 5110 in 2012</a:t>
          </a:r>
        </a:p>
      </dgm:t>
    </dgm:pt>
    <dgm:pt modelId="{BC4F1CB0-99C3-4F22-A424-880038BFCF6D}" type="parTrans" cxnId="{15C54180-7405-4AEB-900B-280D265E9FBD}">
      <dgm:prSet/>
      <dgm:spPr/>
      <dgm:t>
        <a:bodyPr/>
        <a:lstStyle/>
        <a:p>
          <a:endParaRPr lang="en-US"/>
        </a:p>
      </dgm:t>
    </dgm:pt>
    <dgm:pt modelId="{642EC37B-A667-466B-B110-5203B973F381}" type="sibTrans" cxnId="{15C54180-7405-4AEB-900B-280D265E9FBD}">
      <dgm:prSet/>
      <dgm:spPr/>
      <dgm:t>
        <a:bodyPr/>
        <a:lstStyle/>
        <a:p>
          <a:endParaRPr lang="en-US"/>
        </a:p>
      </dgm:t>
    </dgm:pt>
    <dgm:pt modelId="{3ED3AC52-56EC-4C31-9080-3D5E410F73DE}">
      <dgm:prSet/>
      <dgm:spPr/>
      <dgm:t>
        <a:bodyPr/>
        <a:lstStyle/>
        <a:p>
          <a:r>
            <a:rPr lang="en-US" dirty="0"/>
            <a:t>Established to increase sustainable giving to PolioPlus with a  minimum annual gift of $100 </a:t>
          </a:r>
        </a:p>
      </dgm:t>
    </dgm:pt>
    <dgm:pt modelId="{73F5CCB7-8606-42C8-9721-0332753E537A}" type="parTrans" cxnId="{375C7B26-D7A4-47A8-97DA-472BEA549ECC}">
      <dgm:prSet/>
      <dgm:spPr/>
      <dgm:t>
        <a:bodyPr/>
        <a:lstStyle/>
        <a:p>
          <a:endParaRPr lang="en-US"/>
        </a:p>
      </dgm:t>
    </dgm:pt>
    <dgm:pt modelId="{D3A7E4A4-2D6E-4BCF-9A32-1237C9580AD6}" type="sibTrans" cxnId="{375C7B26-D7A4-47A8-97DA-472BEA549ECC}">
      <dgm:prSet/>
      <dgm:spPr/>
      <dgm:t>
        <a:bodyPr/>
        <a:lstStyle/>
        <a:p>
          <a:endParaRPr lang="en-US"/>
        </a:p>
      </dgm:t>
    </dgm:pt>
    <dgm:pt modelId="{30CDAD30-6611-468C-94AF-9CF75F25238F}">
      <dgm:prSet/>
      <dgm:spPr/>
      <dgm:t>
        <a:bodyPr/>
        <a:lstStyle/>
        <a:p>
          <a:r>
            <a:rPr lang="en-US" dirty="0"/>
            <a:t>The Idea created momentum</a:t>
          </a:r>
        </a:p>
      </dgm:t>
    </dgm:pt>
    <dgm:pt modelId="{449660EF-6E1C-4451-815B-FADACFFA68D2}" type="parTrans" cxnId="{EB44D32C-FCF0-4713-830A-17AC3535C869}">
      <dgm:prSet/>
      <dgm:spPr/>
      <dgm:t>
        <a:bodyPr/>
        <a:lstStyle/>
        <a:p>
          <a:endParaRPr lang="en-US"/>
        </a:p>
      </dgm:t>
    </dgm:pt>
    <dgm:pt modelId="{C085FEEB-DDEB-486B-BCC8-47AB5B82BEB8}" type="sibTrans" cxnId="{EB44D32C-FCF0-4713-830A-17AC3535C869}">
      <dgm:prSet/>
      <dgm:spPr/>
      <dgm:t>
        <a:bodyPr/>
        <a:lstStyle/>
        <a:p>
          <a:endParaRPr lang="en-US"/>
        </a:p>
      </dgm:t>
    </dgm:pt>
    <dgm:pt modelId="{DB6281B3-4F2A-4690-9E9E-91A8318DD8E9}">
      <dgm:prSet/>
      <dgm:spPr/>
      <dgm:t>
        <a:bodyPr/>
        <a:lstStyle/>
        <a:p>
          <a:pPr>
            <a:buNone/>
          </a:pPr>
          <a:endParaRPr lang="en-US" dirty="0"/>
        </a:p>
      </dgm:t>
    </dgm:pt>
    <dgm:pt modelId="{2948F36C-F2CB-413A-A224-3C1404BAB52F}" type="parTrans" cxnId="{2A542175-4328-47B7-9F5D-F622434FE1A0}">
      <dgm:prSet/>
      <dgm:spPr/>
      <dgm:t>
        <a:bodyPr/>
        <a:lstStyle/>
        <a:p>
          <a:endParaRPr lang="en-US"/>
        </a:p>
      </dgm:t>
    </dgm:pt>
    <dgm:pt modelId="{C2D6EFE6-0204-4536-A71B-095DD7615A9B}" type="sibTrans" cxnId="{2A542175-4328-47B7-9F5D-F622434FE1A0}">
      <dgm:prSet/>
      <dgm:spPr/>
      <dgm:t>
        <a:bodyPr/>
        <a:lstStyle/>
        <a:p>
          <a:endParaRPr lang="en-US"/>
        </a:p>
      </dgm:t>
    </dgm:pt>
    <dgm:pt modelId="{722B94ED-537E-414A-B694-284EA8348A29}">
      <dgm:prSet/>
      <dgm:spPr/>
      <dgm:t>
        <a:bodyPr/>
        <a:lstStyle/>
        <a:p>
          <a:pPr>
            <a:buNone/>
          </a:pPr>
          <a:r>
            <a:rPr lang="en-US" dirty="0"/>
            <a:t>	Because of </a:t>
          </a:r>
          <a:r>
            <a:rPr lang="en-US" b="1" dirty="0"/>
            <a:t>our EPNC’s</a:t>
          </a:r>
          <a:endParaRPr lang="en-US" dirty="0"/>
        </a:p>
      </dgm:t>
    </dgm:pt>
    <dgm:pt modelId="{BE227C70-BC53-41F1-AFFD-6C0F5234C80C}" type="sibTrans" cxnId="{0A79910D-637F-4C9F-9756-2D22D7AA370B}">
      <dgm:prSet/>
      <dgm:spPr/>
      <dgm:t>
        <a:bodyPr/>
        <a:lstStyle/>
        <a:p>
          <a:endParaRPr lang="en-US"/>
        </a:p>
      </dgm:t>
    </dgm:pt>
    <dgm:pt modelId="{F52B9CD6-EAB7-421C-9853-756D83BA76A1}" type="parTrans" cxnId="{0A79910D-637F-4C9F-9756-2D22D7AA370B}">
      <dgm:prSet/>
      <dgm:spPr/>
      <dgm:t>
        <a:bodyPr/>
        <a:lstStyle/>
        <a:p>
          <a:endParaRPr lang="en-US"/>
        </a:p>
      </dgm:t>
    </dgm:pt>
    <dgm:pt modelId="{5D5616B8-60C9-4979-B4A1-396FCB489EC2}" type="pres">
      <dgm:prSet presAssocID="{755964C9-FB5D-4B48-A21D-BF68251B8147}" presName="linear" presStyleCnt="0">
        <dgm:presLayoutVars>
          <dgm:animLvl val="lvl"/>
          <dgm:resizeHandles val="exact"/>
        </dgm:presLayoutVars>
      </dgm:prSet>
      <dgm:spPr/>
    </dgm:pt>
    <dgm:pt modelId="{06136681-9232-42EA-80FA-A37B1F662A1D}" type="pres">
      <dgm:prSet presAssocID="{9207D4A7-766D-4A2B-BC37-EBA9E25B5F9D}" presName="parentText" presStyleLbl="node1" presStyleIdx="0" presStyleCnt="2" custLinFactNeighborX="-451" custLinFactNeighborY="-47202">
        <dgm:presLayoutVars>
          <dgm:chMax val="0"/>
          <dgm:bulletEnabled val="1"/>
        </dgm:presLayoutVars>
      </dgm:prSet>
      <dgm:spPr/>
    </dgm:pt>
    <dgm:pt modelId="{EAADBEC3-66C2-4ECB-89E5-2A5C56082CC3}" type="pres">
      <dgm:prSet presAssocID="{9207D4A7-766D-4A2B-BC37-EBA9E25B5F9D}" presName="childText" presStyleLbl="revTx" presStyleIdx="0" presStyleCnt="2" custLinFactNeighborX="-451" custLinFactNeighborY="-35233">
        <dgm:presLayoutVars>
          <dgm:bulletEnabled val="1"/>
        </dgm:presLayoutVars>
      </dgm:prSet>
      <dgm:spPr/>
    </dgm:pt>
    <dgm:pt modelId="{6C353D59-EDEC-45D0-AD6D-C3CA0A603AF2}" type="pres">
      <dgm:prSet presAssocID="{30CDAD30-6611-468C-94AF-9CF75F25238F}" presName="parentText" presStyleLbl="node1" presStyleIdx="1" presStyleCnt="2">
        <dgm:presLayoutVars>
          <dgm:chMax val="0"/>
          <dgm:bulletEnabled val="1"/>
        </dgm:presLayoutVars>
      </dgm:prSet>
      <dgm:spPr/>
    </dgm:pt>
    <dgm:pt modelId="{660EEA47-616A-4E9C-B76F-6EC48D2463D6}" type="pres">
      <dgm:prSet presAssocID="{30CDAD30-6611-468C-94AF-9CF75F25238F}" presName="childText" presStyleLbl="revTx" presStyleIdx="1" presStyleCnt="2" custScaleY="103466">
        <dgm:presLayoutVars>
          <dgm:bulletEnabled val="1"/>
        </dgm:presLayoutVars>
      </dgm:prSet>
      <dgm:spPr/>
    </dgm:pt>
  </dgm:ptLst>
  <dgm:cxnLst>
    <dgm:cxn modelId="{0A79910D-637F-4C9F-9756-2D22D7AA370B}" srcId="{30CDAD30-6611-468C-94AF-9CF75F25238F}" destId="{722B94ED-537E-414A-B694-284EA8348A29}" srcOrd="1" destOrd="0" parTransId="{F52B9CD6-EAB7-421C-9853-756D83BA76A1}" sibTransId="{BE227C70-BC53-41F1-AFFD-6C0F5234C80C}"/>
    <dgm:cxn modelId="{375C7B26-D7A4-47A8-97DA-472BEA549ECC}" srcId="{9207D4A7-766D-4A2B-BC37-EBA9E25B5F9D}" destId="{3ED3AC52-56EC-4C31-9080-3D5E410F73DE}" srcOrd="0" destOrd="0" parTransId="{73F5CCB7-8606-42C8-9721-0332753E537A}" sibTransId="{D3A7E4A4-2D6E-4BCF-9A32-1237C9580AD6}"/>
    <dgm:cxn modelId="{EB44D32C-FCF0-4713-830A-17AC3535C869}" srcId="{755964C9-FB5D-4B48-A21D-BF68251B8147}" destId="{30CDAD30-6611-468C-94AF-9CF75F25238F}" srcOrd="1" destOrd="0" parTransId="{449660EF-6E1C-4451-815B-FADACFFA68D2}" sibTransId="{C085FEEB-DDEB-486B-BCC8-47AB5B82BEB8}"/>
    <dgm:cxn modelId="{34F14742-575A-4DDC-A637-E98B01ED3F74}" type="presOf" srcId="{755964C9-FB5D-4B48-A21D-BF68251B8147}" destId="{5D5616B8-60C9-4979-B4A1-396FCB489EC2}" srcOrd="0" destOrd="0" presId="urn:microsoft.com/office/officeart/2005/8/layout/vList2"/>
    <dgm:cxn modelId="{2A542175-4328-47B7-9F5D-F622434FE1A0}" srcId="{30CDAD30-6611-468C-94AF-9CF75F25238F}" destId="{DB6281B3-4F2A-4690-9E9E-91A8318DD8E9}" srcOrd="0" destOrd="0" parTransId="{2948F36C-F2CB-413A-A224-3C1404BAB52F}" sibTransId="{C2D6EFE6-0204-4536-A71B-095DD7615A9B}"/>
    <dgm:cxn modelId="{15C54180-7405-4AEB-900B-280D265E9FBD}" srcId="{755964C9-FB5D-4B48-A21D-BF68251B8147}" destId="{9207D4A7-766D-4A2B-BC37-EBA9E25B5F9D}" srcOrd="0" destOrd="0" parTransId="{BC4F1CB0-99C3-4F22-A424-880038BFCF6D}" sibTransId="{642EC37B-A667-466B-B110-5203B973F381}"/>
    <dgm:cxn modelId="{FD2AA38B-30FC-4D96-B69B-790F477FEA2B}" type="presOf" srcId="{30CDAD30-6611-468C-94AF-9CF75F25238F}" destId="{6C353D59-EDEC-45D0-AD6D-C3CA0A603AF2}" srcOrd="0" destOrd="0" presId="urn:microsoft.com/office/officeart/2005/8/layout/vList2"/>
    <dgm:cxn modelId="{52FED3C1-9911-4702-82F4-4A30815AF929}" type="presOf" srcId="{DB6281B3-4F2A-4690-9E9E-91A8318DD8E9}" destId="{660EEA47-616A-4E9C-B76F-6EC48D2463D6}" srcOrd="0" destOrd="0" presId="urn:microsoft.com/office/officeart/2005/8/layout/vList2"/>
    <dgm:cxn modelId="{08246ED3-8381-49D5-AA87-A0DFF0D98FC2}" type="presOf" srcId="{722B94ED-537E-414A-B694-284EA8348A29}" destId="{660EEA47-616A-4E9C-B76F-6EC48D2463D6}" srcOrd="0" destOrd="1" presId="urn:microsoft.com/office/officeart/2005/8/layout/vList2"/>
    <dgm:cxn modelId="{258F32EF-74BE-4859-86D4-BC5910B8C4B2}" type="presOf" srcId="{9207D4A7-766D-4A2B-BC37-EBA9E25B5F9D}" destId="{06136681-9232-42EA-80FA-A37B1F662A1D}" srcOrd="0" destOrd="0" presId="urn:microsoft.com/office/officeart/2005/8/layout/vList2"/>
    <dgm:cxn modelId="{F67E5EF3-02EF-4E74-B3C5-C966EE585D67}" type="presOf" srcId="{3ED3AC52-56EC-4C31-9080-3D5E410F73DE}" destId="{EAADBEC3-66C2-4ECB-89E5-2A5C56082CC3}" srcOrd="0" destOrd="0" presId="urn:microsoft.com/office/officeart/2005/8/layout/vList2"/>
    <dgm:cxn modelId="{77460724-55B0-4154-8D08-FC96F6E558A4}" type="presParOf" srcId="{5D5616B8-60C9-4979-B4A1-396FCB489EC2}" destId="{06136681-9232-42EA-80FA-A37B1F662A1D}" srcOrd="0" destOrd="0" presId="urn:microsoft.com/office/officeart/2005/8/layout/vList2"/>
    <dgm:cxn modelId="{CA8BA618-EFF7-4A07-8085-E71FB2DAF9B7}" type="presParOf" srcId="{5D5616B8-60C9-4979-B4A1-396FCB489EC2}" destId="{EAADBEC3-66C2-4ECB-89E5-2A5C56082CC3}" srcOrd="1" destOrd="0" presId="urn:microsoft.com/office/officeart/2005/8/layout/vList2"/>
    <dgm:cxn modelId="{B6CFE913-9E18-48D8-A98D-370E397DF398}" type="presParOf" srcId="{5D5616B8-60C9-4979-B4A1-396FCB489EC2}" destId="{6C353D59-EDEC-45D0-AD6D-C3CA0A603AF2}" srcOrd="2" destOrd="0" presId="urn:microsoft.com/office/officeart/2005/8/layout/vList2"/>
    <dgm:cxn modelId="{448D803A-CC76-4044-86AF-F23BB9996F9D}" type="presParOf" srcId="{5D5616B8-60C9-4979-B4A1-396FCB489EC2}" destId="{660EEA47-616A-4E9C-B76F-6EC48D2463D6}"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55964C9-FB5D-4B48-A21D-BF68251B8147}"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9207D4A7-766D-4A2B-BC37-EBA9E25B5F9D}">
      <dgm:prSet/>
      <dgm:spPr>
        <a:solidFill>
          <a:srgbClr val="00B0F0"/>
        </a:solidFill>
      </dgm:spPr>
      <dgm:t>
        <a:bodyPr/>
        <a:lstStyle/>
        <a:p>
          <a:pPr>
            <a:defRPr b="1"/>
          </a:pPr>
          <a:r>
            <a:rPr lang="en-US" dirty="0"/>
            <a:t>Rotary’s #1 Priority</a:t>
          </a:r>
        </a:p>
      </dgm:t>
    </dgm:pt>
    <dgm:pt modelId="{BC4F1CB0-99C3-4F22-A424-880038BFCF6D}" type="parTrans" cxnId="{15C54180-7405-4AEB-900B-280D265E9FBD}">
      <dgm:prSet/>
      <dgm:spPr/>
      <dgm:t>
        <a:bodyPr/>
        <a:lstStyle/>
        <a:p>
          <a:endParaRPr lang="en-US"/>
        </a:p>
      </dgm:t>
    </dgm:pt>
    <dgm:pt modelId="{642EC37B-A667-466B-B110-5203B973F381}" type="sibTrans" cxnId="{15C54180-7405-4AEB-900B-280D265E9FBD}">
      <dgm:prSet/>
      <dgm:spPr/>
      <dgm:t>
        <a:bodyPr/>
        <a:lstStyle/>
        <a:p>
          <a:endParaRPr lang="en-US"/>
        </a:p>
      </dgm:t>
    </dgm:pt>
    <dgm:pt modelId="{30CDAD30-6611-468C-94AF-9CF75F25238F}">
      <dgm:prSet/>
      <dgm:spPr/>
      <dgm:t>
        <a:bodyPr/>
        <a:lstStyle/>
        <a:p>
          <a:pPr>
            <a:defRPr b="1"/>
          </a:pPr>
          <a:r>
            <a:rPr lang="en-US" dirty="0"/>
            <a:t>The PP Society is a proven initiative </a:t>
          </a:r>
        </a:p>
      </dgm:t>
    </dgm:pt>
    <dgm:pt modelId="{449660EF-6E1C-4451-815B-FADACFFA68D2}" type="parTrans" cxnId="{EB44D32C-FCF0-4713-830A-17AC3535C869}">
      <dgm:prSet/>
      <dgm:spPr/>
      <dgm:t>
        <a:bodyPr/>
        <a:lstStyle/>
        <a:p>
          <a:endParaRPr lang="en-US"/>
        </a:p>
      </dgm:t>
    </dgm:pt>
    <dgm:pt modelId="{C085FEEB-DDEB-486B-BCC8-47AB5B82BEB8}" type="sibTrans" cxnId="{EB44D32C-FCF0-4713-830A-17AC3535C869}">
      <dgm:prSet/>
      <dgm:spPr/>
      <dgm:t>
        <a:bodyPr/>
        <a:lstStyle/>
        <a:p>
          <a:endParaRPr lang="en-US"/>
        </a:p>
      </dgm:t>
    </dgm:pt>
    <dgm:pt modelId="{DB6281B3-4F2A-4690-9E9E-91A8318DD8E9}">
      <dgm:prSet/>
      <dgm:spPr/>
      <dgm:t>
        <a:bodyPr/>
        <a:lstStyle/>
        <a:p>
          <a:r>
            <a:rPr lang="en-US" dirty="0"/>
            <a:t>Rotary Direct</a:t>
          </a:r>
        </a:p>
      </dgm:t>
    </dgm:pt>
    <dgm:pt modelId="{2948F36C-F2CB-413A-A224-3C1404BAB52F}" type="parTrans" cxnId="{2A542175-4328-47B7-9F5D-F622434FE1A0}">
      <dgm:prSet/>
      <dgm:spPr/>
      <dgm:t>
        <a:bodyPr/>
        <a:lstStyle/>
        <a:p>
          <a:endParaRPr lang="en-US"/>
        </a:p>
      </dgm:t>
    </dgm:pt>
    <dgm:pt modelId="{C2D6EFE6-0204-4536-A71B-095DD7615A9B}" type="sibTrans" cxnId="{2A542175-4328-47B7-9F5D-F622434FE1A0}">
      <dgm:prSet/>
      <dgm:spPr/>
      <dgm:t>
        <a:bodyPr/>
        <a:lstStyle/>
        <a:p>
          <a:endParaRPr lang="en-US"/>
        </a:p>
      </dgm:t>
    </dgm:pt>
    <dgm:pt modelId="{C3D48A20-04DA-4B82-B4E9-D992013F0A58}">
      <dgm:prSet/>
      <dgm:spPr/>
      <dgm:t>
        <a:bodyPr/>
        <a:lstStyle/>
        <a:p>
          <a:r>
            <a:rPr lang="en-US"/>
            <a:t>The PolioPlus Society encourages:</a:t>
          </a:r>
        </a:p>
      </dgm:t>
    </dgm:pt>
    <dgm:pt modelId="{EF2BA78B-1736-4A0A-ABBB-FAE807F3CD27}" type="parTrans" cxnId="{CDB5C68B-0231-4E02-BA2A-33C2B5F1AC2E}">
      <dgm:prSet/>
      <dgm:spPr/>
      <dgm:t>
        <a:bodyPr/>
        <a:lstStyle/>
        <a:p>
          <a:endParaRPr lang="en-US"/>
        </a:p>
      </dgm:t>
    </dgm:pt>
    <dgm:pt modelId="{D2998743-1CC8-4AE3-8DE2-51078A48B974}" type="sibTrans" cxnId="{CDB5C68B-0231-4E02-BA2A-33C2B5F1AC2E}">
      <dgm:prSet/>
      <dgm:spPr/>
      <dgm:t>
        <a:bodyPr/>
        <a:lstStyle/>
        <a:p>
          <a:endParaRPr lang="en-US"/>
        </a:p>
      </dgm:t>
    </dgm:pt>
    <dgm:pt modelId="{CCBAF39D-BB7C-409E-BDA7-A4430C1A7CEC}">
      <dgm:prSet/>
      <dgm:spPr/>
      <dgm:t>
        <a:bodyPr/>
        <a:lstStyle/>
        <a:p>
          <a:endParaRPr lang="en-US" dirty="0"/>
        </a:p>
      </dgm:t>
    </dgm:pt>
    <dgm:pt modelId="{647359D3-E26A-43EF-96AB-7BA548701091}" type="parTrans" cxnId="{B10C4D9F-71F6-4D05-ADCF-5E4F598761BC}">
      <dgm:prSet/>
      <dgm:spPr/>
      <dgm:t>
        <a:bodyPr/>
        <a:lstStyle/>
        <a:p>
          <a:endParaRPr lang="en-US"/>
        </a:p>
      </dgm:t>
    </dgm:pt>
    <dgm:pt modelId="{ED1AD3DB-589F-4E56-B549-052D71F6510A}" type="sibTrans" cxnId="{B10C4D9F-71F6-4D05-ADCF-5E4F598761BC}">
      <dgm:prSet/>
      <dgm:spPr/>
      <dgm:t>
        <a:bodyPr/>
        <a:lstStyle/>
        <a:p>
          <a:endParaRPr lang="en-US"/>
        </a:p>
      </dgm:t>
    </dgm:pt>
    <dgm:pt modelId="{BA1CDC1E-572F-4B02-B8F5-9C90DED25E47}">
      <dgm:prSet/>
      <dgm:spPr/>
      <dgm:t>
        <a:bodyPr/>
        <a:lstStyle/>
        <a:p>
          <a:r>
            <a:rPr lang="en-US" dirty="0"/>
            <a:t>Continued giving at higher levels</a:t>
          </a:r>
          <a:endParaRPr lang="en-US" i="1" dirty="0"/>
        </a:p>
      </dgm:t>
    </dgm:pt>
    <dgm:pt modelId="{9536C1B8-7FF0-4936-ABD3-93AEA1B50C56}" type="parTrans" cxnId="{DFA0D006-C327-4EEC-AA4A-8D0D0D6D02E3}">
      <dgm:prSet/>
      <dgm:spPr/>
      <dgm:t>
        <a:bodyPr/>
        <a:lstStyle/>
        <a:p>
          <a:endParaRPr lang="en-US"/>
        </a:p>
      </dgm:t>
    </dgm:pt>
    <dgm:pt modelId="{2E4C2A7B-2075-43A8-ADF0-DEA1EE17EDF6}" type="sibTrans" cxnId="{DFA0D006-C327-4EEC-AA4A-8D0D0D6D02E3}">
      <dgm:prSet/>
      <dgm:spPr/>
      <dgm:t>
        <a:bodyPr/>
        <a:lstStyle/>
        <a:p>
          <a:endParaRPr lang="en-US"/>
        </a:p>
      </dgm:t>
    </dgm:pt>
    <dgm:pt modelId="{4AD683F4-40D1-431C-8793-B0577262514A}">
      <dgm:prSet/>
      <dgm:spPr/>
      <dgm:t>
        <a:bodyPr/>
        <a:lstStyle/>
        <a:p>
          <a:r>
            <a:rPr lang="en-US" dirty="0"/>
            <a:t>Member support around the globe</a:t>
          </a:r>
        </a:p>
      </dgm:t>
    </dgm:pt>
    <dgm:pt modelId="{8819628E-0CF1-44C9-A23E-36E6D19826EC}" type="parTrans" cxnId="{535E1EB2-6ED0-43E3-855E-E54B8371DD61}">
      <dgm:prSet/>
      <dgm:spPr/>
      <dgm:t>
        <a:bodyPr/>
        <a:lstStyle/>
        <a:p>
          <a:endParaRPr lang="en-US"/>
        </a:p>
      </dgm:t>
    </dgm:pt>
    <dgm:pt modelId="{D02CEC33-7A1C-4391-8F9C-644550012852}" type="sibTrans" cxnId="{535E1EB2-6ED0-43E3-855E-E54B8371DD61}">
      <dgm:prSet/>
      <dgm:spPr/>
      <dgm:t>
        <a:bodyPr/>
        <a:lstStyle/>
        <a:p>
          <a:endParaRPr lang="en-US"/>
        </a:p>
      </dgm:t>
    </dgm:pt>
    <dgm:pt modelId="{51C3F9B0-A669-4BAF-AFDA-5186E5E6A4C9}">
      <dgm:prSet/>
      <dgm:spPr/>
      <dgm:t>
        <a:bodyPr/>
        <a:lstStyle/>
        <a:p>
          <a:r>
            <a:rPr lang="en-US" dirty="0"/>
            <a:t>Rotary on-line giving</a:t>
          </a:r>
        </a:p>
      </dgm:t>
    </dgm:pt>
    <dgm:pt modelId="{9F607225-549C-4C1E-81F9-48DF3619B1DF}" type="parTrans" cxnId="{F8106351-4976-49F8-961F-48E6B6A5BFDC}">
      <dgm:prSet/>
      <dgm:spPr/>
      <dgm:t>
        <a:bodyPr/>
        <a:lstStyle/>
        <a:p>
          <a:endParaRPr lang="en-US"/>
        </a:p>
      </dgm:t>
    </dgm:pt>
    <dgm:pt modelId="{1D8752DA-84A7-4E39-AC15-05A37E123F7C}" type="sibTrans" cxnId="{F8106351-4976-49F8-961F-48E6B6A5BFDC}">
      <dgm:prSet/>
      <dgm:spPr/>
      <dgm:t>
        <a:bodyPr/>
        <a:lstStyle/>
        <a:p>
          <a:endParaRPr lang="en-US"/>
        </a:p>
      </dgm:t>
    </dgm:pt>
    <dgm:pt modelId="{5F464BF7-77F0-4E08-890C-7EEF5D69A026}">
      <dgm:prSet/>
      <dgm:spPr/>
      <dgm:t>
        <a:bodyPr/>
        <a:lstStyle/>
        <a:p>
          <a:r>
            <a:rPr lang="en-US" dirty="0"/>
            <a:t>Volunteer Networks</a:t>
          </a:r>
        </a:p>
      </dgm:t>
    </dgm:pt>
    <dgm:pt modelId="{DCB61E72-7D27-4DCB-9655-BF2946F64BA6}" type="parTrans" cxnId="{88444310-2776-4377-8D0E-C4865F4FA9D1}">
      <dgm:prSet/>
      <dgm:spPr/>
      <dgm:t>
        <a:bodyPr/>
        <a:lstStyle/>
        <a:p>
          <a:endParaRPr lang="en-US"/>
        </a:p>
      </dgm:t>
    </dgm:pt>
    <dgm:pt modelId="{D612EE77-1365-48AF-A1C9-4E09AC30D323}" type="sibTrans" cxnId="{88444310-2776-4377-8D0E-C4865F4FA9D1}">
      <dgm:prSet/>
      <dgm:spPr/>
      <dgm:t>
        <a:bodyPr/>
        <a:lstStyle/>
        <a:p>
          <a:endParaRPr lang="en-US"/>
        </a:p>
      </dgm:t>
    </dgm:pt>
    <dgm:pt modelId="{C50E27F8-7EC1-4A71-9BEA-30B7AA3C41DF}">
      <dgm:prSet/>
      <dgm:spPr/>
      <dgm:t>
        <a:bodyPr/>
        <a:lstStyle/>
        <a:p>
          <a:r>
            <a:rPr lang="en-US" dirty="0"/>
            <a:t>Passionate Donors</a:t>
          </a:r>
        </a:p>
      </dgm:t>
    </dgm:pt>
    <dgm:pt modelId="{6D27F6D3-98A1-4F8B-B3F6-4D48D835C1B2}" type="parTrans" cxnId="{EF83E7E3-8EC1-4B71-9E34-BD9092D49308}">
      <dgm:prSet/>
      <dgm:spPr/>
      <dgm:t>
        <a:bodyPr/>
        <a:lstStyle/>
        <a:p>
          <a:endParaRPr lang="en-US"/>
        </a:p>
      </dgm:t>
    </dgm:pt>
    <dgm:pt modelId="{8DB09524-BA15-42D6-8976-97E56397E520}" type="sibTrans" cxnId="{EF83E7E3-8EC1-4B71-9E34-BD9092D49308}">
      <dgm:prSet/>
      <dgm:spPr/>
      <dgm:t>
        <a:bodyPr/>
        <a:lstStyle/>
        <a:p>
          <a:endParaRPr lang="en-US"/>
        </a:p>
      </dgm:t>
    </dgm:pt>
    <dgm:pt modelId="{2E0E70AA-D278-4D0D-8952-2B65B85660BB}">
      <dgm:prSet/>
      <dgm:spPr/>
      <dgm:t>
        <a:bodyPr/>
        <a:lstStyle/>
        <a:p>
          <a:pPr>
            <a:buFont typeface="Arial" panose="020B0604020202020204" pitchFamily="34" charset="0"/>
            <a:buChar char="•"/>
          </a:pPr>
          <a:r>
            <a:rPr lang="en-US" i="1" dirty="0"/>
            <a:t>Allows Districts to thank, steward and cultivate its most generous givers</a:t>
          </a:r>
        </a:p>
      </dgm:t>
    </dgm:pt>
    <dgm:pt modelId="{B5F87BD4-AE78-49BC-BE7A-CA491BBA0245}" type="parTrans" cxnId="{07A51A29-66CB-4794-B269-005E24A28C09}">
      <dgm:prSet/>
      <dgm:spPr/>
      <dgm:t>
        <a:bodyPr/>
        <a:lstStyle/>
        <a:p>
          <a:endParaRPr lang="en-US"/>
        </a:p>
      </dgm:t>
    </dgm:pt>
    <dgm:pt modelId="{10B3AD12-5BB2-45E5-8BFF-DC4B61A9247F}" type="sibTrans" cxnId="{07A51A29-66CB-4794-B269-005E24A28C09}">
      <dgm:prSet/>
      <dgm:spPr/>
      <dgm:t>
        <a:bodyPr/>
        <a:lstStyle/>
        <a:p>
          <a:endParaRPr lang="en-US"/>
        </a:p>
      </dgm:t>
    </dgm:pt>
    <dgm:pt modelId="{1555B16C-D84A-4DC6-BA3E-17098322EE86}" type="pres">
      <dgm:prSet presAssocID="{755964C9-FB5D-4B48-A21D-BF68251B8147}" presName="linear" presStyleCnt="0">
        <dgm:presLayoutVars>
          <dgm:dir/>
          <dgm:animLvl val="lvl"/>
          <dgm:resizeHandles val="exact"/>
        </dgm:presLayoutVars>
      </dgm:prSet>
      <dgm:spPr/>
    </dgm:pt>
    <dgm:pt modelId="{4E2982AF-D7AD-4F62-B41F-7D2FE12953A4}" type="pres">
      <dgm:prSet presAssocID="{9207D4A7-766D-4A2B-BC37-EBA9E25B5F9D}" presName="parentLin" presStyleCnt="0"/>
      <dgm:spPr/>
    </dgm:pt>
    <dgm:pt modelId="{36347A2E-167B-437A-93A0-5D4EDF4FFEE7}" type="pres">
      <dgm:prSet presAssocID="{9207D4A7-766D-4A2B-BC37-EBA9E25B5F9D}" presName="parentLeftMargin" presStyleLbl="node1" presStyleIdx="0" presStyleCnt="2"/>
      <dgm:spPr/>
    </dgm:pt>
    <dgm:pt modelId="{3572DF49-8F61-4141-A4E8-AEBDDB5681C8}" type="pres">
      <dgm:prSet presAssocID="{9207D4A7-766D-4A2B-BC37-EBA9E25B5F9D}" presName="parentText" presStyleLbl="node1" presStyleIdx="0" presStyleCnt="2" custScaleX="142857" custLinFactNeighborX="-49756" custLinFactNeighborY="-1672">
        <dgm:presLayoutVars>
          <dgm:chMax val="0"/>
          <dgm:bulletEnabled val="1"/>
        </dgm:presLayoutVars>
      </dgm:prSet>
      <dgm:spPr/>
    </dgm:pt>
    <dgm:pt modelId="{59E2EB4A-3EBA-4714-BFAD-32B928214B8A}" type="pres">
      <dgm:prSet presAssocID="{9207D4A7-766D-4A2B-BC37-EBA9E25B5F9D}" presName="negativeSpace" presStyleCnt="0"/>
      <dgm:spPr/>
    </dgm:pt>
    <dgm:pt modelId="{48E45C1C-6F29-4477-B7D5-7189753B05AA}" type="pres">
      <dgm:prSet presAssocID="{9207D4A7-766D-4A2B-BC37-EBA9E25B5F9D}" presName="childText" presStyleLbl="conFgAcc1" presStyleIdx="0" presStyleCnt="2" custScaleX="96024" custScaleY="50058" custLinFactNeighborX="508" custLinFactNeighborY="-11048">
        <dgm:presLayoutVars>
          <dgm:bulletEnabled val="1"/>
        </dgm:presLayoutVars>
      </dgm:prSet>
      <dgm:spPr/>
    </dgm:pt>
    <dgm:pt modelId="{A2C7AF23-6A37-4EF3-9F1E-0653FA18257F}" type="pres">
      <dgm:prSet presAssocID="{642EC37B-A667-466B-B110-5203B973F381}" presName="spaceBetweenRectangles" presStyleCnt="0"/>
      <dgm:spPr/>
    </dgm:pt>
    <dgm:pt modelId="{0A24AEF0-1C18-446A-87AC-7ACABB36D09A}" type="pres">
      <dgm:prSet presAssocID="{30CDAD30-6611-468C-94AF-9CF75F25238F}" presName="parentLin" presStyleCnt="0"/>
      <dgm:spPr/>
    </dgm:pt>
    <dgm:pt modelId="{A56463A0-C717-4F7B-8E1B-B6B0BB9A0836}" type="pres">
      <dgm:prSet presAssocID="{30CDAD30-6611-468C-94AF-9CF75F25238F}" presName="parentLeftMargin" presStyleLbl="node1" presStyleIdx="0" presStyleCnt="2"/>
      <dgm:spPr/>
    </dgm:pt>
    <dgm:pt modelId="{8FC4D900-290B-4A1E-B84E-605D9A039B37}" type="pres">
      <dgm:prSet presAssocID="{30CDAD30-6611-468C-94AF-9CF75F25238F}" presName="parentText" presStyleLbl="node1" presStyleIdx="1" presStyleCnt="2" custScaleX="142857" custLinFactNeighborX="-62283" custLinFactNeighborY="-31688">
        <dgm:presLayoutVars>
          <dgm:chMax val="0"/>
          <dgm:bulletEnabled val="1"/>
        </dgm:presLayoutVars>
      </dgm:prSet>
      <dgm:spPr/>
    </dgm:pt>
    <dgm:pt modelId="{36616D87-4644-4607-949A-E0FDE812B0D7}" type="pres">
      <dgm:prSet presAssocID="{30CDAD30-6611-468C-94AF-9CF75F25238F}" presName="negativeSpace" presStyleCnt="0"/>
      <dgm:spPr/>
    </dgm:pt>
    <dgm:pt modelId="{4B1E05CA-C455-4521-804A-9E79BF2545EB}" type="pres">
      <dgm:prSet presAssocID="{30CDAD30-6611-468C-94AF-9CF75F25238F}" presName="childText" presStyleLbl="conFgAcc1" presStyleIdx="1" presStyleCnt="2" custScaleY="69722" custLinFactNeighborY="93836">
        <dgm:presLayoutVars>
          <dgm:bulletEnabled val="1"/>
        </dgm:presLayoutVars>
      </dgm:prSet>
      <dgm:spPr/>
    </dgm:pt>
  </dgm:ptLst>
  <dgm:cxnLst>
    <dgm:cxn modelId="{DFA0D006-C327-4EEC-AA4A-8D0D0D6D02E3}" srcId="{C3D48A20-04DA-4B82-B4E9-D992013F0A58}" destId="{BA1CDC1E-572F-4B02-B8F5-9C90DED25E47}" srcOrd="1" destOrd="0" parTransId="{9536C1B8-7FF0-4936-ABD3-93AEA1B50C56}" sibTransId="{2E4C2A7B-2075-43A8-ADF0-DEA1EE17EDF6}"/>
    <dgm:cxn modelId="{88444310-2776-4377-8D0E-C4865F4FA9D1}" srcId="{30CDAD30-6611-468C-94AF-9CF75F25238F}" destId="{5F464BF7-77F0-4E08-890C-7EEF5D69A026}" srcOrd="2" destOrd="0" parTransId="{DCB61E72-7D27-4DCB-9655-BF2946F64BA6}" sibTransId="{D612EE77-1365-48AF-A1C9-4E09AC30D323}"/>
    <dgm:cxn modelId="{72C91B12-7F93-415B-A334-70A3CAA13CC7}" type="presOf" srcId="{51C3F9B0-A669-4BAF-AFDA-5186E5E6A4C9}" destId="{4B1E05CA-C455-4521-804A-9E79BF2545EB}" srcOrd="0" destOrd="1" presId="urn:microsoft.com/office/officeart/2005/8/layout/list1"/>
    <dgm:cxn modelId="{A664BE1C-734A-4061-BCAF-E723F48898B2}" type="presOf" srcId="{4AD683F4-40D1-431C-8793-B0577262514A}" destId="{48E45C1C-6F29-4477-B7D5-7189753B05AA}" srcOrd="0" destOrd="2" presId="urn:microsoft.com/office/officeart/2005/8/layout/list1"/>
    <dgm:cxn modelId="{07A51A29-66CB-4794-B269-005E24A28C09}" srcId="{C3D48A20-04DA-4B82-B4E9-D992013F0A58}" destId="{2E0E70AA-D278-4D0D-8952-2B65B85660BB}" srcOrd="2" destOrd="0" parTransId="{B5F87BD4-AE78-49BC-BE7A-CA491BBA0245}" sibTransId="{10B3AD12-5BB2-45E5-8BFF-DC4B61A9247F}"/>
    <dgm:cxn modelId="{EB44D32C-FCF0-4713-830A-17AC3535C869}" srcId="{755964C9-FB5D-4B48-A21D-BF68251B8147}" destId="{30CDAD30-6611-468C-94AF-9CF75F25238F}" srcOrd="1" destOrd="0" parTransId="{449660EF-6E1C-4451-815B-FADACFFA68D2}" sibTransId="{C085FEEB-DDEB-486B-BCC8-47AB5B82BEB8}"/>
    <dgm:cxn modelId="{F5BB582E-592B-4EB1-B56A-3415FF059531}" type="presOf" srcId="{5F464BF7-77F0-4E08-890C-7EEF5D69A026}" destId="{4B1E05CA-C455-4521-804A-9E79BF2545EB}" srcOrd="0" destOrd="2" presId="urn:microsoft.com/office/officeart/2005/8/layout/list1"/>
    <dgm:cxn modelId="{514DD740-8ACD-4D38-84E2-8D1F7F4712A6}" type="presOf" srcId="{30CDAD30-6611-468C-94AF-9CF75F25238F}" destId="{8FC4D900-290B-4A1E-B84E-605D9A039B37}" srcOrd="1" destOrd="0" presId="urn:microsoft.com/office/officeart/2005/8/layout/list1"/>
    <dgm:cxn modelId="{DB879767-AEA6-4464-9341-C98CC1C6A725}" type="presOf" srcId="{CCBAF39D-BB7C-409E-BDA7-A4430C1A7CEC}" destId="{48E45C1C-6F29-4477-B7D5-7189753B05AA}" srcOrd="0" destOrd="0" presId="urn:microsoft.com/office/officeart/2005/8/layout/list1"/>
    <dgm:cxn modelId="{F8106351-4976-49F8-961F-48E6B6A5BFDC}" srcId="{30CDAD30-6611-468C-94AF-9CF75F25238F}" destId="{51C3F9B0-A669-4BAF-AFDA-5186E5E6A4C9}" srcOrd="1" destOrd="0" parTransId="{9F607225-549C-4C1E-81F9-48DF3619B1DF}" sibTransId="{1D8752DA-84A7-4E39-AC15-05A37E123F7C}"/>
    <dgm:cxn modelId="{2A542175-4328-47B7-9F5D-F622434FE1A0}" srcId="{30CDAD30-6611-468C-94AF-9CF75F25238F}" destId="{DB6281B3-4F2A-4690-9E9E-91A8318DD8E9}" srcOrd="0" destOrd="0" parTransId="{2948F36C-F2CB-413A-A224-3C1404BAB52F}" sibTransId="{C2D6EFE6-0204-4536-A71B-095DD7615A9B}"/>
    <dgm:cxn modelId="{E2231456-CAF0-4D1B-9B8D-0E2EEF1DA91F}" type="presOf" srcId="{DB6281B3-4F2A-4690-9E9E-91A8318DD8E9}" destId="{4B1E05CA-C455-4521-804A-9E79BF2545EB}" srcOrd="0" destOrd="0" presId="urn:microsoft.com/office/officeart/2005/8/layout/list1"/>
    <dgm:cxn modelId="{15C54180-7405-4AEB-900B-280D265E9FBD}" srcId="{755964C9-FB5D-4B48-A21D-BF68251B8147}" destId="{9207D4A7-766D-4A2B-BC37-EBA9E25B5F9D}" srcOrd="0" destOrd="0" parTransId="{BC4F1CB0-99C3-4F22-A424-880038BFCF6D}" sibTransId="{642EC37B-A667-466B-B110-5203B973F381}"/>
    <dgm:cxn modelId="{CDB5C68B-0231-4E02-BA2A-33C2B5F1AC2E}" srcId="{9207D4A7-766D-4A2B-BC37-EBA9E25B5F9D}" destId="{C3D48A20-04DA-4B82-B4E9-D992013F0A58}" srcOrd="1" destOrd="0" parTransId="{EF2BA78B-1736-4A0A-ABBB-FAE807F3CD27}" sibTransId="{D2998743-1CC8-4AE3-8DE2-51078A48B974}"/>
    <dgm:cxn modelId="{96807F93-ACC7-4576-9687-62EE0792127C}" type="presOf" srcId="{9207D4A7-766D-4A2B-BC37-EBA9E25B5F9D}" destId="{3572DF49-8F61-4141-A4E8-AEBDDB5681C8}" srcOrd="1" destOrd="0" presId="urn:microsoft.com/office/officeart/2005/8/layout/list1"/>
    <dgm:cxn modelId="{51A53A98-7447-47FA-888D-D18F21BEF043}" type="presOf" srcId="{BA1CDC1E-572F-4B02-B8F5-9C90DED25E47}" destId="{48E45C1C-6F29-4477-B7D5-7189753B05AA}" srcOrd="0" destOrd="3" presId="urn:microsoft.com/office/officeart/2005/8/layout/list1"/>
    <dgm:cxn modelId="{B10C4D9F-71F6-4D05-ADCF-5E4F598761BC}" srcId="{9207D4A7-766D-4A2B-BC37-EBA9E25B5F9D}" destId="{CCBAF39D-BB7C-409E-BDA7-A4430C1A7CEC}" srcOrd="0" destOrd="0" parTransId="{647359D3-E26A-43EF-96AB-7BA548701091}" sibTransId="{ED1AD3DB-589F-4E56-B549-052D71F6510A}"/>
    <dgm:cxn modelId="{95DAF6AD-2B97-419E-A414-5E5DC4E9D14A}" type="presOf" srcId="{9207D4A7-766D-4A2B-BC37-EBA9E25B5F9D}" destId="{36347A2E-167B-437A-93A0-5D4EDF4FFEE7}" srcOrd="0" destOrd="0" presId="urn:microsoft.com/office/officeart/2005/8/layout/list1"/>
    <dgm:cxn modelId="{535E1EB2-6ED0-43E3-855E-E54B8371DD61}" srcId="{C3D48A20-04DA-4B82-B4E9-D992013F0A58}" destId="{4AD683F4-40D1-431C-8793-B0577262514A}" srcOrd="0" destOrd="0" parTransId="{8819628E-0CF1-44C9-A23E-36E6D19826EC}" sibTransId="{D02CEC33-7A1C-4391-8F9C-644550012852}"/>
    <dgm:cxn modelId="{1882A4BE-9916-4403-8D2E-9B7E8D4FCE9A}" type="presOf" srcId="{755964C9-FB5D-4B48-A21D-BF68251B8147}" destId="{1555B16C-D84A-4DC6-BA3E-17098322EE86}" srcOrd="0" destOrd="0" presId="urn:microsoft.com/office/officeart/2005/8/layout/list1"/>
    <dgm:cxn modelId="{F52DF4CE-3E6C-4881-8B8F-CEC63DCD4A43}" type="presOf" srcId="{2E0E70AA-D278-4D0D-8952-2B65B85660BB}" destId="{48E45C1C-6F29-4477-B7D5-7189753B05AA}" srcOrd="0" destOrd="4" presId="urn:microsoft.com/office/officeart/2005/8/layout/list1"/>
    <dgm:cxn modelId="{2C7D3FD2-5BFC-43A0-AA45-B2471D9A1CAD}" type="presOf" srcId="{C3D48A20-04DA-4B82-B4E9-D992013F0A58}" destId="{48E45C1C-6F29-4477-B7D5-7189753B05AA}" srcOrd="0" destOrd="1" presId="urn:microsoft.com/office/officeart/2005/8/layout/list1"/>
    <dgm:cxn modelId="{FD25EBE2-B056-4E60-B57B-6AA856A276F6}" type="presOf" srcId="{30CDAD30-6611-468C-94AF-9CF75F25238F}" destId="{A56463A0-C717-4F7B-8E1B-B6B0BB9A0836}" srcOrd="0" destOrd="0" presId="urn:microsoft.com/office/officeart/2005/8/layout/list1"/>
    <dgm:cxn modelId="{EF83E7E3-8EC1-4B71-9E34-BD9092D49308}" srcId="{30CDAD30-6611-468C-94AF-9CF75F25238F}" destId="{C50E27F8-7EC1-4A71-9BEA-30B7AA3C41DF}" srcOrd="3" destOrd="0" parTransId="{6D27F6D3-98A1-4F8B-B3F6-4D48D835C1B2}" sibTransId="{8DB09524-BA15-42D6-8976-97E56397E520}"/>
    <dgm:cxn modelId="{C68F9AE5-7CE5-48CB-8722-9774960E32FC}" type="presOf" srcId="{C50E27F8-7EC1-4A71-9BEA-30B7AA3C41DF}" destId="{4B1E05CA-C455-4521-804A-9E79BF2545EB}" srcOrd="0" destOrd="3" presId="urn:microsoft.com/office/officeart/2005/8/layout/list1"/>
    <dgm:cxn modelId="{822DEE13-E60A-4020-A708-8C497975D48A}" type="presParOf" srcId="{1555B16C-D84A-4DC6-BA3E-17098322EE86}" destId="{4E2982AF-D7AD-4F62-B41F-7D2FE12953A4}" srcOrd="0" destOrd="0" presId="urn:microsoft.com/office/officeart/2005/8/layout/list1"/>
    <dgm:cxn modelId="{CC13C6D8-1BFA-4CCD-8A50-91D8C5679C04}" type="presParOf" srcId="{4E2982AF-D7AD-4F62-B41F-7D2FE12953A4}" destId="{36347A2E-167B-437A-93A0-5D4EDF4FFEE7}" srcOrd="0" destOrd="0" presId="urn:microsoft.com/office/officeart/2005/8/layout/list1"/>
    <dgm:cxn modelId="{7CB8FD07-85BF-4512-AD9F-5A1BC1391354}" type="presParOf" srcId="{4E2982AF-D7AD-4F62-B41F-7D2FE12953A4}" destId="{3572DF49-8F61-4141-A4E8-AEBDDB5681C8}" srcOrd="1" destOrd="0" presId="urn:microsoft.com/office/officeart/2005/8/layout/list1"/>
    <dgm:cxn modelId="{0E5A775D-BCA6-48DB-AD8A-B369DF4D8A17}" type="presParOf" srcId="{1555B16C-D84A-4DC6-BA3E-17098322EE86}" destId="{59E2EB4A-3EBA-4714-BFAD-32B928214B8A}" srcOrd="1" destOrd="0" presId="urn:microsoft.com/office/officeart/2005/8/layout/list1"/>
    <dgm:cxn modelId="{88074EFE-B2CF-4830-9232-5824DC38C392}" type="presParOf" srcId="{1555B16C-D84A-4DC6-BA3E-17098322EE86}" destId="{48E45C1C-6F29-4477-B7D5-7189753B05AA}" srcOrd="2" destOrd="0" presId="urn:microsoft.com/office/officeart/2005/8/layout/list1"/>
    <dgm:cxn modelId="{21C1D5A2-C1BB-4BD0-AE89-BFE64CD4CE99}" type="presParOf" srcId="{1555B16C-D84A-4DC6-BA3E-17098322EE86}" destId="{A2C7AF23-6A37-4EF3-9F1E-0653FA18257F}" srcOrd="3" destOrd="0" presId="urn:microsoft.com/office/officeart/2005/8/layout/list1"/>
    <dgm:cxn modelId="{695D712A-BB7C-4254-BC65-7AA17B45234A}" type="presParOf" srcId="{1555B16C-D84A-4DC6-BA3E-17098322EE86}" destId="{0A24AEF0-1C18-446A-87AC-7ACABB36D09A}" srcOrd="4" destOrd="0" presId="urn:microsoft.com/office/officeart/2005/8/layout/list1"/>
    <dgm:cxn modelId="{87FE3B05-C4EB-42D9-BAF4-1B80C544FC20}" type="presParOf" srcId="{0A24AEF0-1C18-446A-87AC-7ACABB36D09A}" destId="{A56463A0-C717-4F7B-8E1B-B6B0BB9A0836}" srcOrd="0" destOrd="0" presId="urn:microsoft.com/office/officeart/2005/8/layout/list1"/>
    <dgm:cxn modelId="{94D5A883-3434-40FB-AC4B-E2D9E360D9A0}" type="presParOf" srcId="{0A24AEF0-1C18-446A-87AC-7ACABB36D09A}" destId="{8FC4D900-290B-4A1E-B84E-605D9A039B37}" srcOrd="1" destOrd="0" presId="urn:microsoft.com/office/officeart/2005/8/layout/list1"/>
    <dgm:cxn modelId="{41FAE263-5B61-4595-BA6B-8ED04A1C75AD}" type="presParOf" srcId="{1555B16C-D84A-4DC6-BA3E-17098322EE86}" destId="{36616D87-4644-4607-949A-E0FDE812B0D7}" srcOrd="5" destOrd="0" presId="urn:microsoft.com/office/officeart/2005/8/layout/list1"/>
    <dgm:cxn modelId="{AA368DA2-70C0-4797-A7D9-250C4E77445D}" type="presParOf" srcId="{1555B16C-D84A-4DC6-BA3E-17098322EE86}" destId="{4B1E05CA-C455-4521-804A-9E79BF2545EB}"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55964C9-FB5D-4B48-A21D-BF68251B814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207D4A7-766D-4A2B-BC37-EBA9E25B5F9D}">
      <dgm:prSet/>
      <dgm:spPr/>
      <dgm:t>
        <a:bodyPr/>
        <a:lstStyle/>
        <a:p>
          <a:pPr algn="ctr"/>
          <a:endParaRPr lang="en-US" dirty="0"/>
        </a:p>
        <a:p>
          <a:pPr algn="ctr"/>
          <a:r>
            <a:rPr lang="en-US" b="1" dirty="0"/>
            <a:t>The Rotary Foundation Support Staff</a:t>
          </a:r>
        </a:p>
        <a:p>
          <a:pPr algn="ctr"/>
          <a:endParaRPr lang="en-US" dirty="0"/>
        </a:p>
      </dgm:t>
    </dgm:pt>
    <dgm:pt modelId="{642EC37B-A667-466B-B110-5203B973F381}" type="sibTrans" cxnId="{15C54180-7405-4AEB-900B-280D265E9FBD}">
      <dgm:prSet/>
      <dgm:spPr/>
      <dgm:t>
        <a:bodyPr/>
        <a:lstStyle/>
        <a:p>
          <a:endParaRPr lang="en-US"/>
        </a:p>
      </dgm:t>
    </dgm:pt>
    <dgm:pt modelId="{BC4F1CB0-99C3-4F22-A424-880038BFCF6D}" type="parTrans" cxnId="{15C54180-7405-4AEB-900B-280D265E9FBD}">
      <dgm:prSet/>
      <dgm:spPr/>
      <dgm:t>
        <a:bodyPr/>
        <a:lstStyle/>
        <a:p>
          <a:endParaRPr lang="en-US"/>
        </a:p>
      </dgm:t>
    </dgm:pt>
    <dgm:pt modelId="{3ED3AC52-56EC-4C31-9080-3D5E410F73DE}">
      <dgm:prSet/>
      <dgm:spPr/>
      <dgm:t>
        <a:bodyPr/>
        <a:lstStyle/>
        <a:p>
          <a:endParaRPr lang="en-US" dirty="0"/>
        </a:p>
      </dgm:t>
    </dgm:pt>
    <dgm:pt modelId="{D3A7E4A4-2D6E-4BCF-9A32-1237C9580AD6}" type="sibTrans" cxnId="{375C7B26-D7A4-47A8-97DA-472BEA549ECC}">
      <dgm:prSet/>
      <dgm:spPr/>
      <dgm:t>
        <a:bodyPr/>
        <a:lstStyle/>
        <a:p>
          <a:endParaRPr lang="en-US"/>
        </a:p>
      </dgm:t>
    </dgm:pt>
    <dgm:pt modelId="{73F5CCB7-8606-42C8-9721-0332753E537A}" type="parTrans" cxnId="{375C7B26-D7A4-47A8-97DA-472BEA549ECC}">
      <dgm:prSet/>
      <dgm:spPr/>
      <dgm:t>
        <a:bodyPr/>
        <a:lstStyle/>
        <a:p>
          <a:endParaRPr lang="en-US"/>
        </a:p>
      </dgm:t>
    </dgm:pt>
    <dgm:pt modelId="{5D5616B8-60C9-4979-B4A1-396FCB489EC2}" type="pres">
      <dgm:prSet presAssocID="{755964C9-FB5D-4B48-A21D-BF68251B8147}" presName="linear" presStyleCnt="0">
        <dgm:presLayoutVars>
          <dgm:animLvl val="lvl"/>
          <dgm:resizeHandles val="exact"/>
        </dgm:presLayoutVars>
      </dgm:prSet>
      <dgm:spPr/>
    </dgm:pt>
    <dgm:pt modelId="{06136681-9232-42EA-80FA-A37B1F662A1D}" type="pres">
      <dgm:prSet presAssocID="{9207D4A7-766D-4A2B-BC37-EBA9E25B5F9D}" presName="parentText" presStyleLbl="node1" presStyleIdx="0" presStyleCnt="1" custScaleY="23428" custLinFactY="-20634" custLinFactNeighborX="0" custLinFactNeighborY="-100000">
        <dgm:presLayoutVars>
          <dgm:chMax val="0"/>
          <dgm:bulletEnabled val="1"/>
        </dgm:presLayoutVars>
      </dgm:prSet>
      <dgm:spPr/>
    </dgm:pt>
    <dgm:pt modelId="{EAADBEC3-66C2-4ECB-89E5-2A5C56082CC3}" type="pres">
      <dgm:prSet presAssocID="{9207D4A7-766D-4A2B-BC37-EBA9E25B5F9D}" presName="childText" presStyleLbl="revTx" presStyleIdx="0" presStyleCnt="1">
        <dgm:presLayoutVars>
          <dgm:bulletEnabled val="1"/>
        </dgm:presLayoutVars>
      </dgm:prSet>
      <dgm:spPr/>
    </dgm:pt>
  </dgm:ptLst>
  <dgm:cxnLst>
    <dgm:cxn modelId="{375C7B26-D7A4-47A8-97DA-472BEA549ECC}" srcId="{9207D4A7-766D-4A2B-BC37-EBA9E25B5F9D}" destId="{3ED3AC52-56EC-4C31-9080-3D5E410F73DE}" srcOrd="0" destOrd="0" parTransId="{73F5CCB7-8606-42C8-9721-0332753E537A}" sibTransId="{D3A7E4A4-2D6E-4BCF-9A32-1237C9580AD6}"/>
    <dgm:cxn modelId="{34F14742-575A-4DDC-A637-E98B01ED3F74}" type="presOf" srcId="{755964C9-FB5D-4B48-A21D-BF68251B8147}" destId="{5D5616B8-60C9-4979-B4A1-396FCB489EC2}" srcOrd="0" destOrd="0" presId="urn:microsoft.com/office/officeart/2005/8/layout/vList2"/>
    <dgm:cxn modelId="{15C54180-7405-4AEB-900B-280D265E9FBD}" srcId="{755964C9-FB5D-4B48-A21D-BF68251B8147}" destId="{9207D4A7-766D-4A2B-BC37-EBA9E25B5F9D}" srcOrd="0" destOrd="0" parTransId="{BC4F1CB0-99C3-4F22-A424-880038BFCF6D}" sibTransId="{642EC37B-A667-466B-B110-5203B973F381}"/>
    <dgm:cxn modelId="{258F32EF-74BE-4859-86D4-BC5910B8C4B2}" type="presOf" srcId="{9207D4A7-766D-4A2B-BC37-EBA9E25B5F9D}" destId="{06136681-9232-42EA-80FA-A37B1F662A1D}" srcOrd="0" destOrd="0" presId="urn:microsoft.com/office/officeart/2005/8/layout/vList2"/>
    <dgm:cxn modelId="{F67E5EF3-02EF-4E74-B3C5-C966EE585D67}" type="presOf" srcId="{3ED3AC52-56EC-4C31-9080-3D5E410F73DE}" destId="{EAADBEC3-66C2-4ECB-89E5-2A5C56082CC3}" srcOrd="0" destOrd="0" presId="urn:microsoft.com/office/officeart/2005/8/layout/vList2"/>
    <dgm:cxn modelId="{77460724-55B0-4154-8D08-FC96F6E558A4}" type="presParOf" srcId="{5D5616B8-60C9-4979-B4A1-396FCB489EC2}" destId="{06136681-9232-42EA-80FA-A37B1F662A1D}" srcOrd="0" destOrd="0" presId="urn:microsoft.com/office/officeart/2005/8/layout/vList2"/>
    <dgm:cxn modelId="{CA8BA618-EFF7-4A07-8085-E71FB2DAF9B7}" type="presParOf" srcId="{5D5616B8-60C9-4979-B4A1-396FCB489EC2}" destId="{EAADBEC3-66C2-4ECB-89E5-2A5C56082CC3}"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55964C9-FB5D-4B48-A21D-BF68251B814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207D4A7-766D-4A2B-BC37-EBA9E25B5F9D}">
      <dgm:prSet custT="1"/>
      <dgm:spPr/>
      <dgm:t>
        <a:bodyPr/>
        <a:lstStyle/>
        <a:p>
          <a:pPr algn="ctr"/>
          <a:r>
            <a:rPr lang="en-US" sz="3600" dirty="0"/>
            <a:t>Each District Will Decide to:</a:t>
          </a:r>
        </a:p>
      </dgm:t>
    </dgm:pt>
    <dgm:pt modelId="{642EC37B-A667-466B-B110-5203B973F381}" type="sibTrans" cxnId="{15C54180-7405-4AEB-900B-280D265E9FBD}">
      <dgm:prSet/>
      <dgm:spPr/>
      <dgm:t>
        <a:bodyPr/>
        <a:lstStyle/>
        <a:p>
          <a:endParaRPr lang="en-US"/>
        </a:p>
      </dgm:t>
    </dgm:pt>
    <dgm:pt modelId="{BC4F1CB0-99C3-4F22-A424-880038BFCF6D}" type="parTrans" cxnId="{15C54180-7405-4AEB-900B-280D265E9FBD}">
      <dgm:prSet/>
      <dgm:spPr/>
      <dgm:t>
        <a:bodyPr/>
        <a:lstStyle/>
        <a:p>
          <a:endParaRPr lang="en-US"/>
        </a:p>
      </dgm:t>
    </dgm:pt>
    <dgm:pt modelId="{3ED3AC52-56EC-4C31-9080-3D5E410F73DE}">
      <dgm:prSet/>
      <dgm:spPr/>
      <dgm:t>
        <a:bodyPr/>
        <a:lstStyle/>
        <a:p>
          <a:endParaRPr lang="en-US" dirty="0"/>
        </a:p>
      </dgm:t>
    </dgm:pt>
    <dgm:pt modelId="{D3A7E4A4-2D6E-4BCF-9A32-1237C9580AD6}" type="sibTrans" cxnId="{375C7B26-D7A4-47A8-97DA-472BEA549ECC}">
      <dgm:prSet/>
      <dgm:spPr/>
      <dgm:t>
        <a:bodyPr/>
        <a:lstStyle/>
        <a:p>
          <a:endParaRPr lang="en-US"/>
        </a:p>
      </dgm:t>
    </dgm:pt>
    <dgm:pt modelId="{73F5CCB7-8606-42C8-9721-0332753E537A}" type="parTrans" cxnId="{375C7B26-D7A4-47A8-97DA-472BEA549ECC}">
      <dgm:prSet/>
      <dgm:spPr/>
      <dgm:t>
        <a:bodyPr/>
        <a:lstStyle/>
        <a:p>
          <a:endParaRPr lang="en-US"/>
        </a:p>
      </dgm:t>
    </dgm:pt>
    <dgm:pt modelId="{5D5616B8-60C9-4979-B4A1-396FCB489EC2}" type="pres">
      <dgm:prSet presAssocID="{755964C9-FB5D-4B48-A21D-BF68251B8147}" presName="linear" presStyleCnt="0">
        <dgm:presLayoutVars>
          <dgm:animLvl val="lvl"/>
          <dgm:resizeHandles val="exact"/>
        </dgm:presLayoutVars>
      </dgm:prSet>
      <dgm:spPr/>
    </dgm:pt>
    <dgm:pt modelId="{06136681-9232-42EA-80FA-A37B1F662A1D}" type="pres">
      <dgm:prSet presAssocID="{9207D4A7-766D-4A2B-BC37-EBA9E25B5F9D}" presName="parentText" presStyleLbl="node1" presStyleIdx="0" presStyleCnt="1" custScaleY="167182" custLinFactY="-53354" custLinFactNeighborX="-1086" custLinFactNeighborY="-100000">
        <dgm:presLayoutVars>
          <dgm:chMax val="0"/>
          <dgm:bulletEnabled val="1"/>
        </dgm:presLayoutVars>
      </dgm:prSet>
      <dgm:spPr/>
    </dgm:pt>
    <dgm:pt modelId="{EAADBEC3-66C2-4ECB-89E5-2A5C56082CC3}" type="pres">
      <dgm:prSet presAssocID="{9207D4A7-766D-4A2B-BC37-EBA9E25B5F9D}" presName="childText" presStyleLbl="revTx" presStyleIdx="0" presStyleCnt="1">
        <dgm:presLayoutVars>
          <dgm:bulletEnabled val="1"/>
        </dgm:presLayoutVars>
      </dgm:prSet>
      <dgm:spPr/>
    </dgm:pt>
  </dgm:ptLst>
  <dgm:cxnLst>
    <dgm:cxn modelId="{375C7B26-D7A4-47A8-97DA-472BEA549ECC}" srcId="{9207D4A7-766D-4A2B-BC37-EBA9E25B5F9D}" destId="{3ED3AC52-56EC-4C31-9080-3D5E410F73DE}" srcOrd="0" destOrd="0" parTransId="{73F5CCB7-8606-42C8-9721-0332753E537A}" sibTransId="{D3A7E4A4-2D6E-4BCF-9A32-1237C9580AD6}"/>
    <dgm:cxn modelId="{34F14742-575A-4DDC-A637-E98B01ED3F74}" type="presOf" srcId="{755964C9-FB5D-4B48-A21D-BF68251B8147}" destId="{5D5616B8-60C9-4979-B4A1-396FCB489EC2}" srcOrd="0" destOrd="0" presId="urn:microsoft.com/office/officeart/2005/8/layout/vList2"/>
    <dgm:cxn modelId="{15C54180-7405-4AEB-900B-280D265E9FBD}" srcId="{755964C9-FB5D-4B48-A21D-BF68251B8147}" destId="{9207D4A7-766D-4A2B-BC37-EBA9E25B5F9D}" srcOrd="0" destOrd="0" parTransId="{BC4F1CB0-99C3-4F22-A424-880038BFCF6D}" sibTransId="{642EC37B-A667-466B-B110-5203B973F381}"/>
    <dgm:cxn modelId="{258F32EF-74BE-4859-86D4-BC5910B8C4B2}" type="presOf" srcId="{9207D4A7-766D-4A2B-BC37-EBA9E25B5F9D}" destId="{06136681-9232-42EA-80FA-A37B1F662A1D}" srcOrd="0" destOrd="0" presId="urn:microsoft.com/office/officeart/2005/8/layout/vList2"/>
    <dgm:cxn modelId="{F67E5EF3-02EF-4E74-B3C5-C966EE585D67}" type="presOf" srcId="{3ED3AC52-56EC-4C31-9080-3D5E410F73DE}" destId="{EAADBEC3-66C2-4ECB-89E5-2A5C56082CC3}" srcOrd="0" destOrd="0" presId="urn:microsoft.com/office/officeart/2005/8/layout/vList2"/>
    <dgm:cxn modelId="{77460724-55B0-4154-8D08-FC96F6E558A4}" type="presParOf" srcId="{5D5616B8-60C9-4979-B4A1-396FCB489EC2}" destId="{06136681-9232-42EA-80FA-A37B1F662A1D}" srcOrd="0" destOrd="0" presId="urn:microsoft.com/office/officeart/2005/8/layout/vList2"/>
    <dgm:cxn modelId="{CA8BA618-EFF7-4A07-8085-E71FB2DAF9B7}" type="presParOf" srcId="{5D5616B8-60C9-4979-B4A1-396FCB489EC2}" destId="{EAADBEC3-66C2-4ECB-89E5-2A5C56082CC3}"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053C59E-67B1-4A93-BC34-2DEDB9389D7C}" type="doc">
      <dgm:prSet loTypeId="urn:microsoft.com/office/officeart/2016/7/layout/VerticalHollowActionList" loCatId="List" qsTypeId="urn:microsoft.com/office/officeart/2005/8/quickstyle/simple1" qsCatId="simple" csTypeId="urn:microsoft.com/office/officeart/2005/8/colors/accent1_2" csCatId="accent1" phldr="1"/>
      <dgm:spPr/>
      <dgm:t>
        <a:bodyPr/>
        <a:lstStyle/>
        <a:p>
          <a:endParaRPr lang="en-US"/>
        </a:p>
      </dgm:t>
    </dgm:pt>
    <dgm:pt modelId="{5A7C532C-3B9D-4458-A6E5-5FD3026E8D87}">
      <dgm:prSet custT="1"/>
      <dgm:spPr/>
      <dgm:t>
        <a:bodyPr/>
        <a:lstStyle/>
        <a:p>
          <a:r>
            <a:rPr lang="en-US" sz="2400" dirty="0"/>
            <a:t>Establish</a:t>
          </a:r>
        </a:p>
      </dgm:t>
    </dgm:pt>
    <dgm:pt modelId="{D6E728C2-C2E4-440E-9118-795E9A369112}" type="parTrans" cxnId="{D694487B-FA8E-41C9-ADA7-1245174C44BD}">
      <dgm:prSet/>
      <dgm:spPr/>
      <dgm:t>
        <a:bodyPr/>
        <a:lstStyle/>
        <a:p>
          <a:endParaRPr lang="en-US" sz="2000"/>
        </a:p>
      </dgm:t>
    </dgm:pt>
    <dgm:pt modelId="{4C81A3A5-C0BA-4A80-9F58-DCE0FE3C6ED7}" type="sibTrans" cxnId="{D694487B-FA8E-41C9-ADA7-1245174C44BD}">
      <dgm:prSet/>
      <dgm:spPr/>
      <dgm:t>
        <a:bodyPr/>
        <a:lstStyle/>
        <a:p>
          <a:endParaRPr lang="en-US" sz="2000"/>
        </a:p>
      </dgm:t>
    </dgm:pt>
    <dgm:pt modelId="{3177A3BE-7232-48B0-8F86-A368568F522B}">
      <dgm:prSet custT="1"/>
      <dgm:spPr/>
      <dgm:t>
        <a:bodyPr/>
        <a:lstStyle/>
        <a:p>
          <a:r>
            <a:rPr lang="en-US" sz="1800"/>
            <a:t>Establish a PolioPlus Society Chair</a:t>
          </a:r>
        </a:p>
      </dgm:t>
    </dgm:pt>
    <dgm:pt modelId="{E66A3CF8-2A63-4902-8E52-3556E2071B15}" type="parTrans" cxnId="{85332132-876D-4747-8E7B-4893D0F616D9}">
      <dgm:prSet/>
      <dgm:spPr/>
      <dgm:t>
        <a:bodyPr/>
        <a:lstStyle/>
        <a:p>
          <a:endParaRPr lang="en-US" sz="2000"/>
        </a:p>
      </dgm:t>
    </dgm:pt>
    <dgm:pt modelId="{D556DA16-E06A-416F-84F8-9CA5AF47CF54}" type="sibTrans" cxnId="{85332132-876D-4747-8E7B-4893D0F616D9}">
      <dgm:prSet/>
      <dgm:spPr/>
      <dgm:t>
        <a:bodyPr/>
        <a:lstStyle/>
        <a:p>
          <a:endParaRPr lang="en-US" sz="2000"/>
        </a:p>
      </dgm:t>
    </dgm:pt>
    <dgm:pt modelId="{12BFEE6C-3C7E-47F9-8AD0-4CFAC7FFBCD7}">
      <dgm:prSet custT="1"/>
      <dgm:spPr/>
      <dgm:t>
        <a:bodyPr/>
        <a:lstStyle/>
        <a:p>
          <a:r>
            <a:rPr lang="en-US" sz="2400"/>
            <a:t>Include</a:t>
          </a:r>
        </a:p>
      </dgm:t>
    </dgm:pt>
    <dgm:pt modelId="{3098B7CC-8BCF-45CF-9726-742D70A1F395}" type="parTrans" cxnId="{48F10694-7E58-49A4-BEF6-8AF298A55A10}">
      <dgm:prSet/>
      <dgm:spPr/>
      <dgm:t>
        <a:bodyPr/>
        <a:lstStyle/>
        <a:p>
          <a:endParaRPr lang="en-US" sz="2000"/>
        </a:p>
      </dgm:t>
    </dgm:pt>
    <dgm:pt modelId="{5CB739F4-4CE1-41C7-88A5-50B38A20A507}" type="sibTrans" cxnId="{48F10694-7E58-49A4-BEF6-8AF298A55A10}">
      <dgm:prSet/>
      <dgm:spPr/>
      <dgm:t>
        <a:bodyPr/>
        <a:lstStyle/>
        <a:p>
          <a:endParaRPr lang="en-US" sz="2000"/>
        </a:p>
      </dgm:t>
    </dgm:pt>
    <dgm:pt modelId="{60699F57-8726-42AD-A628-7F953DF09438}">
      <dgm:prSet custT="1"/>
      <dgm:spPr/>
      <dgm:t>
        <a:bodyPr/>
        <a:lstStyle/>
        <a:p>
          <a:r>
            <a:rPr lang="en-US" sz="1800" dirty="0"/>
            <a:t>Include a budget line item for recognition items if used</a:t>
          </a:r>
          <a:br>
            <a:rPr lang="en-US" sz="1800" dirty="0"/>
          </a:br>
          <a:endParaRPr lang="en-US" sz="1800" dirty="0"/>
        </a:p>
      </dgm:t>
    </dgm:pt>
    <dgm:pt modelId="{2BB75F27-8B97-47E8-B44D-E3FB7F68E0EA}" type="parTrans" cxnId="{0CBD043D-829D-4437-B2E4-D1FB4ED0D771}">
      <dgm:prSet/>
      <dgm:spPr/>
      <dgm:t>
        <a:bodyPr/>
        <a:lstStyle/>
        <a:p>
          <a:endParaRPr lang="en-US" sz="2000"/>
        </a:p>
      </dgm:t>
    </dgm:pt>
    <dgm:pt modelId="{6E4B1D65-3FDD-4DB6-9225-4F143BCB418D}" type="sibTrans" cxnId="{0CBD043D-829D-4437-B2E4-D1FB4ED0D771}">
      <dgm:prSet/>
      <dgm:spPr/>
      <dgm:t>
        <a:bodyPr/>
        <a:lstStyle/>
        <a:p>
          <a:endParaRPr lang="en-US" sz="2000"/>
        </a:p>
      </dgm:t>
    </dgm:pt>
    <dgm:pt modelId="{A87030FE-9683-480C-8BA5-D526ACC1E685}">
      <dgm:prSet custT="1"/>
      <dgm:spPr/>
      <dgm:t>
        <a:bodyPr/>
        <a:lstStyle/>
        <a:p>
          <a:r>
            <a:rPr lang="en-US" sz="2400"/>
            <a:t>Use</a:t>
          </a:r>
        </a:p>
      </dgm:t>
    </dgm:pt>
    <dgm:pt modelId="{1A021B5A-53F7-4EBA-9535-5A3CC6F09B0B}" type="parTrans" cxnId="{EA5DDC7C-468F-487A-BA94-C767133BE496}">
      <dgm:prSet/>
      <dgm:spPr/>
      <dgm:t>
        <a:bodyPr/>
        <a:lstStyle/>
        <a:p>
          <a:endParaRPr lang="en-US" sz="2000"/>
        </a:p>
      </dgm:t>
    </dgm:pt>
    <dgm:pt modelId="{F8CF0E23-A148-4805-98CB-AB8A68DC0678}" type="sibTrans" cxnId="{EA5DDC7C-468F-487A-BA94-C767133BE496}">
      <dgm:prSet/>
      <dgm:spPr/>
      <dgm:t>
        <a:bodyPr/>
        <a:lstStyle/>
        <a:p>
          <a:endParaRPr lang="en-US" sz="2000"/>
        </a:p>
      </dgm:t>
    </dgm:pt>
    <dgm:pt modelId="{22E52804-E870-4FCA-BB34-5B755D874C1F}">
      <dgm:prSet custT="1"/>
      <dgm:spPr/>
      <dgm:t>
        <a:bodyPr/>
        <a:lstStyle/>
        <a:p>
          <a:r>
            <a:rPr lang="en-US" sz="1800" dirty="0"/>
            <a:t>Use of pins and/or certificates at the individual and/or club level</a:t>
          </a:r>
        </a:p>
      </dgm:t>
    </dgm:pt>
    <dgm:pt modelId="{DBA0F8EE-E2F1-405C-8FEE-118940C37917}" type="parTrans" cxnId="{CEE4B165-A643-4907-9D86-8D5A5A522468}">
      <dgm:prSet/>
      <dgm:spPr/>
      <dgm:t>
        <a:bodyPr/>
        <a:lstStyle/>
        <a:p>
          <a:endParaRPr lang="en-US" sz="2000"/>
        </a:p>
      </dgm:t>
    </dgm:pt>
    <dgm:pt modelId="{A4A215BB-37B8-49F9-8CA3-FCAC0064C585}" type="sibTrans" cxnId="{CEE4B165-A643-4907-9D86-8D5A5A522468}">
      <dgm:prSet/>
      <dgm:spPr/>
      <dgm:t>
        <a:bodyPr/>
        <a:lstStyle/>
        <a:p>
          <a:endParaRPr lang="en-US" sz="2000"/>
        </a:p>
      </dgm:t>
    </dgm:pt>
    <dgm:pt modelId="{83CF09E3-2714-4994-8291-5D7B88F46187}">
      <dgm:prSet custT="1"/>
      <dgm:spPr/>
      <dgm:t>
        <a:bodyPr/>
        <a:lstStyle/>
        <a:p>
          <a:r>
            <a:rPr lang="en-US" sz="2400"/>
            <a:t>Include</a:t>
          </a:r>
        </a:p>
      </dgm:t>
    </dgm:pt>
    <dgm:pt modelId="{0E104D4C-B4CD-44A6-9D0D-AE0A07009E80}" type="parTrans" cxnId="{2C9F131F-1E5E-43B6-8542-7E5370C827BF}">
      <dgm:prSet/>
      <dgm:spPr/>
      <dgm:t>
        <a:bodyPr/>
        <a:lstStyle/>
        <a:p>
          <a:endParaRPr lang="en-US" sz="2000"/>
        </a:p>
      </dgm:t>
    </dgm:pt>
    <dgm:pt modelId="{A33BC272-BFE1-4322-BDB5-D4758E974413}" type="sibTrans" cxnId="{2C9F131F-1E5E-43B6-8542-7E5370C827BF}">
      <dgm:prSet/>
      <dgm:spPr/>
      <dgm:t>
        <a:bodyPr/>
        <a:lstStyle/>
        <a:p>
          <a:endParaRPr lang="en-US" sz="2000"/>
        </a:p>
      </dgm:t>
    </dgm:pt>
    <dgm:pt modelId="{9C6A5E53-EECB-455B-BB49-37A2CB2B587D}">
      <dgm:prSet custT="1"/>
      <dgm:spPr/>
      <dgm:t>
        <a:bodyPr/>
        <a:lstStyle/>
        <a:p>
          <a:r>
            <a:rPr lang="en-US" sz="1800"/>
            <a:t>Include Assistant Governors and Public Image Chairs</a:t>
          </a:r>
        </a:p>
      </dgm:t>
    </dgm:pt>
    <dgm:pt modelId="{D756D23E-9BB9-450C-BCE9-362DA53E6E56}" type="parTrans" cxnId="{F45EFAF7-267C-4045-A565-7409CFDFE17B}">
      <dgm:prSet/>
      <dgm:spPr/>
      <dgm:t>
        <a:bodyPr/>
        <a:lstStyle/>
        <a:p>
          <a:endParaRPr lang="en-US" sz="2000"/>
        </a:p>
      </dgm:t>
    </dgm:pt>
    <dgm:pt modelId="{D50BD2BF-AA3E-4B4A-BACE-D11577C75F59}" type="sibTrans" cxnId="{F45EFAF7-267C-4045-A565-7409CFDFE17B}">
      <dgm:prSet/>
      <dgm:spPr/>
      <dgm:t>
        <a:bodyPr/>
        <a:lstStyle/>
        <a:p>
          <a:endParaRPr lang="en-US" sz="2000"/>
        </a:p>
      </dgm:t>
    </dgm:pt>
    <dgm:pt modelId="{F70FC3BB-2CAA-416A-B0FF-6C4561524415}" type="pres">
      <dgm:prSet presAssocID="{C053C59E-67B1-4A93-BC34-2DEDB9389D7C}" presName="Name0" presStyleCnt="0">
        <dgm:presLayoutVars>
          <dgm:dir/>
          <dgm:animLvl val="lvl"/>
          <dgm:resizeHandles val="exact"/>
        </dgm:presLayoutVars>
      </dgm:prSet>
      <dgm:spPr/>
    </dgm:pt>
    <dgm:pt modelId="{2536A17C-CBCD-4F7E-B5A1-4B0C8C7C6AFE}" type="pres">
      <dgm:prSet presAssocID="{5A7C532C-3B9D-4458-A6E5-5FD3026E8D87}" presName="linNode" presStyleCnt="0"/>
      <dgm:spPr/>
    </dgm:pt>
    <dgm:pt modelId="{3D63F85E-4689-4CB3-B1C5-938056355827}" type="pres">
      <dgm:prSet presAssocID="{5A7C532C-3B9D-4458-A6E5-5FD3026E8D87}" presName="parentText" presStyleLbl="solidFgAcc1" presStyleIdx="0" presStyleCnt="4">
        <dgm:presLayoutVars>
          <dgm:chMax val="1"/>
          <dgm:bulletEnabled/>
        </dgm:presLayoutVars>
      </dgm:prSet>
      <dgm:spPr/>
    </dgm:pt>
    <dgm:pt modelId="{F8F397C8-2C88-49D3-B26B-F484F5FB75B5}" type="pres">
      <dgm:prSet presAssocID="{5A7C532C-3B9D-4458-A6E5-5FD3026E8D87}" presName="descendantText" presStyleLbl="alignNode1" presStyleIdx="0" presStyleCnt="4">
        <dgm:presLayoutVars>
          <dgm:bulletEnabled/>
        </dgm:presLayoutVars>
      </dgm:prSet>
      <dgm:spPr/>
    </dgm:pt>
    <dgm:pt modelId="{17839D11-7C35-4DC2-94DE-7486BF5A333B}" type="pres">
      <dgm:prSet presAssocID="{4C81A3A5-C0BA-4A80-9F58-DCE0FE3C6ED7}" presName="sp" presStyleCnt="0"/>
      <dgm:spPr/>
    </dgm:pt>
    <dgm:pt modelId="{E68AE9FA-548A-4F69-AC84-8B19B9A0A660}" type="pres">
      <dgm:prSet presAssocID="{12BFEE6C-3C7E-47F9-8AD0-4CFAC7FFBCD7}" presName="linNode" presStyleCnt="0"/>
      <dgm:spPr/>
    </dgm:pt>
    <dgm:pt modelId="{554B42D2-D257-4697-AFBD-AA0A1163C87E}" type="pres">
      <dgm:prSet presAssocID="{12BFEE6C-3C7E-47F9-8AD0-4CFAC7FFBCD7}" presName="parentText" presStyleLbl="solidFgAcc1" presStyleIdx="1" presStyleCnt="4">
        <dgm:presLayoutVars>
          <dgm:chMax val="1"/>
          <dgm:bulletEnabled/>
        </dgm:presLayoutVars>
      </dgm:prSet>
      <dgm:spPr/>
    </dgm:pt>
    <dgm:pt modelId="{78FB494C-7BAB-45C4-BB05-3ADB8DF8FBD4}" type="pres">
      <dgm:prSet presAssocID="{12BFEE6C-3C7E-47F9-8AD0-4CFAC7FFBCD7}" presName="descendantText" presStyleLbl="alignNode1" presStyleIdx="1" presStyleCnt="4">
        <dgm:presLayoutVars>
          <dgm:bulletEnabled/>
        </dgm:presLayoutVars>
      </dgm:prSet>
      <dgm:spPr/>
    </dgm:pt>
    <dgm:pt modelId="{04E7CD97-58B0-4B69-BEBD-98EAD180234D}" type="pres">
      <dgm:prSet presAssocID="{5CB739F4-4CE1-41C7-88A5-50B38A20A507}" presName="sp" presStyleCnt="0"/>
      <dgm:spPr/>
    </dgm:pt>
    <dgm:pt modelId="{2B6E0B6B-05F3-41C4-90FC-1FDC509B0614}" type="pres">
      <dgm:prSet presAssocID="{A87030FE-9683-480C-8BA5-D526ACC1E685}" presName="linNode" presStyleCnt="0"/>
      <dgm:spPr/>
    </dgm:pt>
    <dgm:pt modelId="{B03F469D-5A10-406F-8B5E-68B8928122F2}" type="pres">
      <dgm:prSet presAssocID="{A87030FE-9683-480C-8BA5-D526ACC1E685}" presName="parentText" presStyleLbl="solidFgAcc1" presStyleIdx="2" presStyleCnt="4">
        <dgm:presLayoutVars>
          <dgm:chMax val="1"/>
          <dgm:bulletEnabled/>
        </dgm:presLayoutVars>
      </dgm:prSet>
      <dgm:spPr/>
    </dgm:pt>
    <dgm:pt modelId="{F3CA5377-641B-43B6-B9CB-AAC13567D869}" type="pres">
      <dgm:prSet presAssocID="{A87030FE-9683-480C-8BA5-D526ACC1E685}" presName="descendantText" presStyleLbl="alignNode1" presStyleIdx="2" presStyleCnt="4">
        <dgm:presLayoutVars>
          <dgm:bulletEnabled/>
        </dgm:presLayoutVars>
      </dgm:prSet>
      <dgm:spPr/>
    </dgm:pt>
    <dgm:pt modelId="{81764BDC-443F-40BF-BCA6-82EC16C0FFAB}" type="pres">
      <dgm:prSet presAssocID="{F8CF0E23-A148-4805-98CB-AB8A68DC0678}" presName="sp" presStyleCnt="0"/>
      <dgm:spPr/>
    </dgm:pt>
    <dgm:pt modelId="{5B090ABD-9359-4FD8-8FD1-F0D985371062}" type="pres">
      <dgm:prSet presAssocID="{83CF09E3-2714-4994-8291-5D7B88F46187}" presName="linNode" presStyleCnt="0"/>
      <dgm:spPr/>
    </dgm:pt>
    <dgm:pt modelId="{453EEFF8-8741-4ACA-909D-56CF2F005283}" type="pres">
      <dgm:prSet presAssocID="{83CF09E3-2714-4994-8291-5D7B88F46187}" presName="parentText" presStyleLbl="solidFgAcc1" presStyleIdx="3" presStyleCnt="4">
        <dgm:presLayoutVars>
          <dgm:chMax val="1"/>
          <dgm:bulletEnabled/>
        </dgm:presLayoutVars>
      </dgm:prSet>
      <dgm:spPr/>
    </dgm:pt>
    <dgm:pt modelId="{B240F0F1-38C3-4865-952F-9A146CB4B101}" type="pres">
      <dgm:prSet presAssocID="{83CF09E3-2714-4994-8291-5D7B88F46187}" presName="descendantText" presStyleLbl="alignNode1" presStyleIdx="3" presStyleCnt="4">
        <dgm:presLayoutVars>
          <dgm:bulletEnabled/>
        </dgm:presLayoutVars>
      </dgm:prSet>
      <dgm:spPr/>
    </dgm:pt>
  </dgm:ptLst>
  <dgm:cxnLst>
    <dgm:cxn modelId="{2C9F131F-1E5E-43B6-8542-7E5370C827BF}" srcId="{C053C59E-67B1-4A93-BC34-2DEDB9389D7C}" destId="{83CF09E3-2714-4994-8291-5D7B88F46187}" srcOrd="3" destOrd="0" parTransId="{0E104D4C-B4CD-44A6-9D0D-AE0A07009E80}" sibTransId="{A33BC272-BFE1-4322-BDB5-D4758E974413}"/>
    <dgm:cxn modelId="{D8B27F23-B430-4DD5-9F78-B54EBF0A9EE2}" type="presOf" srcId="{12BFEE6C-3C7E-47F9-8AD0-4CFAC7FFBCD7}" destId="{554B42D2-D257-4697-AFBD-AA0A1163C87E}" srcOrd="0" destOrd="0" presId="urn:microsoft.com/office/officeart/2016/7/layout/VerticalHollowActionList"/>
    <dgm:cxn modelId="{85332132-876D-4747-8E7B-4893D0F616D9}" srcId="{5A7C532C-3B9D-4458-A6E5-5FD3026E8D87}" destId="{3177A3BE-7232-48B0-8F86-A368568F522B}" srcOrd="0" destOrd="0" parTransId="{E66A3CF8-2A63-4902-8E52-3556E2071B15}" sibTransId="{D556DA16-E06A-416F-84F8-9CA5AF47CF54}"/>
    <dgm:cxn modelId="{CB10A638-3831-4335-9E6B-830870852E18}" type="presOf" srcId="{5A7C532C-3B9D-4458-A6E5-5FD3026E8D87}" destId="{3D63F85E-4689-4CB3-B1C5-938056355827}" srcOrd="0" destOrd="0" presId="urn:microsoft.com/office/officeart/2016/7/layout/VerticalHollowActionList"/>
    <dgm:cxn modelId="{0CBD043D-829D-4437-B2E4-D1FB4ED0D771}" srcId="{12BFEE6C-3C7E-47F9-8AD0-4CFAC7FFBCD7}" destId="{60699F57-8726-42AD-A628-7F953DF09438}" srcOrd="0" destOrd="0" parTransId="{2BB75F27-8B97-47E8-B44D-E3FB7F68E0EA}" sibTransId="{6E4B1D65-3FDD-4DB6-9225-4F143BCB418D}"/>
    <dgm:cxn modelId="{CEE4B165-A643-4907-9D86-8D5A5A522468}" srcId="{A87030FE-9683-480C-8BA5-D526ACC1E685}" destId="{22E52804-E870-4FCA-BB34-5B755D874C1F}" srcOrd="0" destOrd="0" parTransId="{DBA0F8EE-E2F1-405C-8FEE-118940C37917}" sibTransId="{A4A215BB-37B8-49F9-8CA3-FCAC0064C585}"/>
    <dgm:cxn modelId="{A3399448-1D49-4AEA-9395-010C311141AA}" type="presOf" srcId="{60699F57-8726-42AD-A628-7F953DF09438}" destId="{78FB494C-7BAB-45C4-BB05-3ADB8DF8FBD4}" srcOrd="0" destOrd="0" presId="urn:microsoft.com/office/officeart/2016/7/layout/VerticalHollowActionList"/>
    <dgm:cxn modelId="{661F9669-9AAF-4D07-A15C-541CC63FB6B2}" type="presOf" srcId="{22E52804-E870-4FCA-BB34-5B755D874C1F}" destId="{F3CA5377-641B-43B6-B9CB-AAC13567D869}" srcOrd="0" destOrd="0" presId="urn:microsoft.com/office/officeart/2016/7/layout/VerticalHollowActionList"/>
    <dgm:cxn modelId="{D694487B-FA8E-41C9-ADA7-1245174C44BD}" srcId="{C053C59E-67B1-4A93-BC34-2DEDB9389D7C}" destId="{5A7C532C-3B9D-4458-A6E5-5FD3026E8D87}" srcOrd="0" destOrd="0" parTransId="{D6E728C2-C2E4-440E-9118-795E9A369112}" sibTransId="{4C81A3A5-C0BA-4A80-9F58-DCE0FE3C6ED7}"/>
    <dgm:cxn modelId="{EA5DDC7C-468F-487A-BA94-C767133BE496}" srcId="{C053C59E-67B1-4A93-BC34-2DEDB9389D7C}" destId="{A87030FE-9683-480C-8BA5-D526ACC1E685}" srcOrd="2" destOrd="0" parTransId="{1A021B5A-53F7-4EBA-9535-5A3CC6F09B0B}" sibTransId="{F8CF0E23-A148-4805-98CB-AB8A68DC0678}"/>
    <dgm:cxn modelId="{48F10694-7E58-49A4-BEF6-8AF298A55A10}" srcId="{C053C59E-67B1-4A93-BC34-2DEDB9389D7C}" destId="{12BFEE6C-3C7E-47F9-8AD0-4CFAC7FFBCD7}" srcOrd="1" destOrd="0" parTransId="{3098B7CC-8BCF-45CF-9726-742D70A1F395}" sibTransId="{5CB739F4-4CE1-41C7-88A5-50B38A20A507}"/>
    <dgm:cxn modelId="{0AB630A8-676A-4064-A721-B3A5C1C16758}" type="presOf" srcId="{9C6A5E53-EECB-455B-BB49-37A2CB2B587D}" destId="{B240F0F1-38C3-4865-952F-9A146CB4B101}" srcOrd="0" destOrd="0" presId="urn:microsoft.com/office/officeart/2016/7/layout/VerticalHollowActionList"/>
    <dgm:cxn modelId="{F35D70BC-CA08-4672-BD86-50224A39B5D5}" type="presOf" srcId="{C053C59E-67B1-4A93-BC34-2DEDB9389D7C}" destId="{F70FC3BB-2CAA-416A-B0FF-6C4561524415}" srcOrd="0" destOrd="0" presId="urn:microsoft.com/office/officeart/2016/7/layout/VerticalHollowActionList"/>
    <dgm:cxn modelId="{DDAB59C2-7C44-4E7F-92FA-2B5BBFEC653B}" type="presOf" srcId="{3177A3BE-7232-48B0-8F86-A368568F522B}" destId="{F8F397C8-2C88-49D3-B26B-F484F5FB75B5}" srcOrd="0" destOrd="0" presId="urn:microsoft.com/office/officeart/2016/7/layout/VerticalHollowActionList"/>
    <dgm:cxn modelId="{EEAB0DE8-D272-494E-9451-B0B5E93A8654}" type="presOf" srcId="{A87030FE-9683-480C-8BA5-D526ACC1E685}" destId="{B03F469D-5A10-406F-8B5E-68B8928122F2}" srcOrd="0" destOrd="0" presId="urn:microsoft.com/office/officeart/2016/7/layout/VerticalHollowActionList"/>
    <dgm:cxn modelId="{E762D7EA-7B2A-4E48-AF69-02A655EEA5A9}" type="presOf" srcId="{83CF09E3-2714-4994-8291-5D7B88F46187}" destId="{453EEFF8-8741-4ACA-909D-56CF2F005283}" srcOrd="0" destOrd="0" presId="urn:microsoft.com/office/officeart/2016/7/layout/VerticalHollowActionList"/>
    <dgm:cxn modelId="{F45EFAF7-267C-4045-A565-7409CFDFE17B}" srcId="{83CF09E3-2714-4994-8291-5D7B88F46187}" destId="{9C6A5E53-EECB-455B-BB49-37A2CB2B587D}" srcOrd="0" destOrd="0" parTransId="{D756D23E-9BB9-450C-BCE9-362DA53E6E56}" sibTransId="{D50BD2BF-AA3E-4B4A-BACE-D11577C75F59}"/>
    <dgm:cxn modelId="{8DEF9897-A8E0-45C1-9A94-35DA2AC33C98}" type="presParOf" srcId="{F70FC3BB-2CAA-416A-B0FF-6C4561524415}" destId="{2536A17C-CBCD-4F7E-B5A1-4B0C8C7C6AFE}" srcOrd="0" destOrd="0" presId="urn:microsoft.com/office/officeart/2016/7/layout/VerticalHollowActionList"/>
    <dgm:cxn modelId="{64E3292E-168E-435F-BB7A-14009518B620}" type="presParOf" srcId="{2536A17C-CBCD-4F7E-B5A1-4B0C8C7C6AFE}" destId="{3D63F85E-4689-4CB3-B1C5-938056355827}" srcOrd="0" destOrd="0" presId="urn:microsoft.com/office/officeart/2016/7/layout/VerticalHollowActionList"/>
    <dgm:cxn modelId="{C6DBEEE7-B7B5-462C-A11F-F572DD9AAC4C}" type="presParOf" srcId="{2536A17C-CBCD-4F7E-B5A1-4B0C8C7C6AFE}" destId="{F8F397C8-2C88-49D3-B26B-F484F5FB75B5}" srcOrd="1" destOrd="0" presId="urn:microsoft.com/office/officeart/2016/7/layout/VerticalHollowActionList"/>
    <dgm:cxn modelId="{3948CEBB-AE20-41B3-A4CC-FF0E10927FE1}" type="presParOf" srcId="{F70FC3BB-2CAA-416A-B0FF-6C4561524415}" destId="{17839D11-7C35-4DC2-94DE-7486BF5A333B}" srcOrd="1" destOrd="0" presId="urn:microsoft.com/office/officeart/2016/7/layout/VerticalHollowActionList"/>
    <dgm:cxn modelId="{9CEBBAE4-35C7-4B66-8CF4-4F932455FF30}" type="presParOf" srcId="{F70FC3BB-2CAA-416A-B0FF-6C4561524415}" destId="{E68AE9FA-548A-4F69-AC84-8B19B9A0A660}" srcOrd="2" destOrd="0" presId="urn:microsoft.com/office/officeart/2016/7/layout/VerticalHollowActionList"/>
    <dgm:cxn modelId="{0C91F67F-E20B-4612-99B5-D49B8B984930}" type="presParOf" srcId="{E68AE9FA-548A-4F69-AC84-8B19B9A0A660}" destId="{554B42D2-D257-4697-AFBD-AA0A1163C87E}" srcOrd="0" destOrd="0" presId="urn:microsoft.com/office/officeart/2016/7/layout/VerticalHollowActionList"/>
    <dgm:cxn modelId="{AECA7A63-369A-4CAA-A95E-C911BB36C473}" type="presParOf" srcId="{E68AE9FA-548A-4F69-AC84-8B19B9A0A660}" destId="{78FB494C-7BAB-45C4-BB05-3ADB8DF8FBD4}" srcOrd="1" destOrd="0" presId="urn:microsoft.com/office/officeart/2016/7/layout/VerticalHollowActionList"/>
    <dgm:cxn modelId="{65C2F9C3-8DBB-48F6-9338-6C4D4E8F5B5F}" type="presParOf" srcId="{F70FC3BB-2CAA-416A-B0FF-6C4561524415}" destId="{04E7CD97-58B0-4B69-BEBD-98EAD180234D}" srcOrd="3" destOrd="0" presId="urn:microsoft.com/office/officeart/2016/7/layout/VerticalHollowActionList"/>
    <dgm:cxn modelId="{7BFA70E8-F424-4CBA-AF57-554F27C0B315}" type="presParOf" srcId="{F70FC3BB-2CAA-416A-B0FF-6C4561524415}" destId="{2B6E0B6B-05F3-41C4-90FC-1FDC509B0614}" srcOrd="4" destOrd="0" presId="urn:microsoft.com/office/officeart/2016/7/layout/VerticalHollowActionList"/>
    <dgm:cxn modelId="{58BC0FDE-2874-4D7D-974D-2E541C27F15E}" type="presParOf" srcId="{2B6E0B6B-05F3-41C4-90FC-1FDC509B0614}" destId="{B03F469D-5A10-406F-8B5E-68B8928122F2}" srcOrd="0" destOrd="0" presId="urn:microsoft.com/office/officeart/2016/7/layout/VerticalHollowActionList"/>
    <dgm:cxn modelId="{D6C9682E-BC21-4779-9FC4-59EC62B911AA}" type="presParOf" srcId="{2B6E0B6B-05F3-41C4-90FC-1FDC509B0614}" destId="{F3CA5377-641B-43B6-B9CB-AAC13567D869}" srcOrd="1" destOrd="0" presId="urn:microsoft.com/office/officeart/2016/7/layout/VerticalHollowActionList"/>
    <dgm:cxn modelId="{20F88C41-F117-4013-8492-51665D6528D1}" type="presParOf" srcId="{F70FC3BB-2CAA-416A-B0FF-6C4561524415}" destId="{81764BDC-443F-40BF-BCA6-82EC16C0FFAB}" srcOrd="5" destOrd="0" presId="urn:microsoft.com/office/officeart/2016/7/layout/VerticalHollowActionList"/>
    <dgm:cxn modelId="{364D4685-EFAC-42F4-A55D-5D4E87776551}" type="presParOf" srcId="{F70FC3BB-2CAA-416A-B0FF-6C4561524415}" destId="{5B090ABD-9359-4FD8-8FD1-F0D985371062}" srcOrd="6" destOrd="0" presId="urn:microsoft.com/office/officeart/2016/7/layout/VerticalHollowActionList"/>
    <dgm:cxn modelId="{56394D96-210B-4D22-A987-831488FD3734}" type="presParOf" srcId="{5B090ABD-9359-4FD8-8FD1-F0D985371062}" destId="{453EEFF8-8741-4ACA-909D-56CF2F005283}" srcOrd="0" destOrd="0" presId="urn:microsoft.com/office/officeart/2016/7/layout/VerticalHollowActionList"/>
    <dgm:cxn modelId="{63D05325-884F-425A-9770-65BAB432820E}" type="presParOf" srcId="{5B090ABD-9359-4FD8-8FD1-F0D985371062}" destId="{B240F0F1-38C3-4865-952F-9A146CB4B101}" srcOrd="1" destOrd="0" presId="urn:microsoft.com/office/officeart/2016/7/layout/VerticalHollowAction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55964C9-FB5D-4B48-A21D-BF68251B8147}"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5D5616B8-60C9-4979-B4A1-396FCB489EC2}" type="pres">
      <dgm:prSet presAssocID="{755964C9-FB5D-4B48-A21D-BF68251B8147}" presName="linear" presStyleCnt="0">
        <dgm:presLayoutVars>
          <dgm:animLvl val="lvl"/>
          <dgm:resizeHandles val="exact"/>
        </dgm:presLayoutVars>
      </dgm:prSet>
      <dgm:spPr/>
    </dgm:pt>
  </dgm:ptLst>
  <dgm:cxnLst>
    <dgm:cxn modelId="{34F14742-575A-4DDC-A637-E98B01ED3F74}" type="presOf" srcId="{755964C9-FB5D-4B48-A21D-BF68251B8147}" destId="{5D5616B8-60C9-4979-B4A1-396FCB489EC2}"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109AD2-365E-46EE-BF52-2DDFB88B54FE}">
      <dsp:nvSpPr>
        <dsp:cNvPr id="0" name=""/>
        <dsp:cNvSpPr/>
      </dsp:nvSpPr>
      <dsp:spPr>
        <a:xfrm>
          <a:off x="0" y="40160"/>
          <a:ext cx="6638821" cy="631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Where the PolioPlus Society idea began?</a:t>
          </a:r>
        </a:p>
      </dsp:txBody>
      <dsp:txXfrm>
        <a:off x="30842" y="71002"/>
        <a:ext cx="6577137" cy="570116"/>
      </dsp:txXfrm>
    </dsp:sp>
    <dsp:sp modelId="{9877D1E6-D1C5-4301-A11A-0C6C37DD792F}">
      <dsp:nvSpPr>
        <dsp:cNvPr id="0" name=""/>
        <dsp:cNvSpPr/>
      </dsp:nvSpPr>
      <dsp:spPr>
        <a:xfrm>
          <a:off x="0" y="749720"/>
          <a:ext cx="6638821" cy="631800"/>
        </a:xfrm>
        <a:prstGeom prst="roundRect">
          <a:avLst/>
        </a:prstGeom>
        <a:solidFill>
          <a:schemeClr val="accent2">
            <a:hueOff val="-4082004"/>
            <a:satOff val="8127"/>
            <a:lumOff val="5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Why a Global initiative </a:t>
          </a:r>
        </a:p>
      </dsp:txBody>
      <dsp:txXfrm>
        <a:off x="30842" y="780562"/>
        <a:ext cx="6577137" cy="570116"/>
      </dsp:txXfrm>
    </dsp:sp>
    <dsp:sp modelId="{4FC36413-CEF9-4EC5-9343-5C5363E31397}">
      <dsp:nvSpPr>
        <dsp:cNvPr id="0" name=""/>
        <dsp:cNvSpPr/>
      </dsp:nvSpPr>
      <dsp:spPr>
        <a:xfrm>
          <a:off x="0" y="1459280"/>
          <a:ext cx="6638821" cy="631800"/>
        </a:xfrm>
        <a:prstGeom prst="roundRect">
          <a:avLst/>
        </a:prstGeom>
        <a:solidFill>
          <a:schemeClr val="accent2">
            <a:hueOff val="-8164007"/>
            <a:satOff val="16254"/>
            <a:lumOff val="10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The Initiative – Grassroots is best</a:t>
          </a:r>
        </a:p>
      </dsp:txBody>
      <dsp:txXfrm>
        <a:off x="30842" y="1490122"/>
        <a:ext cx="6577137" cy="570116"/>
      </dsp:txXfrm>
    </dsp:sp>
    <dsp:sp modelId="{10DDA35B-37FC-438F-849E-CA0AE0C8F009}">
      <dsp:nvSpPr>
        <dsp:cNvPr id="0" name=""/>
        <dsp:cNvSpPr/>
      </dsp:nvSpPr>
      <dsp:spPr>
        <a:xfrm>
          <a:off x="0" y="2091080"/>
          <a:ext cx="6638821" cy="44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78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dirty="0"/>
            <a:t>District led rather than a trustee-approved program</a:t>
          </a:r>
        </a:p>
      </dsp:txBody>
      <dsp:txXfrm>
        <a:off x="0" y="2091080"/>
        <a:ext cx="6638821" cy="447120"/>
      </dsp:txXfrm>
    </dsp:sp>
    <dsp:sp modelId="{A52A36AB-BE13-4C47-A37F-46408924F226}">
      <dsp:nvSpPr>
        <dsp:cNvPr id="0" name=""/>
        <dsp:cNvSpPr/>
      </dsp:nvSpPr>
      <dsp:spPr>
        <a:xfrm>
          <a:off x="0" y="2538200"/>
          <a:ext cx="6638821" cy="631800"/>
        </a:xfrm>
        <a:prstGeom prst="roundRect">
          <a:avLst/>
        </a:prstGeom>
        <a:solidFill>
          <a:schemeClr val="accent2">
            <a:hueOff val="-12246011"/>
            <a:satOff val="24381"/>
            <a:lumOff val="15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Rotary Foundation Support</a:t>
          </a:r>
        </a:p>
      </dsp:txBody>
      <dsp:txXfrm>
        <a:off x="30842" y="2569042"/>
        <a:ext cx="6577137" cy="570116"/>
      </dsp:txXfrm>
    </dsp:sp>
    <dsp:sp modelId="{7CCFCBFF-950F-422D-A847-D5CB1A8EB9F3}">
      <dsp:nvSpPr>
        <dsp:cNvPr id="0" name=""/>
        <dsp:cNvSpPr/>
      </dsp:nvSpPr>
      <dsp:spPr>
        <a:xfrm>
          <a:off x="0" y="3170000"/>
          <a:ext cx="6638821" cy="684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78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New and updated reports</a:t>
          </a:r>
        </a:p>
        <a:p>
          <a:pPr marL="228600" lvl="1" indent="-228600" algn="l" defTabSz="933450">
            <a:lnSpc>
              <a:spcPct val="90000"/>
            </a:lnSpc>
            <a:spcBef>
              <a:spcPct val="0"/>
            </a:spcBef>
            <a:spcAft>
              <a:spcPct val="20000"/>
            </a:spcAft>
            <a:buChar char="•"/>
          </a:pPr>
          <a:r>
            <a:rPr lang="en-US" sz="2100" kern="1200" dirty="0"/>
            <a:t>Power Point Presentation showing </a:t>
          </a:r>
          <a:r>
            <a:rPr lang="en-US" sz="2100" b="1" kern="1200" dirty="0"/>
            <a:t>Best Practices</a:t>
          </a:r>
        </a:p>
      </dsp:txBody>
      <dsp:txXfrm>
        <a:off x="0" y="3170000"/>
        <a:ext cx="6638821" cy="684652"/>
      </dsp:txXfrm>
    </dsp:sp>
    <dsp:sp modelId="{FBFE4318-5B61-46EB-A9A6-3C4F360D4002}">
      <dsp:nvSpPr>
        <dsp:cNvPr id="0" name=""/>
        <dsp:cNvSpPr/>
      </dsp:nvSpPr>
      <dsp:spPr>
        <a:xfrm>
          <a:off x="0" y="3854652"/>
          <a:ext cx="6638821" cy="631800"/>
        </a:xfrm>
        <a:prstGeom prst="roundRect">
          <a:avLst/>
        </a:prstGeom>
        <a:solidFill>
          <a:schemeClr val="accent2">
            <a:hueOff val="-16328015"/>
            <a:satOff val="32508"/>
            <a:lumOff val="20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Recognition</a:t>
          </a:r>
        </a:p>
      </dsp:txBody>
      <dsp:txXfrm>
        <a:off x="30842" y="3885494"/>
        <a:ext cx="6577137" cy="570116"/>
      </dsp:txXfrm>
    </dsp:sp>
    <dsp:sp modelId="{9171F6AC-C4E5-4045-A83D-EF88A6852404}">
      <dsp:nvSpPr>
        <dsp:cNvPr id="0" name=""/>
        <dsp:cNvSpPr/>
      </dsp:nvSpPr>
      <dsp:spPr>
        <a:xfrm>
          <a:off x="0" y="4486452"/>
          <a:ext cx="6638821" cy="9780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783"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en-US" sz="2100" kern="1200"/>
            <a:t>Sample digital certificates to personalize and print</a:t>
          </a:r>
        </a:p>
        <a:p>
          <a:pPr marL="228600" lvl="1" indent="-228600" algn="l" defTabSz="933450">
            <a:lnSpc>
              <a:spcPct val="90000"/>
            </a:lnSpc>
            <a:spcBef>
              <a:spcPct val="0"/>
            </a:spcBef>
            <a:spcAft>
              <a:spcPct val="20000"/>
            </a:spcAft>
            <a:buChar char="•"/>
          </a:pPr>
          <a:r>
            <a:rPr lang="en-US" sz="2100" kern="1200" dirty="0"/>
            <a:t>PolioPlus Society pins available using Rotary licensed vendors</a:t>
          </a:r>
        </a:p>
      </dsp:txBody>
      <dsp:txXfrm>
        <a:off x="0" y="4486452"/>
        <a:ext cx="6638821" cy="9780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136681-9232-42EA-80FA-A37B1F662A1D}">
      <dsp:nvSpPr>
        <dsp:cNvPr id="0" name=""/>
        <dsp:cNvSpPr/>
      </dsp:nvSpPr>
      <dsp:spPr>
        <a:xfrm>
          <a:off x="0" y="182377"/>
          <a:ext cx="7098792" cy="9360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l" defTabSz="1778000">
            <a:lnSpc>
              <a:spcPct val="90000"/>
            </a:lnSpc>
            <a:spcBef>
              <a:spcPct val="0"/>
            </a:spcBef>
            <a:spcAft>
              <a:spcPct val="35000"/>
            </a:spcAft>
            <a:buNone/>
          </a:pPr>
          <a:r>
            <a:rPr lang="en-US" sz="4000" kern="1200" dirty="0"/>
            <a:t>Perhaps District 5110 in 2012</a:t>
          </a:r>
        </a:p>
      </dsp:txBody>
      <dsp:txXfrm>
        <a:off x="45692" y="228069"/>
        <a:ext cx="7007408" cy="844616"/>
      </dsp:txXfrm>
    </dsp:sp>
    <dsp:sp modelId="{EAADBEC3-66C2-4ECB-89E5-2A5C56082CC3}">
      <dsp:nvSpPr>
        <dsp:cNvPr id="0" name=""/>
        <dsp:cNvSpPr/>
      </dsp:nvSpPr>
      <dsp:spPr>
        <a:xfrm>
          <a:off x="0" y="1413928"/>
          <a:ext cx="7098792" cy="1324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5387" tIns="50800" rIns="284480" bIns="50800" numCol="1" spcCol="1270" anchor="t" anchorCtr="0">
          <a:noAutofit/>
        </a:bodyPr>
        <a:lstStyle/>
        <a:p>
          <a:pPr marL="285750" lvl="1" indent="-285750" algn="l" defTabSz="1377950">
            <a:lnSpc>
              <a:spcPct val="90000"/>
            </a:lnSpc>
            <a:spcBef>
              <a:spcPct val="0"/>
            </a:spcBef>
            <a:spcAft>
              <a:spcPct val="20000"/>
            </a:spcAft>
            <a:buChar char="•"/>
          </a:pPr>
          <a:r>
            <a:rPr lang="en-US" sz="3100" kern="1200" dirty="0"/>
            <a:t>Established to increase sustainable giving to PolioPlus with a  minimum annual gift of $100 </a:t>
          </a:r>
        </a:p>
      </dsp:txBody>
      <dsp:txXfrm>
        <a:off x="0" y="1413928"/>
        <a:ext cx="7098792" cy="1324800"/>
      </dsp:txXfrm>
    </dsp:sp>
    <dsp:sp modelId="{6C353D59-EDEC-45D0-AD6D-C3CA0A603AF2}">
      <dsp:nvSpPr>
        <dsp:cNvPr id="0" name=""/>
        <dsp:cNvSpPr/>
      </dsp:nvSpPr>
      <dsp:spPr>
        <a:xfrm>
          <a:off x="0" y="3068509"/>
          <a:ext cx="7098792" cy="936000"/>
        </a:xfrm>
        <a:prstGeom prst="roundRect">
          <a:avLst/>
        </a:prstGeom>
        <a:solidFill>
          <a:schemeClr val="accent2">
            <a:hueOff val="-16328015"/>
            <a:satOff val="32508"/>
            <a:lumOff val="20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l" defTabSz="1778000">
            <a:lnSpc>
              <a:spcPct val="90000"/>
            </a:lnSpc>
            <a:spcBef>
              <a:spcPct val="0"/>
            </a:spcBef>
            <a:spcAft>
              <a:spcPct val="35000"/>
            </a:spcAft>
            <a:buNone/>
          </a:pPr>
          <a:r>
            <a:rPr lang="en-US" sz="4000" kern="1200" dirty="0"/>
            <a:t>The Idea created momentum</a:t>
          </a:r>
        </a:p>
      </dsp:txBody>
      <dsp:txXfrm>
        <a:off x="45692" y="3114201"/>
        <a:ext cx="7007408" cy="844616"/>
      </dsp:txXfrm>
    </dsp:sp>
    <dsp:sp modelId="{660EEA47-616A-4E9C-B76F-6EC48D2463D6}">
      <dsp:nvSpPr>
        <dsp:cNvPr id="0" name=""/>
        <dsp:cNvSpPr/>
      </dsp:nvSpPr>
      <dsp:spPr>
        <a:xfrm>
          <a:off x="0" y="4004509"/>
          <a:ext cx="7098792" cy="1049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5387" tIns="50800" rIns="284480" bIns="50800" numCol="1" spcCol="1270" anchor="t" anchorCtr="0">
          <a:noAutofit/>
        </a:bodyPr>
        <a:lstStyle/>
        <a:p>
          <a:pPr marL="285750" lvl="1" indent="-285750" algn="l" defTabSz="1377950">
            <a:lnSpc>
              <a:spcPct val="90000"/>
            </a:lnSpc>
            <a:spcBef>
              <a:spcPct val="0"/>
            </a:spcBef>
            <a:spcAft>
              <a:spcPct val="20000"/>
            </a:spcAft>
            <a:buNone/>
          </a:pPr>
          <a:endParaRPr lang="en-US" sz="3100" kern="1200" dirty="0"/>
        </a:p>
        <a:p>
          <a:pPr marL="285750" lvl="1" indent="-285750" algn="l" defTabSz="1377950">
            <a:lnSpc>
              <a:spcPct val="90000"/>
            </a:lnSpc>
            <a:spcBef>
              <a:spcPct val="0"/>
            </a:spcBef>
            <a:spcAft>
              <a:spcPct val="20000"/>
            </a:spcAft>
            <a:buNone/>
          </a:pPr>
          <a:r>
            <a:rPr lang="en-US" sz="3100" kern="1200" dirty="0"/>
            <a:t>	Because of </a:t>
          </a:r>
          <a:r>
            <a:rPr lang="en-US" sz="3100" b="1" kern="1200" dirty="0"/>
            <a:t>our EPNC’s</a:t>
          </a:r>
          <a:endParaRPr lang="en-US" sz="3100" kern="1200" dirty="0"/>
        </a:p>
      </dsp:txBody>
      <dsp:txXfrm>
        <a:off x="0" y="4004509"/>
        <a:ext cx="7098792" cy="10494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E45C1C-6F29-4477-B7D5-7189753B05AA}">
      <dsp:nvSpPr>
        <dsp:cNvPr id="0" name=""/>
        <dsp:cNvSpPr/>
      </dsp:nvSpPr>
      <dsp:spPr>
        <a:xfrm>
          <a:off x="29520" y="494880"/>
          <a:ext cx="5580077" cy="292659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008" tIns="458216" rIns="451008" bIns="156464" numCol="1" spcCol="1270" anchor="t" anchorCtr="0">
          <a:noAutofit/>
        </a:bodyPr>
        <a:lstStyle/>
        <a:p>
          <a:pPr marL="228600" lvl="1" indent="-228600" algn="l" defTabSz="977900">
            <a:lnSpc>
              <a:spcPct val="90000"/>
            </a:lnSpc>
            <a:spcBef>
              <a:spcPct val="0"/>
            </a:spcBef>
            <a:spcAft>
              <a:spcPct val="15000"/>
            </a:spcAft>
            <a:buChar char="•"/>
          </a:pPr>
          <a:endParaRPr lang="en-US" sz="2200" kern="1200" dirty="0"/>
        </a:p>
        <a:p>
          <a:pPr marL="228600" lvl="1" indent="-228600" algn="l" defTabSz="977900">
            <a:lnSpc>
              <a:spcPct val="90000"/>
            </a:lnSpc>
            <a:spcBef>
              <a:spcPct val="0"/>
            </a:spcBef>
            <a:spcAft>
              <a:spcPct val="15000"/>
            </a:spcAft>
            <a:buChar char="•"/>
          </a:pPr>
          <a:r>
            <a:rPr lang="en-US" sz="2200" kern="1200"/>
            <a:t>The PolioPlus Society encourages:</a:t>
          </a:r>
        </a:p>
        <a:p>
          <a:pPr marL="457200" lvl="2" indent="-228600" algn="l" defTabSz="977900">
            <a:lnSpc>
              <a:spcPct val="90000"/>
            </a:lnSpc>
            <a:spcBef>
              <a:spcPct val="0"/>
            </a:spcBef>
            <a:spcAft>
              <a:spcPct val="15000"/>
            </a:spcAft>
            <a:buChar char="•"/>
          </a:pPr>
          <a:r>
            <a:rPr lang="en-US" sz="2200" kern="1200" dirty="0"/>
            <a:t>Member support around the globe</a:t>
          </a:r>
        </a:p>
        <a:p>
          <a:pPr marL="457200" lvl="2" indent="-228600" algn="l" defTabSz="977900">
            <a:lnSpc>
              <a:spcPct val="90000"/>
            </a:lnSpc>
            <a:spcBef>
              <a:spcPct val="0"/>
            </a:spcBef>
            <a:spcAft>
              <a:spcPct val="15000"/>
            </a:spcAft>
            <a:buChar char="•"/>
          </a:pPr>
          <a:r>
            <a:rPr lang="en-US" sz="2200" kern="1200" dirty="0"/>
            <a:t>Continued giving at higher levels</a:t>
          </a:r>
          <a:endParaRPr lang="en-US" sz="2200" i="1" kern="1200" dirty="0"/>
        </a:p>
        <a:p>
          <a:pPr marL="457200" lvl="2" indent="-228600" algn="l" defTabSz="977900">
            <a:lnSpc>
              <a:spcPct val="90000"/>
            </a:lnSpc>
            <a:spcBef>
              <a:spcPct val="0"/>
            </a:spcBef>
            <a:spcAft>
              <a:spcPct val="15000"/>
            </a:spcAft>
            <a:buFont typeface="Arial" panose="020B0604020202020204" pitchFamily="34" charset="0"/>
            <a:buChar char="•"/>
          </a:pPr>
          <a:r>
            <a:rPr lang="en-US" sz="2200" i="1" kern="1200" dirty="0"/>
            <a:t>Allows Districts to thank, steward and cultivate its most generous givers</a:t>
          </a:r>
        </a:p>
      </dsp:txBody>
      <dsp:txXfrm>
        <a:off x="29520" y="494880"/>
        <a:ext cx="5580077" cy="2926590"/>
      </dsp:txXfrm>
    </dsp:sp>
    <dsp:sp modelId="{3572DF49-8F61-4141-A4E8-AEBDDB5681C8}">
      <dsp:nvSpPr>
        <dsp:cNvPr id="0" name=""/>
        <dsp:cNvSpPr/>
      </dsp:nvSpPr>
      <dsp:spPr>
        <a:xfrm>
          <a:off x="139001" y="25857"/>
          <a:ext cx="5533050" cy="944640"/>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977900">
            <a:lnSpc>
              <a:spcPct val="90000"/>
            </a:lnSpc>
            <a:spcBef>
              <a:spcPct val="0"/>
            </a:spcBef>
            <a:spcAft>
              <a:spcPct val="35000"/>
            </a:spcAft>
            <a:buNone/>
            <a:defRPr b="1"/>
          </a:pPr>
          <a:r>
            <a:rPr lang="en-US" sz="2200" kern="1200" dirty="0"/>
            <a:t>Rotary’s #1 Priority</a:t>
          </a:r>
        </a:p>
      </dsp:txBody>
      <dsp:txXfrm>
        <a:off x="185115" y="71971"/>
        <a:ext cx="5440822" cy="852412"/>
      </dsp:txXfrm>
    </dsp:sp>
    <dsp:sp modelId="{4B1E05CA-C455-4521-804A-9E79BF2545EB}">
      <dsp:nvSpPr>
        <dsp:cNvPr id="0" name=""/>
        <dsp:cNvSpPr/>
      </dsp:nvSpPr>
      <dsp:spPr>
        <a:xfrm>
          <a:off x="0" y="4127334"/>
          <a:ext cx="5811128" cy="1967833"/>
        </a:xfrm>
        <a:prstGeom prst="rect">
          <a:avLst/>
        </a:prstGeom>
        <a:solidFill>
          <a:schemeClr val="lt1">
            <a:alpha val="90000"/>
            <a:hueOff val="0"/>
            <a:satOff val="0"/>
            <a:lumOff val="0"/>
            <a:alphaOff val="0"/>
          </a:schemeClr>
        </a:solidFill>
        <a:ln w="12700" cap="flat" cmpd="sng" algn="ctr">
          <a:solidFill>
            <a:schemeClr val="accent2">
              <a:hueOff val="-16328015"/>
              <a:satOff val="32508"/>
              <a:lumOff val="2078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008" tIns="458216" rIns="451008"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dirty="0"/>
            <a:t>Rotary Direct</a:t>
          </a:r>
        </a:p>
        <a:p>
          <a:pPr marL="228600" lvl="1" indent="-228600" algn="l" defTabSz="977900">
            <a:lnSpc>
              <a:spcPct val="90000"/>
            </a:lnSpc>
            <a:spcBef>
              <a:spcPct val="0"/>
            </a:spcBef>
            <a:spcAft>
              <a:spcPct val="15000"/>
            </a:spcAft>
            <a:buChar char="•"/>
          </a:pPr>
          <a:r>
            <a:rPr lang="en-US" sz="2200" kern="1200" dirty="0"/>
            <a:t>Rotary on-line giving</a:t>
          </a:r>
        </a:p>
        <a:p>
          <a:pPr marL="228600" lvl="1" indent="-228600" algn="l" defTabSz="977900">
            <a:lnSpc>
              <a:spcPct val="90000"/>
            </a:lnSpc>
            <a:spcBef>
              <a:spcPct val="0"/>
            </a:spcBef>
            <a:spcAft>
              <a:spcPct val="15000"/>
            </a:spcAft>
            <a:buChar char="•"/>
          </a:pPr>
          <a:r>
            <a:rPr lang="en-US" sz="2200" kern="1200" dirty="0"/>
            <a:t>Volunteer Networks</a:t>
          </a:r>
        </a:p>
        <a:p>
          <a:pPr marL="228600" lvl="1" indent="-228600" algn="l" defTabSz="977900">
            <a:lnSpc>
              <a:spcPct val="90000"/>
            </a:lnSpc>
            <a:spcBef>
              <a:spcPct val="0"/>
            </a:spcBef>
            <a:spcAft>
              <a:spcPct val="15000"/>
            </a:spcAft>
            <a:buChar char="•"/>
          </a:pPr>
          <a:r>
            <a:rPr lang="en-US" sz="2200" kern="1200" dirty="0"/>
            <a:t>Passionate Donors</a:t>
          </a:r>
        </a:p>
      </dsp:txBody>
      <dsp:txXfrm>
        <a:off x="0" y="4127334"/>
        <a:ext cx="5811128" cy="1967833"/>
      </dsp:txXfrm>
    </dsp:sp>
    <dsp:sp modelId="{8FC4D900-290B-4A1E-B84E-605D9A039B37}">
      <dsp:nvSpPr>
        <dsp:cNvPr id="0" name=""/>
        <dsp:cNvSpPr/>
      </dsp:nvSpPr>
      <dsp:spPr>
        <a:xfrm>
          <a:off x="104345" y="3314025"/>
          <a:ext cx="5533050" cy="944640"/>
        </a:xfrm>
        <a:prstGeom prst="roundRect">
          <a:avLst/>
        </a:prstGeom>
        <a:solidFill>
          <a:schemeClr val="accent2">
            <a:hueOff val="-16328015"/>
            <a:satOff val="32508"/>
            <a:lumOff val="20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977900">
            <a:lnSpc>
              <a:spcPct val="90000"/>
            </a:lnSpc>
            <a:spcBef>
              <a:spcPct val="0"/>
            </a:spcBef>
            <a:spcAft>
              <a:spcPct val="35000"/>
            </a:spcAft>
            <a:buNone/>
            <a:defRPr b="1"/>
          </a:pPr>
          <a:r>
            <a:rPr lang="en-US" sz="2200" kern="1200" dirty="0"/>
            <a:t>The PP Society is a proven initiative </a:t>
          </a:r>
        </a:p>
      </dsp:txBody>
      <dsp:txXfrm>
        <a:off x="150459" y="3360139"/>
        <a:ext cx="5440822" cy="8524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136681-9232-42EA-80FA-A37B1F662A1D}">
      <dsp:nvSpPr>
        <dsp:cNvPr id="0" name=""/>
        <dsp:cNvSpPr/>
      </dsp:nvSpPr>
      <dsp:spPr>
        <a:xfrm>
          <a:off x="0" y="0"/>
          <a:ext cx="7406639" cy="140343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endParaRPr lang="en-US" sz="2200" kern="1200" dirty="0"/>
        </a:p>
        <a:p>
          <a:pPr marL="0" lvl="0" indent="0" algn="ctr" defTabSz="977900">
            <a:lnSpc>
              <a:spcPct val="90000"/>
            </a:lnSpc>
            <a:spcBef>
              <a:spcPct val="0"/>
            </a:spcBef>
            <a:spcAft>
              <a:spcPct val="35000"/>
            </a:spcAft>
            <a:buNone/>
          </a:pPr>
          <a:r>
            <a:rPr lang="en-US" sz="2200" b="1" kern="1200" dirty="0"/>
            <a:t>The Rotary Foundation Support Staff</a:t>
          </a:r>
        </a:p>
        <a:p>
          <a:pPr marL="0" lvl="0" indent="0" algn="ctr" defTabSz="977900">
            <a:lnSpc>
              <a:spcPct val="90000"/>
            </a:lnSpc>
            <a:spcBef>
              <a:spcPct val="0"/>
            </a:spcBef>
            <a:spcAft>
              <a:spcPct val="35000"/>
            </a:spcAft>
            <a:buNone/>
          </a:pPr>
          <a:endParaRPr lang="en-US" sz="2200" kern="1200" dirty="0"/>
        </a:p>
      </dsp:txBody>
      <dsp:txXfrm>
        <a:off x="68510" y="68510"/>
        <a:ext cx="7269619" cy="1266410"/>
      </dsp:txXfrm>
    </dsp:sp>
    <dsp:sp modelId="{EAADBEC3-66C2-4ECB-89E5-2A5C56082CC3}">
      <dsp:nvSpPr>
        <dsp:cNvPr id="0" name=""/>
        <dsp:cNvSpPr/>
      </dsp:nvSpPr>
      <dsp:spPr>
        <a:xfrm>
          <a:off x="0" y="3318855"/>
          <a:ext cx="7406639"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5161" tIns="27940" rIns="156464" bIns="27940" numCol="1" spcCol="1270" anchor="t" anchorCtr="0">
          <a:noAutofit/>
        </a:bodyPr>
        <a:lstStyle/>
        <a:p>
          <a:pPr marL="171450" lvl="1" indent="-171450" algn="l" defTabSz="755650">
            <a:lnSpc>
              <a:spcPct val="90000"/>
            </a:lnSpc>
            <a:spcBef>
              <a:spcPct val="0"/>
            </a:spcBef>
            <a:spcAft>
              <a:spcPct val="20000"/>
            </a:spcAft>
            <a:buChar char="•"/>
          </a:pPr>
          <a:endParaRPr lang="en-US" sz="1700" kern="1200" dirty="0"/>
        </a:p>
      </dsp:txBody>
      <dsp:txXfrm>
        <a:off x="0" y="3318855"/>
        <a:ext cx="7406639" cy="10598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136681-9232-42EA-80FA-A37B1F662A1D}">
      <dsp:nvSpPr>
        <dsp:cNvPr id="0" name=""/>
        <dsp:cNvSpPr/>
      </dsp:nvSpPr>
      <dsp:spPr>
        <a:xfrm>
          <a:off x="0" y="0"/>
          <a:ext cx="6743767" cy="142007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Each District Will Decide to:</a:t>
          </a:r>
        </a:p>
      </dsp:txBody>
      <dsp:txXfrm>
        <a:off x="69322" y="69322"/>
        <a:ext cx="6605123" cy="1281433"/>
      </dsp:txXfrm>
    </dsp:sp>
    <dsp:sp modelId="{EAADBEC3-66C2-4ECB-89E5-2A5C56082CC3}">
      <dsp:nvSpPr>
        <dsp:cNvPr id="0" name=""/>
        <dsp:cNvSpPr/>
      </dsp:nvSpPr>
      <dsp:spPr>
        <a:xfrm>
          <a:off x="0" y="1420932"/>
          <a:ext cx="6743767" cy="182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4115" tIns="13970" rIns="78232" bIns="13970" numCol="1" spcCol="1270" anchor="t" anchorCtr="0">
          <a:noAutofit/>
        </a:bodyPr>
        <a:lstStyle/>
        <a:p>
          <a:pPr marL="57150" lvl="1" indent="-57150" algn="l" defTabSz="400050">
            <a:lnSpc>
              <a:spcPct val="90000"/>
            </a:lnSpc>
            <a:spcBef>
              <a:spcPct val="0"/>
            </a:spcBef>
            <a:spcAft>
              <a:spcPct val="20000"/>
            </a:spcAft>
            <a:buChar char="•"/>
          </a:pPr>
          <a:endParaRPr lang="en-US" sz="900" kern="1200" dirty="0"/>
        </a:p>
      </dsp:txBody>
      <dsp:txXfrm>
        <a:off x="0" y="1420932"/>
        <a:ext cx="6743767" cy="1821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F397C8-2C88-49D3-B26B-F484F5FB75B5}">
      <dsp:nvSpPr>
        <dsp:cNvPr id="0" name=""/>
        <dsp:cNvSpPr/>
      </dsp:nvSpPr>
      <dsp:spPr>
        <a:xfrm>
          <a:off x="1392326" y="2400"/>
          <a:ext cx="5569304" cy="124321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60" tIns="315776" rIns="108060" bIns="315776" numCol="1" spcCol="1270" anchor="ctr" anchorCtr="0">
          <a:noAutofit/>
        </a:bodyPr>
        <a:lstStyle/>
        <a:p>
          <a:pPr marL="0" lvl="0" indent="0" algn="l" defTabSz="800100">
            <a:lnSpc>
              <a:spcPct val="90000"/>
            </a:lnSpc>
            <a:spcBef>
              <a:spcPct val="0"/>
            </a:spcBef>
            <a:spcAft>
              <a:spcPct val="35000"/>
            </a:spcAft>
            <a:buNone/>
          </a:pPr>
          <a:r>
            <a:rPr lang="en-US" sz="1800" kern="1200"/>
            <a:t>Establish a PolioPlus Society Chair</a:t>
          </a:r>
        </a:p>
      </dsp:txBody>
      <dsp:txXfrm>
        <a:off x="1392326" y="2400"/>
        <a:ext cx="5569304" cy="1243211"/>
      </dsp:txXfrm>
    </dsp:sp>
    <dsp:sp modelId="{3D63F85E-4689-4CB3-B1C5-938056355827}">
      <dsp:nvSpPr>
        <dsp:cNvPr id="0" name=""/>
        <dsp:cNvSpPr/>
      </dsp:nvSpPr>
      <dsp:spPr>
        <a:xfrm>
          <a:off x="0" y="2400"/>
          <a:ext cx="1392326" cy="124321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677" tIns="122802" rIns="73677" bIns="122802" numCol="1" spcCol="1270" anchor="ctr" anchorCtr="0">
          <a:noAutofit/>
        </a:bodyPr>
        <a:lstStyle/>
        <a:p>
          <a:pPr marL="0" lvl="0" indent="0" algn="ctr" defTabSz="1066800">
            <a:lnSpc>
              <a:spcPct val="90000"/>
            </a:lnSpc>
            <a:spcBef>
              <a:spcPct val="0"/>
            </a:spcBef>
            <a:spcAft>
              <a:spcPct val="35000"/>
            </a:spcAft>
            <a:buNone/>
          </a:pPr>
          <a:r>
            <a:rPr lang="en-US" sz="2400" kern="1200" dirty="0"/>
            <a:t>Establish</a:t>
          </a:r>
        </a:p>
      </dsp:txBody>
      <dsp:txXfrm>
        <a:off x="0" y="2400"/>
        <a:ext cx="1392326" cy="1243211"/>
      </dsp:txXfrm>
    </dsp:sp>
    <dsp:sp modelId="{78FB494C-7BAB-45C4-BB05-3ADB8DF8FBD4}">
      <dsp:nvSpPr>
        <dsp:cNvPr id="0" name=""/>
        <dsp:cNvSpPr/>
      </dsp:nvSpPr>
      <dsp:spPr>
        <a:xfrm>
          <a:off x="1392326" y="1320204"/>
          <a:ext cx="5569304" cy="124321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60" tIns="315776" rIns="108060" bIns="315776" numCol="1" spcCol="1270" anchor="ctr" anchorCtr="0">
          <a:noAutofit/>
        </a:bodyPr>
        <a:lstStyle/>
        <a:p>
          <a:pPr marL="0" lvl="0" indent="0" algn="l" defTabSz="800100">
            <a:lnSpc>
              <a:spcPct val="90000"/>
            </a:lnSpc>
            <a:spcBef>
              <a:spcPct val="0"/>
            </a:spcBef>
            <a:spcAft>
              <a:spcPct val="35000"/>
            </a:spcAft>
            <a:buNone/>
          </a:pPr>
          <a:r>
            <a:rPr lang="en-US" sz="1800" kern="1200" dirty="0"/>
            <a:t>Include a budget line item for recognition items if used</a:t>
          </a:r>
          <a:br>
            <a:rPr lang="en-US" sz="1800" kern="1200" dirty="0"/>
          </a:br>
          <a:endParaRPr lang="en-US" sz="1800" kern="1200" dirty="0"/>
        </a:p>
      </dsp:txBody>
      <dsp:txXfrm>
        <a:off x="1392326" y="1320204"/>
        <a:ext cx="5569304" cy="1243211"/>
      </dsp:txXfrm>
    </dsp:sp>
    <dsp:sp modelId="{554B42D2-D257-4697-AFBD-AA0A1163C87E}">
      <dsp:nvSpPr>
        <dsp:cNvPr id="0" name=""/>
        <dsp:cNvSpPr/>
      </dsp:nvSpPr>
      <dsp:spPr>
        <a:xfrm>
          <a:off x="0" y="1320204"/>
          <a:ext cx="1392326" cy="124321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677" tIns="122802" rIns="73677" bIns="122802" numCol="1" spcCol="1270" anchor="ctr" anchorCtr="0">
          <a:noAutofit/>
        </a:bodyPr>
        <a:lstStyle/>
        <a:p>
          <a:pPr marL="0" lvl="0" indent="0" algn="ctr" defTabSz="1066800">
            <a:lnSpc>
              <a:spcPct val="90000"/>
            </a:lnSpc>
            <a:spcBef>
              <a:spcPct val="0"/>
            </a:spcBef>
            <a:spcAft>
              <a:spcPct val="35000"/>
            </a:spcAft>
            <a:buNone/>
          </a:pPr>
          <a:r>
            <a:rPr lang="en-US" sz="2400" kern="1200"/>
            <a:t>Include</a:t>
          </a:r>
        </a:p>
      </dsp:txBody>
      <dsp:txXfrm>
        <a:off x="0" y="1320204"/>
        <a:ext cx="1392326" cy="1243211"/>
      </dsp:txXfrm>
    </dsp:sp>
    <dsp:sp modelId="{F3CA5377-641B-43B6-B9CB-AAC13567D869}">
      <dsp:nvSpPr>
        <dsp:cNvPr id="0" name=""/>
        <dsp:cNvSpPr/>
      </dsp:nvSpPr>
      <dsp:spPr>
        <a:xfrm>
          <a:off x="1392326" y="2638008"/>
          <a:ext cx="5569304" cy="124321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60" tIns="315776" rIns="108060" bIns="315776" numCol="1" spcCol="1270" anchor="ctr" anchorCtr="0">
          <a:noAutofit/>
        </a:bodyPr>
        <a:lstStyle/>
        <a:p>
          <a:pPr marL="0" lvl="0" indent="0" algn="l" defTabSz="800100">
            <a:lnSpc>
              <a:spcPct val="90000"/>
            </a:lnSpc>
            <a:spcBef>
              <a:spcPct val="0"/>
            </a:spcBef>
            <a:spcAft>
              <a:spcPct val="35000"/>
            </a:spcAft>
            <a:buNone/>
          </a:pPr>
          <a:r>
            <a:rPr lang="en-US" sz="1800" kern="1200" dirty="0"/>
            <a:t>Use of pins and/or certificates at the individual and/or club level</a:t>
          </a:r>
        </a:p>
      </dsp:txBody>
      <dsp:txXfrm>
        <a:off x="1392326" y="2638008"/>
        <a:ext cx="5569304" cy="1243211"/>
      </dsp:txXfrm>
    </dsp:sp>
    <dsp:sp modelId="{B03F469D-5A10-406F-8B5E-68B8928122F2}">
      <dsp:nvSpPr>
        <dsp:cNvPr id="0" name=""/>
        <dsp:cNvSpPr/>
      </dsp:nvSpPr>
      <dsp:spPr>
        <a:xfrm>
          <a:off x="0" y="2638008"/>
          <a:ext cx="1392326" cy="124321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677" tIns="122802" rIns="73677" bIns="122802" numCol="1" spcCol="1270" anchor="ctr" anchorCtr="0">
          <a:noAutofit/>
        </a:bodyPr>
        <a:lstStyle/>
        <a:p>
          <a:pPr marL="0" lvl="0" indent="0" algn="ctr" defTabSz="1066800">
            <a:lnSpc>
              <a:spcPct val="90000"/>
            </a:lnSpc>
            <a:spcBef>
              <a:spcPct val="0"/>
            </a:spcBef>
            <a:spcAft>
              <a:spcPct val="35000"/>
            </a:spcAft>
            <a:buNone/>
          </a:pPr>
          <a:r>
            <a:rPr lang="en-US" sz="2400" kern="1200"/>
            <a:t>Use</a:t>
          </a:r>
        </a:p>
      </dsp:txBody>
      <dsp:txXfrm>
        <a:off x="0" y="2638008"/>
        <a:ext cx="1392326" cy="1243211"/>
      </dsp:txXfrm>
    </dsp:sp>
    <dsp:sp modelId="{B240F0F1-38C3-4865-952F-9A146CB4B101}">
      <dsp:nvSpPr>
        <dsp:cNvPr id="0" name=""/>
        <dsp:cNvSpPr/>
      </dsp:nvSpPr>
      <dsp:spPr>
        <a:xfrm>
          <a:off x="1392326" y="3955812"/>
          <a:ext cx="5569304" cy="124321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60" tIns="315776" rIns="108060" bIns="315776" numCol="1" spcCol="1270" anchor="ctr" anchorCtr="0">
          <a:noAutofit/>
        </a:bodyPr>
        <a:lstStyle/>
        <a:p>
          <a:pPr marL="0" lvl="0" indent="0" algn="l" defTabSz="800100">
            <a:lnSpc>
              <a:spcPct val="90000"/>
            </a:lnSpc>
            <a:spcBef>
              <a:spcPct val="0"/>
            </a:spcBef>
            <a:spcAft>
              <a:spcPct val="35000"/>
            </a:spcAft>
            <a:buNone/>
          </a:pPr>
          <a:r>
            <a:rPr lang="en-US" sz="1800" kern="1200"/>
            <a:t>Include Assistant Governors and Public Image Chairs</a:t>
          </a:r>
        </a:p>
      </dsp:txBody>
      <dsp:txXfrm>
        <a:off x="1392326" y="3955812"/>
        <a:ext cx="5569304" cy="1243211"/>
      </dsp:txXfrm>
    </dsp:sp>
    <dsp:sp modelId="{453EEFF8-8741-4ACA-909D-56CF2F005283}">
      <dsp:nvSpPr>
        <dsp:cNvPr id="0" name=""/>
        <dsp:cNvSpPr/>
      </dsp:nvSpPr>
      <dsp:spPr>
        <a:xfrm>
          <a:off x="0" y="3955812"/>
          <a:ext cx="1392326" cy="124321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677" tIns="122802" rIns="73677" bIns="122802" numCol="1" spcCol="1270" anchor="ctr" anchorCtr="0">
          <a:noAutofit/>
        </a:bodyPr>
        <a:lstStyle/>
        <a:p>
          <a:pPr marL="0" lvl="0" indent="0" algn="ctr" defTabSz="1066800">
            <a:lnSpc>
              <a:spcPct val="90000"/>
            </a:lnSpc>
            <a:spcBef>
              <a:spcPct val="0"/>
            </a:spcBef>
            <a:spcAft>
              <a:spcPct val="35000"/>
            </a:spcAft>
            <a:buNone/>
          </a:pPr>
          <a:r>
            <a:rPr lang="en-US" sz="2400" kern="1200"/>
            <a:t>Include</a:t>
          </a:r>
        </a:p>
      </dsp:txBody>
      <dsp:txXfrm>
        <a:off x="0" y="3955812"/>
        <a:ext cx="1392326" cy="124321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16/7/layout/VerticalHollowActionList">
  <dgm:title val="Vertical Hollow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solidFgAcc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B06BD9-A9B5-1EE1-2283-C93D0A9C4481}"/>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A31A203-6ED2-1F70-BA4E-50FC995631FF}"/>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405D6E98-52E2-4339-8502-2EA71525CE69}" type="datetimeFigureOut">
              <a:rPr lang="en-US" smtClean="0"/>
              <a:t>28-Jun-2023</a:t>
            </a:fld>
            <a:endParaRPr lang="en-US"/>
          </a:p>
        </p:txBody>
      </p:sp>
      <p:sp>
        <p:nvSpPr>
          <p:cNvPr id="4" name="Footer Placeholder 3">
            <a:extLst>
              <a:ext uri="{FF2B5EF4-FFF2-40B4-BE49-F238E27FC236}">
                <a16:creationId xmlns:a16="http://schemas.microsoft.com/office/drawing/2014/main" id="{9E428D49-631C-BBE8-ADB1-ACCC57443A3F}"/>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7B512A6-BBCC-B528-4210-7AC1CF81A8C3}"/>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F8D9B46-EE97-4B92-9D4A-83C7BBFBB7BC}" type="slidenum">
              <a:rPr lang="en-US" smtClean="0"/>
              <a:t>‹#›</a:t>
            </a:fld>
            <a:endParaRPr lang="en-US"/>
          </a:p>
        </p:txBody>
      </p:sp>
    </p:spTree>
    <p:extLst>
      <p:ext uri="{BB962C8B-B14F-4D97-AF65-F5344CB8AC3E}">
        <p14:creationId xmlns:p14="http://schemas.microsoft.com/office/powerpoint/2010/main" val="27606959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403E561-A38A-4A22-8215-F855A52BC5B1}" type="datetimeFigureOut">
              <a:rPr lang="en-US" smtClean="0"/>
              <a:t>28-Jun-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B827055-821E-4F6B-AAA9-2685E1493D9C}" type="slidenum">
              <a:rPr lang="en-US" smtClean="0"/>
              <a:t>‹#›</a:t>
            </a:fld>
            <a:endParaRPr lang="en-US" dirty="0"/>
          </a:p>
        </p:txBody>
      </p:sp>
    </p:spTree>
    <p:extLst>
      <p:ext uri="{BB962C8B-B14F-4D97-AF65-F5344CB8AC3E}">
        <p14:creationId xmlns:p14="http://schemas.microsoft.com/office/powerpoint/2010/main" val="2726859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10"/>
          </p:nvPr>
        </p:nvSpPr>
        <p:spPr/>
        <p:txBody>
          <a:bodyPr/>
          <a:lstStyle/>
          <a:p>
            <a:pPr defTabSz="931774">
              <a:defRPr/>
            </a:pPr>
            <a:fld id="{DB827055-821E-4F6B-AAA9-2685E1493D9C}" type="slidenum">
              <a:rPr lang="en-US">
                <a:solidFill>
                  <a:prstClr val="black"/>
                </a:solidFill>
                <a:latin typeface="Calibri" panose="020F0502020204030204"/>
                <a:ea typeface="ヒラギノ角ゴ Pro W3" pitchFamily="-84" charset="-128"/>
              </a:rPr>
              <a:pPr defTabSz="931774">
                <a:defRPr/>
              </a:pPr>
              <a:t>1</a:t>
            </a:fld>
            <a:endParaRPr lang="en-US" dirty="0">
              <a:solidFill>
                <a:prstClr val="black"/>
              </a:solidFill>
              <a:latin typeface="Calibri" panose="020F0502020204030204"/>
              <a:ea typeface="ヒラギノ角ゴ Pro W3" pitchFamily="-84" charset="-128"/>
            </a:endParaRPr>
          </a:p>
        </p:txBody>
      </p:sp>
    </p:spTree>
    <p:extLst>
      <p:ext uri="{BB962C8B-B14F-4D97-AF65-F5344CB8AC3E}">
        <p14:creationId xmlns:p14="http://schemas.microsoft.com/office/powerpoint/2010/main" val="21358766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B827055-821E-4F6B-AAA9-2685E1493D9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1AB72CC-9521-6F95-DB8F-F555AEB81C94}"/>
              </a:ext>
            </a:extLst>
          </p:cNvPr>
          <p:cNvSpPr txBox="1"/>
          <p:nvPr/>
        </p:nvSpPr>
        <p:spPr>
          <a:xfrm>
            <a:off x="756677" y="2024281"/>
            <a:ext cx="5292700" cy="2816155"/>
          </a:xfrm>
          <a:prstGeom prst="rect">
            <a:avLst/>
          </a:prstGeom>
          <a:noFill/>
        </p:spPr>
        <p:txBody>
          <a:bodyPr wrap="square" lIns="93177" tIns="46589" rIns="93177" bIns="46589" rtlCol="0">
            <a:spAutoFit/>
          </a:bodyPr>
          <a:lstStyle/>
          <a:p>
            <a:pPr marL="291179" marR="0" lvl="0"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erhaps District 5110 in 2012</a:t>
            </a:r>
          </a:p>
          <a:p>
            <a:pPr marL="757066" marR="0" lvl="1"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stablished to increase sustainable giving to PolioPlus with a minimum annual gift of $100 </a:t>
            </a:r>
          </a:p>
          <a:p>
            <a:pPr marL="757066" marR="0" lvl="1"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57066" marR="0" lvl="1"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Idea created quick momentum</a:t>
            </a:r>
          </a:p>
          <a:p>
            <a:pPr marL="1222953" marR="0" lvl="2"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y?  - Because of you – our EPNC’s</a:t>
            </a:r>
          </a:p>
          <a:p>
            <a:pPr marL="291179" marR="0" lvl="0"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22953" marR="0" lvl="2"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22953" marR="0" lvl="2"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22953" marR="0" lvl="2"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3382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827055-821E-4F6B-AAA9-2685E1493D9C}" type="slidenum">
              <a:rPr lang="en-US" smtClean="0"/>
              <a:t>2</a:t>
            </a:fld>
            <a:endParaRPr lang="en-US" dirty="0"/>
          </a:p>
        </p:txBody>
      </p:sp>
    </p:spTree>
    <p:extLst>
      <p:ext uri="{BB962C8B-B14F-4D97-AF65-F5344CB8AC3E}">
        <p14:creationId xmlns:p14="http://schemas.microsoft.com/office/powerpoint/2010/main" val="3991033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truly appreciate, being able to share what I believe is exciting news about a global strategy to encourage districts to implement a PolioPlus Societies.  We know there continues to a critical funding gap and building the PolioPlus Society is one effective strategy that will help us fill that gap as we reach out to our many passionate and dedicated donors. </a:t>
            </a:r>
          </a:p>
          <a:p>
            <a:endParaRPr lang="en-US" dirty="0"/>
          </a:p>
          <a:p>
            <a:r>
              <a:rPr lang="en-US" dirty="0"/>
              <a:t>These are the topics I hope to touch on quickly this afternoon.</a:t>
            </a:r>
          </a:p>
        </p:txBody>
      </p:sp>
      <p:sp>
        <p:nvSpPr>
          <p:cNvPr id="4" name="Date Placeholder 3"/>
          <p:cNvSpPr>
            <a:spLocks noGrp="1"/>
          </p:cNvSpPr>
          <p:nvPr>
            <p:ph type="dt" idx="10"/>
          </p:nvPr>
        </p:nvSpPr>
        <p:spPr/>
        <p:txBody>
          <a:bodyPr/>
          <a:lstStyle/>
          <a:p>
            <a:pPr defTabSz="931774">
              <a:defRPr/>
            </a:pPr>
            <a:fld id="{2EB3FD11-F4A1-4B36-A0F0-C667122A5EF3}" type="datetime1">
              <a:rPr lang="en-US">
                <a:solidFill>
                  <a:prstClr val="black"/>
                </a:solidFill>
                <a:latin typeface="Calibri" panose="020F0502020204030204"/>
              </a:rPr>
              <a:pPr defTabSz="931774">
                <a:defRPr/>
              </a:pPr>
              <a:t>28-Jun-2023</a:t>
            </a:fld>
            <a:endParaRPr lang="en-US" dirty="0">
              <a:solidFill>
                <a:prstClr val="black"/>
              </a:solidFill>
              <a:latin typeface="Calibri" panose="020F0502020204030204"/>
            </a:endParaRPr>
          </a:p>
        </p:txBody>
      </p:sp>
      <p:sp>
        <p:nvSpPr>
          <p:cNvPr id="5" name="Footer Placeholder 4"/>
          <p:cNvSpPr>
            <a:spLocks noGrp="1"/>
          </p:cNvSpPr>
          <p:nvPr>
            <p:ph type="ftr" sz="quarter" idx="11"/>
          </p:nvPr>
        </p:nvSpPr>
        <p:spPr/>
        <p:txBody>
          <a:bodyPr/>
          <a:lstStyle/>
          <a:p>
            <a:pPr defTabSz="931774">
              <a:defRPr/>
            </a:pPr>
            <a:endParaRPr lang="en-US" dirty="0">
              <a:solidFill>
                <a:prstClr val="black"/>
              </a:solidFill>
              <a:latin typeface="Calibri" panose="020F0502020204030204"/>
            </a:endParaRPr>
          </a:p>
        </p:txBody>
      </p:sp>
      <p:sp>
        <p:nvSpPr>
          <p:cNvPr id="6" name="Slide Number Placeholder 5"/>
          <p:cNvSpPr>
            <a:spLocks noGrp="1"/>
          </p:cNvSpPr>
          <p:nvPr>
            <p:ph type="sldNum" sz="quarter" idx="12"/>
          </p:nvPr>
        </p:nvSpPr>
        <p:spPr/>
        <p:txBody>
          <a:bodyPr/>
          <a:lstStyle/>
          <a:p>
            <a:pPr defTabSz="931774">
              <a:defRPr/>
            </a:pPr>
            <a:fld id="{650A5DD0-1CB4-4EBD-9286-DD7038B13226}" type="slidenum">
              <a:rPr lang="en-US">
                <a:solidFill>
                  <a:prstClr val="black"/>
                </a:solidFill>
                <a:latin typeface="Calibri" panose="020F0502020204030204"/>
              </a:rPr>
              <a:pPr defTabSz="931774">
                <a:defRPr/>
              </a:pPr>
              <a:t>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990013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is is a great question and from what I know today is that it began in District 5110 back in 2012.  This idea came from the Paul Harris Society initiative, and like most things, it began with one persons dream to encourage donors to make an annual commitment to PolioPlus of $100 or more.</a:t>
            </a:r>
          </a:p>
        </p:txBody>
      </p:sp>
      <p:sp>
        <p:nvSpPr>
          <p:cNvPr id="4" name="Slide Number Placeholder 3"/>
          <p:cNvSpPr>
            <a:spLocks noGrp="1"/>
          </p:cNvSpPr>
          <p:nvPr>
            <p:ph type="sldNum" sz="quarter" idx="5"/>
          </p:nvPr>
        </p:nvSpPr>
        <p:spPr/>
        <p:txBody>
          <a:bodyPr/>
          <a:lstStyle/>
          <a:p>
            <a:pPr defTabSz="931774">
              <a:defRPr/>
            </a:pPr>
            <a:fld id="{DB827055-821E-4F6B-AAA9-2685E1493D9C}" type="slidenum">
              <a:rPr lang="en-US">
                <a:solidFill>
                  <a:prstClr val="black"/>
                </a:solidFill>
                <a:latin typeface="Calibri" panose="020F0502020204030204"/>
              </a:rPr>
              <a:pPr defTabSz="931774">
                <a:defRPr/>
              </a:pPr>
              <a:t>4</a:t>
            </a:fld>
            <a:endParaRPr lang="en-US" dirty="0">
              <a:solidFill>
                <a:prstClr val="black"/>
              </a:solidFill>
              <a:latin typeface="Calibri" panose="020F0502020204030204"/>
            </a:endParaRPr>
          </a:p>
        </p:txBody>
      </p:sp>
      <p:sp>
        <p:nvSpPr>
          <p:cNvPr id="5" name="TextBox 4">
            <a:extLst>
              <a:ext uri="{FF2B5EF4-FFF2-40B4-BE49-F238E27FC236}">
                <a16:creationId xmlns:a16="http://schemas.microsoft.com/office/drawing/2014/main" id="{D1AB72CC-9521-6F95-DB8F-F555AEB81C94}"/>
              </a:ext>
            </a:extLst>
          </p:cNvPr>
          <p:cNvSpPr txBox="1"/>
          <p:nvPr/>
        </p:nvSpPr>
        <p:spPr>
          <a:xfrm>
            <a:off x="756677" y="2024281"/>
            <a:ext cx="5292700" cy="2816155"/>
          </a:xfrm>
          <a:prstGeom prst="rect">
            <a:avLst/>
          </a:prstGeom>
          <a:noFill/>
        </p:spPr>
        <p:txBody>
          <a:bodyPr wrap="square" lIns="93177" tIns="46589" rIns="93177" bIns="46589" rtlCol="0">
            <a:spAutoFit/>
          </a:bodyPr>
          <a:lstStyle/>
          <a:p>
            <a:pPr marL="291179" indent="-291179" defTabSz="931774">
              <a:buFont typeface="Arial" panose="020B0604020202020204" pitchFamily="34" charset="0"/>
              <a:buChar char="•"/>
              <a:defRPr/>
            </a:pPr>
            <a:r>
              <a:rPr lang="en-US" dirty="0">
                <a:solidFill>
                  <a:prstClr val="black"/>
                </a:solidFill>
                <a:latin typeface="Calibri" panose="020F0502020204030204"/>
              </a:rPr>
              <a:t>Perhaps District 5110 in 2012</a:t>
            </a:r>
          </a:p>
          <a:p>
            <a:pPr marL="757066" lvl="1" indent="-291179" defTabSz="931774">
              <a:buFont typeface="Arial" panose="020B0604020202020204" pitchFamily="34" charset="0"/>
              <a:buChar char="•"/>
              <a:defRPr/>
            </a:pPr>
            <a:r>
              <a:rPr lang="en-US" sz="1600" dirty="0">
                <a:solidFill>
                  <a:prstClr val="black"/>
                </a:solidFill>
                <a:latin typeface="Calibri" panose="020F0502020204030204"/>
              </a:rPr>
              <a:t>Established to increase sustainable giving to PolioPlus with a minimum annual gift of $100 </a:t>
            </a:r>
          </a:p>
          <a:p>
            <a:pPr marL="757066" lvl="1" indent="-291179" defTabSz="931774">
              <a:buFont typeface="Arial" panose="020B0604020202020204" pitchFamily="34" charset="0"/>
              <a:buChar char="•"/>
              <a:defRPr/>
            </a:pPr>
            <a:endParaRPr lang="en-US" sz="1600" dirty="0">
              <a:solidFill>
                <a:prstClr val="black"/>
              </a:solidFill>
              <a:latin typeface="Calibri" panose="020F0502020204030204"/>
            </a:endParaRPr>
          </a:p>
          <a:p>
            <a:pPr marL="757066" lvl="1" indent="-291179" defTabSz="931774">
              <a:buFont typeface="Arial" panose="020B0604020202020204" pitchFamily="34" charset="0"/>
              <a:buChar char="•"/>
              <a:defRPr/>
            </a:pPr>
            <a:r>
              <a:rPr lang="en-US" dirty="0">
                <a:solidFill>
                  <a:prstClr val="black"/>
                </a:solidFill>
                <a:latin typeface="Calibri" panose="020F0502020204030204"/>
              </a:rPr>
              <a:t>The Idea created quick momentum</a:t>
            </a:r>
          </a:p>
          <a:p>
            <a:pPr marL="1222953" lvl="2" indent="-291179" defTabSz="931774">
              <a:buFont typeface="Arial" panose="020B0604020202020204" pitchFamily="34" charset="0"/>
              <a:buChar char="•"/>
              <a:defRPr/>
            </a:pPr>
            <a:r>
              <a:rPr lang="en-US" dirty="0">
                <a:solidFill>
                  <a:prstClr val="black"/>
                </a:solidFill>
                <a:latin typeface="Calibri" panose="020F0502020204030204"/>
              </a:rPr>
              <a:t>Why?  - Because of you – our EPNC’s</a:t>
            </a:r>
          </a:p>
          <a:p>
            <a:pPr marL="291179"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1646708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e PolioPlus Society has already proven to be a great strategy to raise funds, it encourages continued member support. and we are seeing higher levels of giving over time.  The reports will allow us to thank, steward and cultivate our most generous givers.  We are promoting the idea of Rotary direct and on-line giving as well as using the new Raise For Rotary platform.</a:t>
            </a:r>
          </a:p>
        </p:txBody>
      </p:sp>
      <p:sp>
        <p:nvSpPr>
          <p:cNvPr id="4" name="Slide Number Placeholder 3"/>
          <p:cNvSpPr>
            <a:spLocks noGrp="1"/>
          </p:cNvSpPr>
          <p:nvPr>
            <p:ph type="sldNum" sz="quarter" idx="5"/>
          </p:nvPr>
        </p:nvSpPr>
        <p:spPr/>
        <p:txBody>
          <a:bodyPr/>
          <a:lstStyle/>
          <a:p>
            <a:pPr defTabSz="931774">
              <a:defRPr/>
            </a:pPr>
            <a:fld id="{DB827055-821E-4F6B-AAA9-2685E1493D9C}" type="slidenum">
              <a:rPr lang="en-US">
                <a:solidFill>
                  <a:prstClr val="black"/>
                </a:solidFill>
                <a:latin typeface="Calibri" panose="020F0502020204030204"/>
              </a:rPr>
              <a:pPr defTabSz="931774">
                <a:defRPr/>
              </a:pPr>
              <a:t>5</a:t>
            </a:fld>
            <a:endParaRPr lang="en-US" dirty="0">
              <a:solidFill>
                <a:prstClr val="black"/>
              </a:solidFill>
              <a:latin typeface="Calibri" panose="020F0502020204030204"/>
            </a:endParaRPr>
          </a:p>
        </p:txBody>
      </p:sp>
      <p:sp>
        <p:nvSpPr>
          <p:cNvPr id="5" name="TextBox 4">
            <a:extLst>
              <a:ext uri="{FF2B5EF4-FFF2-40B4-BE49-F238E27FC236}">
                <a16:creationId xmlns:a16="http://schemas.microsoft.com/office/drawing/2014/main" id="{D1AB72CC-9521-6F95-DB8F-F555AEB81C94}"/>
              </a:ext>
            </a:extLst>
          </p:cNvPr>
          <p:cNvSpPr txBox="1"/>
          <p:nvPr/>
        </p:nvSpPr>
        <p:spPr>
          <a:xfrm>
            <a:off x="756677" y="2024281"/>
            <a:ext cx="5292700" cy="2816155"/>
          </a:xfrm>
          <a:prstGeom prst="rect">
            <a:avLst/>
          </a:prstGeom>
          <a:noFill/>
        </p:spPr>
        <p:txBody>
          <a:bodyPr wrap="square" lIns="93177" tIns="46589" rIns="93177" bIns="46589" rtlCol="0">
            <a:spAutoFit/>
          </a:bodyPr>
          <a:lstStyle/>
          <a:p>
            <a:pPr marL="291179" indent="-291179" defTabSz="931774">
              <a:buFont typeface="Arial" panose="020B0604020202020204" pitchFamily="34" charset="0"/>
              <a:buChar char="•"/>
              <a:defRPr/>
            </a:pPr>
            <a:r>
              <a:rPr lang="en-US" dirty="0">
                <a:solidFill>
                  <a:prstClr val="black"/>
                </a:solidFill>
                <a:latin typeface="Calibri" panose="020F0502020204030204"/>
              </a:rPr>
              <a:t>Perhaps District 5110 in 2012</a:t>
            </a:r>
          </a:p>
          <a:p>
            <a:pPr marL="757066" lvl="1" indent="-291179" defTabSz="931774">
              <a:buFont typeface="Arial" panose="020B0604020202020204" pitchFamily="34" charset="0"/>
              <a:buChar char="•"/>
              <a:defRPr/>
            </a:pPr>
            <a:r>
              <a:rPr lang="en-US" sz="1600" dirty="0">
                <a:solidFill>
                  <a:prstClr val="black"/>
                </a:solidFill>
                <a:latin typeface="Calibri" panose="020F0502020204030204"/>
              </a:rPr>
              <a:t>Established to increase sustainable giving to PolioPlus with a minimum annual gift of $100 </a:t>
            </a:r>
          </a:p>
          <a:p>
            <a:pPr marL="757066" lvl="1" indent="-291179" defTabSz="931774">
              <a:buFont typeface="Arial" panose="020B0604020202020204" pitchFamily="34" charset="0"/>
              <a:buChar char="•"/>
              <a:defRPr/>
            </a:pPr>
            <a:endParaRPr lang="en-US" sz="1600" dirty="0">
              <a:solidFill>
                <a:prstClr val="black"/>
              </a:solidFill>
              <a:latin typeface="Calibri" panose="020F0502020204030204"/>
            </a:endParaRPr>
          </a:p>
          <a:p>
            <a:pPr marL="757066" lvl="1" indent="-291179" defTabSz="931774">
              <a:buFont typeface="Arial" panose="020B0604020202020204" pitchFamily="34" charset="0"/>
              <a:buChar char="•"/>
              <a:defRPr/>
            </a:pPr>
            <a:r>
              <a:rPr lang="en-US" dirty="0">
                <a:solidFill>
                  <a:prstClr val="black"/>
                </a:solidFill>
                <a:latin typeface="Calibri" panose="020F0502020204030204"/>
              </a:rPr>
              <a:t>The Idea created quick momentum</a:t>
            </a:r>
          </a:p>
          <a:p>
            <a:pPr marL="1222953" lvl="2" indent="-291179" defTabSz="931774">
              <a:buFont typeface="Arial" panose="020B0604020202020204" pitchFamily="34" charset="0"/>
              <a:buChar char="•"/>
              <a:defRPr/>
            </a:pPr>
            <a:r>
              <a:rPr lang="en-US" dirty="0">
                <a:solidFill>
                  <a:prstClr val="black"/>
                </a:solidFill>
                <a:latin typeface="Calibri" panose="020F0502020204030204"/>
              </a:rPr>
              <a:t>Why?  - Because of you – our EPNC’s</a:t>
            </a:r>
          </a:p>
          <a:p>
            <a:pPr marL="291179"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909848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465887"/>
            <a:r>
              <a:rPr lang="en-US" b="0" i="0" dirty="0">
                <a:solidFill>
                  <a:srgbClr val="222222"/>
                </a:solidFill>
                <a:effectLst/>
                <a:latin typeface="Tahoma" panose="020B0604030504040204" pitchFamily="34" charset="0"/>
              </a:rPr>
              <a:t>Would you please identify </a:t>
            </a:r>
            <a:r>
              <a:rPr lang="en-US" b="1" i="0" dirty="0">
                <a:solidFill>
                  <a:srgbClr val="222222"/>
                </a:solidFill>
                <a:effectLst/>
                <a:latin typeface="Tahoma" panose="020B0604030504040204" pitchFamily="34" charset="0"/>
              </a:rPr>
              <a:t>District Leaders</a:t>
            </a:r>
            <a:r>
              <a:rPr lang="en-US" b="0" i="0" dirty="0">
                <a:solidFill>
                  <a:srgbClr val="222222"/>
                </a:solidFill>
                <a:effectLst/>
                <a:latin typeface="Tahoma" panose="020B0604030504040204" pitchFamily="34" charset="0"/>
              </a:rPr>
              <a:t> who have access to the CDR? </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ahoma" panose="020B0604030504040204" pitchFamily="34" charset="0"/>
              </a:rPr>
              <a:t>A:       </a:t>
            </a:r>
            <a:r>
              <a:rPr lang="en-US" b="0" i="0" dirty="0">
                <a:solidFill>
                  <a:srgbClr val="FF0000"/>
                </a:solidFill>
                <a:effectLst/>
                <a:latin typeface="Tahoma" panose="020B0604030504040204" pitchFamily="34" charset="0"/>
              </a:rPr>
              <a:t>DGs and DRFCs will have access once work is complete (soon).  At the Zone level, EPNCs, ARRFCs, RRFCs, EMGAs already have access.</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imes New Roman" panose="02020603050405020304" pitchFamily="18" charset="0"/>
              </a:rPr>
              <a:t> </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ahoma" panose="020B0604030504040204" pitchFamily="34" charset="0"/>
              </a:rPr>
              <a:t>Q:       Will there be separate reports for both Clubs and Districts, and will it continue to show all transactions as it does now? </a:t>
            </a:r>
            <a:endParaRPr lang="en-US" b="0" i="0" dirty="0">
              <a:solidFill>
                <a:srgbClr val="222222"/>
              </a:solidFill>
              <a:effectLst/>
              <a:latin typeface="Arial" panose="020B0604020202020204" pitchFamily="34" charset="0"/>
            </a:endParaRPr>
          </a:p>
          <a:p>
            <a:pPr marL="931774"/>
            <a:r>
              <a:rPr lang="en-US" b="0" i="0" dirty="0">
                <a:solidFill>
                  <a:srgbClr val="222222"/>
                </a:solidFill>
                <a:effectLst/>
                <a:latin typeface="Times New Roman" panose="02020603050405020304" pitchFamily="18" charset="0"/>
              </a:rPr>
              <a:t>A:        </a:t>
            </a:r>
            <a:r>
              <a:rPr lang="en-US" b="0" i="0" dirty="0">
                <a:solidFill>
                  <a:srgbClr val="FF0000"/>
                </a:solidFill>
                <a:effectLst/>
                <a:latin typeface="Tahoma" panose="020B0604030504040204" pitchFamily="34" charset="0"/>
              </a:rPr>
              <a:t>A district version is being developed now. It will be available to the roles listed above.  </a:t>
            </a:r>
          </a:p>
          <a:p>
            <a:pPr marL="931774"/>
            <a:r>
              <a:rPr lang="en-US" b="0" i="0" dirty="0">
                <a:solidFill>
                  <a:srgbClr val="FF0000"/>
                </a:solidFill>
                <a:effectLst/>
                <a:latin typeface="Tahoma" panose="020B0604030504040204" pitchFamily="34" charset="0"/>
              </a:rPr>
              <a:t>Later, a separate club version </a:t>
            </a:r>
            <a:r>
              <a:rPr lang="en-US" b="0" i="1" dirty="0">
                <a:solidFill>
                  <a:srgbClr val="FF0000"/>
                </a:solidFill>
                <a:effectLst/>
                <a:latin typeface="Tahoma" panose="020B0604030504040204" pitchFamily="34" charset="0"/>
              </a:rPr>
              <a:t>could</a:t>
            </a:r>
            <a:r>
              <a:rPr lang="en-US" b="0" i="0" dirty="0">
                <a:solidFill>
                  <a:srgbClr val="FF0000"/>
                </a:solidFill>
                <a:effectLst/>
                <a:latin typeface="Tahoma" panose="020B0604030504040204" pitchFamily="34" charset="0"/>
              </a:rPr>
              <a:t> be developed, but this work cannot be done</a:t>
            </a:r>
            <a:r>
              <a:rPr lang="en-US" b="0" i="0" dirty="0">
                <a:solidFill>
                  <a:srgbClr val="222222"/>
                </a:solidFill>
                <a:effectLst/>
                <a:latin typeface="Tahoma" panose="020B0604030504040204" pitchFamily="34" charset="0"/>
              </a:rPr>
              <a:t> </a:t>
            </a:r>
            <a:r>
              <a:rPr lang="en-US" b="0" i="0" dirty="0">
                <a:solidFill>
                  <a:srgbClr val="FF0000"/>
                </a:solidFill>
                <a:effectLst/>
                <a:latin typeface="Tahoma" panose="020B0604030504040204" pitchFamily="34" charset="0"/>
              </a:rPr>
              <a:t>concurrently and may not be realistic due to privacy issues that need to be navigated and resource constraints.  </a:t>
            </a:r>
          </a:p>
          <a:p>
            <a:pPr marL="931774"/>
            <a:endParaRPr lang="en-US" b="0" i="0" dirty="0">
              <a:solidFill>
                <a:srgbClr val="FF0000"/>
              </a:solidFill>
              <a:effectLst/>
              <a:latin typeface="Tahoma" panose="020B0604030504040204" pitchFamily="34" charset="0"/>
            </a:endParaRPr>
          </a:p>
          <a:p>
            <a:pPr marL="931774"/>
            <a:r>
              <a:rPr lang="en-US" b="0" i="0" dirty="0">
                <a:solidFill>
                  <a:srgbClr val="FF0000"/>
                </a:solidFill>
                <a:effectLst/>
                <a:latin typeface="Tahoma" panose="020B0604030504040204" pitchFamily="34" charset="0"/>
              </a:rPr>
              <a:t>However, Club Presidents, Foundation Chairs, Treasurers and Secretaries can call the Support Center to receive their club’s report as an alternative. </a:t>
            </a:r>
            <a:endParaRPr lang="en-US" b="0" i="0" dirty="0">
              <a:solidFill>
                <a:srgbClr val="222222"/>
              </a:solidFill>
              <a:effectLst/>
              <a:latin typeface="Arial" panose="020B0604020202020204" pitchFamily="34" charset="0"/>
            </a:endParaRPr>
          </a:p>
          <a:p>
            <a:pPr marL="465887"/>
            <a:r>
              <a:rPr lang="en-US" b="0" i="0" dirty="0">
                <a:solidFill>
                  <a:srgbClr val="92D050"/>
                </a:solidFill>
                <a:effectLst/>
                <a:latin typeface="Tahoma" panose="020B0604030504040204" pitchFamily="34" charset="0"/>
              </a:rPr>
              <a:t> </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ahoma" panose="020B0604030504040204" pitchFamily="34" charset="0"/>
              </a:rPr>
              <a:t>Q:      Can the CDR be reformatted for ease in sorting than it does now?  </a:t>
            </a:r>
            <a:endParaRPr lang="en-US" b="0" i="0" dirty="0">
              <a:solidFill>
                <a:srgbClr val="222222"/>
              </a:solidFill>
              <a:effectLst/>
              <a:latin typeface="Arial" panose="020B0604020202020204" pitchFamily="34" charset="0"/>
            </a:endParaRPr>
          </a:p>
          <a:p>
            <a:pPr marL="931774"/>
            <a:r>
              <a:rPr lang="en-US" b="0" i="0" dirty="0">
                <a:solidFill>
                  <a:srgbClr val="222222"/>
                </a:solidFill>
                <a:effectLst/>
                <a:latin typeface="Tahoma" panose="020B0604030504040204" pitchFamily="34" charset="0"/>
              </a:rPr>
              <a:t>A:       </a:t>
            </a:r>
            <a:r>
              <a:rPr lang="en-US" b="0" i="0" dirty="0">
                <a:solidFill>
                  <a:srgbClr val="FF0000"/>
                </a:solidFill>
                <a:effectLst/>
                <a:latin typeface="Tahoma" panose="020B0604030504040204" pitchFamily="34" charset="0"/>
              </a:rPr>
              <a:t>Yes, one of the updates being done will create a new tab that only lists the Rotary and Rotaract Clubs with contribution amounts for each fund.  Also, downloading most reports into Excel allows users to sort as they see fit rather than adjusting the report itself.</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imes New Roman" panose="02020603050405020304" pitchFamily="18" charset="0"/>
              </a:rPr>
              <a:t> </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ahoma" panose="020B0604030504040204" pitchFamily="34" charset="0"/>
              </a:rPr>
              <a:t>Q:      Is the PP Society 100% Certificate created by Rotary or the District? </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ahoma" panose="020B0604030504040204" pitchFamily="34" charset="0"/>
              </a:rPr>
              <a:t>A</a:t>
            </a:r>
            <a:r>
              <a:rPr lang="en-US" b="0" i="0" dirty="0">
                <a:solidFill>
                  <a:srgbClr val="FF0000"/>
                </a:solidFill>
                <a:effectLst/>
                <a:latin typeface="Tahoma" panose="020B0604030504040204" pitchFamily="34" charset="0"/>
              </a:rPr>
              <a:t>:      The District</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imes New Roman" panose="02020603050405020304" pitchFamily="18" charset="0"/>
              </a:rPr>
              <a:t> </a:t>
            </a:r>
            <a:endParaRPr lang="en-US" b="0" i="0" dirty="0">
              <a:solidFill>
                <a:srgbClr val="222222"/>
              </a:solidFill>
              <a:effectLst/>
              <a:latin typeface="Arial" panose="020B0604020202020204" pitchFamily="34" charset="0"/>
            </a:endParaRPr>
          </a:p>
          <a:p>
            <a:pPr marL="465887"/>
            <a:r>
              <a:rPr lang="en-US" b="0" i="0" dirty="0">
                <a:solidFill>
                  <a:srgbClr val="222222"/>
                </a:solidFill>
                <a:effectLst/>
                <a:latin typeface="Tahoma" panose="020B0604030504040204" pitchFamily="34" charset="0"/>
              </a:rPr>
              <a:t>Q:      Can you think of other reports that can be created and helpful to the cause?  </a:t>
            </a:r>
            <a:endParaRPr lang="en-US" b="0" i="0" dirty="0">
              <a:solidFill>
                <a:srgbClr val="222222"/>
              </a:solidFill>
              <a:effectLst/>
              <a:latin typeface="Arial" panose="020B0604020202020204" pitchFamily="34" charset="0"/>
            </a:endParaRPr>
          </a:p>
          <a:p>
            <a:pPr marL="931774"/>
            <a:r>
              <a:rPr lang="en-US" b="0" i="0" dirty="0">
                <a:solidFill>
                  <a:srgbClr val="222222"/>
                </a:solidFill>
                <a:effectLst/>
                <a:latin typeface="Times New Roman" panose="02020603050405020304" pitchFamily="18" charset="0"/>
              </a:rPr>
              <a:t>A:        </a:t>
            </a:r>
            <a:r>
              <a:rPr lang="en-US" b="0" i="0" dirty="0">
                <a:solidFill>
                  <a:srgbClr val="FF0000"/>
                </a:solidFill>
                <a:effectLst/>
                <a:latin typeface="Times New Roman" panose="02020603050405020304" pitchFamily="18" charset="0"/>
              </a:rPr>
              <a:t>Yes, the </a:t>
            </a:r>
            <a:r>
              <a:rPr lang="en-US" b="0" i="0" dirty="0">
                <a:solidFill>
                  <a:srgbClr val="FF0000"/>
                </a:solidFill>
                <a:effectLst/>
                <a:latin typeface="Tahoma" panose="020B0604030504040204" pitchFamily="34" charset="0"/>
              </a:rPr>
              <a:t>PolioPlus District Report after some adjustments are made.  Adding current and prior year PolioPlus contribution information will give district and club leaders a lot more flexibility in adjusting approachable PolioPlus giving goals. </a:t>
            </a:r>
          </a:p>
          <a:p>
            <a:pPr marL="931774"/>
            <a:endParaRPr lang="en-US" b="0" i="0" dirty="0">
              <a:solidFill>
                <a:srgbClr val="FF0000"/>
              </a:solidFill>
              <a:effectLst/>
              <a:latin typeface="Tahoma" panose="020B0604030504040204" pitchFamily="34" charset="0"/>
            </a:endParaRPr>
          </a:p>
          <a:p>
            <a:pPr marL="931774"/>
            <a:r>
              <a:rPr lang="en-US" b="0" i="0" dirty="0">
                <a:solidFill>
                  <a:srgbClr val="FF0000"/>
                </a:solidFill>
                <a:effectLst/>
                <a:latin typeface="Tahoma" panose="020B0604030504040204" pitchFamily="34" charset="0"/>
              </a:rPr>
              <a:t>This new enhanced version of the Contribution Detail Report (CDR) will allow Districts to properly thank, steward and cultivate those donors – perhaps to the next level.</a:t>
            </a:r>
          </a:p>
          <a:p>
            <a:pPr marL="931774"/>
            <a:endParaRPr lang="en-US" b="0" i="0" dirty="0">
              <a:solidFill>
                <a:srgbClr val="FF0000"/>
              </a:solidFill>
              <a:effectLst/>
              <a:latin typeface="Tahoma" panose="020B0604030504040204" pitchFamily="34" charset="0"/>
            </a:endParaRPr>
          </a:p>
          <a:p>
            <a:pPr marL="931774"/>
            <a:r>
              <a:rPr lang="en-US" b="0" i="0" dirty="0">
                <a:solidFill>
                  <a:srgbClr val="FF0000"/>
                </a:solidFill>
                <a:effectLst/>
                <a:latin typeface="Tahoma" panose="020B0604030504040204" pitchFamily="34" charset="0"/>
              </a:rPr>
              <a:t>As a side note: My own District launched a refresh of our PolioPlus Society just last week.  We decided to use different levels since our CDR showed a couple donors giving at levels up to and over $1000.  As of this morning, we now have 4 donors giving at the Platinum Level of $1000.  Are we leaving gifts on the table by not providing an opportunity to give more than $100?  </a:t>
            </a:r>
          </a:p>
          <a:p>
            <a:pPr marL="931774"/>
            <a:endParaRPr lang="en-US" b="0" i="0" dirty="0">
              <a:solidFill>
                <a:srgbClr val="FF0000"/>
              </a:solidFill>
              <a:effectLst/>
              <a:latin typeface="Tahoma" panose="020B0604030504040204" pitchFamily="34" charset="0"/>
            </a:endParaRPr>
          </a:p>
          <a:p>
            <a:pPr marL="931774"/>
            <a:r>
              <a:rPr lang="en-US" b="0" i="0" dirty="0">
                <a:solidFill>
                  <a:srgbClr val="FF0000"/>
                </a:solidFill>
                <a:effectLst/>
                <a:latin typeface="Tahoma" panose="020B0604030504040204" pitchFamily="34" charset="0"/>
              </a:rPr>
              <a:t>As the end of my presentation today I’ll show you a sample REFRESH Form and another document showing a year long fundraising initiative partially using the Raise 4 Rotary platform.  More on that later.</a:t>
            </a:r>
            <a:endParaRPr lang="en-US" b="0" i="0" dirty="0">
              <a:solidFill>
                <a:srgbClr val="222222"/>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defTabSz="931774">
              <a:defRPr/>
            </a:pPr>
            <a:fld id="{DB827055-821E-4F6B-AAA9-2685E1493D9C}" type="slidenum">
              <a:rPr lang="en-US">
                <a:solidFill>
                  <a:prstClr val="black"/>
                </a:solidFill>
                <a:latin typeface="Calibri" panose="020F0502020204030204"/>
              </a:rPr>
              <a:pPr defTabSz="931774">
                <a:defRPr/>
              </a:pPr>
              <a:t>6</a:t>
            </a:fld>
            <a:endParaRPr lang="en-US" dirty="0">
              <a:solidFill>
                <a:prstClr val="black"/>
              </a:solidFill>
              <a:latin typeface="Calibri" panose="020F0502020204030204"/>
            </a:endParaRPr>
          </a:p>
        </p:txBody>
      </p:sp>
      <p:sp>
        <p:nvSpPr>
          <p:cNvPr id="5" name="TextBox 4">
            <a:extLst>
              <a:ext uri="{FF2B5EF4-FFF2-40B4-BE49-F238E27FC236}">
                <a16:creationId xmlns:a16="http://schemas.microsoft.com/office/drawing/2014/main" id="{D1AB72CC-9521-6F95-DB8F-F555AEB81C94}"/>
              </a:ext>
            </a:extLst>
          </p:cNvPr>
          <p:cNvSpPr txBox="1"/>
          <p:nvPr/>
        </p:nvSpPr>
        <p:spPr>
          <a:xfrm>
            <a:off x="756677" y="2024281"/>
            <a:ext cx="5292700" cy="2816155"/>
          </a:xfrm>
          <a:prstGeom prst="rect">
            <a:avLst/>
          </a:prstGeom>
          <a:noFill/>
        </p:spPr>
        <p:txBody>
          <a:bodyPr wrap="square" lIns="93177" tIns="46589" rIns="93177" bIns="46589" rtlCol="0">
            <a:spAutoFit/>
          </a:bodyPr>
          <a:lstStyle/>
          <a:p>
            <a:pPr marL="291179" indent="-291179" defTabSz="931774">
              <a:buFont typeface="Arial" panose="020B0604020202020204" pitchFamily="34" charset="0"/>
              <a:buChar char="•"/>
              <a:defRPr/>
            </a:pPr>
            <a:r>
              <a:rPr lang="en-US" dirty="0">
                <a:solidFill>
                  <a:prstClr val="black"/>
                </a:solidFill>
                <a:latin typeface="Calibri" panose="020F0502020204030204"/>
              </a:rPr>
              <a:t>Perhaps District 5110 in 2012</a:t>
            </a:r>
          </a:p>
          <a:p>
            <a:pPr marL="757066" lvl="1" indent="-291179" defTabSz="931774">
              <a:buFont typeface="Arial" panose="020B0604020202020204" pitchFamily="34" charset="0"/>
              <a:buChar char="•"/>
              <a:defRPr/>
            </a:pPr>
            <a:r>
              <a:rPr lang="en-US" sz="1600" dirty="0">
                <a:solidFill>
                  <a:prstClr val="black"/>
                </a:solidFill>
                <a:latin typeface="Calibri" panose="020F0502020204030204"/>
              </a:rPr>
              <a:t>Established to increase sustainable giving to PolioPlus with a minimum annual gift of $100 </a:t>
            </a:r>
          </a:p>
          <a:p>
            <a:pPr marL="757066" lvl="1" indent="-291179" defTabSz="931774">
              <a:buFont typeface="Arial" panose="020B0604020202020204" pitchFamily="34" charset="0"/>
              <a:buChar char="•"/>
              <a:defRPr/>
            </a:pPr>
            <a:endParaRPr lang="en-US" sz="1600" dirty="0">
              <a:solidFill>
                <a:prstClr val="black"/>
              </a:solidFill>
              <a:latin typeface="Calibri" panose="020F0502020204030204"/>
            </a:endParaRPr>
          </a:p>
          <a:p>
            <a:pPr marL="757066" lvl="1" indent="-291179" defTabSz="931774">
              <a:buFont typeface="Arial" panose="020B0604020202020204" pitchFamily="34" charset="0"/>
              <a:buChar char="•"/>
              <a:defRPr/>
            </a:pPr>
            <a:r>
              <a:rPr lang="en-US" dirty="0">
                <a:solidFill>
                  <a:prstClr val="black"/>
                </a:solidFill>
                <a:latin typeface="Calibri" panose="020F0502020204030204"/>
              </a:rPr>
              <a:t>The Idea created quick momentum</a:t>
            </a:r>
          </a:p>
          <a:p>
            <a:pPr marL="1222953" lvl="2" indent="-291179" defTabSz="931774">
              <a:buFont typeface="Arial" panose="020B0604020202020204" pitchFamily="34" charset="0"/>
              <a:buChar char="•"/>
              <a:defRPr/>
            </a:pPr>
            <a:r>
              <a:rPr lang="en-US" dirty="0">
                <a:solidFill>
                  <a:prstClr val="black"/>
                </a:solidFill>
                <a:latin typeface="Calibri" panose="020F0502020204030204"/>
              </a:rPr>
              <a:t>Why?  - Because of you – our EPNC’s</a:t>
            </a:r>
          </a:p>
          <a:p>
            <a:pPr marL="291179"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250973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is initiative will remain a grassroots effort where each District will decide to implement in a manner that suits their District best.</a:t>
            </a:r>
          </a:p>
        </p:txBody>
      </p:sp>
      <p:sp>
        <p:nvSpPr>
          <p:cNvPr id="4" name="Slide Number Placeholder 3"/>
          <p:cNvSpPr>
            <a:spLocks noGrp="1"/>
          </p:cNvSpPr>
          <p:nvPr>
            <p:ph type="sldNum" sz="quarter" idx="5"/>
          </p:nvPr>
        </p:nvSpPr>
        <p:spPr/>
        <p:txBody>
          <a:bodyPr/>
          <a:lstStyle/>
          <a:p>
            <a:pPr defTabSz="931774">
              <a:defRPr/>
            </a:pPr>
            <a:fld id="{DB827055-821E-4F6B-AAA9-2685E1493D9C}" type="slidenum">
              <a:rPr lang="en-US">
                <a:solidFill>
                  <a:prstClr val="black"/>
                </a:solidFill>
                <a:latin typeface="Calibri" panose="020F0502020204030204"/>
              </a:rPr>
              <a:pPr defTabSz="931774">
                <a:defRPr/>
              </a:pPr>
              <a:t>7</a:t>
            </a:fld>
            <a:endParaRPr lang="en-US" dirty="0">
              <a:solidFill>
                <a:prstClr val="black"/>
              </a:solidFill>
              <a:latin typeface="Calibri" panose="020F0502020204030204"/>
            </a:endParaRPr>
          </a:p>
        </p:txBody>
      </p:sp>
      <p:sp>
        <p:nvSpPr>
          <p:cNvPr id="5" name="TextBox 4">
            <a:extLst>
              <a:ext uri="{FF2B5EF4-FFF2-40B4-BE49-F238E27FC236}">
                <a16:creationId xmlns:a16="http://schemas.microsoft.com/office/drawing/2014/main" id="{D1AB72CC-9521-6F95-DB8F-F555AEB81C94}"/>
              </a:ext>
            </a:extLst>
          </p:cNvPr>
          <p:cNvSpPr txBox="1"/>
          <p:nvPr/>
        </p:nvSpPr>
        <p:spPr>
          <a:xfrm>
            <a:off x="756677" y="2024281"/>
            <a:ext cx="5292700" cy="2816155"/>
          </a:xfrm>
          <a:prstGeom prst="rect">
            <a:avLst/>
          </a:prstGeom>
          <a:noFill/>
        </p:spPr>
        <p:txBody>
          <a:bodyPr wrap="square" lIns="93177" tIns="46589" rIns="93177" bIns="46589" rtlCol="0">
            <a:spAutoFit/>
          </a:bodyPr>
          <a:lstStyle/>
          <a:p>
            <a:pPr marL="291179" indent="-291179" defTabSz="931774">
              <a:buFont typeface="Arial" panose="020B0604020202020204" pitchFamily="34" charset="0"/>
              <a:buChar char="•"/>
              <a:defRPr/>
            </a:pPr>
            <a:r>
              <a:rPr lang="en-US" dirty="0">
                <a:solidFill>
                  <a:prstClr val="black"/>
                </a:solidFill>
                <a:latin typeface="Calibri" panose="020F0502020204030204"/>
              </a:rPr>
              <a:t>Perhaps District 5110 in 2012</a:t>
            </a:r>
          </a:p>
          <a:p>
            <a:pPr marL="757066" lvl="1" indent="-291179" defTabSz="931774">
              <a:buFont typeface="Arial" panose="020B0604020202020204" pitchFamily="34" charset="0"/>
              <a:buChar char="•"/>
              <a:defRPr/>
            </a:pPr>
            <a:r>
              <a:rPr lang="en-US" sz="1600" dirty="0">
                <a:solidFill>
                  <a:prstClr val="black"/>
                </a:solidFill>
                <a:latin typeface="Calibri" panose="020F0502020204030204"/>
              </a:rPr>
              <a:t>Established to increase sustainable giving to PolioPlus with a minimum annual gift of $100 </a:t>
            </a:r>
          </a:p>
          <a:p>
            <a:pPr marL="757066" lvl="1" indent="-291179" defTabSz="931774">
              <a:buFont typeface="Arial" panose="020B0604020202020204" pitchFamily="34" charset="0"/>
              <a:buChar char="•"/>
              <a:defRPr/>
            </a:pPr>
            <a:endParaRPr lang="en-US" sz="1600" dirty="0">
              <a:solidFill>
                <a:prstClr val="black"/>
              </a:solidFill>
              <a:latin typeface="Calibri" panose="020F0502020204030204"/>
            </a:endParaRPr>
          </a:p>
          <a:p>
            <a:pPr marL="757066" lvl="1" indent="-291179" defTabSz="931774">
              <a:buFont typeface="Arial" panose="020B0604020202020204" pitchFamily="34" charset="0"/>
              <a:buChar char="•"/>
              <a:defRPr/>
            </a:pPr>
            <a:r>
              <a:rPr lang="en-US" dirty="0">
                <a:solidFill>
                  <a:prstClr val="black"/>
                </a:solidFill>
                <a:latin typeface="Calibri" panose="020F0502020204030204"/>
              </a:rPr>
              <a:t>The Idea created quick momentum</a:t>
            </a:r>
          </a:p>
          <a:p>
            <a:pPr marL="1222953" lvl="2" indent="-291179" defTabSz="931774">
              <a:buFont typeface="Arial" panose="020B0604020202020204" pitchFamily="34" charset="0"/>
              <a:buChar char="•"/>
              <a:defRPr/>
            </a:pPr>
            <a:r>
              <a:rPr lang="en-US" dirty="0">
                <a:solidFill>
                  <a:prstClr val="black"/>
                </a:solidFill>
                <a:latin typeface="Calibri" panose="020F0502020204030204"/>
              </a:rPr>
              <a:t>Why?  - Because of you – our EPNC’s</a:t>
            </a:r>
          </a:p>
          <a:p>
            <a:pPr marL="291179"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a:p>
            <a:pPr marL="1222953" lvl="2" indent="-291179" defTabSz="931774">
              <a:buFont typeface="Arial" panose="020B0604020202020204" pitchFamily="34" charset="0"/>
              <a:buChar char="•"/>
              <a:defRPr/>
            </a:pPr>
            <a:endParaRPr lang="en-US" dirty="0">
              <a:solidFill>
                <a:prstClr val="black"/>
              </a:solidFill>
              <a:latin typeface="Calibri" panose="020F0502020204030204"/>
            </a:endParaRPr>
          </a:p>
        </p:txBody>
      </p:sp>
    </p:spTree>
    <p:extLst>
      <p:ext uri="{BB962C8B-B14F-4D97-AF65-F5344CB8AC3E}">
        <p14:creationId xmlns:p14="http://schemas.microsoft.com/office/powerpoint/2010/main" val="3759768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B827055-821E-4F6B-AAA9-2685E1493D9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1AB72CC-9521-6F95-DB8F-F555AEB81C94}"/>
              </a:ext>
            </a:extLst>
          </p:cNvPr>
          <p:cNvSpPr txBox="1"/>
          <p:nvPr/>
        </p:nvSpPr>
        <p:spPr>
          <a:xfrm>
            <a:off x="756677" y="2024281"/>
            <a:ext cx="5292700" cy="2816155"/>
          </a:xfrm>
          <a:prstGeom prst="rect">
            <a:avLst/>
          </a:prstGeom>
          <a:noFill/>
        </p:spPr>
        <p:txBody>
          <a:bodyPr wrap="square" lIns="93177" tIns="46589" rIns="93177" bIns="46589" rtlCol="0">
            <a:spAutoFit/>
          </a:bodyPr>
          <a:lstStyle/>
          <a:p>
            <a:pPr marL="291179" marR="0" lvl="0"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erhaps District 5110 in 2012</a:t>
            </a:r>
          </a:p>
          <a:p>
            <a:pPr marL="757066" marR="0" lvl="1"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stablished to increase sustainable giving to PolioPlus with a minimum annual gift of $100 </a:t>
            </a:r>
          </a:p>
          <a:p>
            <a:pPr marL="757066" marR="0" lvl="1"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57066" marR="0" lvl="1"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Idea created quick momentum</a:t>
            </a:r>
          </a:p>
          <a:p>
            <a:pPr marL="1222953" marR="0" lvl="2"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y?  - Because of you – our EPNC’s</a:t>
            </a:r>
          </a:p>
          <a:p>
            <a:pPr marL="291179" marR="0" lvl="0"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22953" marR="0" lvl="2"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22953" marR="0" lvl="2"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22953" marR="0" lvl="2" indent="-291179"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16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llow the PolioPlus Society page on Facebook</a:t>
            </a:r>
          </a:p>
        </p:txBody>
      </p:sp>
      <p:sp>
        <p:nvSpPr>
          <p:cNvPr id="4" name="Slide Number Placeholder 3"/>
          <p:cNvSpPr>
            <a:spLocks noGrp="1"/>
          </p:cNvSpPr>
          <p:nvPr>
            <p:ph type="sldNum" sz="quarter" idx="5"/>
          </p:nvPr>
        </p:nvSpPr>
        <p:spPr/>
        <p:txBody>
          <a:bodyPr/>
          <a:lstStyle/>
          <a:p>
            <a:fld id="{DB827055-821E-4F6B-AAA9-2685E1493D9C}" type="slidenum">
              <a:rPr lang="en-US" smtClean="0"/>
              <a:t>12</a:t>
            </a:fld>
            <a:endParaRPr lang="en-US" dirty="0"/>
          </a:p>
        </p:txBody>
      </p:sp>
    </p:spTree>
    <p:extLst>
      <p:ext uri="{BB962C8B-B14F-4D97-AF65-F5344CB8AC3E}">
        <p14:creationId xmlns:p14="http://schemas.microsoft.com/office/powerpoint/2010/main" val="28259522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B30992E-1E6B-4A2A-9EC3-2C82E6D8A942}"/>
              </a:ext>
            </a:extLst>
          </p:cNvPr>
          <p:cNvSpPr>
            <a:spLocks noGrp="1"/>
          </p:cNvSpPr>
          <p:nvPr>
            <p:ph type="pic" sz="quarter" idx="13"/>
          </p:nvPr>
        </p:nvSpPr>
        <p:spPr>
          <a:xfrm>
            <a:off x="0" y="0"/>
            <a:ext cx="12192000" cy="6858000"/>
          </a:xfrm>
          <a:custGeom>
            <a:avLst/>
            <a:gdLst>
              <a:gd name="connsiteX0" fmla="*/ 6948486 w 12192000"/>
              <a:gd name="connsiteY0" fmla="*/ 6345467 h 6858000"/>
              <a:gd name="connsiteX1" fmla="*/ 6954599 w 12192000"/>
              <a:gd name="connsiteY1" fmla="*/ 6345467 h 6858000"/>
              <a:gd name="connsiteX2" fmla="*/ 6959994 w 12192000"/>
              <a:gd name="connsiteY2" fmla="*/ 6346042 h 6858000"/>
              <a:gd name="connsiteX3" fmla="*/ 6962272 w 12192000"/>
              <a:gd name="connsiteY3" fmla="*/ 6347785 h 6858000"/>
              <a:gd name="connsiteX4" fmla="*/ 6963092 w 12192000"/>
              <a:gd name="connsiteY4" fmla="*/ 6350432 h 6858000"/>
              <a:gd name="connsiteX5" fmla="*/ 6961389 w 12192000"/>
              <a:gd name="connsiteY5" fmla="*/ 6354124 h 6858000"/>
              <a:gd name="connsiteX6" fmla="*/ 6955010 w 12192000"/>
              <a:gd name="connsiteY6" fmla="*/ 6355519 h 6858000"/>
              <a:gd name="connsiteX7" fmla="*/ 6948486 w 12192000"/>
              <a:gd name="connsiteY7" fmla="*/ 6355519 h 6858000"/>
              <a:gd name="connsiteX8" fmla="*/ 6943111 w 12192000"/>
              <a:gd name="connsiteY8" fmla="*/ 6340955 h 6858000"/>
              <a:gd name="connsiteX9" fmla="*/ 6943111 w 12192000"/>
              <a:gd name="connsiteY9" fmla="*/ 6374269 h 6858000"/>
              <a:gd name="connsiteX10" fmla="*/ 6948486 w 12192000"/>
              <a:gd name="connsiteY10" fmla="*/ 6374269 h 6858000"/>
              <a:gd name="connsiteX11" fmla="*/ 6948486 w 12192000"/>
              <a:gd name="connsiteY11" fmla="*/ 6360115 h 6858000"/>
              <a:gd name="connsiteX12" fmla="*/ 6951645 w 12192000"/>
              <a:gd name="connsiteY12" fmla="*/ 6360115 h 6858000"/>
              <a:gd name="connsiteX13" fmla="*/ 6955953 w 12192000"/>
              <a:gd name="connsiteY13" fmla="*/ 6361263 h 6858000"/>
              <a:gd name="connsiteX14" fmla="*/ 6961574 w 12192000"/>
              <a:gd name="connsiteY14" fmla="*/ 6369017 h 6858000"/>
              <a:gd name="connsiteX15" fmla="*/ 6964528 w 12192000"/>
              <a:gd name="connsiteY15" fmla="*/ 6374269 h 6858000"/>
              <a:gd name="connsiteX16" fmla="*/ 6971092 w 12192000"/>
              <a:gd name="connsiteY16" fmla="*/ 6374269 h 6858000"/>
              <a:gd name="connsiteX17" fmla="*/ 6967031 w 12192000"/>
              <a:gd name="connsiteY17" fmla="*/ 6367745 h 6858000"/>
              <a:gd name="connsiteX18" fmla="*/ 6962108 w 12192000"/>
              <a:gd name="connsiteY18" fmla="*/ 6361140 h 6858000"/>
              <a:gd name="connsiteX19" fmla="*/ 6959277 w 12192000"/>
              <a:gd name="connsiteY19" fmla="*/ 6359376 h 6858000"/>
              <a:gd name="connsiteX20" fmla="*/ 6966190 w 12192000"/>
              <a:gd name="connsiteY20" fmla="*/ 6356340 h 6858000"/>
              <a:gd name="connsiteX21" fmla="*/ 6968795 w 12192000"/>
              <a:gd name="connsiteY21" fmla="*/ 6349981 h 6858000"/>
              <a:gd name="connsiteX22" fmla="*/ 6967236 w 12192000"/>
              <a:gd name="connsiteY22" fmla="*/ 6345098 h 6858000"/>
              <a:gd name="connsiteX23" fmla="*/ 6963051 w 12192000"/>
              <a:gd name="connsiteY23" fmla="*/ 6341878 h 6858000"/>
              <a:gd name="connsiteX24" fmla="*/ 6954558 w 12192000"/>
              <a:gd name="connsiteY24" fmla="*/ 6340955 h 6858000"/>
              <a:gd name="connsiteX25" fmla="*/ 5903900 w 12192000"/>
              <a:gd name="connsiteY25" fmla="*/ 6338384 h 6858000"/>
              <a:gd name="connsiteX26" fmla="*/ 5907414 w 12192000"/>
              <a:gd name="connsiteY26" fmla="*/ 6338384 h 6858000"/>
              <a:gd name="connsiteX27" fmla="*/ 5907414 w 12192000"/>
              <a:gd name="connsiteY27" fmla="*/ 6341925 h 6858000"/>
              <a:gd name="connsiteX28" fmla="*/ 5879303 w 12192000"/>
              <a:gd name="connsiteY28" fmla="*/ 6377347 h 6858000"/>
              <a:gd name="connsiteX29" fmla="*/ 5861734 w 12192000"/>
              <a:gd name="connsiteY29" fmla="*/ 6359637 h 6858000"/>
              <a:gd name="connsiteX30" fmla="*/ 5903900 w 12192000"/>
              <a:gd name="connsiteY30" fmla="*/ 6338384 h 6858000"/>
              <a:gd name="connsiteX31" fmla="*/ 6956692 w 12192000"/>
              <a:gd name="connsiteY31" fmla="*/ 6331313 h 6858000"/>
              <a:gd name="connsiteX32" fmla="*/ 6969369 w 12192000"/>
              <a:gd name="connsiteY32" fmla="*/ 6334657 h 6858000"/>
              <a:gd name="connsiteX33" fmla="*/ 6979032 w 12192000"/>
              <a:gd name="connsiteY33" fmla="*/ 6344216 h 6858000"/>
              <a:gd name="connsiteX34" fmla="*/ 6982498 w 12192000"/>
              <a:gd name="connsiteY34" fmla="*/ 6357160 h 6858000"/>
              <a:gd name="connsiteX35" fmla="*/ 6979093 w 12192000"/>
              <a:gd name="connsiteY35" fmla="*/ 6369981 h 6858000"/>
              <a:gd name="connsiteX36" fmla="*/ 6969533 w 12192000"/>
              <a:gd name="connsiteY36" fmla="*/ 6379541 h 6858000"/>
              <a:gd name="connsiteX37" fmla="*/ 6956692 w 12192000"/>
              <a:gd name="connsiteY37" fmla="*/ 6382967 h 6858000"/>
              <a:gd name="connsiteX38" fmla="*/ 6943850 w 12192000"/>
              <a:gd name="connsiteY38" fmla="*/ 6379541 h 6858000"/>
              <a:gd name="connsiteX39" fmla="*/ 6934270 w 12192000"/>
              <a:gd name="connsiteY39" fmla="*/ 6369981 h 6858000"/>
              <a:gd name="connsiteX40" fmla="*/ 6930844 w 12192000"/>
              <a:gd name="connsiteY40" fmla="*/ 6357160 h 6858000"/>
              <a:gd name="connsiteX41" fmla="*/ 6934332 w 12192000"/>
              <a:gd name="connsiteY41" fmla="*/ 6344216 h 6858000"/>
              <a:gd name="connsiteX42" fmla="*/ 6943994 w 12192000"/>
              <a:gd name="connsiteY42" fmla="*/ 6334657 h 6858000"/>
              <a:gd name="connsiteX43" fmla="*/ 6956692 w 12192000"/>
              <a:gd name="connsiteY43" fmla="*/ 6331313 h 6858000"/>
              <a:gd name="connsiteX44" fmla="*/ 6956692 w 12192000"/>
              <a:gd name="connsiteY44" fmla="*/ 6326185 h 6858000"/>
              <a:gd name="connsiteX45" fmla="*/ 6941471 w 12192000"/>
              <a:gd name="connsiteY45" fmla="*/ 6330185 h 6858000"/>
              <a:gd name="connsiteX46" fmla="*/ 6929880 w 12192000"/>
              <a:gd name="connsiteY46" fmla="*/ 6341632 h 6858000"/>
              <a:gd name="connsiteX47" fmla="*/ 6925716 w 12192000"/>
              <a:gd name="connsiteY47" fmla="*/ 6357160 h 6858000"/>
              <a:gd name="connsiteX48" fmla="*/ 6929819 w 12192000"/>
              <a:gd name="connsiteY48" fmla="*/ 6372546 h 6858000"/>
              <a:gd name="connsiteX49" fmla="*/ 6941286 w 12192000"/>
              <a:gd name="connsiteY49" fmla="*/ 6384013 h 6858000"/>
              <a:gd name="connsiteX50" fmla="*/ 6956692 w 12192000"/>
              <a:gd name="connsiteY50" fmla="*/ 6388095 h 6858000"/>
              <a:gd name="connsiteX51" fmla="*/ 6972098 w 12192000"/>
              <a:gd name="connsiteY51" fmla="*/ 6384013 h 6858000"/>
              <a:gd name="connsiteX52" fmla="*/ 6983544 w 12192000"/>
              <a:gd name="connsiteY52" fmla="*/ 6372546 h 6858000"/>
              <a:gd name="connsiteX53" fmla="*/ 6987626 w 12192000"/>
              <a:gd name="connsiteY53" fmla="*/ 6357160 h 6858000"/>
              <a:gd name="connsiteX54" fmla="*/ 6983483 w 12192000"/>
              <a:gd name="connsiteY54" fmla="*/ 6341632 h 6858000"/>
              <a:gd name="connsiteX55" fmla="*/ 6971912 w 12192000"/>
              <a:gd name="connsiteY55" fmla="*/ 6330185 h 6858000"/>
              <a:gd name="connsiteX56" fmla="*/ 6956692 w 12192000"/>
              <a:gd name="connsiteY56" fmla="*/ 6326185 h 6858000"/>
              <a:gd name="connsiteX57" fmla="*/ 6093496 w 12192000"/>
              <a:gd name="connsiteY57" fmla="*/ 6296733 h 6858000"/>
              <a:gd name="connsiteX58" fmla="*/ 6125070 w 12192000"/>
              <a:gd name="connsiteY58" fmla="*/ 6337040 h 6858000"/>
              <a:gd name="connsiteX59" fmla="*/ 6093496 w 12192000"/>
              <a:gd name="connsiteY59" fmla="*/ 6377346 h 6858000"/>
              <a:gd name="connsiteX60" fmla="*/ 6061922 w 12192000"/>
              <a:gd name="connsiteY60" fmla="*/ 6337040 h 6858000"/>
              <a:gd name="connsiteX61" fmla="*/ 6093496 w 12192000"/>
              <a:gd name="connsiteY61" fmla="*/ 6296733 h 6858000"/>
              <a:gd name="connsiteX62" fmla="*/ 5783809 w 12192000"/>
              <a:gd name="connsiteY62" fmla="*/ 6296733 h 6858000"/>
              <a:gd name="connsiteX63" fmla="*/ 5812024 w 12192000"/>
              <a:gd name="connsiteY63" fmla="*/ 6337040 h 6858000"/>
              <a:gd name="connsiteX64" fmla="*/ 5783809 w 12192000"/>
              <a:gd name="connsiteY64" fmla="*/ 6377346 h 6858000"/>
              <a:gd name="connsiteX65" fmla="*/ 5755594 w 12192000"/>
              <a:gd name="connsiteY65" fmla="*/ 6337040 h 6858000"/>
              <a:gd name="connsiteX66" fmla="*/ 5783809 w 12192000"/>
              <a:gd name="connsiteY66" fmla="*/ 6296733 h 6858000"/>
              <a:gd name="connsiteX67" fmla="*/ 5471433 w 12192000"/>
              <a:gd name="connsiteY67" fmla="*/ 6296733 h 6858000"/>
              <a:gd name="connsiteX68" fmla="*/ 5503007 w 12192000"/>
              <a:gd name="connsiteY68" fmla="*/ 6337040 h 6858000"/>
              <a:gd name="connsiteX69" fmla="*/ 5471433 w 12192000"/>
              <a:gd name="connsiteY69" fmla="*/ 6377346 h 6858000"/>
              <a:gd name="connsiteX70" fmla="*/ 5439860 w 12192000"/>
              <a:gd name="connsiteY70" fmla="*/ 6337040 h 6858000"/>
              <a:gd name="connsiteX71" fmla="*/ 5471433 w 12192000"/>
              <a:gd name="connsiteY71" fmla="*/ 6296733 h 6858000"/>
              <a:gd name="connsiteX72" fmla="*/ 6016373 w 12192000"/>
              <a:gd name="connsiteY72" fmla="*/ 6291486 h 6858000"/>
              <a:gd name="connsiteX73" fmla="*/ 6016373 w 12192000"/>
              <a:gd name="connsiteY73" fmla="*/ 6387446 h 6858000"/>
              <a:gd name="connsiteX74" fmla="*/ 6028662 w 12192000"/>
              <a:gd name="connsiteY74" fmla="*/ 6387446 h 6858000"/>
              <a:gd name="connsiteX75" fmla="*/ 6028662 w 12192000"/>
              <a:gd name="connsiteY75" fmla="*/ 6291486 h 6858000"/>
              <a:gd name="connsiteX76" fmla="*/ 6160001 w 12192000"/>
              <a:gd name="connsiteY76" fmla="*/ 6290016 h 6858000"/>
              <a:gd name="connsiteX77" fmla="*/ 6160001 w 12192000"/>
              <a:gd name="connsiteY77" fmla="*/ 6314399 h 6858000"/>
              <a:gd name="connsiteX78" fmla="*/ 6160001 w 12192000"/>
              <a:gd name="connsiteY78" fmla="*/ 6384064 h 6858000"/>
              <a:gd name="connsiteX79" fmla="*/ 6173820 w 12192000"/>
              <a:gd name="connsiteY79" fmla="*/ 6384064 h 6858000"/>
              <a:gd name="connsiteX80" fmla="*/ 6173820 w 12192000"/>
              <a:gd name="connsiteY80" fmla="*/ 6331815 h 6858000"/>
              <a:gd name="connsiteX81" fmla="*/ 6201459 w 12192000"/>
              <a:gd name="connsiteY81" fmla="*/ 6296982 h 6858000"/>
              <a:gd name="connsiteX82" fmla="*/ 6222188 w 12192000"/>
              <a:gd name="connsiteY82" fmla="*/ 6328332 h 6858000"/>
              <a:gd name="connsiteX83" fmla="*/ 6222188 w 12192000"/>
              <a:gd name="connsiteY83" fmla="*/ 6384064 h 6858000"/>
              <a:gd name="connsiteX84" fmla="*/ 6232552 w 12192000"/>
              <a:gd name="connsiteY84" fmla="*/ 6384064 h 6858000"/>
              <a:gd name="connsiteX85" fmla="*/ 6232552 w 12192000"/>
              <a:gd name="connsiteY85" fmla="*/ 6324848 h 6858000"/>
              <a:gd name="connsiteX86" fmla="*/ 6201459 w 12192000"/>
              <a:gd name="connsiteY86" fmla="*/ 6290016 h 6858000"/>
              <a:gd name="connsiteX87" fmla="*/ 6170366 w 12192000"/>
              <a:gd name="connsiteY87" fmla="*/ 6307432 h 6858000"/>
              <a:gd name="connsiteX88" fmla="*/ 6170366 w 12192000"/>
              <a:gd name="connsiteY88" fmla="*/ 6290016 h 6858000"/>
              <a:gd name="connsiteX89" fmla="*/ 6160001 w 12192000"/>
              <a:gd name="connsiteY89" fmla="*/ 6290016 h 6858000"/>
              <a:gd name="connsiteX90" fmla="*/ 6090808 w 12192000"/>
              <a:gd name="connsiteY90" fmla="*/ 6290016 h 6858000"/>
              <a:gd name="connsiteX91" fmla="*/ 6047143 w 12192000"/>
              <a:gd name="connsiteY91" fmla="*/ 6339056 h 6858000"/>
              <a:gd name="connsiteX92" fmla="*/ 6090808 w 12192000"/>
              <a:gd name="connsiteY92" fmla="*/ 6388095 h 6858000"/>
              <a:gd name="connsiteX93" fmla="*/ 6134474 w 12192000"/>
              <a:gd name="connsiteY93" fmla="*/ 6339056 h 6858000"/>
              <a:gd name="connsiteX94" fmla="*/ 6090808 w 12192000"/>
              <a:gd name="connsiteY94" fmla="*/ 6290016 h 6858000"/>
              <a:gd name="connsiteX95" fmla="*/ 5885663 w 12192000"/>
              <a:gd name="connsiteY95" fmla="*/ 6290016 h 6858000"/>
              <a:gd name="connsiteX96" fmla="*/ 5857511 w 12192000"/>
              <a:gd name="connsiteY96" fmla="*/ 6293519 h 6858000"/>
              <a:gd name="connsiteX97" fmla="*/ 5857511 w 12192000"/>
              <a:gd name="connsiteY97" fmla="*/ 6307530 h 6858000"/>
              <a:gd name="connsiteX98" fmla="*/ 5885663 w 12192000"/>
              <a:gd name="connsiteY98" fmla="*/ 6297022 h 6858000"/>
              <a:gd name="connsiteX99" fmla="*/ 5906775 w 12192000"/>
              <a:gd name="connsiteY99" fmla="*/ 6321542 h 6858000"/>
              <a:gd name="connsiteX100" fmla="*/ 5906775 w 12192000"/>
              <a:gd name="connsiteY100" fmla="*/ 6328547 h 6858000"/>
              <a:gd name="connsiteX101" fmla="*/ 5846955 w 12192000"/>
              <a:gd name="connsiteY101" fmla="*/ 6360072 h 6858000"/>
              <a:gd name="connsiteX102" fmla="*/ 5878625 w 12192000"/>
              <a:gd name="connsiteY102" fmla="*/ 6388095 h 6858000"/>
              <a:gd name="connsiteX103" fmla="*/ 5906775 w 12192000"/>
              <a:gd name="connsiteY103" fmla="*/ 6370581 h 6858000"/>
              <a:gd name="connsiteX104" fmla="*/ 5910294 w 12192000"/>
              <a:gd name="connsiteY104" fmla="*/ 6370581 h 6858000"/>
              <a:gd name="connsiteX105" fmla="*/ 5910294 w 12192000"/>
              <a:gd name="connsiteY105" fmla="*/ 6384592 h 6858000"/>
              <a:gd name="connsiteX106" fmla="*/ 5920851 w 12192000"/>
              <a:gd name="connsiteY106" fmla="*/ 6384592 h 6858000"/>
              <a:gd name="connsiteX107" fmla="*/ 5920851 w 12192000"/>
              <a:gd name="connsiteY107" fmla="*/ 6367078 h 6858000"/>
              <a:gd name="connsiteX108" fmla="*/ 5920851 w 12192000"/>
              <a:gd name="connsiteY108" fmla="*/ 6325045 h 6858000"/>
              <a:gd name="connsiteX109" fmla="*/ 5885663 w 12192000"/>
              <a:gd name="connsiteY109" fmla="*/ 6290016 h 6858000"/>
              <a:gd name="connsiteX110" fmla="*/ 5644079 w 12192000"/>
              <a:gd name="connsiteY110" fmla="*/ 6290016 h 6858000"/>
              <a:gd name="connsiteX111" fmla="*/ 5644079 w 12192000"/>
              <a:gd name="connsiteY111" fmla="*/ 6314399 h 6858000"/>
              <a:gd name="connsiteX112" fmla="*/ 5644079 w 12192000"/>
              <a:gd name="connsiteY112" fmla="*/ 6384064 h 6858000"/>
              <a:gd name="connsiteX113" fmla="*/ 5658155 w 12192000"/>
              <a:gd name="connsiteY113" fmla="*/ 6384064 h 6858000"/>
              <a:gd name="connsiteX114" fmla="*/ 5658155 w 12192000"/>
              <a:gd name="connsiteY114" fmla="*/ 6331815 h 6858000"/>
              <a:gd name="connsiteX115" fmla="*/ 5686305 w 12192000"/>
              <a:gd name="connsiteY115" fmla="*/ 6296982 h 6858000"/>
              <a:gd name="connsiteX116" fmla="*/ 5707418 w 12192000"/>
              <a:gd name="connsiteY116" fmla="*/ 6328332 h 6858000"/>
              <a:gd name="connsiteX117" fmla="*/ 5707418 w 12192000"/>
              <a:gd name="connsiteY117" fmla="*/ 6384064 h 6858000"/>
              <a:gd name="connsiteX118" fmla="*/ 5717975 w 12192000"/>
              <a:gd name="connsiteY118" fmla="*/ 6384064 h 6858000"/>
              <a:gd name="connsiteX119" fmla="*/ 5717975 w 12192000"/>
              <a:gd name="connsiteY119" fmla="*/ 6324848 h 6858000"/>
              <a:gd name="connsiteX120" fmla="*/ 5686305 w 12192000"/>
              <a:gd name="connsiteY120" fmla="*/ 6290016 h 6858000"/>
              <a:gd name="connsiteX121" fmla="*/ 5654636 w 12192000"/>
              <a:gd name="connsiteY121" fmla="*/ 6307432 h 6858000"/>
              <a:gd name="connsiteX122" fmla="*/ 5654636 w 12192000"/>
              <a:gd name="connsiteY122" fmla="*/ 6290016 h 6858000"/>
              <a:gd name="connsiteX123" fmla="*/ 5644079 w 12192000"/>
              <a:gd name="connsiteY123" fmla="*/ 6290016 h 6858000"/>
              <a:gd name="connsiteX124" fmla="*/ 5541970 w 12192000"/>
              <a:gd name="connsiteY124" fmla="*/ 6290016 h 6858000"/>
              <a:gd name="connsiteX125" fmla="*/ 5541970 w 12192000"/>
              <a:gd name="connsiteY125" fmla="*/ 6353066 h 6858000"/>
              <a:gd name="connsiteX126" fmla="*/ 5573640 w 12192000"/>
              <a:gd name="connsiteY126" fmla="*/ 6388095 h 6858000"/>
              <a:gd name="connsiteX127" fmla="*/ 5605309 w 12192000"/>
              <a:gd name="connsiteY127" fmla="*/ 6370581 h 6858000"/>
              <a:gd name="connsiteX128" fmla="*/ 5605309 w 12192000"/>
              <a:gd name="connsiteY128" fmla="*/ 6384592 h 6858000"/>
              <a:gd name="connsiteX129" fmla="*/ 5615865 w 12192000"/>
              <a:gd name="connsiteY129" fmla="*/ 6384592 h 6858000"/>
              <a:gd name="connsiteX130" fmla="*/ 5615865 w 12192000"/>
              <a:gd name="connsiteY130" fmla="*/ 6363575 h 6858000"/>
              <a:gd name="connsiteX131" fmla="*/ 5615865 w 12192000"/>
              <a:gd name="connsiteY131" fmla="*/ 6290016 h 6858000"/>
              <a:gd name="connsiteX132" fmla="*/ 5601790 w 12192000"/>
              <a:gd name="connsiteY132" fmla="*/ 6290016 h 6858000"/>
              <a:gd name="connsiteX133" fmla="*/ 5601790 w 12192000"/>
              <a:gd name="connsiteY133" fmla="*/ 6342558 h 6858000"/>
              <a:gd name="connsiteX134" fmla="*/ 5573640 w 12192000"/>
              <a:gd name="connsiteY134" fmla="*/ 6377586 h 6858000"/>
              <a:gd name="connsiteX135" fmla="*/ 5552527 w 12192000"/>
              <a:gd name="connsiteY135" fmla="*/ 6349564 h 6858000"/>
              <a:gd name="connsiteX136" fmla="*/ 5552527 w 12192000"/>
              <a:gd name="connsiteY136" fmla="*/ 6290016 h 6858000"/>
              <a:gd name="connsiteX137" fmla="*/ 5541970 w 12192000"/>
              <a:gd name="connsiteY137" fmla="*/ 6290016 h 6858000"/>
              <a:gd name="connsiteX138" fmla="*/ 5473449 w 12192000"/>
              <a:gd name="connsiteY138" fmla="*/ 6290016 h 6858000"/>
              <a:gd name="connsiteX139" fmla="*/ 5429111 w 12192000"/>
              <a:gd name="connsiteY139" fmla="*/ 6339056 h 6858000"/>
              <a:gd name="connsiteX140" fmla="*/ 5473449 w 12192000"/>
              <a:gd name="connsiteY140" fmla="*/ 6388095 h 6858000"/>
              <a:gd name="connsiteX141" fmla="*/ 5517786 w 12192000"/>
              <a:gd name="connsiteY141" fmla="*/ 6339056 h 6858000"/>
              <a:gd name="connsiteX142" fmla="*/ 5473449 w 12192000"/>
              <a:gd name="connsiteY142" fmla="*/ 6290016 h 6858000"/>
              <a:gd name="connsiteX143" fmla="*/ 6657114 w 12192000"/>
              <a:gd name="connsiteY143" fmla="*/ 6275237 h 6858000"/>
              <a:gd name="connsiteX144" fmla="*/ 6661144 w 12192000"/>
              <a:gd name="connsiteY144" fmla="*/ 6285986 h 6858000"/>
              <a:gd name="connsiteX145" fmla="*/ 6665175 w 12192000"/>
              <a:gd name="connsiteY145" fmla="*/ 6292704 h 6858000"/>
              <a:gd name="connsiteX146" fmla="*/ 6650396 w 12192000"/>
              <a:gd name="connsiteY146" fmla="*/ 6292704 h 6858000"/>
              <a:gd name="connsiteX147" fmla="*/ 6654427 w 12192000"/>
              <a:gd name="connsiteY147" fmla="*/ 6285986 h 6858000"/>
              <a:gd name="connsiteX148" fmla="*/ 6661257 w 12192000"/>
              <a:gd name="connsiteY148" fmla="*/ 6264489 h 6858000"/>
              <a:gd name="connsiteX149" fmla="*/ 6650844 w 12192000"/>
              <a:gd name="connsiteY149" fmla="*/ 6268003 h 6858000"/>
              <a:gd name="connsiteX150" fmla="*/ 6647373 w 12192000"/>
              <a:gd name="connsiteY150" fmla="*/ 6285573 h 6858000"/>
              <a:gd name="connsiteX151" fmla="*/ 6636960 w 12192000"/>
              <a:gd name="connsiteY151" fmla="*/ 6306655 h 6858000"/>
              <a:gd name="connsiteX152" fmla="*/ 6647373 w 12192000"/>
              <a:gd name="connsiteY152" fmla="*/ 6310169 h 6858000"/>
              <a:gd name="connsiteX153" fmla="*/ 6647373 w 12192000"/>
              <a:gd name="connsiteY153" fmla="*/ 6299628 h 6858000"/>
              <a:gd name="connsiteX154" fmla="*/ 6668198 w 12192000"/>
              <a:gd name="connsiteY154" fmla="*/ 6299628 h 6858000"/>
              <a:gd name="connsiteX155" fmla="*/ 6668198 w 12192000"/>
              <a:gd name="connsiteY155" fmla="*/ 6306655 h 6858000"/>
              <a:gd name="connsiteX156" fmla="*/ 6678611 w 12192000"/>
              <a:gd name="connsiteY156" fmla="*/ 6306655 h 6858000"/>
              <a:gd name="connsiteX157" fmla="*/ 6668198 w 12192000"/>
              <a:gd name="connsiteY157" fmla="*/ 6285573 h 6858000"/>
              <a:gd name="connsiteX158" fmla="*/ 6661257 w 12192000"/>
              <a:gd name="connsiteY158" fmla="*/ 6268003 h 6858000"/>
              <a:gd name="connsiteX159" fmla="*/ 6661257 w 12192000"/>
              <a:gd name="connsiteY159" fmla="*/ 6264489 h 6858000"/>
              <a:gd name="connsiteX160" fmla="*/ 5966262 w 12192000"/>
              <a:gd name="connsiteY160" fmla="*/ 6264488 h 6858000"/>
              <a:gd name="connsiteX161" fmla="*/ 5955783 w 12192000"/>
              <a:gd name="connsiteY161" fmla="*/ 6268020 h 6858000"/>
              <a:gd name="connsiteX162" fmla="*/ 5955783 w 12192000"/>
              <a:gd name="connsiteY162" fmla="*/ 6289209 h 6858000"/>
              <a:gd name="connsiteX163" fmla="*/ 5938316 w 12192000"/>
              <a:gd name="connsiteY163" fmla="*/ 6289209 h 6858000"/>
              <a:gd name="connsiteX164" fmla="*/ 5938316 w 12192000"/>
              <a:gd name="connsiteY164" fmla="*/ 6299804 h 6858000"/>
              <a:gd name="connsiteX165" fmla="*/ 5955783 w 12192000"/>
              <a:gd name="connsiteY165" fmla="*/ 6299804 h 6858000"/>
              <a:gd name="connsiteX166" fmla="*/ 5955783 w 12192000"/>
              <a:gd name="connsiteY166" fmla="*/ 6356310 h 6858000"/>
              <a:gd name="connsiteX167" fmla="*/ 5976742 w 12192000"/>
              <a:gd name="connsiteY167" fmla="*/ 6388094 h 6858000"/>
              <a:gd name="connsiteX168" fmla="*/ 5990715 w 12192000"/>
              <a:gd name="connsiteY168" fmla="*/ 6384563 h 6858000"/>
              <a:gd name="connsiteX169" fmla="*/ 5990715 w 12192000"/>
              <a:gd name="connsiteY169" fmla="*/ 6373968 h 6858000"/>
              <a:gd name="connsiteX170" fmla="*/ 5980235 w 12192000"/>
              <a:gd name="connsiteY170" fmla="*/ 6377499 h 6858000"/>
              <a:gd name="connsiteX171" fmla="*/ 5966262 w 12192000"/>
              <a:gd name="connsiteY171" fmla="*/ 6363373 h 6858000"/>
              <a:gd name="connsiteX172" fmla="*/ 5966262 w 12192000"/>
              <a:gd name="connsiteY172" fmla="*/ 6299804 h 6858000"/>
              <a:gd name="connsiteX173" fmla="*/ 5987221 w 12192000"/>
              <a:gd name="connsiteY173" fmla="*/ 6299804 h 6858000"/>
              <a:gd name="connsiteX174" fmla="*/ 5987221 w 12192000"/>
              <a:gd name="connsiteY174" fmla="*/ 6289209 h 6858000"/>
              <a:gd name="connsiteX175" fmla="*/ 5966262 w 12192000"/>
              <a:gd name="connsiteY175" fmla="*/ 6289209 h 6858000"/>
              <a:gd name="connsiteX176" fmla="*/ 5966262 w 12192000"/>
              <a:gd name="connsiteY176" fmla="*/ 6264488 h 6858000"/>
              <a:gd name="connsiteX177" fmla="*/ 6601692 w 12192000"/>
              <a:gd name="connsiteY177" fmla="*/ 6261802 h 6858000"/>
              <a:gd name="connsiteX178" fmla="*/ 6591280 w 12192000"/>
              <a:gd name="connsiteY178" fmla="*/ 6303968 h 6858000"/>
              <a:gd name="connsiteX179" fmla="*/ 6601692 w 12192000"/>
              <a:gd name="connsiteY179" fmla="*/ 6303968 h 6858000"/>
              <a:gd name="connsiteX180" fmla="*/ 6605163 w 12192000"/>
              <a:gd name="connsiteY180" fmla="*/ 6279372 h 6858000"/>
              <a:gd name="connsiteX181" fmla="*/ 6619047 w 12192000"/>
              <a:gd name="connsiteY181" fmla="*/ 6307482 h 6858000"/>
              <a:gd name="connsiteX182" fmla="*/ 6625989 w 12192000"/>
              <a:gd name="connsiteY182" fmla="*/ 6307482 h 6858000"/>
              <a:gd name="connsiteX183" fmla="*/ 6632930 w 12192000"/>
              <a:gd name="connsiteY183" fmla="*/ 6265316 h 6858000"/>
              <a:gd name="connsiteX184" fmla="*/ 6625989 w 12192000"/>
              <a:gd name="connsiteY184" fmla="*/ 6265316 h 6858000"/>
              <a:gd name="connsiteX185" fmla="*/ 6622518 w 12192000"/>
              <a:gd name="connsiteY185" fmla="*/ 6293427 h 6858000"/>
              <a:gd name="connsiteX186" fmla="*/ 6608635 w 12192000"/>
              <a:gd name="connsiteY186" fmla="*/ 6261802 h 6858000"/>
              <a:gd name="connsiteX187" fmla="*/ 6601692 w 12192000"/>
              <a:gd name="connsiteY187" fmla="*/ 6261802 h 6858000"/>
              <a:gd name="connsiteX188" fmla="*/ 6710855 w 12192000"/>
              <a:gd name="connsiteY188" fmla="*/ 6257772 h 6858000"/>
              <a:gd name="connsiteX189" fmla="*/ 6675923 w 12192000"/>
              <a:gd name="connsiteY189" fmla="*/ 6264873 h 6858000"/>
              <a:gd name="connsiteX190" fmla="*/ 6675923 w 12192000"/>
              <a:gd name="connsiteY190" fmla="*/ 6271975 h 6858000"/>
              <a:gd name="connsiteX191" fmla="*/ 6689896 w 12192000"/>
              <a:gd name="connsiteY191" fmla="*/ 6271975 h 6858000"/>
              <a:gd name="connsiteX192" fmla="*/ 6696882 w 12192000"/>
              <a:gd name="connsiteY192" fmla="*/ 6307483 h 6858000"/>
              <a:gd name="connsiteX193" fmla="*/ 6703869 w 12192000"/>
              <a:gd name="connsiteY193" fmla="*/ 6303932 h 6858000"/>
              <a:gd name="connsiteX194" fmla="*/ 6696882 w 12192000"/>
              <a:gd name="connsiteY194" fmla="*/ 6268424 h 6858000"/>
              <a:gd name="connsiteX195" fmla="*/ 6710855 w 12192000"/>
              <a:gd name="connsiteY195" fmla="*/ 6264873 h 6858000"/>
              <a:gd name="connsiteX196" fmla="*/ 6566559 w 12192000"/>
              <a:gd name="connsiteY196" fmla="*/ 6257772 h 6858000"/>
              <a:gd name="connsiteX197" fmla="*/ 6577039 w 12192000"/>
              <a:gd name="connsiteY197" fmla="*/ 6261131 h 6858000"/>
              <a:gd name="connsiteX198" fmla="*/ 6580532 w 12192000"/>
              <a:gd name="connsiteY198" fmla="*/ 6264490 h 6858000"/>
              <a:gd name="connsiteX199" fmla="*/ 6580532 w 12192000"/>
              <a:gd name="connsiteY199" fmla="*/ 6267848 h 6858000"/>
              <a:gd name="connsiteX200" fmla="*/ 6573545 w 12192000"/>
              <a:gd name="connsiteY200" fmla="*/ 6271207 h 6858000"/>
              <a:gd name="connsiteX201" fmla="*/ 6563065 w 12192000"/>
              <a:gd name="connsiteY201" fmla="*/ 6267848 h 6858000"/>
              <a:gd name="connsiteX202" fmla="*/ 6566559 w 12192000"/>
              <a:gd name="connsiteY202" fmla="*/ 6264490 h 6858000"/>
              <a:gd name="connsiteX203" fmla="*/ 6566559 w 12192000"/>
              <a:gd name="connsiteY203" fmla="*/ 6257772 h 6858000"/>
              <a:gd name="connsiteX204" fmla="*/ 6016373 w 12192000"/>
              <a:gd name="connsiteY204" fmla="*/ 6255886 h 6858000"/>
              <a:gd name="connsiteX205" fmla="*/ 6016373 w 12192000"/>
              <a:gd name="connsiteY205" fmla="*/ 6269580 h 6858000"/>
              <a:gd name="connsiteX206" fmla="*/ 6028662 w 12192000"/>
              <a:gd name="connsiteY206" fmla="*/ 6269580 h 6858000"/>
              <a:gd name="connsiteX207" fmla="*/ 6028662 w 12192000"/>
              <a:gd name="connsiteY207" fmla="*/ 6255886 h 6858000"/>
              <a:gd name="connsiteX208" fmla="*/ 6717573 w 12192000"/>
              <a:gd name="connsiteY208" fmla="*/ 6253740 h 6858000"/>
              <a:gd name="connsiteX209" fmla="*/ 6731393 w 12192000"/>
              <a:gd name="connsiteY209" fmla="*/ 6296734 h 6858000"/>
              <a:gd name="connsiteX210" fmla="*/ 6741757 w 12192000"/>
              <a:gd name="connsiteY210" fmla="*/ 6293151 h 6858000"/>
              <a:gd name="connsiteX211" fmla="*/ 6727938 w 12192000"/>
              <a:gd name="connsiteY211" fmla="*/ 6253740 h 6858000"/>
              <a:gd name="connsiteX212" fmla="*/ 6717573 w 12192000"/>
              <a:gd name="connsiteY212" fmla="*/ 6253740 h 6858000"/>
              <a:gd name="connsiteX213" fmla="*/ 5348499 w 12192000"/>
              <a:gd name="connsiteY213" fmla="*/ 6253740 h 6858000"/>
              <a:gd name="connsiteX214" fmla="*/ 5348499 w 12192000"/>
              <a:gd name="connsiteY214" fmla="*/ 6384064 h 6858000"/>
              <a:gd name="connsiteX215" fmla="*/ 5363278 w 12192000"/>
              <a:gd name="connsiteY215" fmla="*/ 6384064 h 6858000"/>
              <a:gd name="connsiteX216" fmla="*/ 5363278 w 12192000"/>
              <a:gd name="connsiteY216" fmla="*/ 6324948 h 6858000"/>
              <a:gd name="connsiteX217" fmla="*/ 5408960 w 12192000"/>
              <a:gd name="connsiteY217" fmla="*/ 6324948 h 6858000"/>
              <a:gd name="connsiteX218" fmla="*/ 5408960 w 12192000"/>
              <a:gd name="connsiteY218" fmla="*/ 6314200 h 6858000"/>
              <a:gd name="connsiteX219" fmla="*/ 5363278 w 12192000"/>
              <a:gd name="connsiteY219" fmla="*/ 6314200 h 6858000"/>
              <a:gd name="connsiteX220" fmla="*/ 5363278 w 12192000"/>
              <a:gd name="connsiteY220" fmla="*/ 6264488 h 6858000"/>
              <a:gd name="connsiteX221" fmla="*/ 5411646 w 12192000"/>
              <a:gd name="connsiteY221" fmla="*/ 6264488 h 6858000"/>
              <a:gd name="connsiteX222" fmla="*/ 5411646 w 12192000"/>
              <a:gd name="connsiteY222" fmla="*/ 6253740 h 6858000"/>
              <a:gd name="connsiteX223" fmla="*/ 6562954 w 12192000"/>
              <a:gd name="connsiteY223" fmla="*/ 6247023 h 6858000"/>
              <a:gd name="connsiteX224" fmla="*/ 6556012 w 12192000"/>
              <a:gd name="connsiteY224" fmla="*/ 6264490 h 6858000"/>
              <a:gd name="connsiteX225" fmla="*/ 6556012 w 12192000"/>
              <a:gd name="connsiteY225" fmla="*/ 6267982 h 6858000"/>
              <a:gd name="connsiteX226" fmla="*/ 6545599 w 12192000"/>
              <a:gd name="connsiteY226" fmla="*/ 6285449 h 6858000"/>
              <a:gd name="connsiteX227" fmla="*/ 6556012 w 12192000"/>
              <a:gd name="connsiteY227" fmla="*/ 6288942 h 6858000"/>
              <a:gd name="connsiteX228" fmla="*/ 6559483 w 12192000"/>
              <a:gd name="connsiteY228" fmla="*/ 6274969 h 6858000"/>
              <a:gd name="connsiteX229" fmla="*/ 6569896 w 12192000"/>
              <a:gd name="connsiteY229" fmla="*/ 6278463 h 6858000"/>
              <a:gd name="connsiteX230" fmla="*/ 6569896 w 12192000"/>
              <a:gd name="connsiteY230" fmla="*/ 6295928 h 6858000"/>
              <a:gd name="connsiteX231" fmla="*/ 6580308 w 12192000"/>
              <a:gd name="connsiteY231" fmla="*/ 6299422 h 6858000"/>
              <a:gd name="connsiteX232" fmla="*/ 6576837 w 12192000"/>
              <a:gd name="connsiteY232" fmla="*/ 6278463 h 6858000"/>
              <a:gd name="connsiteX233" fmla="*/ 6587250 w 12192000"/>
              <a:gd name="connsiteY233" fmla="*/ 6267982 h 6858000"/>
              <a:gd name="connsiteX234" fmla="*/ 6587250 w 12192000"/>
              <a:gd name="connsiteY234" fmla="*/ 6264490 h 6858000"/>
              <a:gd name="connsiteX235" fmla="*/ 6580308 w 12192000"/>
              <a:gd name="connsiteY235" fmla="*/ 6254010 h 6858000"/>
              <a:gd name="connsiteX236" fmla="*/ 6562954 w 12192000"/>
              <a:gd name="connsiteY236" fmla="*/ 6247023 h 6858000"/>
              <a:gd name="connsiteX237" fmla="*/ 6768052 w 12192000"/>
              <a:gd name="connsiteY237" fmla="*/ 6244316 h 6858000"/>
              <a:gd name="connsiteX238" fmla="*/ 6776689 w 12192000"/>
              <a:gd name="connsiteY238" fmla="*/ 6250047 h 6858000"/>
              <a:gd name="connsiteX239" fmla="*/ 6776689 w 12192000"/>
              <a:gd name="connsiteY239" fmla="*/ 6257100 h 6858000"/>
              <a:gd name="connsiteX240" fmla="*/ 6773234 w 12192000"/>
              <a:gd name="connsiteY240" fmla="*/ 6267681 h 6858000"/>
              <a:gd name="connsiteX241" fmla="*/ 6769780 w 12192000"/>
              <a:gd name="connsiteY241" fmla="*/ 6271208 h 6858000"/>
              <a:gd name="connsiteX242" fmla="*/ 6755960 w 12192000"/>
              <a:gd name="connsiteY242" fmla="*/ 6267681 h 6858000"/>
              <a:gd name="connsiteX243" fmla="*/ 6752505 w 12192000"/>
              <a:gd name="connsiteY243" fmla="*/ 6264155 h 6858000"/>
              <a:gd name="connsiteX244" fmla="*/ 6752505 w 12192000"/>
              <a:gd name="connsiteY244" fmla="*/ 6257100 h 6858000"/>
              <a:gd name="connsiteX245" fmla="*/ 6759415 w 12192000"/>
              <a:gd name="connsiteY245" fmla="*/ 6246520 h 6858000"/>
              <a:gd name="connsiteX246" fmla="*/ 6768052 w 12192000"/>
              <a:gd name="connsiteY246" fmla="*/ 6244316 h 6858000"/>
              <a:gd name="connsiteX247" fmla="*/ 5812549 w 12192000"/>
              <a:gd name="connsiteY247" fmla="*/ 6242991 h 6858000"/>
              <a:gd name="connsiteX248" fmla="*/ 5812549 w 12192000"/>
              <a:gd name="connsiteY248" fmla="*/ 6306695 h 6858000"/>
              <a:gd name="connsiteX249" fmla="*/ 5784042 w 12192000"/>
              <a:gd name="connsiteY249" fmla="*/ 6288999 h 6858000"/>
              <a:gd name="connsiteX250" fmla="*/ 5744846 w 12192000"/>
              <a:gd name="connsiteY250" fmla="*/ 6338547 h 6858000"/>
              <a:gd name="connsiteX251" fmla="*/ 5784042 w 12192000"/>
              <a:gd name="connsiteY251" fmla="*/ 6388094 h 6858000"/>
              <a:gd name="connsiteX252" fmla="*/ 5812549 w 12192000"/>
              <a:gd name="connsiteY252" fmla="*/ 6370398 h 6858000"/>
              <a:gd name="connsiteX253" fmla="*/ 5812549 w 12192000"/>
              <a:gd name="connsiteY253" fmla="*/ 6384555 h 6858000"/>
              <a:gd name="connsiteX254" fmla="*/ 5826802 w 12192000"/>
              <a:gd name="connsiteY254" fmla="*/ 6384555 h 6858000"/>
              <a:gd name="connsiteX255" fmla="*/ 5826802 w 12192000"/>
              <a:gd name="connsiteY255" fmla="*/ 6242991 h 6858000"/>
              <a:gd name="connsiteX256" fmla="*/ 5812549 w 12192000"/>
              <a:gd name="connsiteY256" fmla="*/ 6242991 h 6858000"/>
              <a:gd name="connsiteX257" fmla="*/ 6769972 w 12192000"/>
              <a:gd name="connsiteY257" fmla="*/ 6237475 h 6858000"/>
              <a:gd name="connsiteX258" fmla="*/ 6752505 w 12192000"/>
              <a:gd name="connsiteY258" fmla="*/ 6240498 h 6858000"/>
              <a:gd name="connsiteX259" fmla="*/ 6741757 w 12192000"/>
              <a:gd name="connsiteY259" fmla="*/ 6257772 h 6858000"/>
              <a:gd name="connsiteX260" fmla="*/ 6745339 w 12192000"/>
              <a:gd name="connsiteY260" fmla="*/ 6268137 h 6858000"/>
              <a:gd name="connsiteX261" fmla="*/ 6774002 w 12192000"/>
              <a:gd name="connsiteY261" fmla="*/ 6275047 h 6858000"/>
              <a:gd name="connsiteX262" fmla="*/ 6784750 w 12192000"/>
              <a:gd name="connsiteY262" fmla="*/ 6268137 h 6858000"/>
              <a:gd name="connsiteX263" fmla="*/ 6784750 w 12192000"/>
              <a:gd name="connsiteY263" fmla="*/ 6257772 h 6858000"/>
              <a:gd name="connsiteX264" fmla="*/ 6784750 w 12192000"/>
              <a:gd name="connsiteY264" fmla="*/ 6247408 h 6858000"/>
              <a:gd name="connsiteX265" fmla="*/ 6769972 w 12192000"/>
              <a:gd name="connsiteY265" fmla="*/ 6237475 h 6858000"/>
              <a:gd name="connsiteX266" fmla="*/ 6527720 w 12192000"/>
              <a:gd name="connsiteY266" fmla="*/ 6229557 h 6858000"/>
              <a:gd name="connsiteX267" fmla="*/ 6506636 w 12192000"/>
              <a:gd name="connsiteY267" fmla="*/ 6264489 h 6858000"/>
              <a:gd name="connsiteX268" fmla="*/ 6531234 w 12192000"/>
              <a:gd name="connsiteY268" fmla="*/ 6281955 h 6858000"/>
              <a:gd name="connsiteX269" fmla="*/ 6534748 w 12192000"/>
              <a:gd name="connsiteY269" fmla="*/ 6274969 h 6858000"/>
              <a:gd name="connsiteX270" fmla="*/ 6517178 w 12192000"/>
              <a:gd name="connsiteY270" fmla="*/ 6264489 h 6858000"/>
              <a:gd name="connsiteX271" fmla="*/ 6524206 w 12192000"/>
              <a:gd name="connsiteY271" fmla="*/ 6254010 h 6858000"/>
              <a:gd name="connsiteX272" fmla="*/ 6534748 w 12192000"/>
              <a:gd name="connsiteY272" fmla="*/ 6260996 h 6858000"/>
              <a:gd name="connsiteX273" fmla="*/ 6538261 w 12192000"/>
              <a:gd name="connsiteY273" fmla="*/ 6254010 h 6858000"/>
              <a:gd name="connsiteX274" fmla="*/ 6527720 w 12192000"/>
              <a:gd name="connsiteY274" fmla="*/ 6247023 h 6858000"/>
              <a:gd name="connsiteX275" fmla="*/ 6531234 w 12192000"/>
              <a:gd name="connsiteY275" fmla="*/ 6240037 h 6858000"/>
              <a:gd name="connsiteX276" fmla="*/ 6548803 w 12192000"/>
              <a:gd name="connsiteY276" fmla="*/ 6250516 h 6858000"/>
              <a:gd name="connsiteX277" fmla="*/ 6552317 w 12192000"/>
              <a:gd name="connsiteY277" fmla="*/ 6243529 h 6858000"/>
              <a:gd name="connsiteX278" fmla="*/ 6527720 w 12192000"/>
              <a:gd name="connsiteY278" fmla="*/ 6229557 h 6858000"/>
              <a:gd name="connsiteX279" fmla="*/ 6805172 w 12192000"/>
              <a:gd name="connsiteY279" fmla="*/ 6201343 h 6858000"/>
              <a:gd name="connsiteX280" fmla="*/ 6798186 w 12192000"/>
              <a:gd name="connsiteY280" fmla="*/ 6208396 h 6858000"/>
              <a:gd name="connsiteX281" fmla="*/ 6815652 w 12192000"/>
              <a:gd name="connsiteY281" fmla="*/ 6226030 h 6858000"/>
              <a:gd name="connsiteX282" fmla="*/ 6787706 w 12192000"/>
              <a:gd name="connsiteY282" fmla="*/ 6218977 h 6858000"/>
              <a:gd name="connsiteX283" fmla="*/ 6780719 w 12192000"/>
              <a:gd name="connsiteY283" fmla="*/ 6222503 h 6858000"/>
              <a:gd name="connsiteX284" fmla="*/ 6805172 w 12192000"/>
              <a:gd name="connsiteY284" fmla="*/ 6257772 h 6858000"/>
              <a:gd name="connsiteX285" fmla="*/ 6812159 w 12192000"/>
              <a:gd name="connsiteY285" fmla="*/ 6250718 h 6858000"/>
              <a:gd name="connsiteX286" fmla="*/ 6798186 w 12192000"/>
              <a:gd name="connsiteY286" fmla="*/ 6229557 h 6858000"/>
              <a:gd name="connsiteX287" fmla="*/ 6826132 w 12192000"/>
              <a:gd name="connsiteY287" fmla="*/ 6240137 h 6858000"/>
              <a:gd name="connsiteX288" fmla="*/ 6833118 w 12192000"/>
              <a:gd name="connsiteY288" fmla="*/ 6233084 h 6858000"/>
              <a:gd name="connsiteX289" fmla="*/ 6805172 w 12192000"/>
              <a:gd name="connsiteY289" fmla="*/ 6201343 h 6858000"/>
              <a:gd name="connsiteX290" fmla="*/ 6496819 w 12192000"/>
              <a:gd name="connsiteY290" fmla="*/ 6201343 h 6858000"/>
              <a:gd name="connsiteX291" fmla="*/ 6489791 w 12192000"/>
              <a:gd name="connsiteY291" fmla="*/ 6204856 h 6858000"/>
              <a:gd name="connsiteX292" fmla="*/ 6500333 w 12192000"/>
              <a:gd name="connsiteY292" fmla="*/ 6215398 h 6858000"/>
              <a:gd name="connsiteX293" fmla="*/ 6475735 w 12192000"/>
              <a:gd name="connsiteY293" fmla="*/ 6239995 h 6858000"/>
              <a:gd name="connsiteX294" fmla="*/ 6482763 w 12192000"/>
              <a:gd name="connsiteY294" fmla="*/ 6247023 h 6858000"/>
              <a:gd name="connsiteX295" fmla="*/ 6507360 w 12192000"/>
              <a:gd name="connsiteY295" fmla="*/ 6222426 h 6858000"/>
              <a:gd name="connsiteX296" fmla="*/ 6517902 w 12192000"/>
              <a:gd name="connsiteY296" fmla="*/ 6229453 h 6858000"/>
              <a:gd name="connsiteX297" fmla="*/ 6521416 w 12192000"/>
              <a:gd name="connsiteY297" fmla="*/ 6222426 h 6858000"/>
              <a:gd name="connsiteX298" fmla="*/ 6496819 w 12192000"/>
              <a:gd name="connsiteY298" fmla="*/ 6201343 h 6858000"/>
              <a:gd name="connsiteX299" fmla="*/ 6826400 w 12192000"/>
              <a:gd name="connsiteY299" fmla="*/ 6190594 h 6858000"/>
              <a:gd name="connsiteX300" fmla="*/ 6843866 w 12192000"/>
              <a:gd name="connsiteY300" fmla="*/ 6197312 h 6858000"/>
              <a:gd name="connsiteX301" fmla="*/ 6843866 w 12192000"/>
              <a:gd name="connsiteY301" fmla="*/ 6201343 h 6858000"/>
              <a:gd name="connsiteX302" fmla="*/ 6837148 w 12192000"/>
              <a:gd name="connsiteY302" fmla="*/ 6208061 h 6858000"/>
              <a:gd name="connsiteX303" fmla="*/ 6833118 w 12192000"/>
              <a:gd name="connsiteY303" fmla="*/ 6201343 h 6858000"/>
              <a:gd name="connsiteX304" fmla="*/ 6822753 w 12192000"/>
              <a:gd name="connsiteY304" fmla="*/ 6183876 h 6858000"/>
              <a:gd name="connsiteX305" fmla="*/ 6815652 w 12192000"/>
              <a:gd name="connsiteY305" fmla="*/ 6190818 h 6858000"/>
              <a:gd name="connsiteX306" fmla="*/ 6822753 w 12192000"/>
              <a:gd name="connsiteY306" fmla="*/ 6201230 h 6858000"/>
              <a:gd name="connsiteX307" fmla="*/ 6840507 w 12192000"/>
              <a:gd name="connsiteY307" fmla="*/ 6225526 h 6858000"/>
              <a:gd name="connsiteX308" fmla="*/ 6844059 w 12192000"/>
              <a:gd name="connsiteY308" fmla="*/ 6222056 h 6858000"/>
              <a:gd name="connsiteX309" fmla="*/ 6840507 w 12192000"/>
              <a:gd name="connsiteY309" fmla="*/ 6215114 h 6858000"/>
              <a:gd name="connsiteX310" fmla="*/ 6851160 w 12192000"/>
              <a:gd name="connsiteY310" fmla="*/ 6201230 h 6858000"/>
              <a:gd name="connsiteX311" fmla="*/ 6858262 w 12192000"/>
              <a:gd name="connsiteY311" fmla="*/ 6201230 h 6858000"/>
              <a:gd name="connsiteX312" fmla="*/ 6861813 w 12192000"/>
              <a:gd name="connsiteY312" fmla="*/ 6201230 h 6858000"/>
              <a:gd name="connsiteX313" fmla="*/ 6865363 w 12192000"/>
              <a:gd name="connsiteY313" fmla="*/ 6194288 h 6858000"/>
              <a:gd name="connsiteX314" fmla="*/ 6822753 w 12192000"/>
              <a:gd name="connsiteY314" fmla="*/ 6183876 h 6858000"/>
              <a:gd name="connsiteX315" fmla="*/ 6468010 w 12192000"/>
              <a:gd name="connsiteY315" fmla="*/ 6169097 h 6858000"/>
              <a:gd name="connsiteX316" fmla="*/ 6432742 w 12192000"/>
              <a:gd name="connsiteY316" fmla="*/ 6194177 h 6858000"/>
              <a:gd name="connsiteX317" fmla="*/ 6439796 w 12192000"/>
              <a:gd name="connsiteY317" fmla="*/ 6201343 h 6858000"/>
              <a:gd name="connsiteX318" fmla="*/ 6460956 w 12192000"/>
              <a:gd name="connsiteY318" fmla="*/ 6187012 h 6858000"/>
              <a:gd name="connsiteX319" fmla="*/ 6450376 w 12192000"/>
              <a:gd name="connsiteY319" fmla="*/ 6215673 h 6858000"/>
              <a:gd name="connsiteX320" fmla="*/ 6457429 w 12192000"/>
              <a:gd name="connsiteY320" fmla="*/ 6222839 h 6858000"/>
              <a:gd name="connsiteX321" fmla="*/ 6489170 w 12192000"/>
              <a:gd name="connsiteY321" fmla="*/ 6194177 h 6858000"/>
              <a:gd name="connsiteX322" fmla="*/ 6485644 w 12192000"/>
              <a:gd name="connsiteY322" fmla="*/ 6187012 h 6858000"/>
              <a:gd name="connsiteX323" fmla="*/ 6464483 w 12192000"/>
              <a:gd name="connsiteY323" fmla="*/ 6204925 h 6858000"/>
              <a:gd name="connsiteX324" fmla="*/ 6475063 w 12192000"/>
              <a:gd name="connsiteY324" fmla="*/ 6176263 h 6858000"/>
              <a:gd name="connsiteX325" fmla="*/ 6468010 w 12192000"/>
              <a:gd name="connsiteY325" fmla="*/ 6169097 h 6858000"/>
              <a:gd name="connsiteX326" fmla="*/ 6837149 w 12192000"/>
              <a:gd name="connsiteY326" fmla="*/ 6158349 h 6858000"/>
              <a:gd name="connsiteX327" fmla="*/ 6833118 w 12192000"/>
              <a:gd name="connsiteY327" fmla="*/ 6166410 h 6858000"/>
              <a:gd name="connsiteX328" fmla="*/ 6872081 w 12192000"/>
              <a:gd name="connsiteY328" fmla="*/ 6186564 h 6858000"/>
              <a:gd name="connsiteX329" fmla="*/ 6885517 w 12192000"/>
              <a:gd name="connsiteY329" fmla="*/ 6162380 h 6858000"/>
              <a:gd name="connsiteX330" fmla="*/ 6878799 w 12192000"/>
              <a:gd name="connsiteY330" fmla="*/ 6158349 h 6858000"/>
              <a:gd name="connsiteX331" fmla="*/ 6868050 w 12192000"/>
              <a:gd name="connsiteY331" fmla="*/ 6177159 h 6858000"/>
              <a:gd name="connsiteX332" fmla="*/ 6461445 w 12192000"/>
              <a:gd name="connsiteY332" fmla="*/ 6155662 h 6858000"/>
              <a:gd name="connsiteX333" fmla="*/ 6426023 w 12192000"/>
              <a:gd name="connsiteY333" fmla="*/ 6176824 h 6858000"/>
              <a:gd name="connsiteX334" fmla="*/ 6429565 w 12192000"/>
              <a:gd name="connsiteY334" fmla="*/ 6183877 h 6858000"/>
              <a:gd name="connsiteX335" fmla="*/ 6464987 w 12192000"/>
              <a:gd name="connsiteY335" fmla="*/ 6162716 h 6858000"/>
              <a:gd name="connsiteX336" fmla="*/ 6461445 w 12192000"/>
              <a:gd name="connsiteY336" fmla="*/ 6155662 h 6858000"/>
              <a:gd name="connsiteX337" fmla="*/ 6452739 w 12192000"/>
              <a:gd name="connsiteY337" fmla="*/ 6122052 h 6858000"/>
              <a:gd name="connsiteX338" fmla="*/ 6458004 w 12192000"/>
              <a:gd name="connsiteY338" fmla="*/ 6127783 h 6858000"/>
              <a:gd name="connsiteX339" fmla="*/ 6651068 w 12192000"/>
              <a:gd name="connsiteY339" fmla="*/ 6258276 h 6858000"/>
              <a:gd name="connsiteX340" fmla="*/ 6844131 w 12192000"/>
              <a:gd name="connsiteY340" fmla="*/ 6127783 h 6858000"/>
              <a:gd name="connsiteX341" fmla="*/ 6849397 w 12192000"/>
              <a:gd name="connsiteY341" fmla="*/ 6122052 h 6858000"/>
              <a:gd name="connsiteX342" fmla="*/ 6854662 w 12192000"/>
              <a:gd name="connsiteY342" fmla="*/ 6124256 h 6858000"/>
              <a:gd name="connsiteX343" fmla="*/ 6893275 w 12192000"/>
              <a:gd name="connsiteY343" fmla="*/ 6134837 h 6858000"/>
              <a:gd name="connsiteX344" fmla="*/ 6900295 w 12192000"/>
              <a:gd name="connsiteY344" fmla="*/ 6145417 h 6858000"/>
              <a:gd name="connsiteX345" fmla="*/ 6651068 w 12192000"/>
              <a:gd name="connsiteY345" fmla="*/ 6318232 h 6858000"/>
              <a:gd name="connsiteX346" fmla="*/ 6401840 w 12192000"/>
              <a:gd name="connsiteY346" fmla="*/ 6148945 h 6858000"/>
              <a:gd name="connsiteX347" fmla="*/ 6408860 w 12192000"/>
              <a:gd name="connsiteY347" fmla="*/ 6134837 h 6858000"/>
              <a:gd name="connsiteX348" fmla="*/ 6447473 w 12192000"/>
              <a:gd name="connsiteY348" fmla="*/ 6124256 h 6858000"/>
              <a:gd name="connsiteX349" fmla="*/ 6452739 w 12192000"/>
              <a:gd name="connsiteY349" fmla="*/ 6122052 h 6858000"/>
              <a:gd name="connsiteX350" fmla="*/ 6605253 w 12192000"/>
              <a:gd name="connsiteY350" fmla="*/ 6116214 h 6858000"/>
              <a:gd name="connsiteX351" fmla="*/ 6615733 w 12192000"/>
              <a:gd name="connsiteY351" fmla="*/ 6116214 h 6858000"/>
              <a:gd name="connsiteX352" fmla="*/ 6619226 w 12192000"/>
              <a:gd name="connsiteY352" fmla="*/ 6123305 h 6858000"/>
              <a:gd name="connsiteX353" fmla="*/ 6626212 w 12192000"/>
              <a:gd name="connsiteY353" fmla="*/ 6226124 h 6858000"/>
              <a:gd name="connsiteX354" fmla="*/ 6622719 w 12192000"/>
              <a:gd name="connsiteY354" fmla="*/ 6236761 h 6858000"/>
              <a:gd name="connsiteX355" fmla="*/ 6615733 w 12192000"/>
              <a:gd name="connsiteY355" fmla="*/ 6236761 h 6858000"/>
              <a:gd name="connsiteX356" fmla="*/ 6507443 w 12192000"/>
              <a:gd name="connsiteY356" fmla="*/ 6172941 h 6858000"/>
              <a:gd name="connsiteX357" fmla="*/ 6503949 w 12192000"/>
              <a:gd name="connsiteY357" fmla="*/ 6169396 h 6858000"/>
              <a:gd name="connsiteX358" fmla="*/ 6503949 w 12192000"/>
              <a:gd name="connsiteY358" fmla="*/ 6165851 h 6858000"/>
              <a:gd name="connsiteX359" fmla="*/ 6510935 w 12192000"/>
              <a:gd name="connsiteY359" fmla="*/ 6162306 h 6858000"/>
              <a:gd name="connsiteX360" fmla="*/ 6605253 w 12192000"/>
              <a:gd name="connsiteY360" fmla="*/ 6116214 h 6858000"/>
              <a:gd name="connsiteX361" fmla="*/ 6689896 w 12192000"/>
              <a:gd name="connsiteY361" fmla="*/ 6112668 h 6858000"/>
              <a:gd name="connsiteX362" fmla="*/ 6700376 w 12192000"/>
              <a:gd name="connsiteY362" fmla="*/ 6112668 h 6858000"/>
              <a:gd name="connsiteX363" fmla="*/ 6791199 w 12192000"/>
              <a:gd name="connsiteY363" fmla="*/ 6158579 h 6858000"/>
              <a:gd name="connsiteX364" fmla="*/ 6798186 w 12192000"/>
              <a:gd name="connsiteY364" fmla="*/ 6165643 h 6858000"/>
              <a:gd name="connsiteX365" fmla="*/ 6794693 w 12192000"/>
              <a:gd name="connsiteY365" fmla="*/ 6172706 h 6858000"/>
              <a:gd name="connsiteX366" fmla="*/ 6686403 w 12192000"/>
              <a:gd name="connsiteY366" fmla="*/ 6236275 h 6858000"/>
              <a:gd name="connsiteX367" fmla="*/ 6679416 w 12192000"/>
              <a:gd name="connsiteY367" fmla="*/ 6236275 h 6858000"/>
              <a:gd name="connsiteX368" fmla="*/ 6675923 w 12192000"/>
              <a:gd name="connsiteY368" fmla="*/ 6225680 h 6858000"/>
              <a:gd name="connsiteX369" fmla="*/ 6686403 w 12192000"/>
              <a:gd name="connsiteY369" fmla="*/ 6123264 h 6858000"/>
              <a:gd name="connsiteX370" fmla="*/ 6689896 w 12192000"/>
              <a:gd name="connsiteY370" fmla="*/ 6112668 h 6858000"/>
              <a:gd name="connsiteX371" fmla="*/ 5812094 w 12192000"/>
              <a:gd name="connsiteY371" fmla="*/ 6073704 h 6858000"/>
              <a:gd name="connsiteX372" fmla="*/ 5853673 w 12192000"/>
              <a:gd name="connsiteY372" fmla="*/ 6073704 h 6858000"/>
              <a:gd name="connsiteX373" fmla="*/ 5853673 w 12192000"/>
              <a:gd name="connsiteY373" fmla="*/ 6116314 h 6858000"/>
              <a:gd name="connsiteX374" fmla="*/ 5805164 w 12192000"/>
              <a:gd name="connsiteY374" fmla="*/ 6123416 h 6858000"/>
              <a:gd name="connsiteX375" fmla="*/ 5787839 w 12192000"/>
              <a:gd name="connsiteY375" fmla="*/ 6098560 h 6858000"/>
              <a:gd name="connsiteX376" fmla="*/ 5812094 w 12192000"/>
              <a:gd name="connsiteY376" fmla="*/ 6073704 h 6858000"/>
              <a:gd name="connsiteX377" fmla="*/ 5496290 w 12192000"/>
              <a:gd name="connsiteY377" fmla="*/ 6003839 h 6858000"/>
              <a:gd name="connsiteX378" fmla="*/ 5537940 w 12192000"/>
              <a:gd name="connsiteY378" fmla="*/ 6060111 h 6858000"/>
              <a:gd name="connsiteX379" fmla="*/ 5496290 w 12192000"/>
              <a:gd name="connsiteY379" fmla="*/ 6123415 h 6858000"/>
              <a:gd name="connsiteX380" fmla="*/ 5454640 w 12192000"/>
              <a:gd name="connsiteY380" fmla="*/ 6060111 h 6858000"/>
              <a:gd name="connsiteX381" fmla="*/ 5496290 w 12192000"/>
              <a:gd name="connsiteY381" fmla="*/ 6003839 h 6858000"/>
              <a:gd name="connsiteX382" fmla="*/ 6640816 w 12192000"/>
              <a:gd name="connsiteY382" fmla="*/ 5999810 h 6858000"/>
              <a:gd name="connsiteX383" fmla="*/ 6661845 w 12192000"/>
              <a:gd name="connsiteY383" fmla="*/ 5999810 h 6858000"/>
              <a:gd name="connsiteX384" fmla="*/ 6661845 w 12192000"/>
              <a:gd name="connsiteY384" fmla="*/ 6010450 h 6858000"/>
              <a:gd name="connsiteX385" fmla="*/ 6693389 w 12192000"/>
              <a:gd name="connsiteY385" fmla="*/ 6049467 h 6858000"/>
              <a:gd name="connsiteX386" fmla="*/ 6651330 w 12192000"/>
              <a:gd name="connsiteY386" fmla="*/ 6088484 h 6858000"/>
              <a:gd name="connsiteX387" fmla="*/ 6612777 w 12192000"/>
              <a:gd name="connsiteY387" fmla="*/ 6049467 h 6858000"/>
              <a:gd name="connsiteX388" fmla="*/ 6640816 w 12192000"/>
              <a:gd name="connsiteY388" fmla="*/ 6010450 h 6858000"/>
              <a:gd name="connsiteX389" fmla="*/ 6640816 w 12192000"/>
              <a:gd name="connsiteY389" fmla="*/ 5999810 h 6858000"/>
              <a:gd name="connsiteX390" fmla="*/ 6651068 w 12192000"/>
              <a:gd name="connsiteY390" fmla="*/ 5989061 h 6858000"/>
              <a:gd name="connsiteX391" fmla="*/ 6591280 w 12192000"/>
              <a:gd name="connsiteY391" fmla="*/ 6049521 h 6858000"/>
              <a:gd name="connsiteX392" fmla="*/ 6651068 w 12192000"/>
              <a:gd name="connsiteY392" fmla="*/ 6109981 h 6858000"/>
              <a:gd name="connsiteX393" fmla="*/ 6710856 w 12192000"/>
              <a:gd name="connsiteY393" fmla="*/ 6049521 h 6858000"/>
              <a:gd name="connsiteX394" fmla="*/ 6651068 w 12192000"/>
              <a:gd name="connsiteY394" fmla="*/ 5989061 h 6858000"/>
              <a:gd name="connsiteX395" fmla="*/ 6651068 w 12192000"/>
              <a:gd name="connsiteY395" fmla="*/ 5982344 h 6858000"/>
              <a:gd name="connsiteX396" fmla="*/ 6717574 w 12192000"/>
              <a:gd name="connsiteY396" fmla="*/ 6049521 h 6858000"/>
              <a:gd name="connsiteX397" fmla="*/ 6651068 w 12192000"/>
              <a:gd name="connsiteY397" fmla="*/ 6116699 h 6858000"/>
              <a:gd name="connsiteX398" fmla="*/ 6584562 w 12192000"/>
              <a:gd name="connsiteY398" fmla="*/ 6049521 h 6858000"/>
              <a:gd name="connsiteX399" fmla="*/ 6651068 w 12192000"/>
              <a:gd name="connsiteY399" fmla="*/ 5982344 h 6858000"/>
              <a:gd name="connsiteX400" fmla="*/ 6826360 w 12192000"/>
              <a:gd name="connsiteY400" fmla="*/ 5979657 h 6858000"/>
              <a:gd name="connsiteX401" fmla="*/ 6829861 w 12192000"/>
              <a:gd name="connsiteY401" fmla="*/ 5986710 h 6858000"/>
              <a:gd name="connsiteX402" fmla="*/ 6829861 w 12192000"/>
              <a:gd name="connsiteY402" fmla="*/ 6110149 h 6858000"/>
              <a:gd name="connsiteX403" fmla="*/ 6826360 w 12192000"/>
              <a:gd name="connsiteY403" fmla="*/ 6117203 h 6858000"/>
              <a:gd name="connsiteX404" fmla="*/ 6819357 w 12192000"/>
              <a:gd name="connsiteY404" fmla="*/ 6117203 h 6858000"/>
              <a:gd name="connsiteX405" fmla="*/ 6731823 w 12192000"/>
              <a:gd name="connsiteY405" fmla="*/ 6057247 h 6858000"/>
              <a:gd name="connsiteX406" fmla="*/ 6728322 w 12192000"/>
              <a:gd name="connsiteY406" fmla="*/ 6050193 h 6858000"/>
              <a:gd name="connsiteX407" fmla="*/ 6731823 w 12192000"/>
              <a:gd name="connsiteY407" fmla="*/ 6039612 h 6858000"/>
              <a:gd name="connsiteX408" fmla="*/ 6815856 w 12192000"/>
              <a:gd name="connsiteY408" fmla="*/ 5983183 h 6858000"/>
              <a:gd name="connsiteX409" fmla="*/ 6826360 w 12192000"/>
              <a:gd name="connsiteY409" fmla="*/ 5979657 h 6858000"/>
              <a:gd name="connsiteX410" fmla="*/ 6475776 w 12192000"/>
              <a:gd name="connsiteY410" fmla="*/ 5979657 h 6858000"/>
              <a:gd name="connsiteX411" fmla="*/ 6482778 w 12192000"/>
              <a:gd name="connsiteY411" fmla="*/ 5983183 h 6858000"/>
              <a:gd name="connsiteX412" fmla="*/ 6570312 w 12192000"/>
              <a:gd name="connsiteY412" fmla="*/ 6039612 h 6858000"/>
              <a:gd name="connsiteX413" fmla="*/ 6573813 w 12192000"/>
              <a:gd name="connsiteY413" fmla="*/ 6050193 h 6858000"/>
              <a:gd name="connsiteX414" fmla="*/ 6570312 w 12192000"/>
              <a:gd name="connsiteY414" fmla="*/ 6057247 h 6858000"/>
              <a:gd name="connsiteX415" fmla="*/ 6482778 w 12192000"/>
              <a:gd name="connsiteY415" fmla="*/ 6117203 h 6858000"/>
              <a:gd name="connsiteX416" fmla="*/ 6475776 w 12192000"/>
              <a:gd name="connsiteY416" fmla="*/ 6117203 h 6858000"/>
              <a:gd name="connsiteX417" fmla="*/ 6468772 w 12192000"/>
              <a:gd name="connsiteY417" fmla="*/ 6113676 h 6858000"/>
              <a:gd name="connsiteX418" fmla="*/ 6468772 w 12192000"/>
              <a:gd name="connsiteY418" fmla="*/ 5986710 h 6858000"/>
              <a:gd name="connsiteX419" fmla="*/ 6475776 w 12192000"/>
              <a:gd name="connsiteY419" fmla="*/ 5979657 h 6858000"/>
              <a:gd name="connsiteX420" fmla="*/ 6072127 w 12192000"/>
              <a:gd name="connsiteY420" fmla="*/ 5968908 h 6858000"/>
              <a:gd name="connsiteX421" fmla="*/ 6072127 w 12192000"/>
              <a:gd name="connsiteY421" fmla="*/ 5975961 h 6858000"/>
              <a:gd name="connsiteX422" fmla="*/ 6113977 w 12192000"/>
              <a:gd name="connsiteY422" fmla="*/ 6138195 h 6858000"/>
              <a:gd name="connsiteX423" fmla="*/ 6134902 w 12192000"/>
              <a:gd name="connsiteY423" fmla="*/ 6159356 h 6858000"/>
              <a:gd name="connsiteX424" fmla="*/ 6145365 w 12192000"/>
              <a:gd name="connsiteY424" fmla="*/ 6159356 h 6858000"/>
              <a:gd name="connsiteX425" fmla="*/ 6141877 w 12192000"/>
              <a:gd name="connsiteY425" fmla="*/ 6166409 h 6858000"/>
              <a:gd name="connsiteX426" fmla="*/ 6113977 w 12192000"/>
              <a:gd name="connsiteY426" fmla="*/ 6187570 h 6858000"/>
              <a:gd name="connsiteX427" fmla="*/ 6079102 w 12192000"/>
              <a:gd name="connsiteY427" fmla="*/ 6184044 h 6858000"/>
              <a:gd name="connsiteX428" fmla="*/ 6075615 w 12192000"/>
              <a:gd name="connsiteY428" fmla="*/ 6187570 h 6858000"/>
              <a:gd name="connsiteX429" fmla="*/ 6072127 w 12192000"/>
              <a:gd name="connsiteY429" fmla="*/ 6191097 h 6858000"/>
              <a:gd name="connsiteX430" fmla="*/ 6072127 w 12192000"/>
              <a:gd name="connsiteY430" fmla="*/ 6212258 h 6858000"/>
              <a:gd name="connsiteX431" fmla="*/ 6079102 w 12192000"/>
              <a:gd name="connsiteY431" fmla="*/ 6219312 h 6858000"/>
              <a:gd name="connsiteX432" fmla="*/ 6124440 w 12192000"/>
              <a:gd name="connsiteY432" fmla="*/ 6222838 h 6858000"/>
              <a:gd name="connsiteX433" fmla="*/ 6127927 w 12192000"/>
              <a:gd name="connsiteY433" fmla="*/ 6222838 h 6858000"/>
              <a:gd name="connsiteX434" fmla="*/ 6183727 w 12192000"/>
              <a:gd name="connsiteY434" fmla="*/ 6169936 h 6858000"/>
              <a:gd name="connsiteX435" fmla="*/ 6215114 w 12192000"/>
              <a:gd name="connsiteY435" fmla="*/ 6039444 h 6858000"/>
              <a:gd name="connsiteX436" fmla="*/ 6229064 w 12192000"/>
              <a:gd name="connsiteY436" fmla="*/ 5997122 h 6858000"/>
              <a:gd name="connsiteX437" fmla="*/ 6232552 w 12192000"/>
              <a:gd name="connsiteY437" fmla="*/ 5975961 h 6858000"/>
              <a:gd name="connsiteX438" fmla="*/ 6232552 w 12192000"/>
              <a:gd name="connsiteY438" fmla="*/ 5968908 h 6858000"/>
              <a:gd name="connsiteX439" fmla="*/ 6225577 w 12192000"/>
              <a:gd name="connsiteY439" fmla="*/ 5968908 h 6858000"/>
              <a:gd name="connsiteX440" fmla="*/ 6197677 w 12192000"/>
              <a:gd name="connsiteY440" fmla="*/ 5968908 h 6858000"/>
              <a:gd name="connsiteX441" fmla="*/ 6190702 w 12192000"/>
              <a:gd name="connsiteY441" fmla="*/ 5972434 h 6858000"/>
              <a:gd name="connsiteX442" fmla="*/ 6152340 w 12192000"/>
              <a:gd name="connsiteY442" fmla="*/ 6117034 h 6858000"/>
              <a:gd name="connsiteX443" fmla="*/ 6148852 w 12192000"/>
              <a:gd name="connsiteY443" fmla="*/ 6117034 h 6858000"/>
              <a:gd name="connsiteX444" fmla="*/ 6113977 w 12192000"/>
              <a:gd name="connsiteY444" fmla="*/ 5972434 h 6858000"/>
              <a:gd name="connsiteX445" fmla="*/ 6107002 w 12192000"/>
              <a:gd name="connsiteY445" fmla="*/ 5968908 h 6858000"/>
              <a:gd name="connsiteX446" fmla="*/ 6079102 w 12192000"/>
              <a:gd name="connsiteY446" fmla="*/ 5968908 h 6858000"/>
              <a:gd name="connsiteX447" fmla="*/ 6072127 w 12192000"/>
              <a:gd name="connsiteY447" fmla="*/ 5968908 h 6858000"/>
              <a:gd name="connsiteX448" fmla="*/ 6040101 w 12192000"/>
              <a:gd name="connsiteY448" fmla="*/ 5964877 h 6858000"/>
              <a:gd name="connsiteX449" fmla="*/ 5987285 w 12192000"/>
              <a:gd name="connsiteY449" fmla="*/ 5985983 h 6858000"/>
              <a:gd name="connsiteX450" fmla="*/ 5987285 w 12192000"/>
              <a:gd name="connsiteY450" fmla="*/ 5975430 h 6858000"/>
              <a:gd name="connsiteX451" fmla="*/ 5980244 w 12192000"/>
              <a:gd name="connsiteY451" fmla="*/ 5968395 h 6858000"/>
              <a:gd name="connsiteX452" fmla="*/ 5952076 w 12192000"/>
              <a:gd name="connsiteY452" fmla="*/ 5968395 h 6858000"/>
              <a:gd name="connsiteX453" fmla="*/ 5945033 w 12192000"/>
              <a:gd name="connsiteY453" fmla="*/ 5975430 h 6858000"/>
              <a:gd name="connsiteX454" fmla="*/ 5945033 w 12192000"/>
              <a:gd name="connsiteY454" fmla="*/ 6151313 h 6858000"/>
              <a:gd name="connsiteX455" fmla="*/ 5952076 w 12192000"/>
              <a:gd name="connsiteY455" fmla="*/ 6158348 h 6858000"/>
              <a:gd name="connsiteX456" fmla="*/ 5980244 w 12192000"/>
              <a:gd name="connsiteY456" fmla="*/ 6158348 h 6858000"/>
              <a:gd name="connsiteX457" fmla="*/ 5987285 w 12192000"/>
              <a:gd name="connsiteY457" fmla="*/ 6151313 h 6858000"/>
              <a:gd name="connsiteX458" fmla="*/ 5987285 w 12192000"/>
              <a:gd name="connsiteY458" fmla="*/ 6028195 h 6858000"/>
              <a:gd name="connsiteX459" fmla="*/ 6040101 w 12192000"/>
              <a:gd name="connsiteY459" fmla="*/ 6007089 h 6858000"/>
              <a:gd name="connsiteX460" fmla="*/ 6047143 w 12192000"/>
              <a:gd name="connsiteY460" fmla="*/ 6000054 h 6858000"/>
              <a:gd name="connsiteX461" fmla="*/ 6047143 w 12192000"/>
              <a:gd name="connsiteY461" fmla="*/ 5971913 h 6858000"/>
              <a:gd name="connsiteX462" fmla="*/ 6043622 w 12192000"/>
              <a:gd name="connsiteY462" fmla="*/ 5968395 h 6858000"/>
              <a:gd name="connsiteX463" fmla="*/ 6040101 w 12192000"/>
              <a:gd name="connsiteY463" fmla="*/ 5964877 h 6858000"/>
              <a:gd name="connsiteX464" fmla="*/ 5833459 w 12192000"/>
              <a:gd name="connsiteY464" fmla="*/ 5960846 h 6858000"/>
              <a:gd name="connsiteX465" fmla="*/ 5763228 w 12192000"/>
              <a:gd name="connsiteY465" fmla="*/ 5967917 h 6858000"/>
              <a:gd name="connsiteX466" fmla="*/ 5756205 w 12192000"/>
              <a:gd name="connsiteY466" fmla="*/ 5974989 h 6858000"/>
              <a:gd name="connsiteX467" fmla="*/ 5756205 w 12192000"/>
              <a:gd name="connsiteY467" fmla="*/ 5999738 h 6858000"/>
              <a:gd name="connsiteX468" fmla="*/ 5759716 w 12192000"/>
              <a:gd name="connsiteY468" fmla="*/ 6006810 h 6858000"/>
              <a:gd name="connsiteX469" fmla="*/ 5763228 w 12192000"/>
              <a:gd name="connsiteY469" fmla="*/ 6006810 h 6858000"/>
              <a:gd name="connsiteX470" fmla="*/ 5829947 w 12192000"/>
              <a:gd name="connsiteY470" fmla="*/ 6003274 h 6858000"/>
              <a:gd name="connsiteX471" fmla="*/ 5854528 w 12192000"/>
              <a:gd name="connsiteY471" fmla="*/ 6028024 h 6858000"/>
              <a:gd name="connsiteX472" fmla="*/ 5854528 w 12192000"/>
              <a:gd name="connsiteY472" fmla="*/ 6038631 h 6858000"/>
              <a:gd name="connsiteX473" fmla="*/ 5805366 w 12192000"/>
              <a:gd name="connsiteY473" fmla="*/ 6042167 h 6858000"/>
              <a:gd name="connsiteX474" fmla="*/ 5742158 w 12192000"/>
              <a:gd name="connsiteY474" fmla="*/ 6102272 h 6858000"/>
              <a:gd name="connsiteX475" fmla="*/ 5798344 w 12192000"/>
              <a:gd name="connsiteY475" fmla="*/ 6162378 h 6858000"/>
              <a:gd name="connsiteX476" fmla="*/ 5861552 w 12192000"/>
              <a:gd name="connsiteY476" fmla="*/ 6148235 h 6858000"/>
              <a:gd name="connsiteX477" fmla="*/ 5889644 w 12192000"/>
              <a:gd name="connsiteY477" fmla="*/ 6162378 h 6858000"/>
              <a:gd name="connsiteX478" fmla="*/ 5896667 w 12192000"/>
              <a:gd name="connsiteY478" fmla="*/ 6158842 h 6858000"/>
              <a:gd name="connsiteX479" fmla="*/ 5896667 w 12192000"/>
              <a:gd name="connsiteY479" fmla="*/ 6155307 h 6858000"/>
              <a:gd name="connsiteX480" fmla="*/ 5896667 w 12192000"/>
              <a:gd name="connsiteY480" fmla="*/ 6028024 h 6858000"/>
              <a:gd name="connsiteX481" fmla="*/ 5833459 w 12192000"/>
              <a:gd name="connsiteY481" fmla="*/ 5960846 h 6858000"/>
              <a:gd name="connsiteX482" fmla="*/ 5497633 w 12192000"/>
              <a:gd name="connsiteY482" fmla="*/ 5960845 h 6858000"/>
              <a:gd name="connsiteX483" fmla="*/ 5411646 w 12192000"/>
              <a:gd name="connsiteY483" fmla="*/ 6061612 h 6858000"/>
              <a:gd name="connsiteX484" fmla="*/ 5497633 w 12192000"/>
              <a:gd name="connsiteY484" fmla="*/ 6162378 h 6858000"/>
              <a:gd name="connsiteX485" fmla="*/ 5583620 w 12192000"/>
              <a:gd name="connsiteY485" fmla="*/ 6061612 h 6858000"/>
              <a:gd name="connsiteX486" fmla="*/ 5497633 w 12192000"/>
              <a:gd name="connsiteY486" fmla="*/ 5960845 h 6858000"/>
              <a:gd name="connsiteX487" fmla="*/ 5243703 w 12192000"/>
              <a:gd name="connsiteY487" fmla="*/ 5936662 h 6858000"/>
              <a:gd name="connsiteX488" fmla="*/ 5275052 w 12192000"/>
              <a:gd name="connsiteY488" fmla="*/ 5936662 h 6858000"/>
              <a:gd name="connsiteX489" fmla="*/ 5292468 w 12192000"/>
              <a:gd name="connsiteY489" fmla="*/ 5936662 h 6858000"/>
              <a:gd name="connsiteX490" fmla="*/ 5337751 w 12192000"/>
              <a:gd name="connsiteY490" fmla="*/ 5975626 h 6858000"/>
              <a:gd name="connsiteX491" fmla="*/ 5288986 w 12192000"/>
              <a:gd name="connsiteY491" fmla="*/ 6014588 h 6858000"/>
              <a:gd name="connsiteX492" fmla="*/ 5243703 w 12192000"/>
              <a:gd name="connsiteY492" fmla="*/ 6014588 h 6858000"/>
              <a:gd name="connsiteX493" fmla="*/ 5243703 w 12192000"/>
              <a:gd name="connsiteY493" fmla="*/ 5936662 h 6858000"/>
              <a:gd name="connsiteX494" fmla="*/ 5660874 w 12192000"/>
              <a:gd name="connsiteY494" fmla="*/ 5923227 h 6858000"/>
              <a:gd name="connsiteX495" fmla="*/ 5629222 w 12192000"/>
              <a:gd name="connsiteY495" fmla="*/ 5930261 h 6858000"/>
              <a:gd name="connsiteX496" fmla="*/ 5625705 w 12192000"/>
              <a:gd name="connsiteY496" fmla="*/ 5937295 h 6858000"/>
              <a:gd name="connsiteX497" fmla="*/ 5625705 w 12192000"/>
              <a:gd name="connsiteY497" fmla="*/ 5968947 h 6858000"/>
              <a:gd name="connsiteX498" fmla="*/ 5608120 w 12192000"/>
              <a:gd name="connsiteY498" fmla="*/ 5968947 h 6858000"/>
              <a:gd name="connsiteX499" fmla="*/ 5601086 w 12192000"/>
              <a:gd name="connsiteY499" fmla="*/ 5975981 h 6858000"/>
              <a:gd name="connsiteX500" fmla="*/ 5601086 w 12192000"/>
              <a:gd name="connsiteY500" fmla="*/ 6000599 h 6858000"/>
              <a:gd name="connsiteX501" fmla="*/ 5608120 w 12192000"/>
              <a:gd name="connsiteY501" fmla="*/ 6007633 h 6858000"/>
              <a:gd name="connsiteX502" fmla="*/ 5625705 w 12192000"/>
              <a:gd name="connsiteY502" fmla="*/ 6007633 h 6858000"/>
              <a:gd name="connsiteX503" fmla="*/ 5625705 w 12192000"/>
              <a:gd name="connsiteY503" fmla="*/ 6092040 h 6858000"/>
              <a:gd name="connsiteX504" fmla="*/ 5681975 w 12192000"/>
              <a:gd name="connsiteY504" fmla="*/ 6162378 h 6858000"/>
              <a:gd name="connsiteX505" fmla="*/ 5713628 w 12192000"/>
              <a:gd name="connsiteY505" fmla="*/ 6158862 h 6858000"/>
              <a:gd name="connsiteX506" fmla="*/ 5720662 w 12192000"/>
              <a:gd name="connsiteY506" fmla="*/ 6151827 h 6858000"/>
              <a:gd name="connsiteX507" fmla="*/ 5720662 w 12192000"/>
              <a:gd name="connsiteY507" fmla="*/ 6127209 h 6858000"/>
              <a:gd name="connsiteX508" fmla="*/ 5713628 w 12192000"/>
              <a:gd name="connsiteY508" fmla="*/ 6120175 h 6858000"/>
              <a:gd name="connsiteX509" fmla="*/ 5689009 w 12192000"/>
              <a:gd name="connsiteY509" fmla="*/ 6120175 h 6858000"/>
              <a:gd name="connsiteX510" fmla="*/ 5667908 w 12192000"/>
              <a:gd name="connsiteY510" fmla="*/ 6085006 h 6858000"/>
              <a:gd name="connsiteX511" fmla="*/ 5667908 w 12192000"/>
              <a:gd name="connsiteY511" fmla="*/ 6007633 h 6858000"/>
              <a:gd name="connsiteX512" fmla="*/ 5713628 w 12192000"/>
              <a:gd name="connsiteY512" fmla="*/ 6007633 h 6858000"/>
              <a:gd name="connsiteX513" fmla="*/ 5720662 w 12192000"/>
              <a:gd name="connsiteY513" fmla="*/ 6000599 h 6858000"/>
              <a:gd name="connsiteX514" fmla="*/ 5720662 w 12192000"/>
              <a:gd name="connsiteY514" fmla="*/ 5975981 h 6858000"/>
              <a:gd name="connsiteX515" fmla="*/ 5713628 w 12192000"/>
              <a:gd name="connsiteY515" fmla="*/ 5968947 h 6858000"/>
              <a:gd name="connsiteX516" fmla="*/ 5667908 w 12192000"/>
              <a:gd name="connsiteY516" fmla="*/ 5968947 h 6858000"/>
              <a:gd name="connsiteX517" fmla="*/ 5667908 w 12192000"/>
              <a:gd name="connsiteY517" fmla="*/ 5930261 h 6858000"/>
              <a:gd name="connsiteX518" fmla="*/ 5664391 w 12192000"/>
              <a:gd name="connsiteY518" fmla="*/ 5923227 h 6858000"/>
              <a:gd name="connsiteX519" fmla="*/ 5660874 w 12192000"/>
              <a:gd name="connsiteY519" fmla="*/ 5923227 h 6858000"/>
              <a:gd name="connsiteX520" fmla="*/ 5285479 w 12192000"/>
              <a:gd name="connsiteY520" fmla="*/ 5895013 h 6858000"/>
              <a:gd name="connsiteX521" fmla="*/ 5205019 w 12192000"/>
              <a:gd name="connsiteY521" fmla="*/ 5898524 h 6858000"/>
              <a:gd name="connsiteX522" fmla="*/ 5198022 w 12192000"/>
              <a:gd name="connsiteY522" fmla="*/ 5905546 h 6858000"/>
              <a:gd name="connsiteX523" fmla="*/ 5198022 w 12192000"/>
              <a:gd name="connsiteY523" fmla="*/ 6151326 h 6858000"/>
              <a:gd name="connsiteX524" fmla="*/ 5205019 w 12192000"/>
              <a:gd name="connsiteY524" fmla="*/ 6158348 h 6858000"/>
              <a:gd name="connsiteX525" fmla="*/ 5236504 w 12192000"/>
              <a:gd name="connsiteY525" fmla="*/ 6158348 h 6858000"/>
              <a:gd name="connsiteX526" fmla="*/ 5243501 w 12192000"/>
              <a:gd name="connsiteY526" fmla="*/ 6151326 h 6858000"/>
              <a:gd name="connsiteX527" fmla="*/ 5243501 w 12192000"/>
              <a:gd name="connsiteY527" fmla="*/ 6053014 h 6858000"/>
              <a:gd name="connsiteX528" fmla="*/ 5292476 w 12192000"/>
              <a:gd name="connsiteY528" fmla="*/ 6056525 h 6858000"/>
              <a:gd name="connsiteX529" fmla="*/ 5337954 w 12192000"/>
              <a:gd name="connsiteY529" fmla="*/ 6154837 h 6858000"/>
              <a:gd name="connsiteX530" fmla="*/ 5344951 w 12192000"/>
              <a:gd name="connsiteY530" fmla="*/ 6158348 h 6858000"/>
              <a:gd name="connsiteX531" fmla="*/ 5376435 w 12192000"/>
              <a:gd name="connsiteY531" fmla="*/ 6158348 h 6858000"/>
              <a:gd name="connsiteX532" fmla="*/ 5383431 w 12192000"/>
              <a:gd name="connsiteY532" fmla="*/ 6154837 h 6858000"/>
              <a:gd name="connsiteX533" fmla="*/ 5383431 w 12192000"/>
              <a:gd name="connsiteY533" fmla="*/ 6147815 h 6858000"/>
              <a:gd name="connsiteX534" fmla="*/ 5337954 w 12192000"/>
              <a:gd name="connsiteY534" fmla="*/ 6042481 h 6858000"/>
              <a:gd name="connsiteX535" fmla="*/ 5383431 w 12192000"/>
              <a:gd name="connsiteY535" fmla="*/ 5975769 h 6858000"/>
              <a:gd name="connsiteX536" fmla="*/ 5292476 w 12192000"/>
              <a:gd name="connsiteY536" fmla="*/ 5895013 h 6858000"/>
              <a:gd name="connsiteX537" fmla="*/ 5285479 w 12192000"/>
              <a:gd name="connsiteY537" fmla="*/ 5895013 h 6858000"/>
              <a:gd name="connsiteX538" fmla="*/ 6840997 w 12192000"/>
              <a:gd name="connsiteY538" fmla="*/ 5864091 h 6858000"/>
              <a:gd name="connsiteX539" fmla="*/ 6847534 w 12192000"/>
              <a:gd name="connsiteY539" fmla="*/ 5869822 h 6858000"/>
              <a:gd name="connsiteX540" fmla="*/ 6910281 w 12192000"/>
              <a:gd name="connsiteY540" fmla="*/ 6109646 h 6858000"/>
              <a:gd name="connsiteX541" fmla="*/ 6899823 w 12192000"/>
              <a:gd name="connsiteY541" fmla="*/ 6113173 h 6858000"/>
              <a:gd name="connsiteX542" fmla="*/ 6861478 w 12192000"/>
              <a:gd name="connsiteY542" fmla="*/ 6102592 h 6858000"/>
              <a:gd name="connsiteX543" fmla="*/ 6854506 w 12192000"/>
              <a:gd name="connsiteY543" fmla="*/ 6092012 h 6858000"/>
              <a:gd name="connsiteX544" fmla="*/ 6809188 w 12192000"/>
              <a:gd name="connsiteY544" fmla="*/ 5912144 h 6858000"/>
              <a:gd name="connsiteX545" fmla="*/ 6809188 w 12192000"/>
              <a:gd name="connsiteY545" fmla="*/ 5898037 h 6858000"/>
              <a:gd name="connsiteX546" fmla="*/ 6837075 w 12192000"/>
              <a:gd name="connsiteY546" fmla="*/ 5866295 h 6858000"/>
              <a:gd name="connsiteX547" fmla="*/ 6840997 w 12192000"/>
              <a:gd name="connsiteY547" fmla="*/ 5864091 h 6858000"/>
              <a:gd name="connsiteX548" fmla="*/ 6460734 w 12192000"/>
              <a:gd name="connsiteY548" fmla="*/ 5864091 h 6858000"/>
              <a:gd name="connsiteX549" fmla="*/ 6464696 w 12192000"/>
              <a:gd name="connsiteY549" fmla="*/ 5866295 h 6858000"/>
              <a:gd name="connsiteX550" fmla="*/ 6496396 w 12192000"/>
              <a:gd name="connsiteY550" fmla="*/ 5898037 h 6858000"/>
              <a:gd name="connsiteX551" fmla="*/ 6492874 w 12192000"/>
              <a:gd name="connsiteY551" fmla="*/ 5912144 h 6858000"/>
              <a:gd name="connsiteX552" fmla="*/ 6447085 w 12192000"/>
              <a:gd name="connsiteY552" fmla="*/ 6092012 h 6858000"/>
              <a:gd name="connsiteX553" fmla="*/ 6440040 w 12192000"/>
              <a:gd name="connsiteY553" fmla="*/ 6102592 h 6858000"/>
              <a:gd name="connsiteX554" fmla="*/ 6401295 w 12192000"/>
              <a:gd name="connsiteY554" fmla="*/ 6113173 h 6858000"/>
              <a:gd name="connsiteX555" fmla="*/ 6390728 w 12192000"/>
              <a:gd name="connsiteY555" fmla="*/ 6109646 h 6858000"/>
              <a:gd name="connsiteX556" fmla="*/ 6454129 w 12192000"/>
              <a:gd name="connsiteY556" fmla="*/ 5869822 h 6858000"/>
              <a:gd name="connsiteX557" fmla="*/ 6460734 w 12192000"/>
              <a:gd name="connsiteY557" fmla="*/ 5864091 h 6858000"/>
              <a:gd name="connsiteX558" fmla="*/ 6679416 w 12192000"/>
              <a:gd name="connsiteY558" fmla="*/ 5858737 h 6858000"/>
              <a:gd name="connsiteX559" fmla="*/ 6686403 w 12192000"/>
              <a:gd name="connsiteY559" fmla="*/ 5858737 h 6858000"/>
              <a:gd name="connsiteX560" fmla="*/ 6794693 w 12192000"/>
              <a:gd name="connsiteY560" fmla="*/ 5922306 h 6858000"/>
              <a:gd name="connsiteX561" fmla="*/ 6798186 w 12192000"/>
              <a:gd name="connsiteY561" fmla="*/ 5929370 h 6858000"/>
              <a:gd name="connsiteX562" fmla="*/ 6791199 w 12192000"/>
              <a:gd name="connsiteY562" fmla="*/ 5936433 h 6858000"/>
              <a:gd name="connsiteX563" fmla="*/ 6700376 w 12192000"/>
              <a:gd name="connsiteY563" fmla="*/ 5982344 h 6858000"/>
              <a:gd name="connsiteX564" fmla="*/ 6689896 w 12192000"/>
              <a:gd name="connsiteY564" fmla="*/ 5982344 h 6858000"/>
              <a:gd name="connsiteX565" fmla="*/ 6682909 w 12192000"/>
              <a:gd name="connsiteY565" fmla="*/ 5971749 h 6858000"/>
              <a:gd name="connsiteX566" fmla="*/ 6675923 w 12192000"/>
              <a:gd name="connsiteY566" fmla="*/ 5869333 h 6858000"/>
              <a:gd name="connsiteX567" fmla="*/ 6679416 w 12192000"/>
              <a:gd name="connsiteY567" fmla="*/ 5858737 h 6858000"/>
              <a:gd name="connsiteX568" fmla="*/ 6615733 w 12192000"/>
              <a:gd name="connsiteY568" fmla="*/ 5858737 h 6858000"/>
              <a:gd name="connsiteX569" fmla="*/ 6622719 w 12192000"/>
              <a:gd name="connsiteY569" fmla="*/ 5858737 h 6858000"/>
              <a:gd name="connsiteX570" fmla="*/ 6626212 w 12192000"/>
              <a:gd name="connsiteY570" fmla="*/ 5869333 h 6858000"/>
              <a:gd name="connsiteX571" fmla="*/ 6615733 w 12192000"/>
              <a:gd name="connsiteY571" fmla="*/ 5975280 h 6858000"/>
              <a:gd name="connsiteX572" fmla="*/ 6612239 w 12192000"/>
              <a:gd name="connsiteY572" fmla="*/ 5982344 h 6858000"/>
              <a:gd name="connsiteX573" fmla="*/ 6601760 w 12192000"/>
              <a:gd name="connsiteY573" fmla="*/ 5982344 h 6858000"/>
              <a:gd name="connsiteX574" fmla="*/ 6510935 w 12192000"/>
              <a:gd name="connsiteY574" fmla="*/ 5936433 h 6858000"/>
              <a:gd name="connsiteX575" fmla="*/ 6503949 w 12192000"/>
              <a:gd name="connsiteY575" fmla="*/ 5929370 h 6858000"/>
              <a:gd name="connsiteX576" fmla="*/ 6507443 w 12192000"/>
              <a:gd name="connsiteY576" fmla="*/ 5922306 h 6858000"/>
              <a:gd name="connsiteX577" fmla="*/ 6615733 w 12192000"/>
              <a:gd name="connsiteY577" fmla="*/ 5858737 h 6858000"/>
              <a:gd name="connsiteX578" fmla="*/ 6534583 w 12192000"/>
              <a:gd name="connsiteY578" fmla="*/ 5823805 h 6858000"/>
              <a:gd name="connsiteX579" fmla="*/ 6541569 w 12192000"/>
              <a:gd name="connsiteY579" fmla="*/ 5831195 h 6858000"/>
              <a:gd name="connsiteX580" fmla="*/ 6538076 w 12192000"/>
              <a:gd name="connsiteY580" fmla="*/ 5834890 h 6858000"/>
              <a:gd name="connsiteX581" fmla="*/ 6531089 w 12192000"/>
              <a:gd name="connsiteY581" fmla="*/ 5838585 h 6858000"/>
              <a:gd name="connsiteX582" fmla="*/ 6527596 w 12192000"/>
              <a:gd name="connsiteY582" fmla="*/ 5831195 h 6858000"/>
              <a:gd name="connsiteX583" fmla="*/ 6524103 w 12192000"/>
              <a:gd name="connsiteY583" fmla="*/ 5831195 h 6858000"/>
              <a:gd name="connsiteX584" fmla="*/ 6534583 w 12192000"/>
              <a:gd name="connsiteY584" fmla="*/ 5823805 h 6858000"/>
              <a:gd name="connsiteX585" fmla="*/ 6531109 w 12192000"/>
              <a:gd name="connsiteY585" fmla="*/ 5816608 h 6858000"/>
              <a:gd name="connsiteX586" fmla="*/ 6513354 w 12192000"/>
              <a:gd name="connsiteY586" fmla="*/ 5827260 h 6858000"/>
              <a:gd name="connsiteX587" fmla="*/ 6516905 w 12192000"/>
              <a:gd name="connsiteY587" fmla="*/ 5830811 h 6858000"/>
              <a:gd name="connsiteX588" fmla="*/ 6534660 w 12192000"/>
              <a:gd name="connsiteY588" fmla="*/ 5862769 h 6858000"/>
              <a:gd name="connsiteX589" fmla="*/ 6541761 w 12192000"/>
              <a:gd name="connsiteY589" fmla="*/ 5859217 h 6858000"/>
              <a:gd name="connsiteX590" fmla="*/ 6534660 w 12192000"/>
              <a:gd name="connsiteY590" fmla="*/ 5845014 h 6858000"/>
              <a:gd name="connsiteX591" fmla="*/ 6541761 w 12192000"/>
              <a:gd name="connsiteY591" fmla="*/ 5841464 h 6858000"/>
              <a:gd name="connsiteX592" fmla="*/ 6555964 w 12192000"/>
              <a:gd name="connsiteY592" fmla="*/ 5852116 h 6858000"/>
              <a:gd name="connsiteX593" fmla="*/ 6563066 w 12192000"/>
              <a:gd name="connsiteY593" fmla="*/ 5848565 h 6858000"/>
              <a:gd name="connsiteX594" fmla="*/ 6548863 w 12192000"/>
              <a:gd name="connsiteY594" fmla="*/ 5834362 h 6858000"/>
              <a:gd name="connsiteX595" fmla="*/ 6548863 w 12192000"/>
              <a:gd name="connsiteY595" fmla="*/ 5830811 h 6858000"/>
              <a:gd name="connsiteX596" fmla="*/ 6531109 w 12192000"/>
              <a:gd name="connsiteY596" fmla="*/ 5816608 h 6858000"/>
              <a:gd name="connsiteX597" fmla="*/ 6752016 w 12192000"/>
              <a:gd name="connsiteY597" fmla="*/ 5810370 h 6858000"/>
              <a:gd name="connsiteX598" fmla="*/ 6755559 w 12192000"/>
              <a:gd name="connsiteY598" fmla="*/ 5834554 h 6858000"/>
              <a:gd name="connsiteX599" fmla="*/ 6748474 w 12192000"/>
              <a:gd name="connsiteY599" fmla="*/ 5851828 h 6858000"/>
              <a:gd name="connsiteX600" fmla="*/ 6755559 w 12192000"/>
              <a:gd name="connsiteY600" fmla="*/ 5858737 h 6858000"/>
              <a:gd name="connsiteX601" fmla="*/ 6762643 w 12192000"/>
              <a:gd name="connsiteY601" fmla="*/ 5841463 h 6858000"/>
              <a:gd name="connsiteX602" fmla="*/ 6787438 w 12192000"/>
              <a:gd name="connsiteY602" fmla="*/ 5827644 h 6858000"/>
              <a:gd name="connsiteX603" fmla="*/ 6780354 w 12192000"/>
              <a:gd name="connsiteY603" fmla="*/ 5824189 h 6858000"/>
              <a:gd name="connsiteX604" fmla="*/ 6762643 w 12192000"/>
              <a:gd name="connsiteY604" fmla="*/ 5831099 h 6858000"/>
              <a:gd name="connsiteX605" fmla="*/ 6759101 w 12192000"/>
              <a:gd name="connsiteY605" fmla="*/ 5813824 h 6858000"/>
              <a:gd name="connsiteX606" fmla="*/ 6752016 w 12192000"/>
              <a:gd name="connsiteY606" fmla="*/ 5810370 h 6858000"/>
              <a:gd name="connsiteX607" fmla="*/ 6717036 w 12192000"/>
              <a:gd name="connsiteY607" fmla="*/ 5806340 h 6858000"/>
              <a:gd name="connsiteX608" fmla="*/ 6727516 w 12192000"/>
              <a:gd name="connsiteY608" fmla="*/ 5809699 h 6858000"/>
              <a:gd name="connsiteX609" fmla="*/ 6731009 w 12192000"/>
              <a:gd name="connsiteY609" fmla="*/ 5813058 h 6858000"/>
              <a:gd name="connsiteX610" fmla="*/ 6724022 w 12192000"/>
              <a:gd name="connsiteY610" fmla="*/ 5819775 h 6858000"/>
              <a:gd name="connsiteX611" fmla="*/ 6713542 w 12192000"/>
              <a:gd name="connsiteY611" fmla="*/ 5816416 h 6858000"/>
              <a:gd name="connsiteX612" fmla="*/ 6713542 w 12192000"/>
              <a:gd name="connsiteY612" fmla="*/ 5813058 h 6858000"/>
              <a:gd name="connsiteX613" fmla="*/ 6717036 w 12192000"/>
              <a:gd name="connsiteY613" fmla="*/ 5806340 h 6858000"/>
              <a:gd name="connsiteX614" fmla="*/ 6583891 w 12192000"/>
              <a:gd name="connsiteY614" fmla="*/ 5805835 h 6858000"/>
              <a:gd name="connsiteX615" fmla="*/ 6597998 w 12192000"/>
              <a:gd name="connsiteY615" fmla="*/ 5816416 h 6858000"/>
              <a:gd name="connsiteX616" fmla="*/ 6583891 w 12192000"/>
              <a:gd name="connsiteY616" fmla="*/ 5830523 h 6858000"/>
              <a:gd name="connsiteX617" fmla="*/ 6569783 w 12192000"/>
              <a:gd name="connsiteY617" fmla="*/ 5819943 h 6858000"/>
              <a:gd name="connsiteX618" fmla="*/ 6569783 w 12192000"/>
              <a:gd name="connsiteY618" fmla="*/ 5816416 h 6858000"/>
              <a:gd name="connsiteX619" fmla="*/ 6583891 w 12192000"/>
              <a:gd name="connsiteY619" fmla="*/ 5805835 h 6858000"/>
              <a:gd name="connsiteX620" fmla="*/ 6671893 w 12192000"/>
              <a:gd name="connsiteY620" fmla="*/ 5799621 h 6858000"/>
              <a:gd name="connsiteX621" fmla="*/ 6675251 w 12192000"/>
              <a:gd name="connsiteY621" fmla="*/ 5810101 h 6858000"/>
              <a:gd name="connsiteX622" fmla="*/ 6678610 w 12192000"/>
              <a:gd name="connsiteY622" fmla="*/ 5817088 h 6858000"/>
              <a:gd name="connsiteX623" fmla="*/ 6665174 w 12192000"/>
              <a:gd name="connsiteY623" fmla="*/ 5817088 h 6858000"/>
              <a:gd name="connsiteX624" fmla="*/ 6668534 w 12192000"/>
              <a:gd name="connsiteY624" fmla="*/ 5810101 h 6858000"/>
              <a:gd name="connsiteX625" fmla="*/ 6671893 w 12192000"/>
              <a:gd name="connsiteY625" fmla="*/ 5799621 h 6858000"/>
              <a:gd name="connsiteX626" fmla="*/ 6580420 w 12192000"/>
              <a:gd name="connsiteY626" fmla="*/ 5799105 h 6858000"/>
              <a:gd name="connsiteX627" fmla="*/ 6563065 w 12192000"/>
              <a:gd name="connsiteY627" fmla="*/ 5816675 h 6858000"/>
              <a:gd name="connsiteX628" fmla="*/ 6563065 w 12192000"/>
              <a:gd name="connsiteY628" fmla="*/ 5820188 h 6858000"/>
              <a:gd name="connsiteX629" fmla="*/ 6583891 w 12192000"/>
              <a:gd name="connsiteY629" fmla="*/ 5837758 h 6858000"/>
              <a:gd name="connsiteX630" fmla="*/ 6604715 w 12192000"/>
              <a:gd name="connsiteY630" fmla="*/ 5816675 h 6858000"/>
              <a:gd name="connsiteX631" fmla="*/ 6580420 w 12192000"/>
              <a:gd name="connsiteY631" fmla="*/ 5799105 h 6858000"/>
              <a:gd name="connsiteX632" fmla="*/ 6710733 w 12192000"/>
              <a:gd name="connsiteY632" fmla="*/ 5795591 h 6858000"/>
              <a:gd name="connsiteX633" fmla="*/ 6707191 w 12192000"/>
              <a:gd name="connsiteY633" fmla="*/ 5813345 h 6858000"/>
              <a:gd name="connsiteX634" fmla="*/ 6700107 w 12192000"/>
              <a:gd name="connsiteY634" fmla="*/ 5834650 h 6858000"/>
              <a:gd name="connsiteX635" fmla="*/ 6710733 w 12192000"/>
              <a:gd name="connsiteY635" fmla="*/ 5838201 h 6858000"/>
              <a:gd name="connsiteX636" fmla="*/ 6714275 w 12192000"/>
              <a:gd name="connsiteY636" fmla="*/ 5823998 h 6858000"/>
              <a:gd name="connsiteX637" fmla="*/ 6721360 w 12192000"/>
              <a:gd name="connsiteY637" fmla="*/ 5823998 h 6858000"/>
              <a:gd name="connsiteX638" fmla="*/ 6724902 w 12192000"/>
              <a:gd name="connsiteY638" fmla="*/ 5841752 h 6858000"/>
              <a:gd name="connsiteX639" fmla="*/ 6731986 w 12192000"/>
              <a:gd name="connsiteY639" fmla="*/ 5845303 h 6858000"/>
              <a:gd name="connsiteX640" fmla="*/ 6728443 w 12192000"/>
              <a:gd name="connsiteY640" fmla="*/ 5827549 h 6858000"/>
              <a:gd name="connsiteX641" fmla="*/ 6739070 w 12192000"/>
              <a:gd name="connsiteY641" fmla="*/ 5813345 h 6858000"/>
              <a:gd name="connsiteX642" fmla="*/ 6731986 w 12192000"/>
              <a:gd name="connsiteY642" fmla="*/ 5802693 h 6858000"/>
              <a:gd name="connsiteX643" fmla="*/ 6710733 w 12192000"/>
              <a:gd name="connsiteY643" fmla="*/ 5795591 h 6858000"/>
              <a:gd name="connsiteX644" fmla="*/ 6668106 w 12192000"/>
              <a:gd name="connsiteY644" fmla="*/ 5788873 h 6858000"/>
              <a:gd name="connsiteX645" fmla="*/ 6661022 w 12192000"/>
              <a:gd name="connsiteY645" fmla="*/ 5809957 h 6858000"/>
              <a:gd name="connsiteX646" fmla="*/ 6650396 w 12192000"/>
              <a:gd name="connsiteY646" fmla="*/ 5831040 h 6858000"/>
              <a:gd name="connsiteX647" fmla="*/ 6657481 w 12192000"/>
              <a:gd name="connsiteY647" fmla="*/ 5831040 h 6858000"/>
              <a:gd name="connsiteX648" fmla="*/ 6661022 w 12192000"/>
              <a:gd name="connsiteY648" fmla="*/ 5824012 h 6858000"/>
              <a:gd name="connsiteX649" fmla="*/ 6678733 w 12192000"/>
              <a:gd name="connsiteY649" fmla="*/ 5824012 h 6858000"/>
              <a:gd name="connsiteX650" fmla="*/ 6682275 w 12192000"/>
              <a:gd name="connsiteY650" fmla="*/ 5831040 h 6858000"/>
              <a:gd name="connsiteX651" fmla="*/ 6689359 w 12192000"/>
              <a:gd name="connsiteY651" fmla="*/ 5834554 h 6858000"/>
              <a:gd name="connsiteX652" fmla="*/ 6682275 w 12192000"/>
              <a:gd name="connsiteY652" fmla="*/ 5809957 h 6858000"/>
              <a:gd name="connsiteX653" fmla="*/ 6678733 w 12192000"/>
              <a:gd name="connsiteY653" fmla="*/ 5788873 h 6858000"/>
              <a:gd name="connsiteX654" fmla="*/ 6668106 w 12192000"/>
              <a:gd name="connsiteY654" fmla="*/ 5788873 h 6858000"/>
              <a:gd name="connsiteX655" fmla="*/ 6647709 w 12192000"/>
              <a:gd name="connsiteY655" fmla="*/ 5788873 h 6858000"/>
              <a:gd name="connsiteX656" fmla="*/ 6608746 w 12192000"/>
              <a:gd name="connsiteY656" fmla="*/ 5792344 h 6858000"/>
              <a:gd name="connsiteX657" fmla="*/ 6608746 w 12192000"/>
              <a:gd name="connsiteY657" fmla="*/ 5799285 h 6858000"/>
              <a:gd name="connsiteX658" fmla="*/ 6622914 w 12192000"/>
              <a:gd name="connsiteY658" fmla="*/ 5795815 h 6858000"/>
              <a:gd name="connsiteX659" fmla="*/ 6626456 w 12192000"/>
              <a:gd name="connsiteY659" fmla="*/ 5830523 h 6858000"/>
              <a:gd name="connsiteX660" fmla="*/ 6637082 w 12192000"/>
              <a:gd name="connsiteY660" fmla="*/ 5830523 h 6858000"/>
              <a:gd name="connsiteX661" fmla="*/ 6633540 w 12192000"/>
              <a:gd name="connsiteY661" fmla="*/ 5795815 h 6858000"/>
              <a:gd name="connsiteX662" fmla="*/ 6647709 w 12192000"/>
              <a:gd name="connsiteY662" fmla="*/ 5795815 h 6858000"/>
              <a:gd name="connsiteX663" fmla="*/ 6647709 w 12192000"/>
              <a:gd name="connsiteY663" fmla="*/ 5788873 h 6858000"/>
              <a:gd name="connsiteX664" fmla="*/ 6198068 w 12192000"/>
              <a:gd name="connsiteY664" fmla="*/ 5788872 h 6858000"/>
              <a:gd name="connsiteX665" fmla="*/ 6223148 w 12192000"/>
              <a:gd name="connsiteY665" fmla="*/ 5823804 h 6858000"/>
              <a:gd name="connsiteX666" fmla="*/ 6169406 w 12192000"/>
              <a:gd name="connsiteY666" fmla="*/ 5823804 h 6858000"/>
              <a:gd name="connsiteX667" fmla="*/ 6198068 w 12192000"/>
              <a:gd name="connsiteY667" fmla="*/ 5788872 h 6858000"/>
              <a:gd name="connsiteX668" fmla="*/ 6650396 w 12192000"/>
              <a:gd name="connsiteY668" fmla="*/ 5782156 h 6858000"/>
              <a:gd name="connsiteX669" fmla="*/ 6815350 w 12192000"/>
              <a:gd name="connsiteY669" fmla="*/ 5838047 h 6858000"/>
              <a:gd name="connsiteX670" fmla="*/ 6818860 w 12192000"/>
              <a:gd name="connsiteY670" fmla="*/ 5852020 h 6858000"/>
              <a:gd name="connsiteX671" fmla="*/ 6790783 w 12192000"/>
              <a:gd name="connsiteY671" fmla="*/ 5883460 h 6858000"/>
              <a:gd name="connsiteX672" fmla="*/ 6776744 w 12192000"/>
              <a:gd name="connsiteY672" fmla="*/ 5883460 h 6858000"/>
              <a:gd name="connsiteX673" fmla="*/ 6650396 w 12192000"/>
              <a:gd name="connsiteY673" fmla="*/ 5838047 h 6858000"/>
              <a:gd name="connsiteX674" fmla="*/ 6524048 w 12192000"/>
              <a:gd name="connsiteY674" fmla="*/ 5883460 h 6858000"/>
              <a:gd name="connsiteX675" fmla="*/ 6510010 w 12192000"/>
              <a:gd name="connsiteY675" fmla="*/ 5883460 h 6858000"/>
              <a:gd name="connsiteX676" fmla="*/ 6481932 w 12192000"/>
              <a:gd name="connsiteY676" fmla="*/ 5852020 h 6858000"/>
              <a:gd name="connsiteX677" fmla="*/ 6485442 w 12192000"/>
              <a:gd name="connsiteY677" fmla="*/ 5838047 h 6858000"/>
              <a:gd name="connsiteX678" fmla="*/ 6650396 w 12192000"/>
              <a:gd name="connsiteY678" fmla="*/ 5782156 h 6858000"/>
              <a:gd name="connsiteX679" fmla="*/ 6198292 w 12192000"/>
              <a:gd name="connsiteY679" fmla="*/ 5782155 h 6858000"/>
              <a:gd name="connsiteX680" fmla="*/ 6160001 w 12192000"/>
              <a:gd name="connsiteY680" fmla="*/ 5831195 h 6858000"/>
              <a:gd name="connsiteX681" fmla="*/ 6201773 w 12192000"/>
              <a:gd name="connsiteY681" fmla="*/ 5880234 h 6858000"/>
              <a:gd name="connsiteX682" fmla="*/ 6229621 w 12192000"/>
              <a:gd name="connsiteY682" fmla="*/ 5873228 h 6858000"/>
              <a:gd name="connsiteX683" fmla="*/ 6229621 w 12192000"/>
              <a:gd name="connsiteY683" fmla="*/ 5862720 h 6858000"/>
              <a:gd name="connsiteX684" fmla="*/ 6201773 w 12192000"/>
              <a:gd name="connsiteY684" fmla="*/ 5869725 h 6858000"/>
              <a:gd name="connsiteX685" fmla="*/ 6170443 w 12192000"/>
              <a:gd name="connsiteY685" fmla="*/ 5834698 h 6858000"/>
              <a:gd name="connsiteX686" fmla="*/ 6236583 w 12192000"/>
              <a:gd name="connsiteY686" fmla="*/ 5834698 h 6858000"/>
              <a:gd name="connsiteX687" fmla="*/ 6236583 w 12192000"/>
              <a:gd name="connsiteY687" fmla="*/ 5827692 h 6858000"/>
              <a:gd name="connsiteX688" fmla="*/ 6198292 w 12192000"/>
              <a:gd name="connsiteY688" fmla="*/ 5782155 h 6858000"/>
              <a:gd name="connsiteX689" fmla="*/ 5949064 w 12192000"/>
              <a:gd name="connsiteY689" fmla="*/ 5745879 h 6858000"/>
              <a:gd name="connsiteX690" fmla="*/ 5949064 w 12192000"/>
              <a:gd name="connsiteY690" fmla="*/ 5756627 h 6858000"/>
              <a:gd name="connsiteX691" fmla="*/ 5988028 w 12192000"/>
              <a:gd name="connsiteY691" fmla="*/ 5756627 h 6858000"/>
              <a:gd name="connsiteX692" fmla="*/ 5988028 w 12192000"/>
              <a:gd name="connsiteY692" fmla="*/ 5876203 h 6858000"/>
              <a:gd name="connsiteX693" fmla="*/ 6001464 w 12192000"/>
              <a:gd name="connsiteY693" fmla="*/ 5876203 h 6858000"/>
              <a:gd name="connsiteX694" fmla="*/ 6001464 w 12192000"/>
              <a:gd name="connsiteY694" fmla="*/ 5756627 h 6858000"/>
              <a:gd name="connsiteX695" fmla="*/ 6040426 w 12192000"/>
              <a:gd name="connsiteY695" fmla="*/ 5756627 h 6858000"/>
              <a:gd name="connsiteX696" fmla="*/ 6040426 w 12192000"/>
              <a:gd name="connsiteY696" fmla="*/ 5745879 h 6858000"/>
              <a:gd name="connsiteX697" fmla="*/ 6061922 w 12192000"/>
              <a:gd name="connsiteY697" fmla="*/ 5735130 h 6858000"/>
              <a:gd name="connsiteX698" fmla="*/ 6061922 w 12192000"/>
              <a:gd name="connsiteY698" fmla="*/ 5876203 h 6858000"/>
              <a:gd name="connsiteX699" fmla="*/ 6072287 w 12192000"/>
              <a:gd name="connsiteY699" fmla="*/ 5876203 h 6858000"/>
              <a:gd name="connsiteX700" fmla="*/ 6072287 w 12192000"/>
              <a:gd name="connsiteY700" fmla="*/ 5826827 h 6858000"/>
              <a:gd name="connsiteX701" fmla="*/ 6099926 w 12192000"/>
              <a:gd name="connsiteY701" fmla="*/ 5788033 h 6858000"/>
              <a:gd name="connsiteX702" fmla="*/ 6120655 w 12192000"/>
              <a:gd name="connsiteY702" fmla="*/ 5819774 h 6858000"/>
              <a:gd name="connsiteX703" fmla="*/ 6120655 w 12192000"/>
              <a:gd name="connsiteY703" fmla="*/ 5876203 h 6858000"/>
              <a:gd name="connsiteX704" fmla="*/ 6134474 w 12192000"/>
              <a:gd name="connsiteY704" fmla="*/ 5876203 h 6858000"/>
              <a:gd name="connsiteX705" fmla="*/ 6134474 w 12192000"/>
              <a:gd name="connsiteY705" fmla="*/ 5819774 h 6858000"/>
              <a:gd name="connsiteX706" fmla="*/ 6103380 w 12192000"/>
              <a:gd name="connsiteY706" fmla="*/ 5780979 h 6858000"/>
              <a:gd name="connsiteX707" fmla="*/ 6072287 w 12192000"/>
              <a:gd name="connsiteY707" fmla="*/ 5798613 h 6858000"/>
              <a:gd name="connsiteX708" fmla="*/ 6072287 w 12192000"/>
              <a:gd name="connsiteY708" fmla="*/ 5735130 h 6858000"/>
              <a:gd name="connsiteX709" fmla="*/ 6061922 w 12192000"/>
              <a:gd name="connsiteY709" fmla="*/ 5735130 h 6858000"/>
              <a:gd name="connsiteX710" fmla="*/ 6640551 w 12192000"/>
              <a:gd name="connsiteY710" fmla="*/ 5710947 h 6858000"/>
              <a:gd name="connsiteX711" fmla="*/ 6626527 w 12192000"/>
              <a:gd name="connsiteY711" fmla="*/ 5763810 h 6858000"/>
              <a:gd name="connsiteX712" fmla="*/ 6601987 w 12192000"/>
              <a:gd name="connsiteY712" fmla="*/ 5767334 h 6858000"/>
              <a:gd name="connsiteX713" fmla="*/ 6577446 w 12192000"/>
              <a:gd name="connsiteY713" fmla="*/ 5721520 h 6858000"/>
              <a:gd name="connsiteX714" fmla="*/ 6573940 w 12192000"/>
              <a:gd name="connsiteY714" fmla="*/ 5721520 h 6858000"/>
              <a:gd name="connsiteX715" fmla="*/ 6552905 w 12192000"/>
              <a:gd name="connsiteY715" fmla="*/ 5725044 h 6858000"/>
              <a:gd name="connsiteX716" fmla="*/ 6552905 w 12192000"/>
              <a:gd name="connsiteY716" fmla="*/ 5728568 h 6858000"/>
              <a:gd name="connsiteX717" fmla="*/ 6549399 w 12192000"/>
              <a:gd name="connsiteY717" fmla="*/ 5753237 h 6858000"/>
              <a:gd name="connsiteX718" fmla="*/ 6552905 w 12192000"/>
              <a:gd name="connsiteY718" fmla="*/ 5781431 h 6858000"/>
              <a:gd name="connsiteX719" fmla="*/ 6531870 w 12192000"/>
              <a:gd name="connsiteY719" fmla="*/ 5788479 h 6858000"/>
              <a:gd name="connsiteX720" fmla="*/ 6493306 w 12192000"/>
              <a:gd name="connsiteY720" fmla="*/ 5753237 h 6858000"/>
              <a:gd name="connsiteX721" fmla="*/ 6472271 w 12192000"/>
              <a:gd name="connsiteY721" fmla="*/ 5763810 h 6858000"/>
              <a:gd name="connsiteX722" fmla="*/ 6486295 w 12192000"/>
              <a:gd name="connsiteY722" fmla="*/ 5816672 h 6858000"/>
              <a:gd name="connsiteX723" fmla="*/ 6468766 w 12192000"/>
              <a:gd name="connsiteY723" fmla="*/ 5827245 h 6858000"/>
              <a:gd name="connsiteX724" fmla="*/ 6423190 w 12192000"/>
              <a:gd name="connsiteY724" fmla="*/ 5802576 h 6858000"/>
              <a:gd name="connsiteX725" fmla="*/ 6405661 w 12192000"/>
              <a:gd name="connsiteY725" fmla="*/ 5816672 h 6858000"/>
              <a:gd name="connsiteX726" fmla="*/ 6405661 w 12192000"/>
              <a:gd name="connsiteY726" fmla="*/ 5820196 h 6858000"/>
              <a:gd name="connsiteX727" fmla="*/ 6433707 w 12192000"/>
              <a:gd name="connsiteY727" fmla="*/ 5866011 h 6858000"/>
              <a:gd name="connsiteX728" fmla="*/ 6419684 w 12192000"/>
              <a:gd name="connsiteY728" fmla="*/ 5883632 h 6858000"/>
              <a:gd name="connsiteX729" fmla="*/ 6367097 w 12192000"/>
              <a:gd name="connsiteY729" fmla="*/ 5869535 h 6858000"/>
              <a:gd name="connsiteX730" fmla="*/ 6356580 w 12192000"/>
              <a:gd name="connsiteY730" fmla="*/ 5890680 h 6858000"/>
              <a:gd name="connsiteX731" fmla="*/ 6391638 w 12192000"/>
              <a:gd name="connsiteY731" fmla="*/ 5929447 h 6858000"/>
              <a:gd name="connsiteX732" fmla="*/ 6384626 w 12192000"/>
              <a:gd name="connsiteY732" fmla="*/ 5950591 h 6858000"/>
              <a:gd name="connsiteX733" fmla="*/ 6332039 w 12192000"/>
              <a:gd name="connsiteY733" fmla="*/ 5950591 h 6858000"/>
              <a:gd name="connsiteX734" fmla="*/ 6325027 w 12192000"/>
              <a:gd name="connsiteY734" fmla="*/ 5971736 h 6858000"/>
              <a:gd name="connsiteX735" fmla="*/ 6370602 w 12192000"/>
              <a:gd name="connsiteY735" fmla="*/ 5999930 h 6858000"/>
              <a:gd name="connsiteX736" fmla="*/ 6367097 w 12192000"/>
              <a:gd name="connsiteY736" fmla="*/ 6021074 h 6858000"/>
              <a:gd name="connsiteX737" fmla="*/ 6318016 w 12192000"/>
              <a:gd name="connsiteY737" fmla="*/ 6035172 h 6858000"/>
              <a:gd name="connsiteX738" fmla="*/ 6314510 w 12192000"/>
              <a:gd name="connsiteY738" fmla="*/ 6035172 h 6858000"/>
              <a:gd name="connsiteX739" fmla="*/ 6314510 w 12192000"/>
              <a:gd name="connsiteY739" fmla="*/ 6049268 h 6858000"/>
              <a:gd name="connsiteX740" fmla="*/ 6314510 w 12192000"/>
              <a:gd name="connsiteY740" fmla="*/ 6059841 h 6858000"/>
              <a:gd name="connsiteX741" fmla="*/ 6318016 w 12192000"/>
              <a:gd name="connsiteY741" fmla="*/ 6059841 h 6858000"/>
              <a:gd name="connsiteX742" fmla="*/ 6367097 w 12192000"/>
              <a:gd name="connsiteY742" fmla="*/ 6073938 h 6858000"/>
              <a:gd name="connsiteX743" fmla="*/ 6370602 w 12192000"/>
              <a:gd name="connsiteY743" fmla="*/ 6095083 h 6858000"/>
              <a:gd name="connsiteX744" fmla="*/ 6325027 w 12192000"/>
              <a:gd name="connsiteY744" fmla="*/ 6123276 h 6858000"/>
              <a:gd name="connsiteX745" fmla="*/ 6325027 w 12192000"/>
              <a:gd name="connsiteY745" fmla="*/ 6126800 h 6858000"/>
              <a:gd name="connsiteX746" fmla="*/ 6332039 w 12192000"/>
              <a:gd name="connsiteY746" fmla="*/ 6147945 h 6858000"/>
              <a:gd name="connsiteX747" fmla="*/ 6384626 w 12192000"/>
              <a:gd name="connsiteY747" fmla="*/ 6147945 h 6858000"/>
              <a:gd name="connsiteX748" fmla="*/ 6395143 w 12192000"/>
              <a:gd name="connsiteY748" fmla="*/ 6169091 h 6858000"/>
              <a:gd name="connsiteX749" fmla="*/ 6356580 w 12192000"/>
              <a:gd name="connsiteY749" fmla="*/ 6204332 h 6858000"/>
              <a:gd name="connsiteX750" fmla="*/ 6356580 w 12192000"/>
              <a:gd name="connsiteY750" fmla="*/ 6207856 h 6858000"/>
              <a:gd name="connsiteX751" fmla="*/ 6367097 w 12192000"/>
              <a:gd name="connsiteY751" fmla="*/ 6225477 h 6858000"/>
              <a:gd name="connsiteX752" fmla="*/ 6419684 w 12192000"/>
              <a:gd name="connsiteY752" fmla="*/ 6211380 h 6858000"/>
              <a:gd name="connsiteX753" fmla="*/ 6433707 w 12192000"/>
              <a:gd name="connsiteY753" fmla="*/ 6232526 h 6858000"/>
              <a:gd name="connsiteX754" fmla="*/ 6405661 w 12192000"/>
              <a:gd name="connsiteY754" fmla="*/ 6278340 h 6858000"/>
              <a:gd name="connsiteX755" fmla="*/ 6423190 w 12192000"/>
              <a:gd name="connsiteY755" fmla="*/ 6292436 h 6858000"/>
              <a:gd name="connsiteX756" fmla="*/ 6468766 w 12192000"/>
              <a:gd name="connsiteY756" fmla="*/ 6267768 h 6858000"/>
              <a:gd name="connsiteX757" fmla="*/ 6486295 w 12192000"/>
              <a:gd name="connsiteY757" fmla="*/ 6281864 h 6858000"/>
              <a:gd name="connsiteX758" fmla="*/ 6475777 w 12192000"/>
              <a:gd name="connsiteY758" fmla="*/ 6331202 h 6858000"/>
              <a:gd name="connsiteX759" fmla="*/ 6475777 w 12192000"/>
              <a:gd name="connsiteY759" fmla="*/ 6334727 h 6858000"/>
              <a:gd name="connsiteX760" fmla="*/ 6493306 w 12192000"/>
              <a:gd name="connsiteY760" fmla="*/ 6345299 h 6858000"/>
              <a:gd name="connsiteX761" fmla="*/ 6496812 w 12192000"/>
              <a:gd name="connsiteY761" fmla="*/ 6345299 h 6858000"/>
              <a:gd name="connsiteX762" fmla="*/ 6531870 w 12192000"/>
              <a:gd name="connsiteY762" fmla="*/ 6306533 h 6858000"/>
              <a:gd name="connsiteX763" fmla="*/ 6552905 w 12192000"/>
              <a:gd name="connsiteY763" fmla="*/ 6317106 h 6858000"/>
              <a:gd name="connsiteX764" fmla="*/ 6549399 w 12192000"/>
              <a:gd name="connsiteY764" fmla="*/ 6341775 h 6858000"/>
              <a:gd name="connsiteX765" fmla="*/ 6552905 w 12192000"/>
              <a:gd name="connsiteY765" fmla="*/ 6369969 h 6858000"/>
              <a:gd name="connsiteX766" fmla="*/ 6573940 w 12192000"/>
              <a:gd name="connsiteY766" fmla="*/ 6377017 h 6858000"/>
              <a:gd name="connsiteX767" fmla="*/ 6577446 w 12192000"/>
              <a:gd name="connsiteY767" fmla="*/ 6377017 h 6858000"/>
              <a:gd name="connsiteX768" fmla="*/ 6601987 w 12192000"/>
              <a:gd name="connsiteY768" fmla="*/ 6331202 h 6858000"/>
              <a:gd name="connsiteX769" fmla="*/ 6626527 w 12192000"/>
              <a:gd name="connsiteY769" fmla="*/ 6331202 h 6858000"/>
              <a:gd name="connsiteX770" fmla="*/ 6640551 w 12192000"/>
              <a:gd name="connsiteY770" fmla="*/ 6384065 h 6858000"/>
              <a:gd name="connsiteX771" fmla="*/ 6661585 w 12192000"/>
              <a:gd name="connsiteY771" fmla="*/ 6384065 h 6858000"/>
              <a:gd name="connsiteX772" fmla="*/ 6665092 w 12192000"/>
              <a:gd name="connsiteY772" fmla="*/ 6384065 h 6858000"/>
              <a:gd name="connsiteX773" fmla="*/ 6679114 w 12192000"/>
              <a:gd name="connsiteY773" fmla="*/ 6331202 h 6858000"/>
              <a:gd name="connsiteX774" fmla="*/ 6700150 w 12192000"/>
              <a:gd name="connsiteY774" fmla="*/ 6331202 h 6858000"/>
              <a:gd name="connsiteX775" fmla="*/ 6724690 w 12192000"/>
              <a:gd name="connsiteY775" fmla="*/ 6377017 h 6858000"/>
              <a:gd name="connsiteX776" fmla="*/ 6728196 w 12192000"/>
              <a:gd name="connsiteY776" fmla="*/ 6377017 h 6858000"/>
              <a:gd name="connsiteX777" fmla="*/ 6749231 w 12192000"/>
              <a:gd name="connsiteY777" fmla="*/ 6369969 h 6858000"/>
              <a:gd name="connsiteX778" fmla="*/ 6752736 w 12192000"/>
              <a:gd name="connsiteY778" fmla="*/ 6341775 h 6858000"/>
              <a:gd name="connsiteX779" fmla="*/ 6749231 w 12192000"/>
              <a:gd name="connsiteY779" fmla="*/ 6317106 h 6858000"/>
              <a:gd name="connsiteX780" fmla="*/ 6770266 w 12192000"/>
              <a:gd name="connsiteY780" fmla="*/ 6306533 h 6858000"/>
              <a:gd name="connsiteX781" fmla="*/ 6808830 w 12192000"/>
              <a:gd name="connsiteY781" fmla="*/ 6345299 h 6858000"/>
              <a:gd name="connsiteX782" fmla="*/ 6826358 w 12192000"/>
              <a:gd name="connsiteY782" fmla="*/ 6334727 h 6858000"/>
              <a:gd name="connsiteX783" fmla="*/ 6829865 w 12192000"/>
              <a:gd name="connsiteY783" fmla="*/ 6334727 h 6858000"/>
              <a:gd name="connsiteX784" fmla="*/ 6829865 w 12192000"/>
              <a:gd name="connsiteY784" fmla="*/ 6331202 h 6858000"/>
              <a:gd name="connsiteX785" fmla="*/ 6815841 w 12192000"/>
              <a:gd name="connsiteY785" fmla="*/ 6281864 h 6858000"/>
              <a:gd name="connsiteX786" fmla="*/ 6833370 w 12192000"/>
              <a:gd name="connsiteY786" fmla="*/ 6267768 h 6858000"/>
              <a:gd name="connsiteX787" fmla="*/ 6878946 w 12192000"/>
              <a:gd name="connsiteY787" fmla="*/ 6292436 h 6858000"/>
              <a:gd name="connsiteX788" fmla="*/ 6896475 w 12192000"/>
              <a:gd name="connsiteY788" fmla="*/ 6278340 h 6858000"/>
              <a:gd name="connsiteX789" fmla="*/ 6896475 w 12192000"/>
              <a:gd name="connsiteY789" fmla="*/ 6274816 h 6858000"/>
              <a:gd name="connsiteX790" fmla="*/ 6868429 w 12192000"/>
              <a:gd name="connsiteY790" fmla="*/ 6229001 h 6858000"/>
              <a:gd name="connsiteX791" fmla="*/ 6882452 w 12192000"/>
              <a:gd name="connsiteY791" fmla="*/ 6211380 h 6858000"/>
              <a:gd name="connsiteX792" fmla="*/ 6935039 w 12192000"/>
              <a:gd name="connsiteY792" fmla="*/ 6225477 h 6858000"/>
              <a:gd name="connsiteX793" fmla="*/ 6945557 w 12192000"/>
              <a:gd name="connsiteY793" fmla="*/ 6207856 h 6858000"/>
              <a:gd name="connsiteX794" fmla="*/ 6945557 w 12192000"/>
              <a:gd name="connsiteY794" fmla="*/ 6204332 h 6858000"/>
              <a:gd name="connsiteX795" fmla="*/ 6910499 w 12192000"/>
              <a:gd name="connsiteY795" fmla="*/ 6165566 h 6858000"/>
              <a:gd name="connsiteX796" fmla="*/ 6917510 w 12192000"/>
              <a:gd name="connsiteY796" fmla="*/ 6147945 h 6858000"/>
              <a:gd name="connsiteX797" fmla="*/ 6970097 w 12192000"/>
              <a:gd name="connsiteY797" fmla="*/ 6147945 h 6858000"/>
              <a:gd name="connsiteX798" fmla="*/ 6970097 w 12192000"/>
              <a:gd name="connsiteY798" fmla="*/ 6144421 h 6858000"/>
              <a:gd name="connsiteX799" fmla="*/ 6977109 w 12192000"/>
              <a:gd name="connsiteY799" fmla="*/ 6123276 h 6858000"/>
              <a:gd name="connsiteX800" fmla="*/ 6931533 w 12192000"/>
              <a:gd name="connsiteY800" fmla="*/ 6095083 h 6858000"/>
              <a:gd name="connsiteX801" fmla="*/ 6935039 w 12192000"/>
              <a:gd name="connsiteY801" fmla="*/ 6073938 h 6858000"/>
              <a:gd name="connsiteX802" fmla="*/ 6984121 w 12192000"/>
              <a:gd name="connsiteY802" fmla="*/ 6059841 h 6858000"/>
              <a:gd name="connsiteX803" fmla="*/ 6987626 w 12192000"/>
              <a:gd name="connsiteY803" fmla="*/ 6049268 h 6858000"/>
              <a:gd name="connsiteX804" fmla="*/ 6984121 w 12192000"/>
              <a:gd name="connsiteY804" fmla="*/ 6038696 h 6858000"/>
              <a:gd name="connsiteX805" fmla="*/ 6984121 w 12192000"/>
              <a:gd name="connsiteY805" fmla="*/ 6035172 h 6858000"/>
              <a:gd name="connsiteX806" fmla="*/ 6935039 w 12192000"/>
              <a:gd name="connsiteY806" fmla="*/ 6021074 h 6858000"/>
              <a:gd name="connsiteX807" fmla="*/ 6931533 w 12192000"/>
              <a:gd name="connsiteY807" fmla="*/ 5999930 h 6858000"/>
              <a:gd name="connsiteX808" fmla="*/ 6977109 w 12192000"/>
              <a:gd name="connsiteY808" fmla="*/ 5975261 h 6858000"/>
              <a:gd name="connsiteX809" fmla="*/ 6977109 w 12192000"/>
              <a:gd name="connsiteY809" fmla="*/ 5971736 h 6858000"/>
              <a:gd name="connsiteX810" fmla="*/ 6970097 w 12192000"/>
              <a:gd name="connsiteY810" fmla="*/ 5950591 h 6858000"/>
              <a:gd name="connsiteX811" fmla="*/ 6917510 w 12192000"/>
              <a:gd name="connsiteY811" fmla="*/ 5950591 h 6858000"/>
              <a:gd name="connsiteX812" fmla="*/ 6910499 w 12192000"/>
              <a:gd name="connsiteY812" fmla="*/ 5929447 h 6858000"/>
              <a:gd name="connsiteX813" fmla="*/ 6945557 w 12192000"/>
              <a:gd name="connsiteY813" fmla="*/ 5890680 h 6858000"/>
              <a:gd name="connsiteX814" fmla="*/ 6935039 w 12192000"/>
              <a:gd name="connsiteY814" fmla="*/ 5873059 h 6858000"/>
              <a:gd name="connsiteX815" fmla="*/ 6935039 w 12192000"/>
              <a:gd name="connsiteY815" fmla="*/ 5869535 h 6858000"/>
              <a:gd name="connsiteX816" fmla="*/ 6882452 w 12192000"/>
              <a:gd name="connsiteY816" fmla="*/ 5883632 h 6858000"/>
              <a:gd name="connsiteX817" fmla="*/ 6868429 w 12192000"/>
              <a:gd name="connsiteY817" fmla="*/ 5866011 h 6858000"/>
              <a:gd name="connsiteX818" fmla="*/ 6896475 w 12192000"/>
              <a:gd name="connsiteY818" fmla="*/ 5820196 h 6858000"/>
              <a:gd name="connsiteX819" fmla="*/ 6878946 w 12192000"/>
              <a:gd name="connsiteY819" fmla="*/ 5802576 h 6858000"/>
              <a:gd name="connsiteX820" fmla="*/ 6833370 w 12192000"/>
              <a:gd name="connsiteY820" fmla="*/ 5830770 h 6858000"/>
              <a:gd name="connsiteX821" fmla="*/ 6815841 w 12192000"/>
              <a:gd name="connsiteY821" fmla="*/ 5816672 h 6858000"/>
              <a:gd name="connsiteX822" fmla="*/ 6829865 w 12192000"/>
              <a:gd name="connsiteY822" fmla="*/ 5763810 h 6858000"/>
              <a:gd name="connsiteX823" fmla="*/ 6808830 w 12192000"/>
              <a:gd name="connsiteY823" fmla="*/ 5753237 h 6858000"/>
              <a:gd name="connsiteX824" fmla="*/ 6770266 w 12192000"/>
              <a:gd name="connsiteY824" fmla="*/ 5788479 h 6858000"/>
              <a:gd name="connsiteX825" fmla="*/ 6749231 w 12192000"/>
              <a:gd name="connsiteY825" fmla="*/ 5781431 h 6858000"/>
              <a:gd name="connsiteX826" fmla="*/ 6752736 w 12192000"/>
              <a:gd name="connsiteY826" fmla="*/ 5753237 h 6858000"/>
              <a:gd name="connsiteX827" fmla="*/ 6749231 w 12192000"/>
              <a:gd name="connsiteY827" fmla="*/ 5728568 h 6858000"/>
              <a:gd name="connsiteX828" fmla="*/ 6749231 w 12192000"/>
              <a:gd name="connsiteY828" fmla="*/ 5725044 h 6858000"/>
              <a:gd name="connsiteX829" fmla="*/ 6728196 w 12192000"/>
              <a:gd name="connsiteY829" fmla="*/ 5721520 h 6858000"/>
              <a:gd name="connsiteX830" fmla="*/ 6724690 w 12192000"/>
              <a:gd name="connsiteY830" fmla="*/ 5721520 h 6858000"/>
              <a:gd name="connsiteX831" fmla="*/ 6700150 w 12192000"/>
              <a:gd name="connsiteY831" fmla="*/ 5767334 h 6858000"/>
              <a:gd name="connsiteX832" fmla="*/ 6675609 w 12192000"/>
              <a:gd name="connsiteY832" fmla="*/ 5763810 h 6858000"/>
              <a:gd name="connsiteX833" fmla="*/ 6661585 w 12192000"/>
              <a:gd name="connsiteY833" fmla="*/ 5710947 h 6858000"/>
              <a:gd name="connsiteX834" fmla="*/ 6640551 w 12192000"/>
              <a:gd name="connsiteY834" fmla="*/ 5710947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6948486" y="6345467"/>
                </a:moveTo>
                <a:lnTo>
                  <a:pt x="6954599" y="6345467"/>
                </a:lnTo>
                <a:cubicBezTo>
                  <a:pt x="6957225" y="6345467"/>
                  <a:pt x="6959024" y="6345659"/>
                  <a:pt x="6959994" y="6346042"/>
                </a:cubicBezTo>
                <a:cubicBezTo>
                  <a:pt x="6960965" y="6346425"/>
                  <a:pt x="6961724" y="6347006"/>
                  <a:pt x="6962272" y="6347785"/>
                </a:cubicBezTo>
                <a:cubicBezTo>
                  <a:pt x="6962819" y="6348565"/>
                  <a:pt x="6963092" y="6349448"/>
                  <a:pt x="6963092" y="6350432"/>
                </a:cubicBezTo>
                <a:cubicBezTo>
                  <a:pt x="6963092" y="6351964"/>
                  <a:pt x="6962524" y="6353194"/>
                  <a:pt x="6961389" y="6354124"/>
                </a:cubicBezTo>
                <a:cubicBezTo>
                  <a:pt x="6960254" y="6355055"/>
                  <a:pt x="6958127" y="6355519"/>
                  <a:pt x="6955010" y="6355519"/>
                </a:cubicBezTo>
                <a:lnTo>
                  <a:pt x="6948486" y="6355519"/>
                </a:lnTo>
                <a:close/>
                <a:moveTo>
                  <a:pt x="6943111" y="6340955"/>
                </a:moveTo>
                <a:lnTo>
                  <a:pt x="6943111" y="6374269"/>
                </a:lnTo>
                <a:lnTo>
                  <a:pt x="6948486" y="6374269"/>
                </a:lnTo>
                <a:lnTo>
                  <a:pt x="6948486" y="6360115"/>
                </a:lnTo>
                <a:lnTo>
                  <a:pt x="6951645" y="6360115"/>
                </a:lnTo>
                <a:cubicBezTo>
                  <a:pt x="6953533" y="6360115"/>
                  <a:pt x="6954969" y="6360497"/>
                  <a:pt x="6955953" y="6361263"/>
                </a:cubicBezTo>
                <a:cubicBezTo>
                  <a:pt x="6957375" y="6362302"/>
                  <a:pt x="6959249" y="6364887"/>
                  <a:pt x="6961574" y="6369017"/>
                </a:cubicBezTo>
                <a:lnTo>
                  <a:pt x="6964528" y="6374269"/>
                </a:lnTo>
                <a:lnTo>
                  <a:pt x="6971092" y="6374269"/>
                </a:lnTo>
                <a:lnTo>
                  <a:pt x="6967031" y="6367745"/>
                </a:lnTo>
                <a:cubicBezTo>
                  <a:pt x="6965088" y="6364654"/>
                  <a:pt x="6963447" y="6362453"/>
                  <a:pt x="6962108" y="6361140"/>
                </a:cubicBezTo>
                <a:cubicBezTo>
                  <a:pt x="6961396" y="6360457"/>
                  <a:pt x="6960452" y="6359868"/>
                  <a:pt x="6959277" y="6359376"/>
                </a:cubicBezTo>
                <a:cubicBezTo>
                  <a:pt x="6962148" y="6359157"/>
                  <a:pt x="6964453" y="6358145"/>
                  <a:pt x="6966190" y="6356340"/>
                </a:cubicBezTo>
                <a:cubicBezTo>
                  <a:pt x="6967926" y="6354535"/>
                  <a:pt x="6968795" y="6352415"/>
                  <a:pt x="6968795" y="6349981"/>
                </a:cubicBezTo>
                <a:cubicBezTo>
                  <a:pt x="6968795" y="6348258"/>
                  <a:pt x="6968275" y="6346630"/>
                  <a:pt x="6967236" y="6345098"/>
                </a:cubicBezTo>
                <a:cubicBezTo>
                  <a:pt x="6966196" y="6343566"/>
                  <a:pt x="6964802" y="6342493"/>
                  <a:pt x="6963051" y="6341878"/>
                </a:cubicBezTo>
                <a:cubicBezTo>
                  <a:pt x="6961300" y="6341262"/>
                  <a:pt x="6958469" y="6340955"/>
                  <a:pt x="6954558" y="6340955"/>
                </a:cubicBezTo>
                <a:close/>
                <a:moveTo>
                  <a:pt x="5903900" y="6338384"/>
                </a:moveTo>
                <a:cubicBezTo>
                  <a:pt x="5903900" y="6338384"/>
                  <a:pt x="5903900" y="6338384"/>
                  <a:pt x="5907414" y="6338384"/>
                </a:cubicBezTo>
                <a:lnTo>
                  <a:pt x="5907414" y="6341925"/>
                </a:lnTo>
                <a:cubicBezTo>
                  <a:pt x="5907414" y="6352552"/>
                  <a:pt x="5907414" y="6377347"/>
                  <a:pt x="5879303" y="6377347"/>
                </a:cubicBezTo>
                <a:cubicBezTo>
                  <a:pt x="5868761" y="6377347"/>
                  <a:pt x="5861734" y="6373805"/>
                  <a:pt x="5861734" y="6359637"/>
                </a:cubicBezTo>
                <a:cubicBezTo>
                  <a:pt x="5861734" y="6338384"/>
                  <a:pt x="5886331" y="6338384"/>
                  <a:pt x="5903900" y="6338384"/>
                </a:cubicBezTo>
                <a:close/>
                <a:moveTo>
                  <a:pt x="6956692" y="6331313"/>
                </a:moveTo>
                <a:cubicBezTo>
                  <a:pt x="6961013" y="6331313"/>
                  <a:pt x="6965239" y="6332428"/>
                  <a:pt x="6969369" y="6334657"/>
                </a:cubicBezTo>
                <a:cubicBezTo>
                  <a:pt x="6973499" y="6336886"/>
                  <a:pt x="6976720" y="6340073"/>
                  <a:pt x="6979032" y="6344216"/>
                </a:cubicBezTo>
                <a:cubicBezTo>
                  <a:pt x="6981342" y="6348360"/>
                  <a:pt x="6982498" y="6352675"/>
                  <a:pt x="6982498" y="6357160"/>
                </a:cubicBezTo>
                <a:cubicBezTo>
                  <a:pt x="6982498" y="6361619"/>
                  <a:pt x="6981363" y="6365893"/>
                  <a:pt x="6979093" y="6369981"/>
                </a:cubicBezTo>
                <a:cubicBezTo>
                  <a:pt x="6976823" y="6374071"/>
                  <a:pt x="6973636" y="6377257"/>
                  <a:pt x="6969533" y="6379541"/>
                </a:cubicBezTo>
                <a:cubicBezTo>
                  <a:pt x="6965430" y="6381825"/>
                  <a:pt x="6961151" y="6382967"/>
                  <a:pt x="6956692" y="6382967"/>
                </a:cubicBezTo>
                <a:cubicBezTo>
                  <a:pt x="6952234" y="6382967"/>
                  <a:pt x="6947953" y="6381825"/>
                  <a:pt x="6943850" y="6379541"/>
                </a:cubicBezTo>
                <a:cubicBezTo>
                  <a:pt x="6939748" y="6377257"/>
                  <a:pt x="6936554" y="6374071"/>
                  <a:pt x="6934270" y="6369981"/>
                </a:cubicBezTo>
                <a:cubicBezTo>
                  <a:pt x="6931986" y="6365893"/>
                  <a:pt x="6930844" y="6361619"/>
                  <a:pt x="6930844" y="6357160"/>
                </a:cubicBezTo>
                <a:cubicBezTo>
                  <a:pt x="6930844" y="6352675"/>
                  <a:pt x="6932006" y="6348360"/>
                  <a:pt x="6934332" y="6344216"/>
                </a:cubicBezTo>
                <a:cubicBezTo>
                  <a:pt x="6936657" y="6340073"/>
                  <a:pt x="6939877" y="6336886"/>
                  <a:pt x="6943994" y="6334657"/>
                </a:cubicBezTo>
                <a:cubicBezTo>
                  <a:pt x="6948110" y="6332428"/>
                  <a:pt x="6952343" y="6331313"/>
                  <a:pt x="6956692" y="6331313"/>
                </a:cubicBezTo>
                <a:close/>
                <a:moveTo>
                  <a:pt x="6956692" y="6326185"/>
                </a:moveTo>
                <a:cubicBezTo>
                  <a:pt x="6951495" y="6326185"/>
                  <a:pt x="6946421" y="6327518"/>
                  <a:pt x="6941471" y="6330185"/>
                </a:cubicBezTo>
                <a:cubicBezTo>
                  <a:pt x="6936520" y="6332851"/>
                  <a:pt x="6932656" y="6336667"/>
                  <a:pt x="6929880" y="6341632"/>
                </a:cubicBezTo>
                <a:cubicBezTo>
                  <a:pt x="6927104" y="6346595"/>
                  <a:pt x="6925716" y="6351772"/>
                  <a:pt x="6925716" y="6357160"/>
                </a:cubicBezTo>
                <a:cubicBezTo>
                  <a:pt x="6925716" y="6362494"/>
                  <a:pt x="6927083" y="6367623"/>
                  <a:pt x="6929819" y="6372546"/>
                </a:cubicBezTo>
                <a:cubicBezTo>
                  <a:pt x="6932554" y="6377469"/>
                  <a:pt x="6936376" y="6381292"/>
                  <a:pt x="6941286" y="6384013"/>
                </a:cubicBezTo>
                <a:cubicBezTo>
                  <a:pt x="6946196" y="6386734"/>
                  <a:pt x="6951331" y="6388095"/>
                  <a:pt x="6956692" y="6388095"/>
                </a:cubicBezTo>
                <a:cubicBezTo>
                  <a:pt x="6962053" y="6388095"/>
                  <a:pt x="6967187" y="6386734"/>
                  <a:pt x="6972098" y="6384013"/>
                </a:cubicBezTo>
                <a:cubicBezTo>
                  <a:pt x="6977007" y="6381292"/>
                  <a:pt x="6980823" y="6377469"/>
                  <a:pt x="6983544" y="6372546"/>
                </a:cubicBezTo>
                <a:cubicBezTo>
                  <a:pt x="6986265" y="6367623"/>
                  <a:pt x="6987626" y="6362494"/>
                  <a:pt x="6987626" y="6357160"/>
                </a:cubicBezTo>
                <a:cubicBezTo>
                  <a:pt x="6987626" y="6351772"/>
                  <a:pt x="6986245" y="6346595"/>
                  <a:pt x="6983483" y="6341632"/>
                </a:cubicBezTo>
                <a:cubicBezTo>
                  <a:pt x="6980720" y="6336667"/>
                  <a:pt x="6976863" y="6332851"/>
                  <a:pt x="6971912" y="6330185"/>
                </a:cubicBezTo>
                <a:cubicBezTo>
                  <a:pt x="6966962" y="6327518"/>
                  <a:pt x="6961889" y="6326185"/>
                  <a:pt x="6956692" y="6326185"/>
                </a:cubicBezTo>
                <a:close/>
                <a:moveTo>
                  <a:pt x="6093496" y="6296733"/>
                </a:moveTo>
                <a:cubicBezTo>
                  <a:pt x="6110934" y="6296733"/>
                  <a:pt x="6125070" y="6314779"/>
                  <a:pt x="6125070" y="6337040"/>
                </a:cubicBezTo>
                <a:cubicBezTo>
                  <a:pt x="6125070" y="6359301"/>
                  <a:pt x="6110934" y="6377346"/>
                  <a:pt x="6093496" y="6377346"/>
                </a:cubicBezTo>
                <a:cubicBezTo>
                  <a:pt x="6076059" y="6377346"/>
                  <a:pt x="6061922" y="6359301"/>
                  <a:pt x="6061922" y="6337040"/>
                </a:cubicBezTo>
                <a:cubicBezTo>
                  <a:pt x="6061922" y="6314779"/>
                  <a:pt x="6076059" y="6296733"/>
                  <a:pt x="6093496" y="6296733"/>
                </a:cubicBezTo>
                <a:close/>
                <a:moveTo>
                  <a:pt x="5783809" y="6296733"/>
                </a:moveTo>
                <a:cubicBezTo>
                  <a:pt x="5799391" y="6296733"/>
                  <a:pt x="5812024" y="6314779"/>
                  <a:pt x="5812024" y="6337040"/>
                </a:cubicBezTo>
                <a:cubicBezTo>
                  <a:pt x="5812024" y="6359301"/>
                  <a:pt x="5799391" y="6377346"/>
                  <a:pt x="5783809" y="6377346"/>
                </a:cubicBezTo>
                <a:cubicBezTo>
                  <a:pt x="5768226" y="6377346"/>
                  <a:pt x="5755594" y="6359301"/>
                  <a:pt x="5755594" y="6337040"/>
                </a:cubicBezTo>
                <a:cubicBezTo>
                  <a:pt x="5755594" y="6314779"/>
                  <a:pt x="5768226" y="6296733"/>
                  <a:pt x="5783809" y="6296733"/>
                </a:cubicBezTo>
                <a:close/>
                <a:moveTo>
                  <a:pt x="5471433" y="6296733"/>
                </a:moveTo>
                <a:cubicBezTo>
                  <a:pt x="5488871" y="6296733"/>
                  <a:pt x="5503007" y="6314779"/>
                  <a:pt x="5503007" y="6337040"/>
                </a:cubicBezTo>
                <a:cubicBezTo>
                  <a:pt x="5503007" y="6359301"/>
                  <a:pt x="5488871" y="6377346"/>
                  <a:pt x="5471433" y="6377346"/>
                </a:cubicBezTo>
                <a:cubicBezTo>
                  <a:pt x="5453996" y="6377346"/>
                  <a:pt x="5439860" y="6359301"/>
                  <a:pt x="5439860" y="6337040"/>
                </a:cubicBezTo>
                <a:cubicBezTo>
                  <a:pt x="5439860" y="6314779"/>
                  <a:pt x="5453996" y="6296733"/>
                  <a:pt x="5471433" y="6296733"/>
                </a:cubicBezTo>
                <a:close/>
                <a:moveTo>
                  <a:pt x="6016373" y="6291486"/>
                </a:moveTo>
                <a:lnTo>
                  <a:pt x="6016373" y="6387446"/>
                </a:lnTo>
                <a:lnTo>
                  <a:pt x="6028662" y="6387446"/>
                </a:lnTo>
                <a:lnTo>
                  <a:pt x="6028662" y="6291486"/>
                </a:lnTo>
                <a:close/>
                <a:moveTo>
                  <a:pt x="6160001" y="6290016"/>
                </a:moveTo>
                <a:cubicBezTo>
                  <a:pt x="6160001" y="6296982"/>
                  <a:pt x="6160001" y="6307432"/>
                  <a:pt x="6160001" y="6314399"/>
                </a:cubicBezTo>
                <a:lnTo>
                  <a:pt x="6160001" y="6384064"/>
                </a:lnTo>
                <a:cubicBezTo>
                  <a:pt x="6160001" y="6384064"/>
                  <a:pt x="6160001" y="6384064"/>
                  <a:pt x="6173820" y="6384064"/>
                </a:cubicBezTo>
                <a:cubicBezTo>
                  <a:pt x="6173820" y="6384064"/>
                  <a:pt x="6173820" y="6384064"/>
                  <a:pt x="6173820" y="6331815"/>
                </a:cubicBezTo>
                <a:cubicBezTo>
                  <a:pt x="6173820" y="6317882"/>
                  <a:pt x="6180730" y="6296982"/>
                  <a:pt x="6201459" y="6296982"/>
                </a:cubicBezTo>
                <a:cubicBezTo>
                  <a:pt x="6215278" y="6296982"/>
                  <a:pt x="6222188" y="6310915"/>
                  <a:pt x="6222188" y="6328332"/>
                </a:cubicBezTo>
                <a:cubicBezTo>
                  <a:pt x="6222188" y="6328332"/>
                  <a:pt x="6222188" y="6328332"/>
                  <a:pt x="6222188" y="6384064"/>
                </a:cubicBezTo>
                <a:cubicBezTo>
                  <a:pt x="6222188" y="6384064"/>
                  <a:pt x="6222188" y="6384064"/>
                  <a:pt x="6232552" y="6384064"/>
                </a:cubicBezTo>
                <a:cubicBezTo>
                  <a:pt x="6232552" y="6384064"/>
                  <a:pt x="6232552" y="6384064"/>
                  <a:pt x="6232552" y="6324848"/>
                </a:cubicBezTo>
                <a:cubicBezTo>
                  <a:pt x="6232552" y="6303949"/>
                  <a:pt x="6225643" y="6290016"/>
                  <a:pt x="6201459" y="6290016"/>
                </a:cubicBezTo>
                <a:cubicBezTo>
                  <a:pt x="6184184" y="6290016"/>
                  <a:pt x="6177275" y="6300465"/>
                  <a:pt x="6170366" y="6307432"/>
                </a:cubicBezTo>
                <a:cubicBezTo>
                  <a:pt x="6170366" y="6307432"/>
                  <a:pt x="6170366" y="6307432"/>
                  <a:pt x="6170366" y="6290016"/>
                </a:cubicBezTo>
                <a:cubicBezTo>
                  <a:pt x="6170366" y="6290016"/>
                  <a:pt x="6170366" y="6290016"/>
                  <a:pt x="6160001" y="6290016"/>
                </a:cubicBezTo>
                <a:close/>
                <a:moveTo>
                  <a:pt x="6090808" y="6290016"/>
                </a:moveTo>
                <a:cubicBezTo>
                  <a:pt x="6066692" y="6290016"/>
                  <a:pt x="6047143" y="6311971"/>
                  <a:pt x="6047143" y="6339056"/>
                </a:cubicBezTo>
                <a:cubicBezTo>
                  <a:pt x="6047143" y="6366140"/>
                  <a:pt x="6066692" y="6388095"/>
                  <a:pt x="6090808" y="6388095"/>
                </a:cubicBezTo>
                <a:cubicBezTo>
                  <a:pt x="6114924" y="6388095"/>
                  <a:pt x="6134474" y="6366140"/>
                  <a:pt x="6134474" y="6339056"/>
                </a:cubicBezTo>
                <a:cubicBezTo>
                  <a:pt x="6134474" y="6311971"/>
                  <a:pt x="6114924" y="6290016"/>
                  <a:pt x="6090808" y="6290016"/>
                </a:cubicBezTo>
                <a:close/>
                <a:moveTo>
                  <a:pt x="5885663" y="6290016"/>
                </a:moveTo>
                <a:cubicBezTo>
                  <a:pt x="5878625" y="6290016"/>
                  <a:pt x="5864549" y="6290016"/>
                  <a:pt x="5857511" y="6293519"/>
                </a:cubicBezTo>
                <a:cubicBezTo>
                  <a:pt x="5857511" y="6293519"/>
                  <a:pt x="5857511" y="6293519"/>
                  <a:pt x="5857511" y="6307530"/>
                </a:cubicBezTo>
                <a:cubicBezTo>
                  <a:pt x="5868068" y="6300525"/>
                  <a:pt x="5875106" y="6297022"/>
                  <a:pt x="5885663" y="6297022"/>
                </a:cubicBezTo>
                <a:cubicBezTo>
                  <a:pt x="5903256" y="6297022"/>
                  <a:pt x="5906775" y="6307530"/>
                  <a:pt x="5906775" y="6321542"/>
                </a:cubicBezTo>
                <a:cubicBezTo>
                  <a:pt x="5906775" y="6321542"/>
                  <a:pt x="5906775" y="6321542"/>
                  <a:pt x="5906775" y="6328547"/>
                </a:cubicBezTo>
                <a:cubicBezTo>
                  <a:pt x="5882144" y="6328547"/>
                  <a:pt x="5846955" y="6328547"/>
                  <a:pt x="5846955" y="6360072"/>
                </a:cubicBezTo>
                <a:cubicBezTo>
                  <a:pt x="5846955" y="6370581"/>
                  <a:pt x="5850474" y="6388095"/>
                  <a:pt x="5878625" y="6388095"/>
                </a:cubicBezTo>
                <a:cubicBezTo>
                  <a:pt x="5889181" y="6388095"/>
                  <a:pt x="5903256" y="6381089"/>
                  <a:pt x="5906775" y="6370581"/>
                </a:cubicBezTo>
                <a:cubicBezTo>
                  <a:pt x="5906775" y="6370581"/>
                  <a:pt x="5906775" y="6370581"/>
                  <a:pt x="5910294" y="6370581"/>
                </a:cubicBezTo>
                <a:lnTo>
                  <a:pt x="5910294" y="6384592"/>
                </a:lnTo>
                <a:cubicBezTo>
                  <a:pt x="5910294" y="6384592"/>
                  <a:pt x="5910294" y="6384592"/>
                  <a:pt x="5920851" y="6384592"/>
                </a:cubicBezTo>
                <a:cubicBezTo>
                  <a:pt x="5920851" y="6381089"/>
                  <a:pt x="5920851" y="6374084"/>
                  <a:pt x="5920851" y="6367078"/>
                </a:cubicBezTo>
                <a:cubicBezTo>
                  <a:pt x="5920851" y="6367078"/>
                  <a:pt x="5920851" y="6367078"/>
                  <a:pt x="5920851" y="6325045"/>
                </a:cubicBezTo>
                <a:cubicBezTo>
                  <a:pt x="5920851" y="6300525"/>
                  <a:pt x="5910294" y="6290016"/>
                  <a:pt x="5885663" y="6290016"/>
                </a:cubicBezTo>
                <a:close/>
                <a:moveTo>
                  <a:pt x="5644079" y="6290016"/>
                </a:moveTo>
                <a:cubicBezTo>
                  <a:pt x="5644079" y="6296982"/>
                  <a:pt x="5644079" y="6307432"/>
                  <a:pt x="5644079" y="6314399"/>
                </a:cubicBezTo>
                <a:lnTo>
                  <a:pt x="5644079" y="6384064"/>
                </a:lnTo>
                <a:cubicBezTo>
                  <a:pt x="5644079" y="6384064"/>
                  <a:pt x="5644079" y="6384064"/>
                  <a:pt x="5658155" y="6384064"/>
                </a:cubicBezTo>
                <a:cubicBezTo>
                  <a:pt x="5658155" y="6384064"/>
                  <a:pt x="5658155" y="6384064"/>
                  <a:pt x="5658155" y="6331815"/>
                </a:cubicBezTo>
                <a:cubicBezTo>
                  <a:pt x="5658155" y="6317882"/>
                  <a:pt x="5665192" y="6296982"/>
                  <a:pt x="5686305" y="6296982"/>
                </a:cubicBezTo>
                <a:cubicBezTo>
                  <a:pt x="5700381" y="6296982"/>
                  <a:pt x="5707418" y="6310915"/>
                  <a:pt x="5707418" y="6328332"/>
                </a:cubicBezTo>
                <a:cubicBezTo>
                  <a:pt x="5707418" y="6328332"/>
                  <a:pt x="5707418" y="6328332"/>
                  <a:pt x="5707418" y="6384064"/>
                </a:cubicBezTo>
                <a:cubicBezTo>
                  <a:pt x="5707418" y="6384064"/>
                  <a:pt x="5707418" y="6384064"/>
                  <a:pt x="5717975" y="6384064"/>
                </a:cubicBezTo>
                <a:cubicBezTo>
                  <a:pt x="5717975" y="6384064"/>
                  <a:pt x="5717975" y="6384064"/>
                  <a:pt x="5717975" y="6324848"/>
                </a:cubicBezTo>
                <a:cubicBezTo>
                  <a:pt x="5717975" y="6303949"/>
                  <a:pt x="5710937" y="6290016"/>
                  <a:pt x="5686305" y="6290016"/>
                </a:cubicBezTo>
                <a:cubicBezTo>
                  <a:pt x="5668711" y="6290016"/>
                  <a:pt x="5661674" y="6300465"/>
                  <a:pt x="5654636" y="6307432"/>
                </a:cubicBezTo>
                <a:cubicBezTo>
                  <a:pt x="5654636" y="6307432"/>
                  <a:pt x="5654636" y="6307432"/>
                  <a:pt x="5654636" y="6290016"/>
                </a:cubicBezTo>
                <a:cubicBezTo>
                  <a:pt x="5654636" y="6290016"/>
                  <a:pt x="5654636" y="6290016"/>
                  <a:pt x="5644079" y="6290016"/>
                </a:cubicBezTo>
                <a:close/>
                <a:moveTo>
                  <a:pt x="5541970" y="6290016"/>
                </a:moveTo>
                <a:cubicBezTo>
                  <a:pt x="5541970" y="6290016"/>
                  <a:pt x="5541970" y="6290016"/>
                  <a:pt x="5541970" y="6353066"/>
                </a:cubicBezTo>
                <a:cubicBezTo>
                  <a:pt x="5541970" y="6374084"/>
                  <a:pt x="5549007" y="6388095"/>
                  <a:pt x="5573640" y="6388095"/>
                </a:cubicBezTo>
                <a:cubicBezTo>
                  <a:pt x="5591234" y="6388095"/>
                  <a:pt x="5598271" y="6377586"/>
                  <a:pt x="5605309" y="6370581"/>
                </a:cubicBezTo>
                <a:cubicBezTo>
                  <a:pt x="5605309" y="6370581"/>
                  <a:pt x="5605309" y="6370581"/>
                  <a:pt x="5605309" y="6384592"/>
                </a:cubicBezTo>
                <a:cubicBezTo>
                  <a:pt x="5605309" y="6384592"/>
                  <a:pt x="5605309" y="6384592"/>
                  <a:pt x="5615865" y="6384592"/>
                </a:cubicBezTo>
                <a:cubicBezTo>
                  <a:pt x="5615865" y="6377586"/>
                  <a:pt x="5615865" y="6370581"/>
                  <a:pt x="5615865" y="6363575"/>
                </a:cubicBezTo>
                <a:lnTo>
                  <a:pt x="5615865" y="6290016"/>
                </a:lnTo>
                <a:cubicBezTo>
                  <a:pt x="5615865" y="6290016"/>
                  <a:pt x="5615865" y="6290016"/>
                  <a:pt x="5601790" y="6290016"/>
                </a:cubicBezTo>
                <a:cubicBezTo>
                  <a:pt x="5601790" y="6290016"/>
                  <a:pt x="5601790" y="6290016"/>
                  <a:pt x="5601790" y="6342558"/>
                </a:cubicBezTo>
                <a:cubicBezTo>
                  <a:pt x="5601790" y="6360072"/>
                  <a:pt x="5594752" y="6377586"/>
                  <a:pt x="5573640" y="6377586"/>
                </a:cubicBezTo>
                <a:cubicBezTo>
                  <a:pt x="5559564" y="6377586"/>
                  <a:pt x="5552527" y="6367078"/>
                  <a:pt x="5552527" y="6349564"/>
                </a:cubicBezTo>
                <a:cubicBezTo>
                  <a:pt x="5552527" y="6349564"/>
                  <a:pt x="5552527" y="6349564"/>
                  <a:pt x="5552527" y="6290016"/>
                </a:cubicBezTo>
                <a:cubicBezTo>
                  <a:pt x="5552527" y="6290016"/>
                  <a:pt x="5552527" y="6290016"/>
                  <a:pt x="5541970" y="6290016"/>
                </a:cubicBezTo>
                <a:close/>
                <a:moveTo>
                  <a:pt x="5473449" y="6290016"/>
                </a:moveTo>
                <a:cubicBezTo>
                  <a:pt x="5448962" y="6290016"/>
                  <a:pt x="5429111" y="6311971"/>
                  <a:pt x="5429111" y="6339056"/>
                </a:cubicBezTo>
                <a:cubicBezTo>
                  <a:pt x="5429111" y="6366140"/>
                  <a:pt x="5448962" y="6388095"/>
                  <a:pt x="5473449" y="6388095"/>
                </a:cubicBezTo>
                <a:cubicBezTo>
                  <a:pt x="5497935" y="6388095"/>
                  <a:pt x="5517786" y="6366140"/>
                  <a:pt x="5517786" y="6339056"/>
                </a:cubicBezTo>
                <a:cubicBezTo>
                  <a:pt x="5517786" y="6311971"/>
                  <a:pt x="5497935" y="6290016"/>
                  <a:pt x="5473449" y="6290016"/>
                </a:cubicBezTo>
                <a:close/>
                <a:moveTo>
                  <a:pt x="6657114" y="6275237"/>
                </a:moveTo>
                <a:lnTo>
                  <a:pt x="6661144" y="6285986"/>
                </a:lnTo>
                <a:lnTo>
                  <a:pt x="6665175" y="6292704"/>
                </a:lnTo>
                <a:lnTo>
                  <a:pt x="6650396" y="6292704"/>
                </a:lnTo>
                <a:lnTo>
                  <a:pt x="6654427" y="6285986"/>
                </a:lnTo>
                <a:close/>
                <a:moveTo>
                  <a:pt x="6661257" y="6264489"/>
                </a:moveTo>
                <a:cubicBezTo>
                  <a:pt x="6661257" y="6264489"/>
                  <a:pt x="6661257" y="6264489"/>
                  <a:pt x="6650844" y="6268003"/>
                </a:cubicBezTo>
                <a:cubicBezTo>
                  <a:pt x="6650844" y="6268003"/>
                  <a:pt x="6650844" y="6268003"/>
                  <a:pt x="6647373" y="6285573"/>
                </a:cubicBezTo>
                <a:cubicBezTo>
                  <a:pt x="6647373" y="6285573"/>
                  <a:pt x="6647373" y="6285573"/>
                  <a:pt x="6636960" y="6306655"/>
                </a:cubicBezTo>
                <a:cubicBezTo>
                  <a:pt x="6640431" y="6306655"/>
                  <a:pt x="6643902" y="6306655"/>
                  <a:pt x="6647373" y="6310169"/>
                </a:cubicBezTo>
                <a:cubicBezTo>
                  <a:pt x="6647373" y="6310169"/>
                  <a:pt x="6647373" y="6310169"/>
                  <a:pt x="6647373" y="6299628"/>
                </a:cubicBezTo>
                <a:cubicBezTo>
                  <a:pt x="6647373" y="6299628"/>
                  <a:pt x="6647373" y="6299628"/>
                  <a:pt x="6668198" y="6299628"/>
                </a:cubicBezTo>
                <a:cubicBezTo>
                  <a:pt x="6668198" y="6299628"/>
                  <a:pt x="6668198" y="6299628"/>
                  <a:pt x="6668198" y="6306655"/>
                </a:cubicBezTo>
                <a:cubicBezTo>
                  <a:pt x="6671669" y="6306655"/>
                  <a:pt x="6675140" y="6306655"/>
                  <a:pt x="6678611" y="6306655"/>
                </a:cubicBezTo>
                <a:cubicBezTo>
                  <a:pt x="6678611" y="6306655"/>
                  <a:pt x="6678611" y="6306655"/>
                  <a:pt x="6668198" y="6285573"/>
                </a:cubicBezTo>
                <a:lnTo>
                  <a:pt x="6661257" y="6268003"/>
                </a:lnTo>
                <a:cubicBezTo>
                  <a:pt x="6661257" y="6268003"/>
                  <a:pt x="6661257" y="6268003"/>
                  <a:pt x="6661257" y="6264489"/>
                </a:cubicBezTo>
                <a:close/>
                <a:moveTo>
                  <a:pt x="5966262" y="6264488"/>
                </a:moveTo>
                <a:cubicBezTo>
                  <a:pt x="5966262" y="6264488"/>
                  <a:pt x="5966262" y="6264488"/>
                  <a:pt x="5955783" y="6268020"/>
                </a:cubicBezTo>
                <a:cubicBezTo>
                  <a:pt x="5955783" y="6268020"/>
                  <a:pt x="5955783" y="6268020"/>
                  <a:pt x="5955783" y="6289209"/>
                </a:cubicBezTo>
                <a:cubicBezTo>
                  <a:pt x="5955783" y="6289209"/>
                  <a:pt x="5955783" y="6289209"/>
                  <a:pt x="5938316" y="6289209"/>
                </a:cubicBezTo>
                <a:cubicBezTo>
                  <a:pt x="5938316" y="6289209"/>
                  <a:pt x="5938316" y="6289209"/>
                  <a:pt x="5938316" y="6299804"/>
                </a:cubicBezTo>
                <a:cubicBezTo>
                  <a:pt x="5938316" y="6299804"/>
                  <a:pt x="5938316" y="6299804"/>
                  <a:pt x="5955783" y="6299804"/>
                </a:cubicBezTo>
                <a:cubicBezTo>
                  <a:pt x="5955783" y="6299804"/>
                  <a:pt x="5955783" y="6299804"/>
                  <a:pt x="5955783" y="6356310"/>
                </a:cubicBezTo>
                <a:cubicBezTo>
                  <a:pt x="5955783" y="6373968"/>
                  <a:pt x="5955783" y="6388094"/>
                  <a:pt x="5976742" y="6388094"/>
                </a:cubicBezTo>
                <a:cubicBezTo>
                  <a:pt x="5983728" y="6388094"/>
                  <a:pt x="5987221" y="6388094"/>
                  <a:pt x="5990715" y="6384563"/>
                </a:cubicBezTo>
                <a:cubicBezTo>
                  <a:pt x="5990715" y="6384563"/>
                  <a:pt x="5990715" y="6384563"/>
                  <a:pt x="5990715" y="6373968"/>
                </a:cubicBezTo>
                <a:cubicBezTo>
                  <a:pt x="5987221" y="6377499"/>
                  <a:pt x="5983728" y="6377499"/>
                  <a:pt x="5980235" y="6377499"/>
                </a:cubicBezTo>
                <a:cubicBezTo>
                  <a:pt x="5969755" y="6377499"/>
                  <a:pt x="5966262" y="6370437"/>
                  <a:pt x="5966262" y="6363373"/>
                </a:cubicBezTo>
                <a:cubicBezTo>
                  <a:pt x="5966262" y="6363373"/>
                  <a:pt x="5966262" y="6363373"/>
                  <a:pt x="5966262" y="6299804"/>
                </a:cubicBezTo>
                <a:cubicBezTo>
                  <a:pt x="5966262" y="6299804"/>
                  <a:pt x="5966262" y="6299804"/>
                  <a:pt x="5987221" y="6299804"/>
                </a:cubicBezTo>
                <a:lnTo>
                  <a:pt x="5987221" y="6289209"/>
                </a:lnTo>
                <a:cubicBezTo>
                  <a:pt x="5987221" y="6289209"/>
                  <a:pt x="5987221" y="6289209"/>
                  <a:pt x="5966262" y="6289209"/>
                </a:cubicBezTo>
                <a:cubicBezTo>
                  <a:pt x="5966262" y="6289209"/>
                  <a:pt x="5966262" y="6289209"/>
                  <a:pt x="5966262" y="6264488"/>
                </a:cubicBezTo>
                <a:close/>
                <a:moveTo>
                  <a:pt x="6601692" y="6261802"/>
                </a:moveTo>
                <a:cubicBezTo>
                  <a:pt x="6591280" y="6303968"/>
                  <a:pt x="6591280" y="6303968"/>
                  <a:pt x="6591280" y="6303968"/>
                </a:cubicBezTo>
                <a:cubicBezTo>
                  <a:pt x="6594751" y="6303968"/>
                  <a:pt x="6598221" y="6303968"/>
                  <a:pt x="6601692" y="6303968"/>
                </a:cubicBezTo>
                <a:cubicBezTo>
                  <a:pt x="6605163" y="6279372"/>
                  <a:pt x="6605163" y="6279372"/>
                  <a:pt x="6605163" y="6279372"/>
                </a:cubicBezTo>
                <a:cubicBezTo>
                  <a:pt x="6619047" y="6307482"/>
                  <a:pt x="6619047" y="6307482"/>
                  <a:pt x="6619047" y="6307482"/>
                </a:cubicBezTo>
                <a:cubicBezTo>
                  <a:pt x="6622518" y="6307482"/>
                  <a:pt x="6625989" y="6307482"/>
                  <a:pt x="6625989" y="6307482"/>
                </a:cubicBezTo>
                <a:cubicBezTo>
                  <a:pt x="6632930" y="6265316"/>
                  <a:pt x="6632930" y="6265316"/>
                  <a:pt x="6632930" y="6265316"/>
                </a:cubicBezTo>
                <a:cubicBezTo>
                  <a:pt x="6629459" y="6265316"/>
                  <a:pt x="6625989" y="6265316"/>
                  <a:pt x="6625989" y="6265316"/>
                </a:cubicBezTo>
                <a:cubicBezTo>
                  <a:pt x="6622518" y="6293427"/>
                  <a:pt x="6622518" y="6293427"/>
                  <a:pt x="6622518" y="6293427"/>
                </a:cubicBezTo>
                <a:cubicBezTo>
                  <a:pt x="6608635" y="6261802"/>
                  <a:pt x="6608635" y="6261802"/>
                  <a:pt x="6608635" y="6261802"/>
                </a:cubicBezTo>
                <a:cubicBezTo>
                  <a:pt x="6605163" y="6261802"/>
                  <a:pt x="6605163" y="6261802"/>
                  <a:pt x="6601692" y="6261802"/>
                </a:cubicBezTo>
                <a:close/>
                <a:moveTo>
                  <a:pt x="6710855" y="6257772"/>
                </a:moveTo>
                <a:cubicBezTo>
                  <a:pt x="6696882" y="6261323"/>
                  <a:pt x="6686403" y="6264873"/>
                  <a:pt x="6675923" y="6264873"/>
                </a:cubicBezTo>
                <a:cubicBezTo>
                  <a:pt x="6675923" y="6271975"/>
                  <a:pt x="6675923" y="6271975"/>
                  <a:pt x="6675923" y="6271975"/>
                </a:cubicBezTo>
                <a:cubicBezTo>
                  <a:pt x="6682909" y="6271975"/>
                  <a:pt x="6686403" y="6271975"/>
                  <a:pt x="6689896" y="6271975"/>
                </a:cubicBezTo>
                <a:cubicBezTo>
                  <a:pt x="6696882" y="6307483"/>
                  <a:pt x="6696882" y="6307483"/>
                  <a:pt x="6696882" y="6307483"/>
                </a:cubicBezTo>
                <a:cubicBezTo>
                  <a:pt x="6703869" y="6303932"/>
                  <a:pt x="6703869" y="6303932"/>
                  <a:pt x="6703869" y="6303932"/>
                </a:cubicBezTo>
                <a:cubicBezTo>
                  <a:pt x="6696882" y="6268424"/>
                  <a:pt x="6696882" y="6268424"/>
                  <a:pt x="6696882" y="6268424"/>
                </a:cubicBezTo>
                <a:cubicBezTo>
                  <a:pt x="6703869" y="6268424"/>
                  <a:pt x="6707362" y="6268424"/>
                  <a:pt x="6710855" y="6264873"/>
                </a:cubicBezTo>
                <a:close/>
                <a:moveTo>
                  <a:pt x="6566559" y="6257772"/>
                </a:moveTo>
                <a:cubicBezTo>
                  <a:pt x="6566559" y="6257772"/>
                  <a:pt x="6566559" y="6257772"/>
                  <a:pt x="6577039" y="6261131"/>
                </a:cubicBezTo>
                <a:cubicBezTo>
                  <a:pt x="6580532" y="6261131"/>
                  <a:pt x="6580532" y="6264490"/>
                  <a:pt x="6580532" y="6264490"/>
                </a:cubicBezTo>
                <a:cubicBezTo>
                  <a:pt x="6580532" y="6264490"/>
                  <a:pt x="6580532" y="6267848"/>
                  <a:pt x="6580532" y="6267848"/>
                </a:cubicBezTo>
                <a:cubicBezTo>
                  <a:pt x="6580532" y="6267848"/>
                  <a:pt x="6577039" y="6271207"/>
                  <a:pt x="6573545" y="6271207"/>
                </a:cubicBezTo>
                <a:cubicBezTo>
                  <a:pt x="6573545" y="6271207"/>
                  <a:pt x="6573545" y="6271207"/>
                  <a:pt x="6563065" y="6267848"/>
                </a:cubicBezTo>
                <a:cubicBezTo>
                  <a:pt x="6563065" y="6267848"/>
                  <a:pt x="6563065" y="6267848"/>
                  <a:pt x="6566559" y="6264490"/>
                </a:cubicBezTo>
                <a:cubicBezTo>
                  <a:pt x="6566559" y="6264490"/>
                  <a:pt x="6566559" y="6264490"/>
                  <a:pt x="6566559" y="6257772"/>
                </a:cubicBezTo>
                <a:close/>
                <a:moveTo>
                  <a:pt x="6016373" y="6255886"/>
                </a:moveTo>
                <a:lnTo>
                  <a:pt x="6016373" y="6269580"/>
                </a:lnTo>
                <a:lnTo>
                  <a:pt x="6028662" y="6269580"/>
                </a:lnTo>
                <a:lnTo>
                  <a:pt x="6028662" y="6255886"/>
                </a:lnTo>
                <a:close/>
                <a:moveTo>
                  <a:pt x="6717573" y="6253740"/>
                </a:moveTo>
                <a:cubicBezTo>
                  <a:pt x="6731393" y="6296734"/>
                  <a:pt x="6731393" y="6296734"/>
                  <a:pt x="6731393" y="6296734"/>
                </a:cubicBezTo>
                <a:cubicBezTo>
                  <a:pt x="6734848" y="6293151"/>
                  <a:pt x="6738302" y="6293151"/>
                  <a:pt x="6741757" y="6293151"/>
                </a:cubicBezTo>
                <a:cubicBezTo>
                  <a:pt x="6727938" y="6253740"/>
                  <a:pt x="6727938" y="6253740"/>
                  <a:pt x="6727938" y="6253740"/>
                </a:cubicBezTo>
                <a:cubicBezTo>
                  <a:pt x="6724483" y="6253740"/>
                  <a:pt x="6721028" y="6253740"/>
                  <a:pt x="6717573" y="6253740"/>
                </a:cubicBezTo>
                <a:close/>
                <a:moveTo>
                  <a:pt x="5348499" y="6253740"/>
                </a:moveTo>
                <a:lnTo>
                  <a:pt x="5348499" y="6384064"/>
                </a:lnTo>
                <a:lnTo>
                  <a:pt x="5363278" y="6384064"/>
                </a:lnTo>
                <a:lnTo>
                  <a:pt x="5363278" y="6324948"/>
                </a:lnTo>
                <a:lnTo>
                  <a:pt x="5408960" y="6324948"/>
                </a:lnTo>
                <a:lnTo>
                  <a:pt x="5408960" y="6314200"/>
                </a:lnTo>
                <a:lnTo>
                  <a:pt x="5363278" y="6314200"/>
                </a:lnTo>
                <a:lnTo>
                  <a:pt x="5363278" y="6264488"/>
                </a:lnTo>
                <a:lnTo>
                  <a:pt x="5411646" y="6264488"/>
                </a:lnTo>
                <a:lnTo>
                  <a:pt x="5411646" y="6253740"/>
                </a:lnTo>
                <a:close/>
                <a:moveTo>
                  <a:pt x="6562954" y="6247023"/>
                </a:moveTo>
                <a:cubicBezTo>
                  <a:pt x="6562954" y="6247023"/>
                  <a:pt x="6562954" y="6247023"/>
                  <a:pt x="6556012" y="6264490"/>
                </a:cubicBezTo>
                <a:cubicBezTo>
                  <a:pt x="6556012" y="6264490"/>
                  <a:pt x="6556012" y="6264490"/>
                  <a:pt x="6556012" y="6267982"/>
                </a:cubicBezTo>
                <a:cubicBezTo>
                  <a:pt x="6556012" y="6267982"/>
                  <a:pt x="6556012" y="6267982"/>
                  <a:pt x="6545599" y="6285449"/>
                </a:cubicBezTo>
                <a:cubicBezTo>
                  <a:pt x="6549070" y="6288942"/>
                  <a:pt x="6552541" y="6288942"/>
                  <a:pt x="6556012" y="6288942"/>
                </a:cubicBezTo>
                <a:cubicBezTo>
                  <a:pt x="6556012" y="6288942"/>
                  <a:pt x="6556012" y="6288942"/>
                  <a:pt x="6559483" y="6274969"/>
                </a:cubicBezTo>
                <a:cubicBezTo>
                  <a:pt x="6559483" y="6274969"/>
                  <a:pt x="6559483" y="6274969"/>
                  <a:pt x="6569896" y="6278463"/>
                </a:cubicBezTo>
                <a:cubicBezTo>
                  <a:pt x="6569896" y="6278463"/>
                  <a:pt x="6569896" y="6278463"/>
                  <a:pt x="6569896" y="6295928"/>
                </a:cubicBezTo>
                <a:cubicBezTo>
                  <a:pt x="6573367" y="6295928"/>
                  <a:pt x="6576837" y="6299422"/>
                  <a:pt x="6580308" y="6299422"/>
                </a:cubicBezTo>
                <a:cubicBezTo>
                  <a:pt x="6580308" y="6299422"/>
                  <a:pt x="6580308" y="6299422"/>
                  <a:pt x="6576837" y="6278463"/>
                </a:cubicBezTo>
                <a:cubicBezTo>
                  <a:pt x="6583779" y="6278463"/>
                  <a:pt x="6587250" y="6271476"/>
                  <a:pt x="6587250" y="6267982"/>
                </a:cubicBezTo>
                <a:cubicBezTo>
                  <a:pt x="6587250" y="6267982"/>
                  <a:pt x="6587250" y="6264490"/>
                  <a:pt x="6587250" y="6264490"/>
                </a:cubicBezTo>
                <a:cubicBezTo>
                  <a:pt x="6587250" y="6260996"/>
                  <a:pt x="6587250" y="6257503"/>
                  <a:pt x="6580308" y="6254010"/>
                </a:cubicBezTo>
                <a:cubicBezTo>
                  <a:pt x="6580308" y="6254010"/>
                  <a:pt x="6580308" y="6254010"/>
                  <a:pt x="6562954" y="6247023"/>
                </a:cubicBezTo>
                <a:close/>
                <a:moveTo>
                  <a:pt x="6768052" y="6244316"/>
                </a:moveTo>
                <a:cubicBezTo>
                  <a:pt x="6771507" y="6244757"/>
                  <a:pt x="6774962" y="6246520"/>
                  <a:pt x="6776689" y="6250047"/>
                </a:cubicBezTo>
                <a:cubicBezTo>
                  <a:pt x="6776689" y="6253574"/>
                  <a:pt x="6776689" y="6257100"/>
                  <a:pt x="6776689" y="6257100"/>
                </a:cubicBezTo>
                <a:cubicBezTo>
                  <a:pt x="6776689" y="6260627"/>
                  <a:pt x="6776689" y="6264155"/>
                  <a:pt x="6773234" y="6267681"/>
                </a:cubicBezTo>
                <a:cubicBezTo>
                  <a:pt x="6773234" y="6267681"/>
                  <a:pt x="6773234" y="6267681"/>
                  <a:pt x="6769780" y="6271208"/>
                </a:cubicBezTo>
                <a:cubicBezTo>
                  <a:pt x="6766325" y="6271208"/>
                  <a:pt x="6759415" y="6271208"/>
                  <a:pt x="6755960" y="6267681"/>
                </a:cubicBezTo>
                <a:cubicBezTo>
                  <a:pt x="6752505" y="6267681"/>
                  <a:pt x="6752505" y="6264155"/>
                  <a:pt x="6752505" y="6264155"/>
                </a:cubicBezTo>
                <a:cubicBezTo>
                  <a:pt x="6752505" y="6264155"/>
                  <a:pt x="6752505" y="6260627"/>
                  <a:pt x="6752505" y="6257100"/>
                </a:cubicBezTo>
                <a:cubicBezTo>
                  <a:pt x="6752505" y="6253574"/>
                  <a:pt x="6752505" y="6250047"/>
                  <a:pt x="6759415" y="6246520"/>
                </a:cubicBezTo>
                <a:cubicBezTo>
                  <a:pt x="6761143" y="6244757"/>
                  <a:pt x="6764598" y="6243875"/>
                  <a:pt x="6768052" y="6244316"/>
                </a:cubicBezTo>
                <a:close/>
                <a:moveTo>
                  <a:pt x="5812549" y="6242991"/>
                </a:moveTo>
                <a:cubicBezTo>
                  <a:pt x="5812549" y="6242991"/>
                  <a:pt x="5812549" y="6242991"/>
                  <a:pt x="5812549" y="6306695"/>
                </a:cubicBezTo>
                <a:cubicBezTo>
                  <a:pt x="5812549" y="6299617"/>
                  <a:pt x="5801859" y="6288999"/>
                  <a:pt x="5784042" y="6288999"/>
                </a:cubicBezTo>
                <a:cubicBezTo>
                  <a:pt x="5755536" y="6288999"/>
                  <a:pt x="5744846" y="6310234"/>
                  <a:pt x="5744846" y="6338547"/>
                </a:cubicBezTo>
                <a:cubicBezTo>
                  <a:pt x="5744846" y="6366860"/>
                  <a:pt x="5755536" y="6388094"/>
                  <a:pt x="5784042" y="6388094"/>
                </a:cubicBezTo>
                <a:cubicBezTo>
                  <a:pt x="5798295" y="6388094"/>
                  <a:pt x="5805422" y="6384555"/>
                  <a:pt x="5812549" y="6370398"/>
                </a:cubicBezTo>
                <a:cubicBezTo>
                  <a:pt x="5812549" y="6370398"/>
                  <a:pt x="5812549" y="6370398"/>
                  <a:pt x="5812549" y="6384555"/>
                </a:cubicBezTo>
                <a:cubicBezTo>
                  <a:pt x="5812549" y="6384555"/>
                  <a:pt x="5812549" y="6384555"/>
                  <a:pt x="5826802" y="6384555"/>
                </a:cubicBezTo>
                <a:lnTo>
                  <a:pt x="5826802" y="6242991"/>
                </a:lnTo>
                <a:cubicBezTo>
                  <a:pt x="5826802" y="6242991"/>
                  <a:pt x="5826802" y="6242991"/>
                  <a:pt x="5812549" y="6242991"/>
                </a:cubicBezTo>
                <a:close/>
                <a:moveTo>
                  <a:pt x="6769972" y="6237475"/>
                </a:moveTo>
                <a:cubicBezTo>
                  <a:pt x="6764149" y="6236180"/>
                  <a:pt x="6757880" y="6237043"/>
                  <a:pt x="6752505" y="6240498"/>
                </a:cubicBezTo>
                <a:cubicBezTo>
                  <a:pt x="6745339" y="6243953"/>
                  <a:pt x="6741757" y="6250863"/>
                  <a:pt x="6741757" y="6257772"/>
                </a:cubicBezTo>
                <a:cubicBezTo>
                  <a:pt x="6741757" y="6261227"/>
                  <a:pt x="6745339" y="6264682"/>
                  <a:pt x="6745339" y="6268137"/>
                </a:cubicBezTo>
                <a:cubicBezTo>
                  <a:pt x="6752505" y="6278502"/>
                  <a:pt x="6766836" y="6281956"/>
                  <a:pt x="6774002" y="6275047"/>
                </a:cubicBezTo>
                <a:cubicBezTo>
                  <a:pt x="6781168" y="6275047"/>
                  <a:pt x="6781168" y="6271592"/>
                  <a:pt x="6784750" y="6268137"/>
                </a:cubicBezTo>
                <a:cubicBezTo>
                  <a:pt x="6784750" y="6264682"/>
                  <a:pt x="6784750" y="6261227"/>
                  <a:pt x="6784750" y="6257772"/>
                </a:cubicBezTo>
                <a:cubicBezTo>
                  <a:pt x="6784750" y="6254318"/>
                  <a:pt x="6784750" y="6250863"/>
                  <a:pt x="6784750" y="6247408"/>
                </a:cubicBezTo>
                <a:cubicBezTo>
                  <a:pt x="6781168" y="6242225"/>
                  <a:pt x="6775794" y="6238771"/>
                  <a:pt x="6769972" y="6237475"/>
                </a:cubicBezTo>
                <a:close/>
                <a:moveTo>
                  <a:pt x="6527720" y="6229557"/>
                </a:moveTo>
                <a:cubicBezTo>
                  <a:pt x="6506636" y="6264489"/>
                  <a:pt x="6506636" y="6264489"/>
                  <a:pt x="6506636" y="6264489"/>
                </a:cubicBezTo>
                <a:cubicBezTo>
                  <a:pt x="6513664" y="6271475"/>
                  <a:pt x="6520692" y="6274969"/>
                  <a:pt x="6531234" y="6281955"/>
                </a:cubicBezTo>
                <a:cubicBezTo>
                  <a:pt x="6534748" y="6274969"/>
                  <a:pt x="6534748" y="6274969"/>
                  <a:pt x="6534748" y="6274969"/>
                </a:cubicBezTo>
                <a:cubicBezTo>
                  <a:pt x="6517178" y="6264489"/>
                  <a:pt x="6517178" y="6264489"/>
                  <a:pt x="6517178" y="6264489"/>
                </a:cubicBezTo>
                <a:cubicBezTo>
                  <a:pt x="6524206" y="6254010"/>
                  <a:pt x="6524206" y="6254010"/>
                  <a:pt x="6524206" y="6254010"/>
                </a:cubicBezTo>
                <a:cubicBezTo>
                  <a:pt x="6534748" y="6260996"/>
                  <a:pt x="6534748" y="6260996"/>
                  <a:pt x="6534748" y="6260996"/>
                </a:cubicBezTo>
                <a:cubicBezTo>
                  <a:pt x="6538261" y="6254010"/>
                  <a:pt x="6538261" y="6254010"/>
                  <a:pt x="6538261" y="6254010"/>
                </a:cubicBezTo>
                <a:cubicBezTo>
                  <a:pt x="6534748" y="6254010"/>
                  <a:pt x="6531234" y="6250516"/>
                  <a:pt x="6527720" y="6247023"/>
                </a:cubicBezTo>
                <a:lnTo>
                  <a:pt x="6531234" y="6240037"/>
                </a:lnTo>
                <a:cubicBezTo>
                  <a:pt x="6538261" y="6243529"/>
                  <a:pt x="6541775" y="6247023"/>
                  <a:pt x="6548803" y="6250516"/>
                </a:cubicBezTo>
                <a:cubicBezTo>
                  <a:pt x="6552317" y="6243529"/>
                  <a:pt x="6552317" y="6243529"/>
                  <a:pt x="6552317" y="6243529"/>
                </a:cubicBezTo>
                <a:cubicBezTo>
                  <a:pt x="6545289" y="6240037"/>
                  <a:pt x="6534748" y="6233050"/>
                  <a:pt x="6527720" y="6229557"/>
                </a:cubicBezTo>
                <a:close/>
                <a:moveTo>
                  <a:pt x="6805172" y="6201343"/>
                </a:moveTo>
                <a:cubicBezTo>
                  <a:pt x="6801679" y="6204869"/>
                  <a:pt x="6801679" y="6204869"/>
                  <a:pt x="6798186" y="6208396"/>
                </a:cubicBezTo>
                <a:cubicBezTo>
                  <a:pt x="6815652" y="6226030"/>
                  <a:pt x="6815652" y="6226030"/>
                  <a:pt x="6815652" y="6226030"/>
                </a:cubicBezTo>
                <a:cubicBezTo>
                  <a:pt x="6787706" y="6218977"/>
                  <a:pt x="6787706" y="6218977"/>
                  <a:pt x="6787706" y="6218977"/>
                </a:cubicBezTo>
                <a:cubicBezTo>
                  <a:pt x="6784213" y="6218977"/>
                  <a:pt x="6784213" y="6222503"/>
                  <a:pt x="6780719" y="6222503"/>
                </a:cubicBezTo>
                <a:cubicBezTo>
                  <a:pt x="6805172" y="6257772"/>
                  <a:pt x="6805172" y="6257772"/>
                  <a:pt x="6805172" y="6257772"/>
                </a:cubicBezTo>
                <a:cubicBezTo>
                  <a:pt x="6808665" y="6254245"/>
                  <a:pt x="6808665" y="6254245"/>
                  <a:pt x="6812159" y="6250718"/>
                </a:cubicBezTo>
                <a:cubicBezTo>
                  <a:pt x="6798186" y="6229557"/>
                  <a:pt x="6798186" y="6229557"/>
                  <a:pt x="6798186" y="6229557"/>
                </a:cubicBezTo>
                <a:cubicBezTo>
                  <a:pt x="6826132" y="6240137"/>
                  <a:pt x="6826132" y="6240137"/>
                  <a:pt x="6826132" y="6240137"/>
                </a:cubicBezTo>
                <a:cubicBezTo>
                  <a:pt x="6829625" y="6236611"/>
                  <a:pt x="6829625" y="6236611"/>
                  <a:pt x="6833118" y="6233084"/>
                </a:cubicBezTo>
                <a:cubicBezTo>
                  <a:pt x="6805172" y="6201343"/>
                  <a:pt x="6805172" y="6201343"/>
                  <a:pt x="6805172" y="6201343"/>
                </a:cubicBezTo>
                <a:close/>
                <a:moveTo>
                  <a:pt x="6496819" y="6201343"/>
                </a:moveTo>
                <a:cubicBezTo>
                  <a:pt x="6496819" y="6201343"/>
                  <a:pt x="6496819" y="6201343"/>
                  <a:pt x="6489791" y="6204856"/>
                </a:cubicBezTo>
                <a:cubicBezTo>
                  <a:pt x="6493305" y="6208370"/>
                  <a:pt x="6496819" y="6211884"/>
                  <a:pt x="6500333" y="6215398"/>
                </a:cubicBezTo>
                <a:cubicBezTo>
                  <a:pt x="6500333" y="6215398"/>
                  <a:pt x="6500333" y="6215398"/>
                  <a:pt x="6475735" y="6239995"/>
                </a:cubicBezTo>
                <a:cubicBezTo>
                  <a:pt x="6475735" y="6239995"/>
                  <a:pt x="6475735" y="6239995"/>
                  <a:pt x="6482763" y="6247023"/>
                </a:cubicBezTo>
                <a:cubicBezTo>
                  <a:pt x="6482763" y="6247023"/>
                  <a:pt x="6482763" y="6247023"/>
                  <a:pt x="6507360" y="6222426"/>
                </a:cubicBezTo>
                <a:cubicBezTo>
                  <a:pt x="6510874" y="6222426"/>
                  <a:pt x="6514388" y="6225939"/>
                  <a:pt x="6517902" y="6229453"/>
                </a:cubicBezTo>
                <a:cubicBezTo>
                  <a:pt x="6517902" y="6229453"/>
                  <a:pt x="6517902" y="6229453"/>
                  <a:pt x="6521416" y="6222426"/>
                </a:cubicBezTo>
                <a:cubicBezTo>
                  <a:pt x="6510874" y="6215398"/>
                  <a:pt x="6503847" y="6208370"/>
                  <a:pt x="6496819" y="6201343"/>
                </a:cubicBezTo>
                <a:close/>
                <a:moveTo>
                  <a:pt x="6826400" y="6190594"/>
                </a:moveTo>
                <a:lnTo>
                  <a:pt x="6843866" y="6197312"/>
                </a:lnTo>
                <a:lnTo>
                  <a:pt x="6843866" y="6201343"/>
                </a:lnTo>
                <a:lnTo>
                  <a:pt x="6837148" y="6208061"/>
                </a:lnTo>
                <a:lnTo>
                  <a:pt x="6833118" y="6201343"/>
                </a:lnTo>
                <a:close/>
                <a:moveTo>
                  <a:pt x="6822753" y="6183876"/>
                </a:moveTo>
                <a:lnTo>
                  <a:pt x="6815652" y="6190818"/>
                </a:lnTo>
                <a:cubicBezTo>
                  <a:pt x="6815652" y="6190818"/>
                  <a:pt x="6815652" y="6190818"/>
                  <a:pt x="6822753" y="6201230"/>
                </a:cubicBezTo>
                <a:cubicBezTo>
                  <a:pt x="6822753" y="6201230"/>
                  <a:pt x="6822753" y="6201230"/>
                  <a:pt x="6840507" y="6225526"/>
                </a:cubicBezTo>
                <a:cubicBezTo>
                  <a:pt x="6840507" y="6225526"/>
                  <a:pt x="6844059" y="6222056"/>
                  <a:pt x="6844059" y="6222056"/>
                </a:cubicBezTo>
                <a:cubicBezTo>
                  <a:pt x="6844059" y="6222056"/>
                  <a:pt x="6844059" y="6222056"/>
                  <a:pt x="6840507" y="6215114"/>
                </a:cubicBezTo>
                <a:cubicBezTo>
                  <a:pt x="6840507" y="6215114"/>
                  <a:pt x="6840507" y="6215114"/>
                  <a:pt x="6851160" y="6201230"/>
                </a:cubicBezTo>
                <a:cubicBezTo>
                  <a:pt x="6851160" y="6201230"/>
                  <a:pt x="6851160" y="6201230"/>
                  <a:pt x="6858262" y="6201230"/>
                </a:cubicBezTo>
                <a:cubicBezTo>
                  <a:pt x="6861813" y="6201230"/>
                  <a:pt x="6861813" y="6201230"/>
                  <a:pt x="6861813" y="6201230"/>
                </a:cubicBezTo>
                <a:cubicBezTo>
                  <a:pt x="6861813" y="6197759"/>
                  <a:pt x="6865363" y="6197759"/>
                  <a:pt x="6865363" y="6194288"/>
                </a:cubicBezTo>
                <a:cubicBezTo>
                  <a:pt x="6865363" y="6194288"/>
                  <a:pt x="6865363" y="6194288"/>
                  <a:pt x="6822753" y="6183876"/>
                </a:cubicBezTo>
                <a:close/>
                <a:moveTo>
                  <a:pt x="6468010" y="6169097"/>
                </a:moveTo>
                <a:cubicBezTo>
                  <a:pt x="6432742" y="6194177"/>
                  <a:pt x="6432742" y="6194177"/>
                  <a:pt x="6432742" y="6194177"/>
                </a:cubicBezTo>
                <a:cubicBezTo>
                  <a:pt x="6436268" y="6197760"/>
                  <a:pt x="6436268" y="6197760"/>
                  <a:pt x="6439796" y="6201343"/>
                </a:cubicBezTo>
                <a:cubicBezTo>
                  <a:pt x="6460956" y="6187012"/>
                  <a:pt x="6460956" y="6187012"/>
                  <a:pt x="6460956" y="6187012"/>
                </a:cubicBezTo>
                <a:cubicBezTo>
                  <a:pt x="6450376" y="6215673"/>
                  <a:pt x="6450376" y="6215673"/>
                  <a:pt x="6450376" y="6215673"/>
                </a:cubicBezTo>
                <a:cubicBezTo>
                  <a:pt x="6453902" y="6219257"/>
                  <a:pt x="6453902" y="6219257"/>
                  <a:pt x="6457429" y="6222839"/>
                </a:cubicBezTo>
                <a:cubicBezTo>
                  <a:pt x="6489170" y="6194177"/>
                  <a:pt x="6489170" y="6194177"/>
                  <a:pt x="6489170" y="6194177"/>
                </a:cubicBezTo>
                <a:cubicBezTo>
                  <a:pt x="6489170" y="6190594"/>
                  <a:pt x="6485644" y="6190594"/>
                  <a:pt x="6485644" y="6187012"/>
                </a:cubicBezTo>
                <a:cubicBezTo>
                  <a:pt x="6464483" y="6204925"/>
                  <a:pt x="6464483" y="6204925"/>
                  <a:pt x="6464483" y="6204925"/>
                </a:cubicBezTo>
                <a:cubicBezTo>
                  <a:pt x="6475063" y="6176263"/>
                  <a:pt x="6475063" y="6176263"/>
                  <a:pt x="6475063" y="6176263"/>
                </a:cubicBezTo>
                <a:cubicBezTo>
                  <a:pt x="6471536" y="6172680"/>
                  <a:pt x="6471536" y="6172680"/>
                  <a:pt x="6468010" y="6169097"/>
                </a:cubicBezTo>
                <a:close/>
                <a:moveTo>
                  <a:pt x="6837149" y="6158349"/>
                </a:moveTo>
                <a:lnTo>
                  <a:pt x="6833118" y="6166410"/>
                </a:lnTo>
                <a:lnTo>
                  <a:pt x="6872081" y="6186564"/>
                </a:lnTo>
                <a:lnTo>
                  <a:pt x="6885517" y="6162380"/>
                </a:lnTo>
                <a:lnTo>
                  <a:pt x="6878799" y="6158349"/>
                </a:lnTo>
                <a:lnTo>
                  <a:pt x="6868050" y="6177159"/>
                </a:lnTo>
                <a:close/>
                <a:moveTo>
                  <a:pt x="6461445" y="6155662"/>
                </a:moveTo>
                <a:cubicBezTo>
                  <a:pt x="6426023" y="6176824"/>
                  <a:pt x="6426023" y="6176824"/>
                  <a:pt x="6426023" y="6176824"/>
                </a:cubicBezTo>
                <a:cubicBezTo>
                  <a:pt x="6426023" y="6176824"/>
                  <a:pt x="6426023" y="6180350"/>
                  <a:pt x="6429565" y="6183877"/>
                </a:cubicBezTo>
                <a:cubicBezTo>
                  <a:pt x="6464987" y="6162716"/>
                  <a:pt x="6464987" y="6162716"/>
                  <a:pt x="6464987" y="6162716"/>
                </a:cubicBezTo>
                <a:cubicBezTo>
                  <a:pt x="6464987" y="6159189"/>
                  <a:pt x="6461445" y="6159189"/>
                  <a:pt x="6461445" y="6155662"/>
                </a:cubicBezTo>
                <a:close/>
                <a:moveTo>
                  <a:pt x="6452739" y="6122052"/>
                </a:moveTo>
                <a:cubicBezTo>
                  <a:pt x="6454494" y="6122493"/>
                  <a:pt x="6456248" y="6124256"/>
                  <a:pt x="6458004" y="6127783"/>
                </a:cubicBezTo>
                <a:cubicBezTo>
                  <a:pt x="6489596" y="6205374"/>
                  <a:pt x="6563311" y="6258276"/>
                  <a:pt x="6651068" y="6258276"/>
                </a:cubicBezTo>
                <a:cubicBezTo>
                  <a:pt x="6738824" y="6258276"/>
                  <a:pt x="6812539" y="6205374"/>
                  <a:pt x="6844131" y="6127783"/>
                </a:cubicBezTo>
                <a:cubicBezTo>
                  <a:pt x="6845887" y="6124256"/>
                  <a:pt x="6847642" y="6122493"/>
                  <a:pt x="6849397" y="6122052"/>
                </a:cubicBezTo>
                <a:cubicBezTo>
                  <a:pt x="6851152" y="6121612"/>
                  <a:pt x="6852907" y="6122493"/>
                  <a:pt x="6854662" y="6124256"/>
                </a:cubicBezTo>
                <a:cubicBezTo>
                  <a:pt x="6854662" y="6124256"/>
                  <a:pt x="6854662" y="6124256"/>
                  <a:pt x="6893275" y="6134837"/>
                </a:cubicBezTo>
                <a:cubicBezTo>
                  <a:pt x="6896786" y="6138364"/>
                  <a:pt x="6900295" y="6141890"/>
                  <a:pt x="6900295" y="6145417"/>
                </a:cubicBezTo>
                <a:cubicBezTo>
                  <a:pt x="6861682" y="6247695"/>
                  <a:pt x="6763396" y="6318232"/>
                  <a:pt x="6651068" y="6318232"/>
                </a:cubicBezTo>
                <a:cubicBezTo>
                  <a:pt x="6538740" y="6318232"/>
                  <a:pt x="6440452" y="6247695"/>
                  <a:pt x="6401840" y="6148945"/>
                </a:cubicBezTo>
                <a:cubicBezTo>
                  <a:pt x="6401840" y="6141890"/>
                  <a:pt x="6401840" y="6138364"/>
                  <a:pt x="6408860" y="6134837"/>
                </a:cubicBezTo>
                <a:cubicBezTo>
                  <a:pt x="6408860" y="6134837"/>
                  <a:pt x="6408860" y="6134837"/>
                  <a:pt x="6447473" y="6124256"/>
                </a:cubicBezTo>
                <a:cubicBezTo>
                  <a:pt x="6449228" y="6122493"/>
                  <a:pt x="6450983" y="6121612"/>
                  <a:pt x="6452739" y="6122052"/>
                </a:cubicBezTo>
                <a:close/>
                <a:moveTo>
                  <a:pt x="6605253" y="6116214"/>
                </a:moveTo>
                <a:cubicBezTo>
                  <a:pt x="6608746" y="6112668"/>
                  <a:pt x="6612239" y="6112668"/>
                  <a:pt x="6615733" y="6116214"/>
                </a:cubicBezTo>
                <a:cubicBezTo>
                  <a:pt x="6615733" y="6116214"/>
                  <a:pt x="6619226" y="6119760"/>
                  <a:pt x="6619226" y="6123305"/>
                </a:cubicBezTo>
                <a:cubicBezTo>
                  <a:pt x="6619226" y="6123305"/>
                  <a:pt x="6626212" y="6226124"/>
                  <a:pt x="6626212" y="6226124"/>
                </a:cubicBezTo>
                <a:cubicBezTo>
                  <a:pt x="6626212" y="6233215"/>
                  <a:pt x="6626212" y="6236761"/>
                  <a:pt x="6622719" y="6236761"/>
                </a:cubicBezTo>
                <a:cubicBezTo>
                  <a:pt x="6622719" y="6240306"/>
                  <a:pt x="6619226" y="6240306"/>
                  <a:pt x="6615733" y="6236761"/>
                </a:cubicBezTo>
                <a:cubicBezTo>
                  <a:pt x="6570321" y="6226124"/>
                  <a:pt x="6538881" y="6208397"/>
                  <a:pt x="6507443" y="6172941"/>
                </a:cubicBezTo>
                <a:cubicBezTo>
                  <a:pt x="6503949" y="6172941"/>
                  <a:pt x="6503949" y="6169396"/>
                  <a:pt x="6503949" y="6169396"/>
                </a:cubicBezTo>
                <a:cubicBezTo>
                  <a:pt x="6503949" y="6165851"/>
                  <a:pt x="6503949" y="6165851"/>
                  <a:pt x="6503949" y="6165851"/>
                </a:cubicBezTo>
                <a:cubicBezTo>
                  <a:pt x="6503949" y="6162306"/>
                  <a:pt x="6507443" y="6162306"/>
                  <a:pt x="6510935" y="6162306"/>
                </a:cubicBezTo>
                <a:cubicBezTo>
                  <a:pt x="6510935" y="6162306"/>
                  <a:pt x="6510935" y="6162306"/>
                  <a:pt x="6605253" y="6116214"/>
                </a:cubicBezTo>
                <a:close/>
                <a:moveTo>
                  <a:pt x="6689896" y="6112668"/>
                </a:moveTo>
                <a:cubicBezTo>
                  <a:pt x="6693389" y="6112668"/>
                  <a:pt x="6696882" y="6112668"/>
                  <a:pt x="6700376" y="6112668"/>
                </a:cubicBezTo>
                <a:cubicBezTo>
                  <a:pt x="6700376" y="6112668"/>
                  <a:pt x="6700376" y="6112668"/>
                  <a:pt x="6791199" y="6158579"/>
                </a:cubicBezTo>
                <a:cubicBezTo>
                  <a:pt x="6794693" y="6162111"/>
                  <a:pt x="6798186" y="6162111"/>
                  <a:pt x="6798186" y="6165643"/>
                </a:cubicBezTo>
                <a:cubicBezTo>
                  <a:pt x="6798186" y="6169174"/>
                  <a:pt x="6798186" y="6169174"/>
                  <a:pt x="6794693" y="6172706"/>
                </a:cubicBezTo>
                <a:cubicBezTo>
                  <a:pt x="6763254" y="6208022"/>
                  <a:pt x="6731814" y="6225680"/>
                  <a:pt x="6686403" y="6236275"/>
                </a:cubicBezTo>
                <a:cubicBezTo>
                  <a:pt x="6682909" y="6236275"/>
                  <a:pt x="6679416" y="6236275"/>
                  <a:pt x="6679416" y="6236275"/>
                </a:cubicBezTo>
                <a:cubicBezTo>
                  <a:pt x="6675923" y="6232743"/>
                  <a:pt x="6675923" y="6229211"/>
                  <a:pt x="6675923" y="6225680"/>
                </a:cubicBezTo>
                <a:cubicBezTo>
                  <a:pt x="6675923" y="6225680"/>
                  <a:pt x="6675923" y="6225680"/>
                  <a:pt x="6686403" y="6123264"/>
                </a:cubicBezTo>
                <a:cubicBezTo>
                  <a:pt x="6686403" y="6119732"/>
                  <a:pt x="6686403" y="6116200"/>
                  <a:pt x="6689896" y="6112668"/>
                </a:cubicBezTo>
                <a:close/>
                <a:moveTo>
                  <a:pt x="5812094" y="6073704"/>
                </a:moveTo>
                <a:lnTo>
                  <a:pt x="5853673" y="6073704"/>
                </a:lnTo>
                <a:cubicBezTo>
                  <a:pt x="5853673" y="6073704"/>
                  <a:pt x="5853673" y="6073704"/>
                  <a:pt x="5853673" y="6116314"/>
                </a:cubicBezTo>
                <a:cubicBezTo>
                  <a:pt x="5853673" y="6116314"/>
                  <a:pt x="5825954" y="6123416"/>
                  <a:pt x="5805164" y="6123416"/>
                </a:cubicBezTo>
                <a:cubicBezTo>
                  <a:pt x="5787839" y="6123416"/>
                  <a:pt x="5787839" y="6109213"/>
                  <a:pt x="5787839" y="6098560"/>
                </a:cubicBezTo>
                <a:cubicBezTo>
                  <a:pt x="5787839" y="6084357"/>
                  <a:pt x="5794769" y="6077255"/>
                  <a:pt x="5812094" y="6073704"/>
                </a:cubicBezTo>
                <a:close/>
                <a:moveTo>
                  <a:pt x="5496290" y="6003839"/>
                </a:moveTo>
                <a:cubicBezTo>
                  <a:pt x="5527527" y="6003839"/>
                  <a:pt x="5537940" y="6017907"/>
                  <a:pt x="5537940" y="6060111"/>
                </a:cubicBezTo>
                <a:cubicBezTo>
                  <a:pt x="5537940" y="6098796"/>
                  <a:pt x="5530998" y="6123415"/>
                  <a:pt x="5496290" y="6123415"/>
                </a:cubicBezTo>
                <a:cubicBezTo>
                  <a:pt x="5461581" y="6123415"/>
                  <a:pt x="5454640" y="6102314"/>
                  <a:pt x="5454640" y="6060111"/>
                </a:cubicBezTo>
                <a:cubicBezTo>
                  <a:pt x="5454640" y="6017907"/>
                  <a:pt x="5465052" y="6003839"/>
                  <a:pt x="5496290" y="6003839"/>
                </a:cubicBezTo>
                <a:close/>
                <a:moveTo>
                  <a:pt x="6640816" y="5999810"/>
                </a:moveTo>
                <a:cubicBezTo>
                  <a:pt x="6640816" y="5999810"/>
                  <a:pt x="6640816" y="5999810"/>
                  <a:pt x="6661845" y="5999810"/>
                </a:cubicBezTo>
                <a:cubicBezTo>
                  <a:pt x="6661845" y="5999810"/>
                  <a:pt x="6661845" y="6006903"/>
                  <a:pt x="6661845" y="6010450"/>
                </a:cubicBezTo>
                <a:cubicBezTo>
                  <a:pt x="6679370" y="6013997"/>
                  <a:pt x="6693389" y="6031732"/>
                  <a:pt x="6693389" y="6049467"/>
                </a:cubicBezTo>
                <a:cubicBezTo>
                  <a:pt x="6693389" y="6070749"/>
                  <a:pt x="6672360" y="6088484"/>
                  <a:pt x="6651330" y="6088484"/>
                </a:cubicBezTo>
                <a:cubicBezTo>
                  <a:pt x="6630302" y="6088484"/>
                  <a:pt x="6612777" y="6070749"/>
                  <a:pt x="6612777" y="6049467"/>
                </a:cubicBezTo>
                <a:cubicBezTo>
                  <a:pt x="6612777" y="6031732"/>
                  <a:pt x="6623291" y="6013997"/>
                  <a:pt x="6640816" y="6010450"/>
                </a:cubicBezTo>
                <a:cubicBezTo>
                  <a:pt x="6640816" y="6010450"/>
                  <a:pt x="6640816" y="5999810"/>
                  <a:pt x="6640816" y="5999810"/>
                </a:cubicBezTo>
                <a:close/>
                <a:moveTo>
                  <a:pt x="6651068" y="5989061"/>
                </a:moveTo>
                <a:cubicBezTo>
                  <a:pt x="6618048" y="5989061"/>
                  <a:pt x="6591280" y="6016130"/>
                  <a:pt x="6591280" y="6049521"/>
                </a:cubicBezTo>
                <a:cubicBezTo>
                  <a:pt x="6591280" y="6082912"/>
                  <a:pt x="6618048" y="6109981"/>
                  <a:pt x="6651068" y="6109981"/>
                </a:cubicBezTo>
                <a:cubicBezTo>
                  <a:pt x="6684088" y="6109981"/>
                  <a:pt x="6710856" y="6082912"/>
                  <a:pt x="6710856" y="6049521"/>
                </a:cubicBezTo>
                <a:cubicBezTo>
                  <a:pt x="6710856" y="6016130"/>
                  <a:pt x="6684088" y="5989061"/>
                  <a:pt x="6651068" y="5989061"/>
                </a:cubicBezTo>
                <a:close/>
                <a:moveTo>
                  <a:pt x="6651068" y="5982344"/>
                </a:moveTo>
                <a:cubicBezTo>
                  <a:pt x="6687799" y="5982344"/>
                  <a:pt x="6717574" y="6012420"/>
                  <a:pt x="6717574" y="6049521"/>
                </a:cubicBezTo>
                <a:cubicBezTo>
                  <a:pt x="6717574" y="6086623"/>
                  <a:pt x="6687799" y="6116699"/>
                  <a:pt x="6651068" y="6116699"/>
                </a:cubicBezTo>
                <a:cubicBezTo>
                  <a:pt x="6614337" y="6116699"/>
                  <a:pt x="6584562" y="6086623"/>
                  <a:pt x="6584562" y="6049521"/>
                </a:cubicBezTo>
                <a:cubicBezTo>
                  <a:pt x="6584562" y="6012420"/>
                  <a:pt x="6614337" y="5982344"/>
                  <a:pt x="6651068" y="5982344"/>
                </a:cubicBezTo>
                <a:close/>
                <a:moveTo>
                  <a:pt x="6826360" y="5979657"/>
                </a:moveTo>
                <a:cubicBezTo>
                  <a:pt x="6829861" y="5979657"/>
                  <a:pt x="6829861" y="5983183"/>
                  <a:pt x="6829861" y="5986710"/>
                </a:cubicBezTo>
                <a:cubicBezTo>
                  <a:pt x="6843866" y="6029032"/>
                  <a:pt x="6843866" y="6067827"/>
                  <a:pt x="6829861" y="6110149"/>
                </a:cubicBezTo>
                <a:cubicBezTo>
                  <a:pt x="6829861" y="6117203"/>
                  <a:pt x="6829861" y="6117203"/>
                  <a:pt x="6826360" y="6117203"/>
                </a:cubicBezTo>
                <a:cubicBezTo>
                  <a:pt x="6822858" y="6120730"/>
                  <a:pt x="6819357" y="6117203"/>
                  <a:pt x="6819357" y="6117203"/>
                </a:cubicBezTo>
                <a:lnTo>
                  <a:pt x="6731823" y="6057247"/>
                </a:lnTo>
                <a:cubicBezTo>
                  <a:pt x="6728322" y="6053720"/>
                  <a:pt x="6728322" y="6050193"/>
                  <a:pt x="6728322" y="6050193"/>
                </a:cubicBezTo>
                <a:cubicBezTo>
                  <a:pt x="6728322" y="6046667"/>
                  <a:pt x="6728322" y="6043140"/>
                  <a:pt x="6731823" y="6039612"/>
                </a:cubicBezTo>
                <a:cubicBezTo>
                  <a:pt x="6731823" y="6039612"/>
                  <a:pt x="6731823" y="6039612"/>
                  <a:pt x="6815856" y="5983183"/>
                </a:cubicBezTo>
                <a:cubicBezTo>
                  <a:pt x="6822858" y="5979657"/>
                  <a:pt x="6826360" y="5979657"/>
                  <a:pt x="6826360" y="5979657"/>
                </a:cubicBezTo>
                <a:close/>
                <a:moveTo>
                  <a:pt x="6475776" y="5979657"/>
                </a:moveTo>
                <a:cubicBezTo>
                  <a:pt x="6479277" y="5979657"/>
                  <a:pt x="6482778" y="5979657"/>
                  <a:pt x="6482778" y="5983183"/>
                </a:cubicBezTo>
                <a:lnTo>
                  <a:pt x="6570312" y="6039612"/>
                </a:lnTo>
                <a:cubicBezTo>
                  <a:pt x="6573813" y="6043140"/>
                  <a:pt x="6573813" y="6046667"/>
                  <a:pt x="6573813" y="6050193"/>
                </a:cubicBezTo>
                <a:cubicBezTo>
                  <a:pt x="6573813" y="6053720"/>
                  <a:pt x="6573813" y="6057247"/>
                  <a:pt x="6570312" y="6057247"/>
                </a:cubicBezTo>
                <a:cubicBezTo>
                  <a:pt x="6570312" y="6057247"/>
                  <a:pt x="6570312" y="6057247"/>
                  <a:pt x="6482778" y="6117203"/>
                </a:cubicBezTo>
                <a:cubicBezTo>
                  <a:pt x="6479277" y="6117203"/>
                  <a:pt x="6475776" y="6120730"/>
                  <a:pt x="6475776" y="6117203"/>
                </a:cubicBezTo>
                <a:cubicBezTo>
                  <a:pt x="6472274" y="6117203"/>
                  <a:pt x="6472274" y="6113676"/>
                  <a:pt x="6468772" y="6113676"/>
                </a:cubicBezTo>
                <a:cubicBezTo>
                  <a:pt x="6458269" y="6067827"/>
                  <a:pt x="6458269" y="6029032"/>
                  <a:pt x="6468772" y="5986710"/>
                </a:cubicBezTo>
                <a:cubicBezTo>
                  <a:pt x="6472274" y="5983183"/>
                  <a:pt x="6472274" y="5979657"/>
                  <a:pt x="6475776" y="5979657"/>
                </a:cubicBezTo>
                <a:close/>
                <a:moveTo>
                  <a:pt x="6072127" y="5968908"/>
                </a:moveTo>
                <a:cubicBezTo>
                  <a:pt x="6072127" y="5972434"/>
                  <a:pt x="6068640" y="5972434"/>
                  <a:pt x="6072127" y="5975961"/>
                </a:cubicBezTo>
                <a:cubicBezTo>
                  <a:pt x="6113977" y="6138195"/>
                  <a:pt x="6113977" y="6138195"/>
                  <a:pt x="6113977" y="6138195"/>
                </a:cubicBezTo>
                <a:cubicBezTo>
                  <a:pt x="6113977" y="6145249"/>
                  <a:pt x="6120952" y="6159356"/>
                  <a:pt x="6134902" y="6159356"/>
                </a:cubicBezTo>
                <a:cubicBezTo>
                  <a:pt x="6145365" y="6159356"/>
                  <a:pt x="6145365" y="6159356"/>
                  <a:pt x="6145365" y="6159356"/>
                </a:cubicBezTo>
                <a:cubicBezTo>
                  <a:pt x="6141877" y="6162883"/>
                  <a:pt x="6141877" y="6162883"/>
                  <a:pt x="6141877" y="6166409"/>
                </a:cubicBezTo>
                <a:cubicBezTo>
                  <a:pt x="6138390" y="6176989"/>
                  <a:pt x="6134902" y="6187570"/>
                  <a:pt x="6113977" y="6187570"/>
                </a:cubicBezTo>
                <a:cubicBezTo>
                  <a:pt x="6079102" y="6184044"/>
                  <a:pt x="6079102" y="6184044"/>
                  <a:pt x="6079102" y="6184044"/>
                </a:cubicBezTo>
                <a:cubicBezTo>
                  <a:pt x="6079102" y="6184044"/>
                  <a:pt x="6075615" y="6184044"/>
                  <a:pt x="6075615" y="6187570"/>
                </a:cubicBezTo>
                <a:cubicBezTo>
                  <a:pt x="6072127" y="6187570"/>
                  <a:pt x="6072127" y="6191097"/>
                  <a:pt x="6072127" y="6191097"/>
                </a:cubicBezTo>
                <a:cubicBezTo>
                  <a:pt x="6072127" y="6212258"/>
                  <a:pt x="6072127" y="6212258"/>
                  <a:pt x="6072127" y="6212258"/>
                </a:cubicBezTo>
                <a:cubicBezTo>
                  <a:pt x="6072127" y="6215785"/>
                  <a:pt x="6075615" y="6215785"/>
                  <a:pt x="6079102" y="6219312"/>
                </a:cubicBezTo>
                <a:cubicBezTo>
                  <a:pt x="6089566" y="6219312"/>
                  <a:pt x="6110490" y="6222838"/>
                  <a:pt x="6124440" y="6222838"/>
                </a:cubicBezTo>
                <a:cubicBezTo>
                  <a:pt x="6127927" y="6222838"/>
                  <a:pt x="6127927" y="6222838"/>
                  <a:pt x="6127927" y="6222838"/>
                </a:cubicBezTo>
                <a:cubicBezTo>
                  <a:pt x="6155827" y="6222838"/>
                  <a:pt x="6173264" y="6205204"/>
                  <a:pt x="6183727" y="6169936"/>
                </a:cubicBezTo>
                <a:cubicBezTo>
                  <a:pt x="6194190" y="6131141"/>
                  <a:pt x="6208140" y="6078239"/>
                  <a:pt x="6215114" y="6039444"/>
                </a:cubicBezTo>
                <a:cubicBezTo>
                  <a:pt x="6222090" y="6021810"/>
                  <a:pt x="6225577" y="6007702"/>
                  <a:pt x="6229064" y="5997122"/>
                </a:cubicBezTo>
                <a:cubicBezTo>
                  <a:pt x="6232552" y="5975961"/>
                  <a:pt x="6232552" y="5975961"/>
                  <a:pt x="6232552" y="5975961"/>
                </a:cubicBezTo>
                <a:cubicBezTo>
                  <a:pt x="6232552" y="5972434"/>
                  <a:pt x="6232552" y="5972434"/>
                  <a:pt x="6232552" y="5968908"/>
                </a:cubicBezTo>
                <a:cubicBezTo>
                  <a:pt x="6229064" y="5968908"/>
                  <a:pt x="6229064" y="5968908"/>
                  <a:pt x="6225577" y="5968908"/>
                </a:cubicBezTo>
                <a:cubicBezTo>
                  <a:pt x="6197677" y="5968908"/>
                  <a:pt x="6197677" y="5968908"/>
                  <a:pt x="6197677" y="5968908"/>
                </a:cubicBezTo>
                <a:cubicBezTo>
                  <a:pt x="6194190" y="5968908"/>
                  <a:pt x="6190702" y="5968908"/>
                  <a:pt x="6190702" y="5972434"/>
                </a:cubicBezTo>
                <a:cubicBezTo>
                  <a:pt x="6152340" y="6117034"/>
                  <a:pt x="6152340" y="6117034"/>
                  <a:pt x="6152340" y="6117034"/>
                </a:cubicBezTo>
                <a:cubicBezTo>
                  <a:pt x="6148852" y="6117034"/>
                  <a:pt x="6148852" y="6117034"/>
                  <a:pt x="6148852" y="6117034"/>
                </a:cubicBezTo>
                <a:cubicBezTo>
                  <a:pt x="6113977" y="5972434"/>
                  <a:pt x="6113977" y="5972434"/>
                  <a:pt x="6113977" y="5972434"/>
                </a:cubicBezTo>
                <a:cubicBezTo>
                  <a:pt x="6110490" y="5968908"/>
                  <a:pt x="6110490" y="5968908"/>
                  <a:pt x="6107002" y="5968908"/>
                </a:cubicBezTo>
                <a:cubicBezTo>
                  <a:pt x="6079102" y="5968908"/>
                  <a:pt x="6079102" y="5968908"/>
                  <a:pt x="6079102" y="5968908"/>
                </a:cubicBezTo>
                <a:cubicBezTo>
                  <a:pt x="6075615" y="5968908"/>
                  <a:pt x="6072127" y="5968908"/>
                  <a:pt x="6072127" y="5968908"/>
                </a:cubicBezTo>
                <a:close/>
                <a:moveTo>
                  <a:pt x="6040101" y="5964877"/>
                </a:moveTo>
                <a:cubicBezTo>
                  <a:pt x="6018975" y="5964877"/>
                  <a:pt x="6001370" y="5978948"/>
                  <a:pt x="5987285" y="5985983"/>
                </a:cubicBezTo>
                <a:cubicBezTo>
                  <a:pt x="5987285" y="5975430"/>
                  <a:pt x="5987285" y="5975430"/>
                  <a:pt x="5987285" y="5975430"/>
                </a:cubicBezTo>
                <a:cubicBezTo>
                  <a:pt x="5987285" y="5968395"/>
                  <a:pt x="5983765" y="5968395"/>
                  <a:pt x="5980244" y="5968395"/>
                </a:cubicBezTo>
                <a:cubicBezTo>
                  <a:pt x="5952076" y="5968395"/>
                  <a:pt x="5952076" y="5968395"/>
                  <a:pt x="5952076" y="5968395"/>
                </a:cubicBezTo>
                <a:cubicBezTo>
                  <a:pt x="5948554" y="5968395"/>
                  <a:pt x="5945033" y="5968395"/>
                  <a:pt x="5945033" y="5975430"/>
                </a:cubicBezTo>
                <a:cubicBezTo>
                  <a:pt x="5945033" y="6151313"/>
                  <a:pt x="5945033" y="6151313"/>
                  <a:pt x="5945033" y="6151313"/>
                </a:cubicBezTo>
                <a:cubicBezTo>
                  <a:pt x="5945033" y="6154831"/>
                  <a:pt x="5948554" y="6158348"/>
                  <a:pt x="5952076" y="6158348"/>
                </a:cubicBezTo>
                <a:cubicBezTo>
                  <a:pt x="5980244" y="6158348"/>
                  <a:pt x="5980244" y="6158348"/>
                  <a:pt x="5980244" y="6158348"/>
                </a:cubicBezTo>
                <a:cubicBezTo>
                  <a:pt x="5983765" y="6158348"/>
                  <a:pt x="5987285" y="6154831"/>
                  <a:pt x="5987285" y="6151313"/>
                </a:cubicBezTo>
                <a:cubicBezTo>
                  <a:pt x="5987285" y="6028195"/>
                  <a:pt x="5987285" y="6028195"/>
                  <a:pt x="5987285" y="6028195"/>
                </a:cubicBezTo>
                <a:cubicBezTo>
                  <a:pt x="5994328" y="6024677"/>
                  <a:pt x="6015454" y="6007089"/>
                  <a:pt x="6040101" y="6007089"/>
                </a:cubicBezTo>
                <a:cubicBezTo>
                  <a:pt x="6043622" y="6003571"/>
                  <a:pt x="6047143" y="6003571"/>
                  <a:pt x="6047143" y="6000054"/>
                </a:cubicBezTo>
                <a:cubicBezTo>
                  <a:pt x="6047143" y="5971913"/>
                  <a:pt x="6047143" y="5971913"/>
                  <a:pt x="6047143" y="5971913"/>
                </a:cubicBezTo>
                <a:cubicBezTo>
                  <a:pt x="6047143" y="5971913"/>
                  <a:pt x="6047143" y="5968395"/>
                  <a:pt x="6043622" y="5968395"/>
                </a:cubicBezTo>
                <a:cubicBezTo>
                  <a:pt x="6043622" y="5964877"/>
                  <a:pt x="6040101" y="5964877"/>
                  <a:pt x="6040101" y="5964877"/>
                </a:cubicBezTo>
                <a:close/>
                <a:moveTo>
                  <a:pt x="5833459" y="5960846"/>
                </a:moveTo>
                <a:cubicBezTo>
                  <a:pt x="5812389" y="5960846"/>
                  <a:pt x="5777274" y="5967917"/>
                  <a:pt x="5763228" y="5967917"/>
                </a:cubicBezTo>
                <a:cubicBezTo>
                  <a:pt x="5759716" y="5967917"/>
                  <a:pt x="5756205" y="5971453"/>
                  <a:pt x="5756205" y="5974989"/>
                </a:cubicBezTo>
                <a:cubicBezTo>
                  <a:pt x="5756205" y="5974989"/>
                  <a:pt x="5756205" y="5974989"/>
                  <a:pt x="5756205" y="5999738"/>
                </a:cubicBezTo>
                <a:cubicBezTo>
                  <a:pt x="5756205" y="6003274"/>
                  <a:pt x="5756205" y="6003274"/>
                  <a:pt x="5759716" y="6006810"/>
                </a:cubicBezTo>
                <a:cubicBezTo>
                  <a:pt x="5759716" y="6006810"/>
                  <a:pt x="5763228" y="6006810"/>
                  <a:pt x="5763228" y="6006810"/>
                </a:cubicBezTo>
                <a:cubicBezTo>
                  <a:pt x="5780786" y="6006810"/>
                  <a:pt x="5808878" y="6003274"/>
                  <a:pt x="5829947" y="6003274"/>
                </a:cubicBezTo>
                <a:cubicBezTo>
                  <a:pt x="5843994" y="6003274"/>
                  <a:pt x="5854528" y="6013881"/>
                  <a:pt x="5854528" y="6028024"/>
                </a:cubicBezTo>
                <a:cubicBezTo>
                  <a:pt x="5854528" y="6028024"/>
                  <a:pt x="5854528" y="6028024"/>
                  <a:pt x="5854528" y="6038631"/>
                </a:cubicBezTo>
                <a:cubicBezTo>
                  <a:pt x="5854528" y="6038631"/>
                  <a:pt x="5854528" y="6038631"/>
                  <a:pt x="5805366" y="6042167"/>
                </a:cubicBezTo>
                <a:cubicBezTo>
                  <a:pt x="5763228" y="6045702"/>
                  <a:pt x="5742158" y="6063380"/>
                  <a:pt x="5742158" y="6102272"/>
                </a:cubicBezTo>
                <a:cubicBezTo>
                  <a:pt x="5742158" y="6141164"/>
                  <a:pt x="5763228" y="6162378"/>
                  <a:pt x="5798344" y="6162378"/>
                </a:cubicBezTo>
                <a:cubicBezTo>
                  <a:pt x="5826436" y="6162378"/>
                  <a:pt x="5861552" y="6148235"/>
                  <a:pt x="5861552" y="6148235"/>
                </a:cubicBezTo>
                <a:cubicBezTo>
                  <a:pt x="5868574" y="6155307"/>
                  <a:pt x="5875597" y="6158842"/>
                  <a:pt x="5889644" y="6162378"/>
                </a:cubicBezTo>
                <a:cubicBezTo>
                  <a:pt x="5893155" y="6162378"/>
                  <a:pt x="5893155" y="6162378"/>
                  <a:pt x="5896667" y="6158842"/>
                </a:cubicBezTo>
                <a:cubicBezTo>
                  <a:pt x="5896667" y="6158842"/>
                  <a:pt x="5896667" y="6155307"/>
                  <a:pt x="5896667" y="6155307"/>
                </a:cubicBezTo>
                <a:cubicBezTo>
                  <a:pt x="5896667" y="6155307"/>
                  <a:pt x="5896667" y="6155307"/>
                  <a:pt x="5896667" y="6028024"/>
                </a:cubicBezTo>
                <a:cubicBezTo>
                  <a:pt x="5896667" y="5982060"/>
                  <a:pt x="5875597" y="5960846"/>
                  <a:pt x="5833459" y="5960846"/>
                </a:cubicBezTo>
                <a:close/>
                <a:moveTo>
                  <a:pt x="5497633" y="5960845"/>
                </a:moveTo>
                <a:cubicBezTo>
                  <a:pt x="5450145" y="5960845"/>
                  <a:pt x="5411646" y="6005960"/>
                  <a:pt x="5411646" y="6061612"/>
                </a:cubicBezTo>
                <a:cubicBezTo>
                  <a:pt x="5411646" y="6117264"/>
                  <a:pt x="5450145" y="6162378"/>
                  <a:pt x="5497633" y="6162378"/>
                </a:cubicBezTo>
                <a:cubicBezTo>
                  <a:pt x="5545122" y="6162378"/>
                  <a:pt x="5583620" y="6117264"/>
                  <a:pt x="5583620" y="6061612"/>
                </a:cubicBezTo>
                <a:cubicBezTo>
                  <a:pt x="5583620" y="6005960"/>
                  <a:pt x="5545122" y="5960845"/>
                  <a:pt x="5497633" y="5960845"/>
                </a:cubicBezTo>
                <a:close/>
                <a:moveTo>
                  <a:pt x="5243703" y="5936662"/>
                </a:moveTo>
                <a:cubicBezTo>
                  <a:pt x="5250670" y="5936662"/>
                  <a:pt x="5257636" y="5936662"/>
                  <a:pt x="5275052" y="5936662"/>
                </a:cubicBezTo>
                <a:cubicBezTo>
                  <a:pt x="5275052" y="5936662"/>
                  <a:pt x="5275052" y="5936662"/>
                  <a:pt x="5292468" y="5936662"/>
                </a:cubicBezTo>
                <a:cubicBezTo>
                  <a:pt x="5323818" y="5936662"/>
                  <a:pt x="5337751" y="5957915"/>
                  <a:pt x="5337751" y="5975626"/>
                </a:cubicBezTo>
                <a:cubicBezTo>
                  <a:pt x="5337751" y="6000420"/>
                  <a:pt x="5320334" y="6014588"/>
                  <a:pt x="5288986" y="6014588"/>
                </a:cubicBezTo>
                <a:cubicBezTo>
                  <a:pt x="5268085" y="6014588"/>
                  <a:pt x="5250670" y="6014588"/>
                  <a:pt x="5243703" y="6014588"/>
                </a:cubicBezTo>
                <a:cubicBezTo>
                  <a:pt x="5243703" y="6014588"/>
                  <a:pt x="5243703" y="6014588"/>
                  <a:pt x="5243703" y="5936662"/>
                </a:cubicBezTo>
                <a:close/>
                <a:moveTo>
                  <a:pt x="5660874" y="5923227"/>
                </a:moveTo>
                <a:cubicBezTo>
                  <a:pt x="5660874" y="5923227"/>
                  <a:pt x="5660874" y="5923227"/>
                  <a:pt x="5629222" y="5930261"/>
                </a:cubicBezTo>
                <a:cubicBezTo>
                  <a:pt x="5625705" y="5930261"/>
                  <a:pt x="5625705" y="5933778"/>
                  <a:pt x="5625705" y="5937295"/>
                </a:cubicBezTo>
                <a:cubicBezTo>
                  <a:pt x="5625705" y="5937295"/>
                  <a:pt x="5625705" y="5937295"/>
                  <a:pt x="5625705" y="5968947"/>
                </a:cubicBezTo>
                <a:cubicBezTo>
                  <a:pt x="5625705" y="5968947"/>
                  <a:pt x="5625705" y="5968947"/>
                  <a:pt x="5608120" y="5968947"/>
                </a:cubicBezTo>
                <a:cubicBezTo>
                  <a:pt x="5604603" y="5968947"/>
                  <a:pt x="5601086" y="5968947"/>
                  <a:pt x="5601086" y="5975981"/>
                </a:cubicBezTo>
                <a:cubicBezTo>
                  <a:pt x="5601086" y="5975981"/>
                  <a:pt x="5601086" y="5975981"/>
                  <a:pt x="5601086" y="6000599"/>
                </a:cubicBezTo>
                <a:cubicBezTo>
                  <a:pt x="5601086" y="6004117"/>
                  <a:pt x="5604603" y="6007633"/>
                  <a:pt x="5608120" y="6007633"/>
                </a:cubicBezTo>
                <a:cubicBezTo>
                  <a:pt x="5608120" y="6007633"/>
                  <a:pt x="5608120" y="6007633"/>
                  <a:pt x="5625705" y="6007633"/>
                </a:cubicBezTo>
                <a:cubicBezTo>
                  <a:pt x="5625705" y="6007633"/>
                  <a:pt x="5625705" y="6007633"/>
                  <a:pt x="5625705" y="6092040"/>
                </a:cubicBezTo>
                <a:cubicBezTo>
                  <a:pt x="5625705" y="6144793"/>
                  <a:pt x="5639772" y="6162378"/>
                  <a:pt x="5681975" y="6162378"/>
                </a:cubicBezTo>
                <a:cubicBezTo>
                  <a:pt x="5692527" y="6162378"/>
                  <a:pt x="5703077" y="6158862"/>
                  <a:pt x="5713628" y="6158862"/>
                </a:cubicBezTo>
                <a:cubicBezTo>
                  <a:pt x="5717145" y="6158862"/>
                  <a:pt x="5720662" y="6155345"/>
                  <a:pt x="5720662" y="6151827"/>
                </a:cubicBezTo>
                <a:cubicBezTo>
                  <a:pt x="5720662" y="6151827"/>
                  <a:pt x="5720662" y="6151827"/>
                  <a:pt x="5720662" y="6127209"/>
                </a:cubicBezTo>
                <a:cubicBezTo>
                  <a:pt x="5720662" y="6123692"/>
                  <a:pt x="5717145" y="6120175"/>
                  <a:pt x="5713628" y="6120175"/>
                </a:cubicBezTo>
                <a:cubicBezTo>
                  <a:pt x="5706595" y="6120175"/>
                  <a:pt x="5696043" y="6120175"/>
                  <a:pt x="5689009" y="6120175"/>
                </a:cubicBezTo>
                <a:cubicBezTo>
                  <a:pt x="5667908" y="6120175"/>
                  <a:pt x="5667908" y="6113141"/>
                  <a:pt x="5667908" y="6085006"/>
                </a:cubicBezTo>
                <a:cubicBezTo>
                  <a:pt x="5667908" y="6085006"/>
                  <a:pt x="5667908" y="6085006"/>
                  <a:pt x="5667908" y="6007633"/>
                </a:cubicBezTo>
                <a:cubicBezTo>
                  <a:pt x="5667908" y="6007633"/>
                  <a:pt x="5667908" y="6007633"/>
                  <a:pt x="5713628" y="6007633"/>
                </a:cubicBezTo>
                <a:cubicBezTo>
                  <a:pt x="5717145" y="6007633"/>
                  <a:pt x="5720662" y="6004117"/>
                  <a:pt x="5720662" y="6000599"/>
                </a:cubicBezTo>
                <a:cubicBezTo>
                  <a:pt x="5720662" y="6000599"/>
                  <a:pt x="5720662" y="6000599"/>
                  <a:pt x="5720662" y="5975981"/>
                </a:cubicBezTo>
                <a:cubicBezTo>
                  <a:pt x="5720662" y="5968947"/>
                  <a:pt x="5717145" y="5968947"/>
                  <a:pt x="5713628" y="5968947"/>
                </a:cubicBezTo>
                <a:cubicBezTo>
                  <a:pt x="5713628" y="5968947"/>
                  <a:pt x="5713628" y="5968947"/>
                  <a:pt x="5667908" y="5968947"/>
                </a:cubicBezTo>
                <a:cubicBezTo>
                  <a:pt x="5667908" y="5968947"/>
                  <a:pt x="5667908" y="5968947"/>
                  <a:pt x="5667908" y="5930261"/>
                </a:cubicBezTo>
                <a:cubicBezTo>
                  <a:pt x="5667908" y="5926744"/>
                  <a:pt x="5667908" y="5926744"/>
                  <a:pt x="5664391" y="5923227"/>
                </a:cubicBezTo>
                <a:cubicBezTo>
                  <a:pt x="5664391" y="5923227"/>
                  <a:pt x="5660874" y="5923227"/>
                  <a:pt x="5660874" y="5923227"/>
                </a:cubicBezTo>
                <a:close/>
                <a:moveTo>
                  <a:pt x="5285479" y="5895013"/>
                </a:moveTo>
                <a:cubicBezTo>
                  <a:pt x="5274985" y="5895013"/>
                  <a:pt x="5243501" y="5895013"/>
                  <a:pt x="5205019" y="5898524"/>
                </a:cubicBezTo>
                <a:cubicBezTo>
                  <a:pt x="5201521" y="5898524"/>
                  <a:pt x="5198022" y="5902035"/>
                  <a:pt x="5198022" y="5905546"/>
                </a:cubicBezTo>
                <a:cubicBezTo>
                  <a:pt x="5198022" y="5905546"/>
                  <a:pt x="5198022" y="5905546"/>
                  <a:pt x="5198022" y="6151326"/>
                </a:cubicBezTo>
                <a:cubicBezTo>
                  <a:pt x="5198022" y="6154837"/>
                  <a:pt x="5201521" y="6158348"/>
                  <a:pt x="5205019" y="6158348"/>
                </a:cubicBezTo>
                <a:cubicBezTo>
                  <a:pt x="5205019" y="6158348"/>
                  <a:pt x="5205019" y="6158348"/>
                  <a:pt x="5236504" y="6158348"/>
                </a:cubicBezTo>
                <a:cubicBezTo>
                  <a:pt x="5240002" y="6158348"/>
                  <a:pt x="5243501" y="6154837"/>
                  <a:pt x="5243501" y="6151326"/>
                </a:cubicBezTo>
                <a:cubicBezTo>
                  <a:pt x="5243501" y="6151326"/>
                  <a:pt x="5243501" y="6151326"/>
                  <a:pt x="5243501" y="6053014"/>
                </a:cubicBezTo>
                <a:cubicBezTo>
                  <a:pt x="5253995" y="6056525"/>
                  <a:pt x="5271486" y="6056525"/>
                  <a:pt x="5292476" y="6056525"/>
                </a:cubicBezTo>
                <a:cubicBezTo>
                  <a:pt x="5292476" y="6056525"/>
                  <a:pt x="5292476" y="6056525"/>
                  <a:pt x="5337954" y="6154837"/>
                </a:cubicBezTo>
                <a:cubicBezTo>
                  <a:pt x="5337954" y="6154837"/>
                  <a:pt x="5341452" y="6158348"/>
                  <a:pt x="5344951" y="6158348"/>
                </a:cubicBezTo>
                <a:cubicBezTo>
                  <a:pt x="5344951" y="6158348"/>
                  <a:pt x="5344951" y="6158348"/>
                  <a:pt x="5376435" y="6158348"/>
                </a:cubicBezTo>
                <a:cubicBezTo>
                  <a:pt x="5379934" y="6158348"/>
                  <a:pt x="5383431" y="6154837"/>
                  <a:pt x="5383431" y="6154837"/>
                </a:cubicBezTo>
                <a:cubicBezTo>
                  <a:pt x="5383431" y="6151326"/>
                  <a:pt x="5383431" y="6151326"/>
                  <a:pt x="5383431" y="6147815"/>
                </a:cubicBezTo>
                <a:lnTo>
                  <a:pt x="5337954" y="6042481"/>
                </a:lnTo>
                <a:cubicBezTo>
                  <a:pt x="5369438" y="6028436"/>
                  <a:pt x="5383431" y="6007369"/>
                  <a:pt x="5383431" y="5975769"/>
                </a:cubicBezTo>
                <a:cubicBezTo>
                  <a:pt x="5383431" y="5937146"/>
                  <a:pt x="5365940" y="5895013"/>
                  <a:pt x="5292476" y="5895013"/>
                </a:cubicBezTo>
                <a:cubicBezTo>
                  <a:pt x="5292476" y="5895013"/>
                  <a:pt x="5288978" y="5895013"/>
                  <a:pt x="5285479" y="5895013"/>
                </a:cubicBezTo>
                <a:close/>
                <a:moveTo>
                  <a:pt x="6840997" y="5864091"/>
                </a:moveTo>
                <a:cubicBezTo>
                  <a:pt x="6843176" y="5864532"/>
                  <a:pt x="6845791" y="5866295"/>
                  <a:pt x="6847534" y="5869822"/>
                </a:cubicBezTo>
                <a:cubicBezTo>
                  <a:pt x="6903309" y="5926252"/>
                  <a:pt x="6931196" y="6017949"/>
                  <a:pt x="6910281" y="6109646"/>
                </a:cubicBezTo>
                <a:cubicBezTo>
                  <a:pt x="6910281" y="6113173"/>
                  <a:pt x="6906795" y="6116699"/>
                  <a:pt x="6899823" y="6113173"/>
                </a:cubicBezTo>
                <a:cubicBezTo>
                  <a:pt x="6899823" y="6113173"/>
                  <a:pt x="6899823" y="6113173"/>
                  <a:pt x="6861478" y="6102592"/>
                </a:cubicBezTo>
                <a:cubicBezTo>
                  <a:pt x="6857992" y="6102592"/>
                  <a:pt x="6854506" y="6099065"/>
                  <a:pt x="6854506" y="6092012"/>
                </a:cubicBezTo>
                <a:cubicBezTo>
                  <a:pt x="6868450" y="6017949"/>
                  <a:pt x="6851020" y="5957992"/>
                  <a:pt x="6809188" y="5912144"/>
                </a:cubicBezTo>
                <a:cubicBezTo>
                  <a:pt x="6802216" y="5908618"/>
                  <a:pt x="6802216" y="5901563"/>
                  <a:pt x="6809188" y="5898037"/>
                </a:cubicBezTo>
                <a:cubicBezTo>
                  <a:pt x="6809188" y="5898037"/>
                  <a:pt x="6809188" y="5898037"/>
                  <a:pt x="6837075" y="5866295"/>
                </a:cubicBezTo>
                <a:cubicBezTo>
                  <a:pt x="6837075" y="5864532"/>
                  <a:pt x="6838819" y="5863650"/>
                  <a:pt x="6840997" y="5864091"/>
                </a:cubicBezTo>
                <a:close/>
                <a:moveTo>
                  <a:pt x="6460734" y="5864091"/>
                </a:moveTo>
                <a:cubicBezTo>
                  <a:pt x="6462935" y="5863650"/>
                  <a:pt x="6464696" y="5864532"/>
                  <a:pt x="6464696" y="5866295"/>
                </a:cubicBezTo>
                <a:cubicBezTo>
                  <a:pt x="6464696" y="5866295"/>
                  <a:pt x="6464696" y="5866295"/>
                  <a:pt x="6496396" y="5898037"/>
                </a:cubicBezTo>
                <a:cubicBezTo>
                  <a:pt x="6499919" y="5901563"/>
                  <a:pt x="6499919" y="5908618"/>
                  <a:pt x="6492874" y="5912144"/>
                </a:cubicBezTo>
                <a:cubicBezTo>
                  <a:pt x="6450607" y="5957992"/>
                  <a:pt x="6432995" y="6017949"/>
                  <a:pt x="6447085" y="6092012"/>
                </a:cubicBezTo>
                <a:cubicBezTo>
                  <a:pt x="6447085" y="6099065"/>
                  <a:pt x="6443563" y="6102592"/>
                  <a:pt x="6440040" y="6102592"/>
                </a:cubicBezTo>
                <a:cubicBezTo>
                  <a:pt x="6440040" y="6102592"/>
                  <a:pt x="6440040" y="6102592"/>
                  <a:pt x="6401295" y="6113173"/>
                </a:cubicBezTo>
                <a:cubicBezTo>
                  <a:pt x="6394251" y="6116699"/>
                  <a:pt x="6390728" y="6113173"/>
                  <a:pt x="6390728" y="6109646"/>
                </a:cubicBezTo>
                <a:cubicBezTo>
                  <a:pt x="6369595" y="6017949"/>
                  <a:pt x="6397773" y="5926252"/>
                  <a:pt x="6454129" y="5869822"/>
                </a:cubicBezTo>
                <a:cubicBezTo>
                  <a:pt x="6455890" y="5866295"/>
                  <a:pt x="6458533" y="5864532"/>
                  <a:pt x="6460734" y="5864091"/>
                </a:cubicBezTo>
                <a:close/>
                <a:moveTo>
                  <a:pt x="6679416" y="5858737"/>
                </a:moveTo>
                <a:cubicBezTo>
                  <a:pt x="6682909" y="5858737"/>
                  <a:pt x="6682909" y="5858737"/>
                  <a:pt x="6686403" y="5858737"/>
                </a:cubicBezTo>
                <a:cubicBezTo>
                  <a:pt x="6731814" y="5869333"/>
                  <a:pt x="6763254" y="5886990"/>
                  <a:pt x="6794693" y="5922306"/>
                </a:cubicBezTo>
                <a:cubicBezTo>
                  <a:pt x="6798186" y="5925838"/>
                  <a:pt x="6798186" y="5925838"/>
                  <a:pt x="6798186" y="5929370"/>
                </a:cubicBezTo>
                <a:cubicBezTo>
                  <a:pt x="6798186" y="5932901"/>
                  <a:pt x="6794693" y="5932901"/>
                  <a:pt x="6791199" y="5936433"/>
                </a:cubicBezTo>
                <a:cubicBezTo>
                  <a:pt x="6791199" y="5936433"/>
                  <a:pt x="6791199" y="5936433"/>
                  <a:pt x="6700376" y="5982344"/>
                </a:cubicBezTo>
                <a:cubicBezTo>
                  <a:pt x="6696882" y="5982344"/>
                  <a:pt x="6693389" y="5982344"/>
                  <a:pt x="6689896" y="5982344"/>
                </a:cubicBezTo>
                <a:cubicBezTo>
                  <a:pt x="6686403" y="5978812"/>
                  <a:pt x="6686403" y="5975280"/>
                  <a:pt x="6682909" y="5971749"/>
                </a:cubicBezTo>
                <a:cubicBezTo>
                  <a:pt x="6682909" y="5971749"/>
                  <a:pt x="6682909" y="5971749"/>
                  <a:pt x="6675923" y="5869333"/>
                </a:cubicBezTo>
                <a:cubicBezTo>
                  <a:pt x="6675923" y="5865801"/>
                  <a:pt x="6675923" y="5862269"/>
                  <a:pt x="6679416" y="5858737"/>
                </a:cubicBezTo>
                <a:close/>
                <a:moveTo>
                  <a:pt x="6615733" y="5858737"/>
                </a:moveTo>
                <a:cubicBezTo>
                  <a:pt x="6619226" y="5858737"/>
                  <a:pt x="6619226" y="5858737"/>
                  <a:pt x="6622719" y="5858737"/>
                </a:cubicBezTo>
                <a:cubicBezTo>
                  <a:pt x="6622719" y="5862269"/>
                  <a:pt x="6626212" y="5865801"/>
                  <a:pt x="6626212" y="5869333"/>
                </a:cubicBezTo>
                <a:cubicBezTo>
                  <a:pt x="6626212" y="5869333"/>
                  <a:pt x="6626212" y="5869333"/>
                  <a:pt x="6615733" y="5975280"/>
                </a:cubicBezTo>
                <a:cubicBezTo>
                  <a:pt x="6615733" y="5978812"/>
                  <a:pt x="6615733" y="5982344"/>
                  <a:pt x="6612239" y="5982344"/>
                </a:cubicBezTo>
                <a:cubicBezTo>
                  <a:pt x="6608746" y="5982344"/>
                  <a:pt x="6605253" y="5982344"/>
                  <a:pt x="6601760" y="5982344"/>
                </a:cubicBezTo>
                <a:cubicBezTo>
                  <a:pt x="6601760" y="5982344"/>
                  <a:pt x="6601760" y="5982344"/>
                  <a:pt x="6510935" y="5936433"/>
                </a:cubicBezTo>
                <a:cubicBezTo>
                  <a:pt x="6507443" y="5936433"/>
                  <a:pt x="6503949" y="5932901"/>
                  <a:pt x="6503949" y="5929370"/>
                </a:cubicBezTo>
                <a:cubicBezTo>
                  <a:pt x="6503949" y="5929370"/>
                  <a:pt x="6503949" y="5925838"/>
                  <a:pt x="6507443" y="5922306"/>
                </a:cubicBezTo>
                <a:cubicBezTo>
                  <a:pt x="6538881" y="5890522"/>
                  <a:pt x="6570321" y="5869333"/>
                  <a:pt x="6615733" y="5858737"/>
                </a:cubicBezTo>
                <a:close/>
                <a:moveTo>
                  <a:pt x="6534583" y="5823805"/>
                </a:moveTo>
                <a:cubicBezTo>
                  <a:pt x="6538076" y="5823805"/>
                  <a:pt x="6541569" y="5827500"/>
                  <a:pt x="6541569" y="5831195"/>
                </a:cubicBezTo>
                <a:cubicBezTo>
                  <a:pt x="6541569" y="5834890"/>
                  <a:pt x="6541569" y="5834890"/>
                  <a:pt x="6538076" y="5834890"/>
                </a:cubicBezTo>
                <a:cubicBezTo>
                  <a:pt x="6538076" y="5834890"/>
                  <a:pt x="6538076" y="5834890"/>
                  <a:pt x="6531089" y="5838585"/>
                </a:cubicBezTo>
                <a:cubicBezTo>
                  <a:pt x="6531089" y="5838585"/>
                  <a:pt x="6531089" y="5838585"/>
                  <a:pt x="6527596" y="5831195"/>
                </a:cubicBezTo>
                <a:cubicBezTo>
                  <a:pt x="6527596" y="5831195"/>
                  <a:pt x="6527596" y="5831195"/>
                  <a:pt x="6524103" y="5831195"/>
                </a:cubicBezTo>
                <a:cubicBezTo>
                  <a:pt x="6527596" y="5827500"/>
                  <a:pt x="6531089" y="5827500"/>
                  <a:pt x="6534583" y="5823805"/>
                </a:cubicBezTo>
                <a:close/>
                <a:moveTo>
                  <a:pt x="6531109" y="5816608"/>
                </a:moveTo>
                <a:cubicBezTo>
                  <a:pt x="6527557" y="5820158"/>
                  <a:pt x="6520456" y="5823710"/>
                  <a:pt x="6513354" y="5827260"/>
                </a:cubicBezTo>
                <a:cubicBezTo>
                  <a:pt x="6513354" y="5827260"/>
                  <a:pt x="6513354" y="5827260"/>
                  <a:pt x="6516905" y="5830811"/>
                </a:cubicBezTo>
                <a:lnTo>
                  <a:pt x="6534660" y="5862769"/>
                </a:lnTo>
                <a:cubicBezTo>
                  <a:pt x="6538210" y="5862769"/>
                  <a:pt x="6538210" y="5859217"/>
                  <a:pt x="6541761" y="5859217"/>
                </a:cubicBezTo>
                <a:cubicBezTo>
                  <a:pt x="6541761" y="5859217"/>
                  <a:pt x="6541761" y="5859217"/>
                  <a:pt x="6534660" y="5845014"/>
                </a:cubicBezTo>
                <a:cubicBezTo>
                  <a:pt x="6534660" y="5845014"/>
                  <a:pt x="6534660" y="5845014"/>
                  <a:pt x="6541761" y="5841464"/>
                </a:cubicBezTo>
                <a:cubicBezTo>
                  <a:pt x="6541761" y="5841464"/>
                  <a:pt x="6541761" y="5841464"/>
                  <a:pt x="6555964" y="5852116"/>
                </a:cubicBezTo>
                <a:cubicBezTo>
                  <a:pt x="6559516" y="5848565"/>
                  <a:pt x="6559516" y="5848565"/>
                  <a:pt x="6563066" y="5848565"/>
                </a:cubicBezTo>
                <a:cubicBezTo>
                  <a:pt x="6563066" y="5848565"/>
                  <a:pt x="6563066" y="5848565"/>
                  <a:pt x="6548863" y="5834362"/>
                </a:cubicBezTo>
                <a:cubicBezTo>
                  <a:pt x="6548863" y="5834362"/>
                  <a:pt x="6548863" y="5834362"/>
                  <a:pt x="6548863" y="5830811"/>
                </a:cubicBezTo>
                <a:cubicBezTo>
                  <a:pt x="6552413" y="5823710"/>
                  <a:pt x="6541761" y="5813057"/>
                  <a:pt x="6531109" y="5816608"/>
                </a:cubicBezTo>
                <a:close/>
                <a:moveTo>
                  <a:pt x="6752016" y="5810370"/>
                </a:moveTo>
                <a:cubicBezTo>
                  <a:pt x="6755559" y="5834554"/>
                  <a:pt x="6755559" y="5834554"/>
                  <a:pt x="6755559" y="5834554"/>
                </a:cubicBezTo>
                <a:cubicBezTo>
                  <a:pt x="6748474" y="5851828"/>
                  <a:pt x="6748474" y="5851828"/>
                  <a:pt x="6748474" y="5851828"/>
                </a:cubicBezTo>
                <a:lnTo>
                  <a:pt x="6755559" y="5858737"/>
                </a:lnTo>
                <a:cubicBezTo>
                  <a:pt x="6762643" y="5841463"/>
                  <a:pt x="6762643" y="5841463"/>
                  <a:pt x="6762643" y="5841463"/>
                </a:cubicBezTo>
                <a:cubicBezTo>
                  <a:pt x="6787438" y="5827644"/>
                  <a:pt x="6787438" y="5827644"/>
                  <a:pt x="6787438" y="5827644"/>
                </a:cubicBezTo>
                <a:cubicBezTo>
                  <a:pt x="6787438" y="5827644"/>
                  <a:pt x="6783896" y="5824189"/>
                  <a:pt x="6780354" y="5824189"/>
                </a:cubicBezTo>
                <a:cubicBezTo>
                  <a:pt x="6762643" y="5831099"/>
                  <a:pt x="6762643" y="5831099"/>
                  <a:pt x="6762643" y="5831099"/>
                </a:cubicBezTo>
                <a:cubicBezTo>
                  <a:pt x="6759101" y="5813824"/>
                  <a:pt x="6759101" y="5813824"/>
                  <a:pt x="6759101" y="5813824"/>
                </a:cubicBezTo>
                <a:cubicBezTo>
                  <a:pt x="6755559" y="5810370"/>
                  <a:pt x="6755559" y="5810370"/>
                  <a:pt x="6752016" y="5810370"/>
                </a:cubicBezTo>
                <a:close/>
                <a:moveTo>
                  <a:pt x="6717036" y="5806340"/>
                </a:moveTo>
                <a:cubicBezTo>
                  <a:pt x="6720529" y="5806340"/>
                  <a:pt x="6724022" y="5806340"/>
                  <a:pt x="6727516" y="5809699"/>
                </a:cubicBezTo>
                <a:cubicBezTo>
                  <a:pt x="6727516" y="5809699"/>
                  <a:pt x="6731009" y="5809699"/>
                  <a:pt x="6731009" y="5813058"/>
                </a:cubicBezTo>
                <a:cubicBezTo>
                  <a:pt x="6731009" y="5816416"/>
                  <a:pt x="6727516" y="5819775"/>
                  <a:pt x="6724022" y="5819775"/>
                </a:cubicBezTo>
                <a:cubicBezTo>
                  <a:pt x="6724022" y="5819775"/>
                  <a:pt x="6724022" y="5819775"/>
                  <a:pt x="6713542" y="5816416"/>
                </a:cubicBezTo>
                <a:lnTo>
                  <a:pt x="6713542" y="5813058"/>
                </a:lnTo>
                <a:cubicBezTo>
                  <a:pt x="6713542" y="5813058"/>
                  <a:pt x="6713542" y="5813058"/>
                  <a:pt x="6717036" y="5806340"/>
                </a:cubicBezTo>
                <a:close/>
                <a:moveTo>
                  <a:pt x="6583891" y="5805835"/>
                </a:moveTo>
                <a:cubicBezTo>
                  <a:pt x="6590945" y="5802308"/>
                  <a:pt x="6597998" y="5809363"/>
                  <a:pt x="6597998" y="5816416"/>
                </a:cubicBezTo>
                <a:cubicBezTo>
                  <a:pt x="6597998" y="5823470"/>
                  <a:pt x="6590945" y="5830523"/>
                  <a:pt x="6583891" y="5830523"/>
                </a:cubicBezTo>
                <a:cubicBezTo>
                  <a:pt x="6576837" y="5830523"/>
                  <a:pt x="6569783" y="5826997"/>
                  <a:pt x="6569783" y="5819943"/>
                </a:cubicBezTo>
                <a:cubicBezTo>
                  <a:pt x="6569783" y="5819943"/>
                  <a:pt x="6569783" y="5819943"/>
                  <a:pt x="6569783" y="5816416"/>
                </a:cubicBezTo>
                <a:cubicBezTo>
                  <a:pt x="6569783" y="5809363"/>
                  <a:pt x="6576837" y="5805835"/>
                  <a:pt x="6583891" y="5805835"/>
                </a:cubicBezTo>
                <a:close/>
                <a:moveTo>
                  <a:pt x="6671893" y="5799621"/>
                </a:moveTo>
                <a:cubicBezTo>
                  <a:pt x="6671893" y="5799621"/>
                  <a:pt x="6671893" y="5799621"/>
                  <a:pt x="6675251" y="5810101"/>
                </a:cubicBezTo>
                <a:cubicBezTo>
                  <a:pt x="6675251" y="5810101"/>
                  <a:pt x="6675251" y="5810101"/>
                  <a:pt x="6678610" y="5817088"/>
                </a:cubicBezTo>
                <a:cubicBezTo>
                  <a:pt x="6675251" y="5817088"/>
                  <a:pt x="6668534" y="5817088"/>
                  <a:pt x="6665174" y="5817088"/>
                </a:cubicBezTo>
                <a:lnTo>
                  <a:pt x="6668534" y="5810101"/>
                </a:lnTo>
                <a:cubicBezTo>
                  <a:pt x="6668534" y="5810101"/>
                  <a:pt x="6668534" y="5810101"/>
                  <a:pt x="6671893" y="5799621"/>
                </a:cubicBezTo>
                <a:close/>
                <a:moveTo>
                  <a:pt x="6580420" y="5799105"/>
                </a:moveTo>
                <a:cubicBezTo>
                  <a:pt x="6570007" y="5799105"/>
                  <a:pt x="6563065" y="5806133"/>
                  <a:pt x="6563065" y="5816675"/>
                </a:cubicBezTo>
                <a:cubicBezTo>
                  <a:pt x="6563065" y="5820188"/>
                  <a:pt x="6563065" y="5820188"/>
                  <a:pt x="6563065" y="5820188"/>
                </a:cubicBezTo>
                <a:cubicBezTo>
                  <a:pt x="6563065" y="5830730"/>
                  <a:pt x="6573477" y="5841272"/>
                  <a:pt x="6583891" y="5837758"/>
                </a:cubicBezTo>
                <a:cubicBezTo>
                  <a:pt x="6597774" y="5837758"/>
                  <a:pt x="6604715" y="5830730"/>
                  <a:pt x="6604715" y="5816675"/>
                </a:cubicBezTo>
                <a:cubicBezTo>
                  <a:pt x="6604715" y="5806133"/>
                  <a:pt x="6594303" y="5795591"/>
                  <a:pt x="6580420" y="5799105"/>
                </a:cubicBezTo>
                <a:close/>
                <a:moveTo>
                  <a:pt x="6710733" y="5795591"/>
                </a:moveTo>
                <a:cubicBezTo>
                  <a:pt x="6710733" y="5795591"/>
                  <a:pt x="6710733" y="5795591"/>
                  <a:pt x="6707191" y="5813345"/>
                </a:cubicBezTo>
                <a:cubicBezTo>
                  <a:pt x="6707191" y="5813345"/>
                  <a:pt x="6707191" y="5813345"/>
                  <a:pt x="6700107" y="5834650"/>
                </a:cubicBezTo>
                <a:cubicBezTo>
                  <a:pt x="6703649" y="5838201"/>
                  <a:pt x="6707191" y="5838201"/>
                  <a:pt x="6710733" y="5838201"/>
                </a:cubicBezTo>
                <a:lnTo>
                  <a:pt x="6714275" y="5823998"/>
                </a:lnTo>
                <a:cubicBezTo>
                  <a:pt x="6714275" y="5823998"/>
                  <a:pt x="6714275" y="5823998"/>
                  <a:pt x="6721360" y="5823998"/>
                </a:cubicBezTo>
                <a:cubicBezTo>
                  <a:pt x="6721360" y="5823998"/>
                  <a:pt x="6721360" y="5823998"/>
                  <a:pt x="6724902" y="5841752"/>
                </a:cubicBezTo>
                <a:cubicBezTo>
                  <a:pt x="6728443" y="5845303"/>
                  <a:pt x="6728443" y="5845303"/>
                  <a:pt x="6731986" y="5845303"/>
                </a:cubicBezTo>
                <a:cubicBezTo>
                  <a:pt x="6731986" y="5845303"/>
                  <a:pt x="6731986" y="5845303"/>
                  <a:pt x="6728443" y="5827549"/>
                </a:cubicBezTo>
                <a:cubicBezTo>
                  <a:pt x="6735528" y="5823998"/>
                  <a:pt x="6739070" y="5816896"/>
                  <a:pt x="6739070" y="5813345"/>
                </a:cubicBezTo>
                <a:cubicBezTo>
                  <a:pt x="6739070" y="5806244"/>
                  <a:pt x="6735528" y="5802693"/>
                  <a:pt x="6731986" y="5802693"/>
                </a:cubicBezTo>
                <a:cubicBezTo>
                  <a:pt x="6724902" y="5799142"/>
                  <a:pt x="6717817" y="5795591"/>
                  <a:pt x="6710733" y="5795591"/>
                </a:cubicBezTo>
                <a:close/>
                <a:moveTo>
                  <a:pt x="6668106" y="5788873"/>
                </a:moveTo>
                <a:cubicBezTo>
                  <a:pt x="6668106" y="5788873"/>
                  <a:pt x="6668106" y="5788873"/>
                  <a:pt x="6661022" y="5809957"/>
                </a:cubicBezTo>
                <a:cubicBezTo>
                  <a:pt x="6661022" y="5809957"/>
                  <a:pt x="6661022" y="5809957"/>
                  <a:pt x="6650396" y="5831040"/>
                </a:cubicBezTo>
                <a:cubicBezTo>
                  <a:pt x="6653938" y="5831040"/>
                  <a:pt x="6653938" y="5831040"/>
                  <a:pt x="6657481" y="5831040"/>
                </a:cubicBezTo>
                <a:lnTo>
                  <a:pt x="6661022" y="5824012"/>
                </a:lnTo>
                <a:cubicBezTo>
                  <a:pt x="6668106" y="5824012"/>
                  <a:pt x="6671649" y="5824012"/>
                  <a:pt x="6678733" y="5824012"/>
                </a:cubicBezTo>
                <a:cubicBezTo>
                  <a:pt x="6678733" y="5824012"/>
                  <a:pt x="6678733" y="5824012"/>
                  <a:pt x="6682275" y="5831040"/>
                </a:cubicBezTo>
                <a:cubicBezTo>
                  <a:pt x="6685817" y="5831040"/>
                  <a:pt x="6685817" y="5834554"/>
                  <a:pt x="6689359" y="5834554"/>
                </a:cubicBezTo>
                <a:cubicBezTo>
                  <a:pt x="6689359" y="5834554"/>
                  <a:pt x="6689359" y="5834554"/>
                  <a:pt x="6682275" y="5809957"/>
                </a:cubicBezTo>
                <a:cubicBezTo>
                  <a:pt x="6682275" y="5809957"/>
                  <a:pt x="6682275" y="5809957"/>
                  <a:pt x="6678733" y="5788873"/>
                </a:cubicBezTo>
                <a:cubicBezTo>
                  <a:pt x="6678733" y="5788873"/>
                  <a:pt x="6678733" y="5788873"/>
                  <a:pt x="6668106" y="5788873"/>
                </a:cubicBezTo>
                <a:close/>
                <a:moveTo>
                  <a:pt x="6647709" y="5788873"/>
                </a:moveTo>
                <a:cubicBezTo>
                  <a:pt x="6629999" y="5788873"/>
                  <a:pt x="6622914" y="5788873"/>
                  <a:pt x="6608746" y="5792344"/>
                </a:cubicBezTo>
                <a:cubicBezTo>
                  <a:pt x="6608746" y="5799285"/>
                  <a:pt x="6608746" y="5799285"/>
                  <a:pt x="6608746" y="5799285"/>
                </a:cubicBezTo>
                <a:lnTo>
                  <a:pt x="6622914" y="5795815"/>
                </a:lnTo>
                <a:cubicBezTo>
                  <a:pt x="6626456" y="5830523"/>
                  <a:pt x="6626456" y="5830523"/>
                  <a:pt x="6626456" y="5830523"/>
                </a:cubicBezTo>
                <a:cubicBezTo>
                  <a:pt x="6637082" y="5830523"/>
                  <a:pt x="6637082" y="5830523"/>
                  <a:pt x="6637082" y="5830523"/>
                </a:cubicBezTo>
                <a:cubicBezTo>
                  <a:pt x="6633540" y="5795815"/>
                  <a:pt x="6633540" y="5795815"/>
                  <a:pt x="6633540" y="5795815"/>
                </a:cubicBezTo>
                <a:cubicBezTo>
                  <a:pt x="6647709" y="5795815"/>
                  <a:pt x="6647709" y="5795815"/>
                  <a:pt x="6647709" y="5795815"/>
                </a:cubicBezTo>
                <a:cubicBezTo>
                  <a:pt x="6647709" y="5788873"/>
                  <a:pt x="6647709" y="5788873"/>
                  <a:pt x="6647709" y="5788873"/>
                </a:cubicBezTo>
                <a:close/>
                <a:moveTo>
                  <a:pt x="6198068" y="5788872"/>
                </a:moveTo>
                <a:cubicBezTo>
                  <a:pt x="6215982" y="5788872"/>
                  <a:pt x="6223148" y="5806339"/>
                  <a:pt x="6223148" y="5823804"/>
                </a:cubicBezTo>
                <a:lnTo>
                  <a:pt x="6169406" y="5823804"/>
                </a:lnTo>
                <a:cubicBezTo>
                  <a:pt x="6169406" y="5806339"/>
                  <a:pt x="6180154" y="5788872"/>
                  <a:pt x="6198068" y="5788872"/>
                </a:cubicBezTo>
                <a:close/>
                <a:moveTo>
                  <a:pt x="6650396" y="5782156"/>
                </a:moveTo>
                <a:cubicBezTo>
                  <a:pt x="6713570" y="5782156"/>
                  <a:pt x="6769725" y="5803115"/>
                  <a:pt x="6815350" y="5838047"/>
                </a:cubicBezTo>
                <a:cubicBezTo>
                  <a:pt x="6822370" y="5845034"/>
                  <a:pt x="6822370" y="5848527"/>
                  <a:pt x="6818860" y="5852020"/>
                </a:cubicBezTo>
                <a:cubicBezTo>
                  <a:pt x="6818860" y="5852020"/>
                  <a:pt x="6818860" y="5852020"/>
                  <a:pt x="6790783" y="5883460"/>
                </a:cubicBezTo>
                <a:cubicBezTo>
                  <a:pt x="6787273" y="5886952"/>
                  <a:pt x="6783764" y="5886952"/>
                  <a:pt x="6776744" y="5883460"/>
                </a:cubicBezTo>
                <a:cubicBezTo>
                  <a:pt x="6741648" y="5855514"/>
                  <a:pt x="6696021" y="5838047"/>
                  <a:pt x="6650396" y="5838047"/>
                </a:cubicBezTo>
                <a:cubicBezTo>
                  <a:pt x="6601261" y="5838047"/>
                  <a:pt x="6559145" y="5855514"/>
                  <a:pt x="6524048" y="5883460"/>
                </a:cubicBezTo>
                <a:cubicBezTo>
                  <a:pt x="6517028" y="5886952"/>
                  <a:pt x="6513519" y="5886952"/>
                  <a:pt x="6510010" y="5883460"/>
                </a:cubicBezTo>
                <a:cubicBezTo>
                  <a:pt x="6510010" y="5883460"/>
                  <a:pt x="6510010" y="5883460"/>
                  <a:pt x="6481932" y="5852020"/>
                </a:cubicBezTo>
                <a:cubicBezTo>
                  <a:pt x="6478422" y="5848527"/>
                  <a:pt x="6478422" y="5845034"/>
                  <a:pt x="6485442" y="5838047"/>
                </a:cubicBezTo>
                <a:cubicBezTo>
                  <a:pt x="6531067" y="5803115"/>
                  <a:pt x="6587222" y="5782156"/>
                  <a:pt x="6650396" y="5782156"/>
                </a:cubicBezTo>
                <a:close/>
                <a:moveTo>
                  <a:pt x="6198292" y="5782155"/>
                </a:moveTo>
                <a:cubicBezTo>
                  <a:pt x="6173924" y="5782155"/>
                  <a:pt x="6160001" y="5799669"/>
                  <a:pt x="6160001" y="5831195"/>
                </a:cubicBezTo>
                <a:cubicBezTo>
                  <a:pt x="6160001" y="5859217"/>
                  <a:pt x="6170443" y="5880234"/>
                  <a:pt x="6201773" y="5880234"/>
                </a:cubicBezTo>
                <a:cubicBezTo>
                  <a:pt x="6208735" y="5880234"/>
                  <a:pt x="6222659" y="5876731"/>
                  <a:pt x="6229621" y="5873228"/>
                </a:cubicBezTo>
                <a:lnTo>
                  <a:pt x="6229621" y="5862720"/>
                </a:lnTo>
                <a:cubicBezTo>
                  <a:pt x="6222659" y="5866223"/>
                  <a:pt x="6212216" y="5869725"/>
                  <a:pt x="6201773" y="5869725"/>
                </a:cubicBezTo>
                <a:cubicBezTo>
                  <a:pt x="6180887" y="5869725"/>
                  <a:pt x="6170443" y="5852211"/>
                  <a:pt x="6170443" y="5834698"/>
                </a:cubicBezTo>
                <a:cubicBezTo>
                  <a:pt x="6170443" y="5834698"/>
                  <a:pt x="6170443" y="5834698"/>
                  <a:pt x="6236583" y="5834698"/>
                </a:cubicBezTo>
                <a:cubicBezTo>
                  <a:pt x="6236583" y="5834698"/>
                  <a:pt x="6236583" y="5834698"/>
                  <a:pt x="6236583" y="5827692"/>
                </a:cubicBezTo>
                <a:cubicBezTo>
                  <a:pt x="6236583" y="5803172"/>
                  <a:pt x="6226140" y="5782155"/>
                  <a:pt x="6198292" y="5782155"/>
                </a:cubicBezTo>
                <a:close/>
                <a:moveTo>
                  <a:pt x="5949064" y="5745879"/>
                </a:moveTo>
                <a:lnTo>
                  <a:pt x="5949064" y="5756627"/>
                </a:lnTo>
                <a:lnTo>
                  <a:pt x="5988028" y="5756627"/>
                </a:lnTo>
                <a:lnTo>
                  <a:pt x="5988028" y="5876203"/>
                </a:lnTo>
                <a:lnTo>
                  <a:pt x="6001464" y="5876203"/>
                </a:lnTo>
                <a:lnTo>
                  <a:pt x="6001464" y="5756627"/>
                </a:lnTo>
                <a:lnTo>
                  <a:pt x="6040426" y="5756627"/>
                </a:lnTo>
                <a:lnTo>
                  <a:pt x="6040426" y="5745879"/>
                </a:lnTo>
                <a:close/>
                <a:moveTo>
                  <a:pt x="6061922" y="5735130"/>
                </a:moveTo>
                <a:lnTo>
                  <a:pt x="6061922" y="5876203"/>
                </a:lnTo>
                <a:cubicBezTo>
                  <a:pt x="6061922" y="5876203"/>
                  <a:pt x="6061922" y="5876203"/>
                  <a:pt x="6072287" y="5876203"/>
                </a:cubicBezTo>
                <a:cubicBezTo>
                  <a:pt x="6072287" y="5876203"/>
                  <a:pt x="6072287" y="5876203"/>
                  <a:pt x="6072287" y="5826827"/>
                </a:cubicBezTo>
                <a:cubicBezTo>
                  <a:pt x="6072287" y="5809193"/>
                  <a:pt x="6079197" y="5788033"/>
                  <a:pt x="6099926" y="5788033"/>
                </a:cubicBezTo>
                <a:cubicBezTo>
                  <a:pt x="6120655" y="5788033"/>
                  <a:pt x="6120655" y="5802140"/>
                  <a:pt x="6120655" y="5819774"/>
                </a:cubicBezTo>
                <a:cubicBezTo>
                  <a:pt x="6120655" y="5819774"/>
                  <a:pt x="6120655" y="5819774"/>
                  <a:pt x="6120655" y="5876203"/>
                </a:cubicBezTo>
                <a:cubicBezTo>
                  <a:pt x="6120655" y="5876203"/>
                  <a:pt x="6120655" y="5876203"/>
                  <a:pt x="6134474" y="5876203"/>
                </a:cubicBezTo>
                <a:cubicBezTo>
                  <a:pt x="6134474" y="5876203"/>
                  <a:pt x="6134474" y="5876203"/>
                  <a:pt x="6134474" y="5819774"/>
                </a:cubicBezTo>
                <a:cubicBezTo>
                  <a:pt x="6134474" y="5795086"/>
                  <a:pt x="6127564" y="5780979"/>
                  <a:pt x="6103380" y="5780979"/>
                </a:cubicBezTo>
                <a:cubicBezTo>
                  <a:pt x="6089561" y="5780979"/>
                  <a:pt x="6079197" y="5788033"/>
                  <a:pt x="6072287" y="5798613"/>
                </a:cubicBezTo>
                <a:cubicBezTo>
                  <a:pt x="6072287" y="5798613"/>
                  <a:pt x="6072287" y="5798613"/>
                  <a:pt x="6072287" y="5735130"/>
                </a:cubicBezTo>
                <a:cubicBezTo>
                  <a:pt x="6072287" y="5735130"/>
                  <a:pt x="6072287" y="5735130"/>
                  <a:pt x="6061922" y="5735130"/>
                </a:cubicBezTo>
                <a:close/>
                <a:moveTo>
                  <a:pt x="6640551" y="5710947"/>
                </a:moveTo>
                <a:cubicBezTo>
                  <a:pt x="6630033" y="5728568"/>
                  <a:pt x="6626527" y="5746189"/>
                  <a:pt x="6626527" y="5763810"/>
                </a:cubicBezTo>
                <a:cubicBezTo>
                  <a:pt x="6623021" y="5763810"/>
                  <a:pt x="6605492" y="5767334"/>
                  <a:pt x="6601987" y="5767334"/>
                </a:cubicBezTo>
                <a:cubicBezTo>
                  <a:pt x="6598480" y="5749713"/>
                  <a:pt x="6587963" y="5732092"/>
                  <a:pt x="6577446" y="5721520"/>
                </a:cubicBezTo>
                <a:cubicBezTo>
                  <a:pt x="6577446" y="5721520"/>
                  <a:pt x="6577446" y="5721520"/>
                  <a:pt x="6573940" y="5721520"/>
                </a:cubicBezTo>
                <a:cubicBezTo>
                  <a:pt x="6566929" y="5721520"/>
                  <a:pt x="6559917" y="5725044"/>
                  <a:pt x="6552905" y="5725044"/>
                </a:cubicBezTo>
                <a:cubicBezTo>
                  <a:pt x="6552905" y="5725044"/>
                  <a:pt x="6552905" y="5725044"/>
                  <a:pt x="6552905" y="5728568"/>
                </a:cubicBezTo>
                <a:cubicBezTo>
                  <a:pt x="6549399" y="5735617"/>
                  <a:pt x="6549399" y="5742665"/>
                  <a:pt x="6549399" y="5753237"/>
                </a:cubicBezTo>
                <a:cubicBezTo>
                  <a:pt x="6549399" y="5763810"/>
                  <a:pt x="6549399" y="5770858"/>
                  <a:pt x="6552905" y="5781431"/>
                </a:cubicBezTo>
                <a:cubicBezTo>
                  <a:pt x="6549399" y="5781431"/>
                  <a:pt x="6531870" y="5788479"/>
                  <a:pt x="6531870" y="5788479"/>
                </a:cubicBezTo>
                <a:cubicBezTo>
                  <a:pt x="6521353" y="5774382"/>
                  <a:pt x="6507329" y="5760286"/>
                  <a:pt x="6493306" y="5753237"/>
                </a:cubicBezTo>
                <a:cubicBezTo>
                  <a:pt x="6486295" y="5753237"/>
                  <a:pt x="6479283" y="5760286"/>
                  <a:pt x="6472271" y="5763810"/>
                </a:cubicBezTo>
                <a:cubicBezTo>
                  <a:pt x="6472271" y="5781431"/>
                  <a:pt x="6475777" y="5799052"/>
                  <a:pt x="6486295" y="5816672"/>
                </a:cubicBezTo>
                <a:cubicBezTo>
                  <a:pt x="6482789" y="5816672"/>
                  <a:pt x="6472271" y="5827245"/>
                  <a:pt x="6468766" y="5827245"/>
                </a:cubicBezTo>
                <a:cubicBezTo>
                  <a:pt x="6458248" y="5816672"/>
                  <a:pt x="6440719" y="5806100"/>
                  <a:pt x="6423190" y="5802576"/>
                </a:cubicBezTo>
                <a:cubicBezTo>
                  <a:pt x="6416178" y="5806100"/>
                  <a:pt x="6409167" y="5813148"/>
                  <a:pt x="6405661" y="5816672"/>
                </a:cubicBezTo>
                <a:cubicBezTo>
                  <a:pt x="6405661" y="5816672"/>
                  <a:pt x="6405661" y="5816672"/>
                  <a:pt x="6405661" y="5820196"/>
                </a:cubicBezTo>
                <a:cubicBezTo>
                  <a:pt x="6409167" y="5834294"/>
                  <a:pt x="6419684" y="5851914"/>
                  <a:pt x="6433707" y="5866011"/>
                </a:cubicBezTo>
                <a:cubicBezTo>
                  <a:pt x="6430202" y="5866011"/>
                  <a:pt x="6419684" y="5883632"/>
                  <a:pt x="6419684" y="5883632"/>
                </a:cubicBezTo>
                <a:cubicBezTo>
                  <a:pt x="6402155" y="5876583"/>
                  <a:pt x="6384626" y="5869535"/>
                  <a:pt x="6367097" y="5869535"/>
                </a:cubicBezTo>
                <a:cubicBezTo>
                  <a:pt x="6363592" y="5876583"/>
                  <a:pt x="6356580" y="5883632"/>
                  <a:pt x="6356580" y="5890680"/>
                </a:cubicBezTo>
                <a:cubicBezTo>
                  <a:pt x="6363592" y="5904777"/>
                  <a:pt x="6377614" y="5918873"/>
                  <a:pt x="6391638" y="5929447"/>
                </a:cubicBezTo>
                <a:cubicBezTo>
                  <a:pt x="6391638" y="5932971"/>
                  <a:pt x="6384626" y="5947067"/>
                  <a:pt x="6384626" y="5950591"/>
                </a:cubicBezTo>
                <a:cubicBezTo>
                  <a:pt x="6367097" y="5943543"/>
                  <a:pt x="6346062" y="5943543"/>
                  <a:pt x="6332039" y="5950591"/>
                </a:cubicBezTo>
                <a:cubicBezTo>
                  <a:pt x="6328533" y="5957640"/>
                  <a:pt x="6325027" y="5964688"/>
                  <a:pt x="6325027" y="5971736"/>
                </a:cubicBezTo>
                <a:cubicBezTo>
                  <a:pt x="6335544" y="5985833"/>
                  <a:pt x="6353073" y="5992881"/>
                  <a:pt x="6370602" y="5999930"/>
                </a:cubicBezTo>
                <a:cubicBezTo>
                  <a:pt x="6370602" y="6003454"/>
                  <a:pt x="6367097" y="6017550"/>
                  <a:pt x="6367097" y="6021074"/>
                </a:cubicBezTo>
                <a:cubicBezTo>
                  <a:pt x="6349568" y="6021074"/>
                  <a:pt x="6332039" y="6028123"/>
                  <a:pt x="6318016" y="6035172"/>
                </a:cubicBezTo>
                <a:cubicBezTo>
                  <a:pt x="6318016" y="6035172"/>
                  <a:pt x="6318016" y="6035172"/>
                  <a:pt x="6314510" y="6035172"/>
                </a:cubicBezTo>
                <a:cubicBezTo>
                  <a:pt x="6314510" y="6038696"/>
                  <a:pt x="6314510" y="6042220"/>
                  <a:pt x="6314510" y="6049268"/>
                </a:cubicBezTo>
                <a:cubicBezTo>
                  <a:pt x="6314510" y="6052792"/>
                  <a:pt x="6314510" y="6056316"/>
                  <a:pt x="6314510" y="6059841"/>
                </a:cubicBezTo>
                <a:cubicBezTo>
                  <a:pt x="6314510" y="6059841"/>
                  <a:pt x="6314510" y="6059841"/>
                  <a:pt x="6318016" y="6059841"/>
                </a:cubicBezTo>
                <a:cubicBezTo>
                  <a:pt x="6332039" y="6070414"/>
                  <a:pt x="6349568" y="6073938"/>
                  <a:pt x="6367097" y="6073938"/>
                </a:cubicBezTo>
                <a:cubicBezTo>
                  <a:pt x="6367097" y="6077462"/>
                  <a:pt x="6370602" y="6095083"/>
                  <a:pt x="6370602" y="6095083"/>
                </a:cubicBezTo>
                <a:cubicBezTo>
                  <a:pt x="6353073" y="6102131"/>
                  <a:pt x="6335544" y="6112703"/>
                  <a:pt x="6325027" y="6123276"/>
                </a:cubicBezTo>
                <a:cubicBezTo>
                  <a:pt x="6325027" y="6123276"/>
                  <a:pt x="6325027" y="6123276"/>
                  <a:pt x="6325027" y="6126800"/>
                </a:cubicBezTo>
                <a:cubicBezTo>
                  <a:pt x="6325027" y="6130325"/>
                  <a:pt x="6328533" y="6140897"/>
                  <a:pt x="6332039" y="6147945"/>
                </a:cubicBezTo>
                <a:cubicBezTo>
                  <a:pt x="6349568" y="6151469"/>
                  <a:pt x="6367097" y="6151469"/>
                  <a:pt x="6384626" y="6147945"/>
                </a:cubicBezTo>
                <a:cubicBezTo>
                  <a:pt x="6384626" y="6147945"/>
                  <a:pt x="6391638" y="6165566"/>
                  <a:pt x="6395143" y="6169091"/>
                </a:cubicBezTo>
                <a:cubicBezTo>
                  <a:pt x="6377614" y="6176139"/>
                  <a:pt x="6363592" y="6190235"/>
                  <a:pt x="6356580" y="6204332"/>
                </a:cubicBezTo>
                <a:cubicBezTo>
                  <a:pt x="6356580" y="6204332"/>
                  <a:pt x="6356580" y="6204332"/>
                  <a:pt x="6356580" y="6207856"/>
                </a:cubicBezTo>
                <a:cubicBezTo>
                  <a:pt x="6360085" y="6211380"/>
                  <a:pt x="6363592" y="6221953"/>
                  <a:pt x="6367097" y="6225477"/>
                </a:cubicBezTo>
                <a:cubicBezTo>
                  <a:pt x="6384626" y="6225477"/>
                  <a:pt x="6402155" y="6221953"/>
                  <a:pt x="6419684" y="6211380"/>
                </a:cubicBezTo>
                <a:cubicBezTo>
                  <a:pt x="6419684" y="6214905"/>
                  <a:pt x="6430202" y="6229001"/>
                  <a:pt x="6433707" y="6232526"/>
                </a:cubicBezTo>
                <a:cubicBezTo>
                  <a:pt x="6419684" y="6243098"/>
                  <a:pt x="6412673" y="6260718"/>
                  <a:pt x="6405661" y="6278340"/>
                </a:cubicBezTo>
                <a:cubicBezTo>
                  <a:pt x="6412673" y="6281864"/>
                  <a:pt x="6416178" y="6288912"/>
                  <a:pt x="6423190" y="6292436"/>
                </a:cubicBezTo>
                <a:cubicBezTo>
                  <a:pt x="6440719" y="6288912"/>
                  <a:pt x="6458248" y="6281864"/>
                  <a:pt x="6468766" y="6267768"/>
                </a:cubicBezTo>
                <a:cubicBezTo>
                  <a:pt x="6472271" y="6267768"/>
                  <a:pt x="6486295" y="6281864"/>
                  <a:pt x="6486295" y="6281864"/>
                </a:cubicBezTo>
                <a:cubicBezTo>
                  <a:pt x="6479283" y="6295960"/>
                  <a:pt x="6475777" y="6317106"/>
                  <a:pt x="6475777" y="6331202"/>
                </a:cubicBezTo>
                <a:cubicBezTo>
                  <a:pt x="6475777" y="6331202"/>
                  <a:pt x="6475777" y="6334727"/>
                  <a:pt x="6475777" y="6334727"/>
                </a:cubicBezTo>
                <a:cubicBezTo>
                  <a:pt x="6479283" y="6338251"/>
                  <a:pt x="6486295" y="6341775"/>
                  <a:pt x="6493306" y="6345299"/>
                </a:cubicBezTo>
                <a:cubicBezTo>
                  <a:pt x="6493306" y="6345299"/>
                  <a:pt x="6493306" y="6345299"/>
                  <a:pt x="6496812" y="6345299"/>
                </a:cubicBezTo>
                <a:cubicBezTo>
                  <a:pt x="6510836" y="6338251"/>
                  <a:pt x="6524858" y="6324154"/>
                  <a:pt x="6531870" y="6306533"/>
                </a:cubicBezTo>
                <a:cubicBezTo>
                  <a:pt x="6535376" y="6310057"/>
                  <a:pt x="6549399" y="6313582"/>
                  <a:pt x="6552905" y="6317106"/>
                </a:cubicBezTo>
                <a:cubicBezTo>
                  <a:pt x="6549399" y="6324154"/>
                  <a:pt x="6549399" y="6334727"/>
                  <a:pt x="6549399" y="6341775"/>
                </a:cubicBezTo>
                <a:cubicBezTo>
                  <a:pt x="6549399" y="6352347"/>
                  <a:pt x="6549399" y="6359396"/>
                  <a:pt x="6552905" y="6369969"/>
                </a:cubicBezTo>
                <a:cubicBezTo>
                  <a:pt x="6559917" y="6373493"/>
                  <a:pt x="6566929" y="6373493"/>
                  <a:pt x="6573940" y="6377017"/>
                </a:cubicBezTo>
                <a:cubicBezTo>
                  <a:pt x="6573940" y="6377017"/>
                  <a:pt x="6573940" y="6377017"/>
                  <a:pt x="6577446" y="6377017"/>
                </a:cubicBezTo>
                <a:cubicBezTo>
                  <a:pt x="6587963" y="6362920"/>
                  <a:pt x="6598480" y="6345299"/>
                  <a:pt x="6601987" y="6331202"/>
                </a:cubicBezTo>
                <a:cubicBezTo>
                  <a:pt x="6605492" y="6331202"/>
                  <a:pt x="6623021" y="6331202"/>
                  <a:pt x="6626527" y="6331202"/>
                </a:cubicBezTo>
                <a:cubicBezTo>
                  <a:pt x="6626527" y="6352347"/>
                  <a:pt x="6630033" y="6369969"/>
                  <a:pt x="6640551" y="6384065"/>
                </a:cubicBezTo>
                <a:cubicBezTo>
                  <a:pt x="6647562" y="6384065"/>
                  <a:pt x="6658080" y="6384065"/>
                  <a:pt x="6661585" y="6384065"/>
                </a:cubicBezTo>
                <a:cubicBezTo>
                  <a:pt x="6661585" y="6384065"/>
                  <a:pt x="6661585" y="6384065"/>
                  <a:pt x="6665092" y="6384065"/>
                </a:cubicBezTo>
                <a:cubicBezTo>
                  <a:pt x="6672103" y="6369969"/>
                  <a:pt x="6679114" y="6352347"/>
                  <a:pt x="6679114" y="6331202"/>
                </a:cubicBezTo>
                <a:cubicBezTo>
                  <a:pt x="6679114" y="6331202"/>
                  <a:pt x="6696643" y="6331202"/>
                  <a:pt x="6700150" y="6331202"/>
                </a:cubicBezTo>
                <a:cubicBezTo>
                  <a:pt x="6703655" y="6345299"/>
                  <a:pt x="6714173" y="6362920"/>
                  <a:pt x="6724690" y="6377017"/>
                </a:cubicBezTo>
                <a:cubicBezTo>
                  <a:pt x="6724690" y="6377017"/>
                  <a:pt x="6724690" y="6377017"/>
                  <a:pt x="6728196" y="6377017"/>
                </a:cubicBezTo>
                <a:cubicBezTo>
                  <a:pt x="6735207" y="6373493"/>
                  <a:pt x="6742219" y="6373493"/>
                  <a:pt x="6749231" y="6369969"/>
                </a:cubicBezTo>
                <a:cubicBezTo>
                  <a:pt x="6752736" y="6359396"/>
                  <a:pt x="6752736" y="6352347"/>
                  <a:pt x="6752736" y="6341775"/>
                </a:cubicBezTo>
                <a:cubicBezTo>
                  <a:pt x="6752736" y="6334727"/>
                  <a:pt x="6752736" y="6324154"/>
                  <a:pt x="6749231" y="6317106"/>
                </a:cubicBezTo>
                <a:cubicBezTo>
                  <a:pt x="6752736" y="6313582"/>
                  <a:pt x="6766760" y="6306533"/>
                  <a:pt x="6770266" y="6306533"/>
                </a:cubicBezTo>
                <a:cubicBezTo>
                  <a:pt x="6780783" y="6324154"/>
                  <a:pt x="6791301" y="6334727"/>
                  <a:pt x="6808830" y="6345299"/>
                </a:cubicBezTo>
                <a:cubicBezTo>
                  <a:pt x="6815841" y="6341775"/>
                  <a:pt x="6822853" y="6338251"/>
                  <a:pt x="6826358" y="6334727"/>
                </a:cubicBezTo>
                <a:cubicBezTo>
                  <a:pt x="6826358" y="6334727"/>
                  <a:pt x="6826358" y="6334727"/>
                  <a:pt x="6829865" y="6334727"/>
                </a:cubicBezTo>
                <a:cubicBezTo>
                  <a:pt x="6829865" y="6334727"/>
                  <a:pt x="6829865" y="6331202"/>
                  <a:pt x="6829865" y="6331202"/>
                </a:cubicBezTo>
                <a:cubicBezTo>
                  <a:pt x="6829865" y="6313582"/>
                  <a:pt x="6822853" y="6295960"/>
                  <a:pt x="6815841" y="6281864"/>
                </a:cubicBezTo>
                <a:cubicBezTo>
                  <a:pt x="6815841" y="6278340"/>
                  <a:pt x="6829865" y="6267768"/>
                  <a:pt x="6833370" y="6267768"/>
                </a:cubicBezTo>
                <a:cubicBezTo>
                  <a:pt x="6843888" y="6278340"/>
                  <a:pt x="6861417" y="6288912"/>
                  <a:pt x="6878946" y="6292436"/>
                </a:cubicBezTo>
                <a:cubicBezTo>
                  <a:pt x="6885958" y="6288912"/>
                  <a:pt x="6892970" y="6281864"/>
                  <a:pt x="6896475" y="6278340"/>
                </a:cubicBezTo>
                <a:cubicBezTo>
                  <a:pt x="6896475" y="6278340"/>
                  <a:pt x="6896475" y="6278340"/>
                  <a:pt x="6896475" y="6274816"/>
                </a:cubicBezTo>
                <a:cubicBezTo>
                  <a:pt x="6892970" y="6260718"/>
                  <a:pt x="6882452" y="6243098"/>
                  <a:pt x="6868429" y="6229001"/>
                </a:cubicBezTo>
                <a:cubicBezTo>
                  <a:pt x="6871934" y="6229001"/>
                  <a:pt x="6882452" y="6214905"/>
                  <a:pt x="6882452" y="6211380"/>
                </a:cubicBezTo>
                <a:cubicBezTo>
                  <a:pt x="6899981" y="6221953"/>
                  <a:pt x="6917510" y="6225477"/>
                  <a:pt x="6935039" y="6225477"/>
                </a:cubicBezTo>
                <a:cubicBezTo>
                  <a:pt x="6938545" y="6218429"/>
                  <a:pt x="6942051" y="6211380"/>
                  <a:pt x="6945557" y="6207856"/>
                </a:cubicBezTo>
                <a:cubicBezTo>
                  <a:pt x="6945557" y="6207856"/>
                  <a:pt x="6945557" y="6207856"/>
                  <a:pt x="6945557" y="6204332"/>
                </a:cubicBezTo>
                <a:cubicBezTo>
                  <a:pt x="6938545" y="6190235"/>
                  <a:pt x="6924521" y="6176139"/>
                  <a:pt x="6910499" y="6165566"/>
                </a:cubicBezTo>
                <a:cubicBezTo>
                  <a:pt x="6910499" y="6165566"/>
                  <a:pt x="6917510" y="6147945"/>
                  <a:pt x="6917510" y="6147945"/>
                </a:cubicBezTo>
                <a:cubicBezTo>
                  <a:pt x="6935039" y="6151469"/>
                  <a:pt x="6952568" y="6151469"/>
                  <a:pt x="6970097" y="6147945"/>
                </a:cubicBezTo>
                <a:cubicBezTo>
                  <a:pt x="6970097" y="6147945"/>
                  <a:pt x="6970097" y="6147945"/>
                  <a:pt x="6970097" y="6144421"/>
                </a:cubicBezTo>
                <a:cubicBezTo>
                  <a:pt x="6973603" y="6140897"/>
                  <a:pt x="6977109" y="6130325"/>
                  <a:pt x="6977109" y="6123276"/>
                </a:cubicBezTo>
                <a:cubicBezTo>
                  <a:pt x="6963086" y="6109179"/>
                  <a:pt x="6949062" y="6102131"/>
                  <a:pt x="6931533" y="6095083"/>
                </a:cubicBezTo>
                <a:cubicBezTo>
                  <a:pt x="6931533" y="6095083"/>
                  <a:pt x="6931533" y="6077462"/>
                  <a:pt x="6935039" y="6073938"/>
                </a:cubicBezTo>
                <a:cubicBezTo>
                  <a:pt x="6952568" y="6073938"/>
                  <a:pt x="6970097" y="6070414"/>
                  <a:pt x="6984121" y="6059841"/>
                </a:cubicBezTo>
                <a:cubicBezTo>
                  <a:pt x="6987626" y="6056316"/>
                  <a:pt x="6987626" y="6052792"/>
                  <a:pt x="6987626" y="6049268"/>
                </a:cubicBezTo>
                <a:cubicBezTo>
                  <a:pt x="6987626" y="6045744"/>
                  <a:pt x="6987626" y="6042220"/>
                  <a:pt x="6984121" y="6038696"/>
                </a:cubicBezTo>
                <a:cubicBezTo>
                  <a:pt x="6984121" y="6038696"/>
                  <a:pt x="6984121" y="6038696"/>
                  <a:pt x="6984121" y="6035172"/>
                </a:cubicBezTo>
                <a:cubicBezTo>
                  <a:pt x="6970097" y="6028123"/>
                  <a:pt x="6952568" y="6021074"/>
                  <a:pt x="6935039" y="6021074"/>
                </a:cubicBezTo>
                <a:cubicBezTo>
                  <a:pt x="6935039" y="6021074"/>
                  <a:pt x="6931533" y="6003454"/>
                  <a:pt x="6931533" y="5999930"/>
                </a:cubicBezTo>
                <a:cubicBezTo>
                  <a:pt x="6949062" y="5996406"/>
                  <a:pt x="6966592" y="5985833"/>
                  <a:pt x="6977109" y="5975261"/>
                </a:cubicBezTo>
                <a:cubicBezTo>
                  <a:pt x="6977109" y="5975261"/>
                  <a:pt x="6977109" y="5975261"/>
                  <a:pt x="6977109" y="5971736"/>
                </a:cubicBezTo>
                <a:cubicBezTo>
                  <a:pt x="6977109" y="5964688"/>
                  <a:pt x="6973603" y="5957640"/>
                  <a:pt x="6970097" y="5950591"/>
                </a:cubicBezTo>
                <a:cubicBezTo>
                  <a:pt x="6952568" y="5947067"/>
                  <a:pt x="6935039" y="5947067"/>
                  <a:pt x="6917510" y="5950591"/>
                </a:cubicBezTo>
                <a:cubicBezTo>
                  <a:pt x="6917510" y="5947067"/>
                  <a:pt x="6910499" y="5932971"/>
                  <a:pt x="6910499" y="5929447"/>
                </a:cubicBezTo>
                <a:cubicBezTo>
                  <a:pt x="6924521" y="5918873"/>
                  <a:pt x="6938545" y="5908301"/>
                  <a:pt x="6945557" y="5890680"/>
                </a:cubicBezTo>
                <a:cubicBezTo>
                  <a:pt x="6945557" y="5883632"/>
                  <a:pt x="6938545" y="5876583"/>
                  <a:pt x="6935039" y="5873059"/>
                </a:cubicBezTo>
                <a:cubicBezTo>
                  <a:pt x="6935039" y="5873059"/>
                  <a:pt x="6935039" y="5873059"/>
                  <a:pt x="6935039" y="5869535"/>
                </a:cubicBezTo>
                <a:cubicBezTo>
                  <a:pt x="6917510" y="5869535"/>
                  <a:pt x="6899981" y="5876583"/>
                  <a:pt x="6882452" y="5883632"/>
                </a:cubicBezTo>
                <a:cubicBezTo>
                  <a:pt x="6882452" y="5883632"/>
                  <a:pt x="6871934" y="5869535"/>
                  <a:pt x="6868429" y="5866011"/>
                </a:cubicBezTo>
                <a:cubicBezTo>
                  <a:pt x="6882452" y="5851914"/>
                  <a:pt x="6892970" y="5837818"/>
                  <a:pt x="6896475" y="5820196"/>
                </a:cubicBezTo>
                <a:cubicBezTo>
                  <a:pt x="6892970" y="5813148"/>
                  <a:pt x="6885958" y="5806100"/>
                  <a:pt x="6878946" y="5802576"/>
                </a:cubicBezTo>
                <a:cubicBezTo>
                  <a:pt x="6861417" y="5806100"/>
                  <a:pt x="6847394" y="5816672"/>
                  <a:pt x="6833370" y="5830770"/>
                </a:cubicBezTo>
                <a:cubicBezTo>
                  <a:pt x="6829865" y="5827245"/>
                  <a:pt x="6815841" y="5816672"/>
                  <a:pt x="6815841" y="5816672"/>
                </a:cubicBezTo>
                <a:cubicBezTo>
                  <a:pt x="6822853" y="5799052"/>
                  <a:pt x="6829865" y="5781431"/>
                  <a:pt x="6829865" y="5763810"/>
                </a:cubicBezTo>
                <a:cubicBezTo>
                  <a:pt x="6822853" y="5760286"/>
                  <a:pt x="6815841" y="5753237"/>
                  <a:pt x="6808830" y="5753237"/>
                </a:cubicBezTo>
                <a:cubicBezTo>
                  <a:pt x="6794806" y="5760286"/>
                  <a:pt x="6780783" y="5774382"/>
                  <a:pt x="6770266" y="5788479"/>
                </a:cubicBezTo>
                <a:cubicBezTo>
                  <a:pt x="6766760" y="5788479"/>
                  <a:pt x="6752736" y="5781431"/>
                  <a:pt x="6749231" y="5781431"/>
                </a:cubicBezTo>
                <a:cubicBezTo>
                  <a:pt x="6752736" y="5770858"/>
                  <a:pt x="6752736" y="5763810"/>
                  <a:pt x="6752736" y="5753237"/>
                </a:cubicBezTo>
                <a:cubicBezTo>
                  <a:pt x="6752736" y="5742665"/>
                  <a:pt x="6752736" y="5735617"/>
                  <a:pt x="6749231" y="5728568"/>
                </a:cubicBezTo>
                <a:cubicBezTo>
                  <a:pt x="6749231" y="5728568"/>
                  <a:pt x="6749231" y="5728568"/>
                  <a:pt x="6749231" y="5725044"/>
                </a:cubicBezTo>
                <a:cubicBezTo>
                  <a:pt x="6742219" y="5725044"/>
                  <a:pt x="6735207" y="5721520"/>
                  <a:pt x="6728196" y="5721520"/>
                </a:cubicBezTo>
                <a:cubicBezTo>
                  <a:pt x="6728196" y="5721520"/>
                  <a:pt x="6728196" y="5721520"/>
                  <a:pt x="6724690" y="5721520"/>
                </a:cubicBezTo>
                <a:cubicBezTo>
                  <a:pt x="6714173" y="5732092"/>
                  <a:pt x="6703655" y="5749713"/>
                  <a:pt x="6700150" y="5767334"/>
                </a:cubicBezTo>
                <a:cubicBezTo>
                  <a:pt x="6696643" y="5767334"/>
                  <a:pt x="6679114" y="5763810"/>
                  <a:pt x="6675609" y="5763810"/>
                </a:cubicBezTo>
                <a:cubicBezTo>
                  <a:pt x="6675609" y="5746189"/>
                  <a:pt x="6672103" y="5728568"/>
                  <a:pt x="6661585" y="5710947"/>
                </a:cubicBezTo>
                <a:cubicBezTo>
                  <a:pt x="6654574" y="5710947"/>
                  <a:pt x="6647562" y="5710947"/>
                  <a:pt x="6640551" y="5710947"/>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8" name="Text Placeholder 7">
            <a:extLst>
              <a:ext uri="{FF2B5EF4-FFF2-40B4-BE49-F238E27FC236}">
                <a16:creationId xmlns:a16="http://schemas.microsoft.com/office/drawing/2014/main" id="{4761F3CC-A4B3-4267-B0DB-F55218BAE8C8}"/>
              </a:ext>
            </a:extLst>
          </p:cNvPr>
          <p:cNvSpPr>
            <a:spLocks noGrp="1"/>
          </p:cNvSpPr>
          <p:nvPr>
            <p:ph type="body" sz="quarter" idx="14" hasCustomPrompt="1"/>
          </p:nvPr>
        </p:nvSpPr>
        <p:spPr>
          <a:xfrm>
            <a:off x="0" y="0"/>
            <a:ext cx="12192000" cy="6858000"/>
          </a:xfrm>
          <a:custGeom>
            <a:avLst/>
            <a:gdLst>
              <a:gd name="connsiteX0" fmla="*/ 6948486 w 12192000"/>
              <a:gd name="connsiteY0" fmla="*/ 6345467 h 6858000"/>
              <a:gd name="connsiteX1" fmla="*/ 6954599 w 12192000"/>
              <a:gd name="connsiteY1" fmla="*/ 6345467 h 6858000"/>
              <a:gd name="connsiteX2" fmla="*/ 6959994 w 12192000"/>
              <a:gd name="connsiteY2" fmla="*/ 6346042 h 6858000"/>
              <a:gd name="connsiteX3" fmla="*/ 6962272 w 12192000"/>
              <a:gd name="connsiteY3" fmla="*/ 6347785 h 6858000"/>
              <a:gd name="connsiteX4" fmla="*/ 6963092 w 12192000"/>
              <a:gd name="connsiteY4" fmla="*/ 6350432 h 6858000"/>
              <a:gd name="connsiteX5" fmla="*/ 6961389 w 12192000"/>
              <a:gd name="connsiteY5" fmla="*/ 6354124 h 6858000"/>
              <a:gd name="connsiteX6" fmla="*/ 6955010 w 12192000"/>
              <a:gd name="connsiteY6" fmla="*/ 6355519 h 6858000"/>
              <a:gd name="connsiteX7" fmla="*/ 6948486 w 12192000"/>
              <a:gd name="connsiteY7" fmla="*/ 6355519 h 6858000"/>
              <a:gd name="connsiteX8" fmla="*/ 6943111 w 12192000"/>
              <a:gd name="connsiteY8" fmla="*/ 6340955 h 6858000"/>
              <a:gd name="connsiteX9" fmla="*/ 6943111 w 12192000"/>
              <a:gd name="connsiteY9" fmla="*/ 6374269 h 6858000"/>
              <a:gd name="connsiteX10" fmla="*/ 6948486 w 12192000"/>
              <a:gd name="connsiteY10" fmla="*/ 6374269 h 6858000"/>
              <a:gd name="connsiteX11" fmla="*/ 6948486 w 12192000"/>
              <a:gd name="connsiteY11" fmla="*/ 6360115 h 6858000"/>
              <a:gd name="connsiteX12" fmla="*/ 6951645 w 12192000"/>
              <a:gd name="connsiteY12" fmla="*/ 6360115 h 6858000"/>
              <a:gd name="connsiteX13" fmla="*/ 6955953 w 12192000"/>
              <a:gd name="connsiteY13" fmla="*/ 6361263 h 6858000"/>
              <a:gd name="connsiteX14" fmla="*/ 6961574 w 12192000"/>
              <a:gd name="connsiteY14" fmla="*/ 6369017 h 6858000"/>
              <a:gd name="connsiteX15" fmla="*/ 6964528 w 12192000"/>
              <a:gd name="connsiteY15" fmla="*/ 6374269 h 6858000"/>
              <a:gd name="connsiteX16" fmla="*/ 6971092 w 12192000"/>
              <a:gd name="connsiteY16" fmla="*/ 6374269 h 6858000"/>
              <a:gd name="connsiteX17" fmla="*/ 6967031 w 12192000"/>
              <a:gd name="connsiteY17" fmla="*/ 6367745 h 6858000"/>
              <a:gd name="connsiteX18" fmla="*/ 6962108 w 12192000"/>
              <a:gd name="connsiteY18" fmla="*/ 6361140 h 6858000"/>
              <a:gd name="connsiteX19" fmla="*/ 6959277 w 12192000"/>
              <a:gd name="connsiteY19" fmla="*/ 6359376 h 6858000"/>
              <a:gd name="connsiteX20" fmla="*/ 6966190 w 12192000"/>
              <a:gd name="connsiteY20" fmla="*/ 6356340 h 6858000"/>
              <a:gd name="connsiteX21" fmla="*/ 6968795 w 12192000"/>
              <a:gd name="connsiteY21" fmla="*/ 6349981 h 6858000"/>
              <a:gd name="connsiteX22" fmla="*/ 6967236 w 12192000"/>
              <a:gd name="connsiteY22" fmla="*/ 6345098 h 6858000"/>
              <a:gd name="connsiteX23" fmla="*/ 6963051 w 12192000"/>
              <a:gd name="connsiteY23" fmla="*/ 6341878 h 6858000"/>
              <a:gd name="connsiteX24" fmla="*/ 6954558 w 12192000"/>
              <a:gd name="connsiteY24" fmla="*/ 6340955 h 6858000"/>
              <a:gd name="connsiteX25" fmla="*/ 5903900 w 12192000"/>
              <a:gd name="connsiteY25" fmla="*/ 6338384 h 6858000"/>
              <a:gd name="connsiteX26" fmla="*/ 5907414 w 12192000"/>
              <a:gd name="connsiteY26" fmla="*/ 6338384 h 6858000"/>
              <a:gd name="connsiteX27" fmla="*/ 5907414 w 12192000"/>
              <a:gd name="connsiteY27" fmla="*/ 6341925 h 6858000"/>
              <a:gd name="connsiteX28" fmla="*/ 5879303 w 12192000"/>
              <a:gd name="connsiteY28" fmla="*/ 6377347 h 6858000"/>
              <a:gd name="connsiteX29" fmla="*/ 5861734 w 12192000"/>
              <a:gd name="connsiteY29" fmla="*/ 6359637 h 6858000"/>
              <a:gd name="connsiteX30" fmla="*/ 5903900 w 12192000"/>
              <a:gd name="connsiteY30" fmla="*/ 6338384 h 6858000"/>
              <a:gd name="connsiteX31" fmla="*/ 6956692 w 12192000"/>
              <a:gd name="connsiteY31" fmla="*/ 6331313 h 6858000"/>
              <a:gd name="connsiteX32" fmla="*/ 6969369 w 12192000"/>
              <a:gd name="connsiteY32" fmla="*/ 6334657 h 6858000"/>
              <a:gd name="connsiteX33" fmla="*/ 6979032 w 12192000"/>
              <a:gd name="connsiteY33" fmla="*/ 6344216 h 6858000"/>
              <a:gd name="connsiteX34" fmla="*/ 6982498 w 12192000"/>
              <a:gd name="connsiteY34" fmla="*/ 6357160 h 6858000"/>
              <a:gd name="connsiteX35" fmla="*/ 6979093 w 12192000"/>
              <a:gd name="connsiteY35" fmla="*/ 6369981 h 6858000"/>
              <a:gd name="connsiteX36" fmla="*/ 6969533 w 12192000"/>
              <a:gd name="connsiteY36" fmla="*/ 6379541 h 6858000"/>
              <a:gd name="connsiteX37" fmla="*/ 6956692 w 12192000"/>
              <a:gd name="connsiteY37" fmla="*/ 6382967 h 6858000"/>
              <a:gd name="connsiteX38" fmla="*/ 6943850 w 12192000"/>
              <a:gd name="connsiteY38" fmla="*/ 6379541 h 6858000"/>
              <a:gd name="connsiteX39" fmla="*/ 6934270 w 12192000"/>
              <a:gd name="connsiteY39" fmla="*/ 6369981 h 6858000"/>
              <a:gd name="connsiteX40" fmla="*/ 6930844 w 12192000"/>
              <a:gd name="connsiteY40" fmla="*/ 6357160 h 6858000"/>
              <a:gd name="connsiteX41" fmla="*/ 6934332 w 12192000"/>
              <a:gd name="connsiteY41" fmla="*/ 6344216 h 6858000"/>
              <a:gd name="connsiteX42" fmla="*/ 6943994 w 12192000"/>
              <a:gd name="connsiteY42" fmla="*/ 6334657 h 6858000"/>
              <a:gd name="connsiteX43" fmla="*/ 6956692 w 12192000"/>
              <a:gd name="connsiteY43" fmla="*/ 6331313 h 6858000"/>
              <a:gd name="connsiteX44" fmla="*/ 6956692 w 12192000"/>
              <a:gd name="connsiteY44" fmla="*/ 6326185 h 6858000"/>
              <a:gd name="connsiteX45" fmla="*/ 6941471 w 12192000"/>
              <a:gd name="connsiteY45" fmla="*/ 6330185 h 6858000"/>
              <a:gd name="connsiteX46" fmla="*/ 6929880 w 12192000"/>
              <a:gd name="connsiteY46" fmla="*/ 6341632 h 6858000"/>
              <a:gd name="connsiteX47" fmla="*/ 6925716 w 12192000"/>
              <a:gd name="connsiteY47" fmla="*/ 6357160 h 6858000"/>
              <a:gd name="connsiteX48" fmla="*/ 6929819 w 12192000"/>
              <a:gd name="connsiteY48" fmla="*/ 6372546 h 6858000"/>
              <a:gd name="connsiteX49" fmla="*/ 6941286 w 12192000"/>
              <a:gd name="connsiteY49" fmla="*/ 6384013 h 6858000"/>
              <a:gd name="connsiteX50" fmla="*/ 6956692 w 12192000"/>
              <a:gd name="connsiteY50" fmla="*/ 6388095 h 6858000"/>
              <a:gd name="connsiteX51" fmla="*/ 6972098 w 12192000"/>
              <a:gd name="connsiteY51" fmla="*/ 6384013 h 6858000"/>
              <a:gd name="connsiteX52" fmla="*/ 6983544 w 12192000"/>
              <a:gd name="connsiteY52" fmla="*/ 6372546 h 6858000"/>
              <a:gd name="connsiteX53" fmla="*/ 6987626 w 12192000"/>
              <a:gd name="connsiteY53" fmla="*/ 6357160 h 6858000"/>
              <a:gd name="connsiteX54" fmla="*/ 6983483 w 12192000"/>
              <a:gd name="connsiteY54" fmla="*/ 6341632 h 6858000"/>
              <a:gd name="connsiteX55" fmla="*/ 6971912 w 12192000"/>
              <a:gd name="connsiteY55" fmla="*/ 6330185 h 6858000"/>
              <a:gd name="connsiteX56" fmla="*/ 6956692 w 12192000"/>
              <a:gd name="connsiteY56" fmla="*/ 6326185 h 6858000"/>
              <a:gd name="connsiteX57" fmla="*/ 6093496 w 12192000"/>
              <a:gd name="connsiteY57" fmla="*/ 6296733 h 6858000"/>
              <a:gd name="connsiteX58" fmla="*/ 6125070 w 12192000"/>
              <a:gd name="connsiteY58" fmla="*/ 6337040 h 6858000"/>
              <a:gd name="connsiteX59" fmla="*/ 6093496 w 12192000"/>
              <a:gd name="connsiteY59" fmla="*/ 6377346 h 6858000"/>
              <a:gd name="connsiteX60" fmla="*/ 6061922 w 12192000"/>
              <a:gd name="connsiteY60" fmla="*/ 6337040 h 6858000"/>
              <a:gd name="connsiteX61" fmla="*/ 6093496 w 12192000"/>
              <a:gd name="connsiteY61" fmla="*/ 6296733 h 6858000"/>
              <a:gd name="connsiteX62" fmla="*/ 5783809 w 12192000"/>
              <a:gd name="connsiteY62" fmla="*/ 6296733 h 6858000"/>
              <a:gd name="connsiteX63" fmla="*/ 5812024 w 12192000"/>
              <a:gd name="connsiteY63" fmla="*/ 6337040 h 6858000"/>
              <a:gd name="connsiteX64" fmla="*/ 5783809 w 12192000"/>
              <a:gd name="connsiteY64" fmla="*/ 6377346 h 6858000"/>
              <a:gd name="connsiteX65" fmla="*/ 5755594 w 12192000"/>
              <a:gd name="connsiteY65" fmla="*/ 6337040 h 6858000"/>
              <a:gd name="connsiteX66" fmla="*/ 5783809 w 12192000"/>
              <a:gd name="connsiteY66" fmla="*/ 6296733 h 6858000"/>
              <a:gd name="connsiteX67" fmla="*/ 5471433 w 12192000"/>
              <a:gd name="connsiteY67" fmla="*/ 6296733 h 6858000"/>
              <a:gd name="connsiteX68" fmla="*/ 5503007 w 12192000"/>
              <a:gd name="connsiteY68" fmla="*/ 6337040 h 6858000"/>
              <a:gd name="connsiteX69" fmla="*/ 5471433 w 12192000"/>
              <a:gd name="connsiteY69" fmla="*/ 6377346 h 6858000"/>
              <a:gd name="connsiteX70" fmla="*/ 5439860 w 12192000"/>
              <a:gd name="connsiteY70" fmla="*/ 6337040 h 6858000"/>
              <a:gd name="connsiteX71" fmla="*/ 5471433 w 12192000"/>
              <a:gd name="connsiteY71" fmla="*/ 6296733 h 6858000"/>
              <a:gd name="connsiteX72" fmla="*/ 6016373 w 12192000"/>
              <a:gd name="connsiteY72" fmla="*/ 6291486 h 6858000"/>
              <a:gd name="connsiteX73" fmla="*/ 6016373 w 12192000"/>
              <a:gd name="connsiteY73" fmla="*/ 6387446 h 6858000"/>
              <a:gd name="connsiteX74" fmla="*/ 6028662 w 12192000"/>
              <a:gd name="connsiteY74" fmla="*/ 6387446 h 6858000"/>
              <a:gd name="connsiteX75" fmla="*/ 6028662 w 12192000"/>
              <a:gd name="connsiteY75" fmla="*/ 6291486 h 6858000"/>
              <a:gd name="connsiteX76" fmla="*/ 6160001 w 12192000"/>
              <a:gd name="connsiteY76" fmla="*/ 6290016 h 6858000"/>
              <a:gd name="connsiteX77" fmla="*/ 6160001 w 12192000"/>
              <a:gd name="connsiteY77" fmla="*/ 6314399 h 6858000"/>
              <a:gd name="connsiteX78" fmla="*/ 6160001 w 12192000"/>
              <a:gd name="connsiteY78" fmla="*/ 6384064 h 6858000"/>
              <a:gd name="connsiteX79" fmla="*/ 6173820 w 12192000"/>
              <a:gd name="connsiteY79" fmla="*/ 6384064 h 6858000"/>
              <a:gd name="connsiteX80" fmla="*/ 6173820 w 12192000"/>
              <a:gd name="connsiteY80" fmla="*/ 6331815 h 6858000"/>
              <a:gd name="connsiteX81" fmla="*/ 6201459 w 12192000"/>
              <a:gd name="connsiteY81" fmla="*/ 6296982 h 6858000"/>
              <a:gd name="connsiteX82" fmla="*/ 6222188 w 12192000"/>
              <a:gd name="connsiteY82" fmla="*/ 6328332 h 6858000"/>
              <a:gd name="connsiteX83" fmla="*/ 6222188 w 12192000"/>
              <a:gd name="connsiteY83" fmla="*/ 6384064 h 6858000"/>
              <a:gd name="connsiteX84" fmla="*/ 6232552 w 12192000"/>
              <a:gd name="connsiteY84" fmla="*/ 6384064 h 6858000"/>
              <a:gd name="connsiteX85" fmla="*/ 6232552 w 12192000"/>
              <a:gd name="connsiteY85" fmla="*/ 6324848 h 6858000"/>
              <a:gd name="connsiteX86" fmla="*/ 6201459 w 12192000"/>
              <a:gd name="connsiteY86" fmla="*/ 6290016 h 6858000"/>
              <a:gd name="connsiteX87" fmla="*/ 6170366 w 12192000"/>
              <a:gd name="connsiteY87" fmla="*/ 6307432 h 6858000"/>
              <a:gd name="connsiteX88" fmla="*/ 6170366 w 12192000"/>
              <a:gd name="connsiteY88" fmla="*/ 6290016 h 6858000"/>
              <a:gd name="connsiteX89" fmla="*/ 6160001 w 12192000"/>
              <a:gd name="connsiteY89" fmla="*/ 6290016 h 6858000"/>
              <a:gd name="connsiteX90" fmla="*/ 6090808 w 12192000"/>
              <a:gd name="connsiteY90" fmla="*/ 6290016 h 6858000"/>
              <a:gd name="connsiteX91" fmla="*/ 6047143 w 12192000"/>
              <a:gd name="connsiteY91" fmla="*/ 6339056 h 6858000"/>
              <a:gd name="connsiteX92" fmla="*/ 6090808 w 12192000"/>
              <a:gd name="connsiteY92" fmla="*/ 6388095 h 6858000"/>
              <a:gd name="connsiteX93" fmla="*/ 6134474 w 12192000"/>
              <a:gd name="connsiteY93" fmla="*/ 6339056 h 6858000"/>
              <a:gd name="connsiteX94" fmla="*/ 6090808 w 12192000"/>
              <a:gd name="connsiteY94" fmla="*/ 6290016 h 6858000"/>
              <a:gd name="connsiteX95" fmla="*/ 5885663 w 12192000"/>
              <a:gd name="connsiteY95" fmla="*/ 6290016 h 6858000"/>
              <a:gd name="connsiteX96" fmla="*/ 5857511 w 12192000"/>
              <a:gd name="connsiteY96" fmla="*/ 6293519 h 6858000"/>
              <a:gd name="connsiteX97" fmla="*/ 5857511 w 12192000"/>
              <a:gd name="connsiteY97" fmla="*/ 6307530 h 6858000"/>
              <a:gd name="connsiteX98" fmla="*/ 5885663 w 12192000"/>
              <a:gd name="connsiteY98" fmla="*/ 6297022 h 6858000"/>
              <a:gd name="connsiteX99" fmla="*/ 5906775 w 12192000"/>
              <a:gd name="connsiteY99" fmla="*/ 6321542 h 6858000"/>
              <a:gd name="connsiteX100" fmla="*/ 5906775 w 12192000"/>
              <a:gd name="connsiteY100" fmla="*/ 6328547 h 6858000"/>
              <a:gd name="connsiteX101" fmla="*/ 5846955 w 12192000"/>
              <a:gd name="connsiteY101" fmla="*/ 6360072 h 6858000"/>
              <a:gd name="connsiteX102" fmla="*/ 5878625 w 12192000"/>
              <a:gd name="connsiteY102" fmla="*/ 6388095 h 6858000"/>
              <a:gd name="connsiteX103" fmla="*/ 5906775 w 12192000"/>
              <a:gd name="connsiteY103" fmla="*/ 6370581 h 6858000"/>
              <a:gd name="connsiteX104" fmla="*/ 5910294 w 12192000"/>
              <a:gd name="connsiteY104" fmla="*/ 6370581 h 6858000"/>
              <a:gd name="connsiteX105" fmla="*/ 5910294 w 12192000"/>
              <a:gd name="connsiteY105" fmla="*/ 6384592 h 6858000"/>
              <a:gd name="connsiteX106" fmla="*/ 5920851 w 12192000"/>
              <a:gd name="connsiteY106" fmla="*/ 6384592 h 6858000"/>
              <a:gd name="connsiteX107" fmla="*/ 5920851 w 12192000"/>
              <a:gd name="connsiteY107" fmla="*/ 6367078 h 6858000"/>
              <a:gd name="connsiteX108" fmla="*/ 5920851 w 12192000"/>
              <a:gd name="connsiteY108" fmla="*/ 6325045 h 6858000"/>
              <a:gd name="connsiteX109" fmla="*/ 5885663 w 12192000"/>
              <a:gd name="connsiteY109" fmla="*/ 6290016 h 6858000"/>
              <a:gd name="connsiteX110" fmla="*/ 5644079 w 12192000"/>
              <a:gd name="connsiteY110" fmla="*/ 6290016 h 6858000"/>
              <a:gd name="connsiteX111" fmla="*/ 5644079 w 12192000"/>
              <a:gd name="connsiteY111" fmla="*/ 6314399 h 6858000"/>
              <a:gd name="connsiteX112" fmla="*/ 5644079 w 12192000"/>
              <a:gd name="connsiteY112" fmla="*/ 6384064 h 6858000"/>
              <a:gd name="connsiteX113" fmla="*/ 5658155 w 12192000"/>
              <a:gd name="connsiteY113" fmla="*/ 6384064 h 6858000"/>
              <a:gd name="connsiteX114" fmla="*/ 5658155 w 12192000"/>
              <a:gd name="connsiteY114" fmla="*/ 6331815 h 6858000"/>
              <a:gd name="connsiteX115" fmla="*/ 5686305 w 12192000"/>
              <a:gd name="connsiteY115" fmla="*/ 6296982 h 6858000"/>
              <a:gd name="connsiteX116" fmla="*/ 5707418 w 12192000"/>
              <a:gd name="connsiteY116" fmla="*/ 6328332 h 6858000"/>
              <a:gd name="connsiteX117" fmla="*/ 5707418 w 12192000"/>
              <a:gd name="connsiteY117" fmla="*/ 6384064 h 6858000"/>
              <a:gd name="connsiteX118" fmla="*/ 5717975 w 12192000"/>
              <a:gd name="connsiteY118" fmla="*/ 6384064 h 6858000"/>
              <a:gd name="connsiteX119" fmla="*/ 5717975 w 12192000"/>
              <a:gd name="connsiteY119" fmla="*/ 6324848 h 6858000"/>
              <a:gd name="connsiteX120" fmla="*/ 5686305 w 12192000"/>
              <a:gd name="connsiteY120" fmla="*/ 6290016 h 6858000"/>
              <a:gd name="connsiteX121" fmla="*/ 5654636 w 12192000"/>
              <a:gd name="connsiteY121" fmla="*/ 6307432 h 6858000"/>
              <a:gd name="connsiteX122" fmla="*/ 5654636 w 12192000"/>
              <a:gd name="connsiteY122" fmla="*/ 6290016 h 6858000"/>
              <a:gd name="connsiteX123" fmla="*/ 5644079 w 12192000"/>
              <a:gd name="connsiteY123" fmla="*/ 6290016 h 6858000"/>
              <a:gd name="connsiteX124" fmla="*/ 5541970 w 12192000"/>
              <a:gd name="connsiteY124" fmla="*/ 6290016 h 6858000"/>
              <a:gd name="connsiteX125" fmla="*/ 5541970 w 12192000"/>
              <a:gd name="connsiteY125" fmla="*/ 6353066 h 6858000"/>
              <a:gd name="connsiteX126" fmla="*/ 5573640 w 12192000"/>
              <a:gd name="connsiteY126" fmla="*/ 6388095 h 6858000"/>
              <a:gd name="connsiteX127" fmla="*/ 5605309 w 12192000"/>
              <a:gd name="connsiteY127" fmla="*/ 6370581 h 6858000"/>
              <a:gd name="connsiteX128" fmla="*/ 5605309 w 12192000"/>
              <a:gd name="connsiteY128" fmla="*/ 6384592 h 6858000"/>
              <a:gd name="connsiteX129" fmla="*/ 5615865 w 12192000"/>
              <a:gd name="connsiteY129" fmla="*/ 6384592 h 6858000"/>
              <a:gd name="connsiteX130" fmla="*/ 5615865 w 12192000"/>
              <a:gd name="connsiteY130" fmla="*/ 6363575 h 6858000"/>
              <a:gd name="connsiteX131" fmla="*/ 5615865 w 12192000"/>
              <a:gd name="connsiteY131" fmla="*/ 6290016 h 6858000"/>
              <a:gd name="connsiteX132" fmla="*/ 5601790 w 12192000"/>
              <a:gd name="connsiteY132" fmla="*/ 6290016 h 6858000"/>
              <a:gd name="connsiteX133" fmla="*/ 5601790 w 12192000"/>
              <a:gd name="connsiteY133" fmla="*/ 6342558 h 6858000"/>
              <a:gd name="connsiteX134" fmla="*/ 5573640 w 12192000"/>
              <a:gd name="connsiteY134" fmla="*/ 6377586 h 6858000"/>
              <a:gd name="connsiteX135" fmla="*/ 5552527 w 12192000"/>
              <a:gd name="connsiteY135" fmla="*/ 6349564 h 6858000"/>
              <a:gd name="connsiteX136" fmla="*/ 5552527 w 12192000"/>
              <a:gd name="connsiteY136" fmla="*/ 6290016 h 6858000"/>
              <a:gd name="connsiteX137" fmla="*/ 5541970 w 12192000"/>
              <a:gd name="connsiteY137" fmla="*/ 6290016 h 6858000"/>
              <a:gd name="connsiteX138" fmla="*/ 5473449 w 12192000"/>
              <a:gd name="connsiteY138" fmla="*/ 6290016 h 6858000"/>
              <a:gd name="connsiteX139" fmla="*/ 5429111 w 12192000"/>
              <a:gd name="connsiteY139" fmla="*/ 6339056 h 6858000"/>
              <a:gd name="connsiteX140" fmla="*/ 5473449 w 12192000"/>
              <a:gd name="connsiteY140" fmla="*/ 6388095 h 6858000"/>
              <a:gd name="connsiteX141" fmla="*/ 5517786 w 12192000"/>
              <a:gd name="connsiteY141" fmla="*/ 6339056 h 6858000"/>
              <a:gd name="connsiteX142" fmla="*/ 5473449 w 12192000"/>
              <a:gd name="connsiteY142" fmla="*/ 6290016 h 6858000"/>
              <a:gd name="connsiteX143" fmla="*/ 6657114 w 12192000"/>
              <a:gd name="connsiteY143" fmla="*/ 6275237 h 6858000"/>
              <a:gd name="connsiteX144" fmla="*/ 6661144 w 12192000"/>
              <a:gd name="connsiteY144" fmla="*/ 6285986 h 6858000"/>
              <a:gd name="connsiteX145" fmla="*/ 6665175 w 12192000"/>
              <a:gd name="connsiteY145" fmla="*/ 6292704 h 6858000"/>
              <a:gd name="connsiteX146" fmla="*/ 6650396 w 12192000"/>
              <a:gd name="connsiteY146" fmla="*/ 6292704 h 6858000"/>
              <a:gd name="connsiteX147" fmla="*/ 6654427 w 12192000"/>
              <a:gd name="connsiteY147" fmla="*/ 6285986 h 6858000"/>
              <a:gd name="connsiteX148" fmla="*/ 6661257 w 12192000"/>
              <a:gd name="connsiteY148" fmla="*/ 6264489 h 6858000"/>
              <a:gd name="connsiteX149" fmla="*/ 6650844 w 12192000"/>
              <a:gd name="connsiteY149" fmla="*/ 6268003 h 6858000"/>
              <a:gd name="connsiteX150" fmla="*/ 6647373 w 12192000"/>
              <a:gd name="connsiteY150" fmla="*/ 6285573 h 6858000"/>
              <a:gd name="connsiteX151" fmla="*/ 6636960 w 12192000"/>
              <a:gd name="connsiteY151" fmla="*/ 6306655 h 6858000"/>
              <a:gd name="connsiteX152" fmla="*/ 6647373 w 12192000"/>
              <a:gd name="connsiteY152" fmla="*/ 6310169 h 6858000"/>
              <a:gd name="connsiteX153" fmla="*/ 6647373 w 12192000"/>
              <a:gd name="connsiteY153" fmla="*/ 6299628 h 6858000"/>
              <a:gd name="connsiteX154" fmla="*/ 6668198 w 12192000"/>
              <a:gd name="connsiteY154" fmla="*/ 6299628 h 6858000"/>
              <a:gd name="connsiteX155" fmla="*/ 6668198 w 12192000"/>
              <a:gd name="connsiteY155" fmla="*/ 6306655 h 6858000"/>
              <a:gd name="connsiteX156" fmla="*/ 6678611 w 12192000"/>
              <a:gd name="connsiteY156" fmla="*/ 6306655 h 6858000"/>
              <a:gd name="connsiteX157" fmla="*/ 6668198 w 12192000"/>
              <a:gd name="connsiteY157" fmla="*/ 6285573 h 6858000"/>
              <a:gd name="connsiteX158" fmla="*/ 6661257 w 12192000"/>
              <a:gd name="connsiteY158" fmla="*/ 6268003 h 6858000"/>
              <a:gd name="connsiteX159" fmla="*/ 6661257 w 12192000"/>
              <a:gd name="connsiteY159" fmla="*/ 6264489 h 6858000"/>
              <a:gd name="connsiteX160" fmla="*/ 5966262 w 12192000"/>
              <a:gd name="connsiteY160" fmla="*/ 6264488 h 6858000"/>
              <a:gd name="connsiteX161" fmla="*/ 5955783 w 12192000"/>
              <a:gd name="connsiteY161" fmla="*/ 6268020 h 6858000"/>
              <a:gd name="connsiteX162" fmla="*/ 5955783 w 12192000"/>
              <a:gd name="connsiteY162" fmla="*/ 6289209 h 6858000"/>
              <a:gd name="connsiteX163" fmla="*/ 5938316 w 12192000"/>
              <a:gd name="connsiteY163" fmla="*/ 6289209 h 6858000"/>
              <a:gd name="connsiteX164" fmla="*/ 5938316 w 12192000"/>
              <a:gd name="connsiteY164" fmla="*/ 6299804 h 6858000"/>
              <a:gd name="connsiteX165" fmla="*/ 5955783 w 12192000"/>
              <a:gd name="connsiteY165" fmla="*/ 6299804 h 6858000"/>
              <a:gd name="connsiteX166" fmla="*/ 5955783 w 12192000"/>
              <a:gd name="connsiteY166" fmla="*/ 6356310 h 6858000"/>
              <a:gd name="connsiteX167" fmla="*/ 5976742 w 12192000"/>
              <a:gd name="connsiteY167" fmla="*/ 6388094 h 6858000"/>
              <a:gd name="connsiteX168" fmla="*/ 5990715 w 12192000"/>
              <a:gd name="connsiteY168" fmla="*/ 6384563 h 6858000"/>
              <a:gd name="connsiteX169" fmla="*/ 5990715 w 12192000"/>
              <a:gd name="connsiteY169" fmla="*/ 6373968 h 6858000"/>
              <a:gd name="connsiteX170" fmla="*/ 5980235 w 12192000"/>
              <a:gd name="connsiteY170" fmla="*/ 6377499 h 6858000"/>
              <a:gd name="connsiteX171" fmla="*/ 5966262 w 12192000"/>
              <a:gd name="connsiteY171" fmla="*/ 6363373 h 6858000"/>
              <a:gd name="connsiteX172" fmla="*/ 5966262 w 12192000"/>
              <a:gd name="connsiteY172" fmla="*/ 6299804 h 6858000"/>
              <a:gd name="connsiteX173" fmla="*/ 5987221 w 12192000"/>
              <a:gd name="connsiteY173" fmla="*/ 6299804 h 6858000"/>
              <a:gd name="connsiteX174" fmla="*/ 5987221 w 12192000"/>
              <a:gd name="connsiteY174" fmla="*/ 6289209 h 6858000"/>
              <a:gd name="connsiteX175" fmla="*/ 5966262 w 12192000"/>
              <a:gd name="connsiteY175" fmla="*/ 6289209 h 6858000"/>
              <a:gd name="connsiteX176" fmla="*/ 5966262 w 12192000"/>
              <a:gd name="connsiteY176" fmla="*/ 6264488 h 6858000"/>
              <a:gd name="connsiteX177" fmla="*/ 6601692 w 12192000"/>
              <a:gd name="connsiteY177" fmla="*/ 6261802 h 6858000"/>
              <a:gd name="connsiteX178" fmla="*/ 6591280 w 12192000"/>
              <a:gd name="connsiteY178" fmla="*/ 6303968 h 6858000"/>
              <a:gd name="connsiteX179" fmla="*/ 6601692 w 12192000"/>
              <a:gd name="connsiteY179" fmla="*/ 6303968 h 6858000"/>
              <a:gd name="connsiteX180" fmla="*/ 6605163 w 12192000"/>
              <a:gd name="connsiteY180" fmla="*/ 6279372 h 6858000"/>
              <a:gd name="connsiteX181" fmla="*/ 6619047 w 12192000"/>
              <a:gd name="connsiteY181" fmla="*/ 6307482 h 6858000"/>
              <a:gd name="connsiteX182" fmla="*/ 6625989 w 12192000"/>
              <a:gd name="connsiteY182" fmla="*/ 6307482 h 6858000"/>
              <a:gd name="connsiteX183" fmla="*/ 6632930 w 12192000"/>
              <a:gd name="connsiteY183" fmla="*/ 6265316 h 6858000"/>
              <a:gd name="connsiteX184" fmla="*/ 6625989 w 12192000"/>
              <a:gd name="connsiteY184" fmla="*/ 6265316 h 6858000"/>
              <a:gd name="connsiteX185" fmla="*/ 6622518 w 12192000"/>
              <a:gd name="connsiteY185" fmla="*/ 6293427 h 6858000"/>
              <a:gd name="connsiteX186" fmla="*/ 6608635 w 12192000"/>
              <a:gd name="connsiteY186" fmla="*/ 6261802 h 6858000"/>
              <a:gd name="connsiteX187" fmla="*/ 6601692 w 12192000"/>
              <a:gd name="connsiteY187" fmla="*/ 6261802 h 6858000"/>
              <a:gd name="connsiteX188" fmla="*/ 6710855 w 12192000"/>
              <a:gd name="connsiteY188" fmla="*/ 6257772 h 6858000"/>
              <a:gd name="connsiteX189" fmla="*/ 6675923 w 12192000"/>
              <a:gd name="connsiteY189" fmla="*/ 6264873 h 6858000"/>
              <a:gd name="connsiteX190" fmla="*/ 6675923 w 12192000"/>
              <a:gd name="connsiteY190" fmla="*/ 6271975 h 6858000"/>
              <a:gd name="connsiteX191" fmla="*/ 6689896 w 12192000"/>
              <a:gd name="connsiteY191" fmla="*/ 6271975 h 6858000"/>
              <a:gd name="connsiteX192" fmla="*/ 6696882 w 12192000"/>
              <a:gd name="connsiteY192" fmla="*/ 6307483 h 6858000"/>
              <a:gd name="connsiteX193" fmla="*/ 6703869 w 12192000"/>
              <a:gd name="connsiteY193" fmla="*/ 6303932 h 6858000"/>
              <a:gd name="connsiteX194" fmla="*/ 6696882 w 12192000"/>
              <a:gd name="connsiteY194" fmla="*/ 6268424 h 6858000"/>
              <a:gd name="connsiteX195" fmla="*/ 6710855 w 12192000"/>
              <a:gd name="connsiteY195" fmla="*/ 6264873 h 6858000"/>
              <a:gd name="connsiteX196" fmla="*/ 6566559 w 12192000"/>
              <a:gd name="connsiteY196" fmla="*/ 6257772 h 6858000"/>
              <a:gd name="connsiteX197" fmla="*/ 6577039 w 12192000"/>
              <a:gd name="connsiteY197" fmla="*/ 6261131 h 6858000"/>
              <a:gd name="connsiteX198" fmla="*/ 6580532 w 12192000"/>
              <a:gd name="connsiteY198" fmla="*/ 6264490 h 6858000"/>
              <a:gd name="connsiteX199" fmla="*/ 6580532 w 12192000"/>
              <a:gd name="connsiteY199" fmla="*/ 6267848 h 6858000"/>
              <a:gd name="connsiteX200" fmla="*/ 6573545 w 12192000"/>
              <a:gd name="connsiteY200" fmla="*/ 6271207 h 6858000"/>
              <a:gd name="connsiteX201" fmla="*/ 6563065 w 12192000"/>
              <a:gd name="connsiteY201" fmla="*/ 6267848 h 6858000"/>
              <a:gd name="connsiteX202" fmla="*/ 6566559 w 12192000"/>
              <a:gd name="connsiteY202" fmla="*/ 6264490 h 6858000"/>
              <a:gd name="connsiteX203" fmla="*/ 6566559 w 12192000"/>
              <a:gd name="connsiteY203" fmla="*/ 6257772 h 6858000"/>
              <a:gd name="connsiteX204" fmla="*/ 6016373 w 12192000"/>
              <a:gd name="connsiteY204" fmla="*/ 6255886 h 6858000"/>
              <a:gd name="connsiteX205" fmla="*/ 6016373 w 12192000"/>
              <a:gd name="connsiteY205" fmla="*/ 6269580 h 6858000"/>
              <a:gd name="connsiteX206" fmla="*/ 6028662 w 12192000"/>
              <a:gd name="connsiteY206" fmla="*/ 6269580 h 6858000"/>
              <a:gd name="connsiteX207" fmla="*/ 6028662 w 12192000"/>
              <a:gd name="connsiteY207" fmla="*/ 6255886 h 6858000"/>
              <a:gd name="connsiteX208" fmla="*/ 6717573 w 12192000"/>
              <a:gd name="connsiteY208" fmla="*/ 6253740 h 6858000"/>
              <a:gd name="connsiteX209" fmla="*/ 6731393 w 12192000"/>
              <a:gd name="connsiteY209" fmla="*/ 6296734 h 6858000"/>
              <a:gd name="connsiteX210" fmla="*/ 6741757 w 12192000"/>
              <a:gd name="connsiteY210" fmla="*/ 6293151 h 6858000"/>
              <a:gd name="connsiteX211" fmla="*/ 6727938 w 12192000"/>
              <a:gd name="connsiteY211" fmla="*/ 6253740 h 6858000"/>
              <a:gd name="connsiteX212" fmla="*/ 6717573 w 12192000"/>
              <a:gd name="connsiteY212" fmla="*/ 6253740 h 6858000"/>
              <a:gd name="connsiteX213" fmla="*/ 5348499 w 12192000"/>
              <a:gd name="connsiteY213" fmla="*/ 6253740 h 6858000"/>
              <a:gd name="connsiteX214" fmla="*/ 5348499 w 12192000"/>
              <a:gd name="connsiteY214" fmla="*/ 6384064 h 6858000"/>
              <a:gd name="connsiteX215" fmla="*/ 5363278 w 12192000"/>
              <a:gd name="connsiteY215" fmla="*/ 6384064 h 6858000"/>
              <a:gd name="connsiteX216" fmla="*/ 5363278 w 12192000"/>
              <a:gd name="connsiteY216" fmla="*/ 6324948 h 6858000"/>
              <a:gd name="connsiteX217" fmla="*/ 5408960 w 12192000"/>
              <a:gd name="connsiteY217" fmla="*/ 6324948 h 6858000"/>
              <a:gd name="connsiteX218" fmla="*/ 5408960 w 12192000"/>
              <a:gd name="connsiteY218" fmla="*/ 6314200 h 6858000"/>
              <a:gd name="connsiteX219" fmla="*/ 5363278 w 12192000"/>
              <a:gd name="connsiteY219" fmla="*/ 6314200 h 6858000"/>
              <a:gd name="connsiteX220" fmla="*/ 5363278 w 12192000"/>
              <a:gd name="connsiteY220" fmla="*/ 6264488 h 6858000"/>
              <a:gd name="connsiteX221" fmla="*/ 5411646 w 12192000"/>
              <a:gd name="connsiteY221" fmla="*/ 6264488 h 6858000"/>
              <a:gd name="connsiteX222" fmla="*/ 5411646 w 12192000"/>
              <a:gd name="connsiteY222" fmla="*/ 6253740 h 6858000"/>
              <a:gd name="connsiteX223" fmla="*/ 6562954 w 12192000"/>
              <a:gd name="connsiteY223" fmla="*/ 6247023 h 6858000"/>
              <a:gd name="connsiteX224" fmla="*/ 6556012 w 12192000"/>
              <a:gd name="connsiteY224" fmla="*/ 6264490 h 6858000"/>
              <a:gd name="connsiteX225" fmla="*/ 6556012 w 12192000"/>
              <a:gd name="connsiteY225" fmla="*/ 6267982 h 6858000"/>
              <a:gd name="connsiteX226" fmla="*/ 6545599 w 12192000"/>
              <a:gd name="connsiteY226" fmla="*/ 6285449 h 6858000"/>
              <a:gd name="connsiteX227" fmla="*/ 6556012 w 12192000"/>
              <a:gd name="connsiteY227" fmla="*/ 6288942 h 6858000"/>
              <a:gd name="connsiteX228" fmla="*/ 6559483 w 12192000"/>
              <a:gd name="connsiteY228" fmla="*/ 6274969 h 6858000"/>
              <a:gd name="connsiteX229" fmla="*/ 6569896 w 12192000"/>
              <a:gd name="connsiteY229" fmla="*/ 6278463 h 6858000"/>
              <a:gd name="connsiteX230" fmla="*/ 6569896 w 12192000"/>
              <a:gd name="connsiteY230" fmla="*/ 6295928 h 6858000"/>
              <a:gd name="connsiteX231" fmla="*/ 6580308 w 12192000"/>
              <a:gd name="connsiteY231" fmla="*/ 6299422 h 6858000"/>
              <a:gd name="connsiteX232" fmla="*/ 6576837 w 12192000"/>
              <a:gd name="connsiteY232" fmla="*/ 6278463 h 6858000"/>
              <a:gd name="connsiteX233" fmla="*/ 6587250 w 12192000"/>
              <a:gd name="connsiteY233" fmla="*/ 6267982 h 6858000"/>
              <a:gd name="connsiteX234" fmla="*/ 6587250 w 12192000"/>
              <a:gd name="connsiteY234" fmla="*/ 6264490 h 6858000"/>
              <a:gd name="connsiteX235" fmla="*/ 6580308 w 12192000"/>
              <a:gd name="connsiteY235" fmla="*/ 6254010 h 6858000"/>
              <a:gd name="connsiteX236" fmla="*/ 6562954 w 12192000"/>
              <a:gd name="connsiteY236" fmla="*/ 6247023 h 6858000"/>
              <a:gd name="connsiteX237" fmla="*/ 6768052 w 12192000"/>
              <a:gd name="connsiteY237" fmla="*/ 6244316 h 6858000"/>
              <a:gd name="connsiteX238" fmla="*/ 6776689 w 12192000"/>
              <a:gd name="connsiteY238" fmla="*/ 6250047 h 6858000"/>
              <a:gd name="connsiteX239" fmla="*/ 6776689 w 12192000"/>
              <a:gd name="connsiteY239" fmla="*/ 6257100 h 6858000"/>
              <a:gd name="connsiteX240" fmla="*/ 6773234 w 12192000"/>
              <a:gd name="connsiteY240" fmla="*/ 6267681 h 6858000"/>
              <a:gd name="connsiteX241" fmla="*/ 6769780 w 12192000"/>
              <a:gd name="connsiteY241" fmla="*/ 6271208 h 6858000"/>
              <a:gd name="connsiteX242" fmla="*/ 6755960 w 12192000"/>
              <a:gd name="connsiteY242" fmla="*/ 6267681 h 6858000"/>
              <a:gd name="connsiteX243" fmla="*/ 6752505 w 12192000"/>
              <a:gd name="connsiteY243" fmla="*/ 6264155 h 6858000"/>
              <a:gd name="connsiteX244" fmla="*/ 6752505 w 12192000"/>
              <a:gd name="connsiteY244" fmla="*/ 6257100 h 6858000"/>
              <a:gd name="connsiteX245" fmla="*/ 6759415 w 12192000"/>
              <a:gd name="connsiteY245" fmla="*/ 6246520 h 6858000"/>
              <a:gd name="connsiteX246" fmla="*/ 6768052 w 12192000"/>
              <a:gd name="connsiteY246" fmla="*/ 6244316 h 6858000"/>
              <a:gd name="connsiteX247" fmla="*/ 5812549 w 12192000"/>
              <a:gd name="connsiteY247" fmla="*/ 6242991 h 6858000"/>
              <a:gd name="connsiteX248" fmla="*/ 5812549 w 12192000"/>
              <a:gd name="connsiteY248" fmla="*/ 6306695 h 6858000"/>
              <a:gd name="connsiteX249" fmla="*/ 5784042 w 12192000"/>
              <a:gd name="connsiteY249" fmla="*/ 6288999 h 6858000"/>
              <a:gd name="connsiteX250" fmla="*/ 5744846 w 12192000"/>
              <a:gd name="connsiteY250" fmla="*/ 6338547 h 6858000"/>
              <a:gd name="connsiteX251" fmla="*/ 5784042 w 12192000"/>
              <a:gd name="connsiteY251" fmla="*/ 6388094 h 6858000"/>
              <a:gd name="connsiteX252" fmla="*/ 5812549 w 12192000"/>
              <a:gd name="connsiteY252" fmla="*/ 6370398 h 6858000"/>
              <a:gd name="connsiteX253" fmla="*/ 5812549 w 12192000"/>
              <a:gd name="connsiteY253" fmla="*/ 6384555 h 6858000"/>
              <a:gd name="connsiteX254" fmla="*/ 5826802 w 12192000"/>
              <a:gd name="connsiteY254" fmla="*/ 6384555 h 6858000"/>
              <a:gd name="connsiteX255" fmla="*/ 5826802 w 12192000"/>
              <a:gd name="connsiteY255" fmla="*/ 6242991 h 6858000"/>
              <a:gd name="connsiteX256" fmla="*/ 5812549 w 12192000"/>
              <a:gd name="connsiteY256" fmla="*/ 6242991 h 6858000"/>
              <a:gd name="connsiteX257" fmla="*/ 6769972 w 12192000"/>
              <a:gd name="connsiteY257" fmla="*/ 6237475 h 6858000"/>
              <a:gd name="connsiteX258" fmla="*/ 6752505 w 12192000"/>
              <a:gd name="connsiteY258" fmla="*/ 6240498 h 6858000"/>
              <a:gd name="connsiteX259" fmla="*/ 6741757 w 12192000"/>
              <a:gd name="connsiteY259" fmla="*/ 6257772 h 6858000"/>
              <a:gd name="connsiteX260" fmla="*/ 6745339 w 12192000"/>
              <a:gd name="connsiteY260" fmla="*/ 6268137 h 6858000"/>
              <a:gd name="connsiteX261" fmla="*/ 6774002 w 12192000"/>
              <a:gd name="connsiteY261" fmla="*/ 6275047 h 6858000"/>
              <a:gd name="connsiteX262" fmla="*/ 6784750 w 12192000"/>
              <a:gd name="connsiteY262" fmla="*/ 6268137 h 6858000"/>
              <a:gd name="connsiteX263" fmla="*/ 6784750 w 12192000"/>
              <a:gd name="connsiteY263" fmla="*/ 6257772 h 6858000"/>
              <a:gd name="connsiteX264" fmla="*/ 6784750 w 12192000"/>
              <a:gd name="connsiteY264" fmla="*/ 6247408 h 6858000"/>
              <a:gd name="connsiteX265" fmla="*/ 6769972 w 12192000"/>
              <a:gd name="connsiteY265" fmla="*/ 6237475 h 6858000"/>
              <a:gd name="connsiteX266" fmla="*/ 6527720 w 12192000"/>
              <a:gd name="connsiteY266" fmla="*/ 6229557 h 6858000"/>
              <a:gd name="connsiteX267" fmla="*/ 6506636 w 12192000"/>
              <a:gd name="connsiteY267" fmla="*/ 6264489 h 6858000"/>
              <a:gd name="connsiteX268" fmla="*/ 6531234 w 12192000"/>
              <a:gd name="connsiteY268" fmla="*/ 6281955 h 6858000"/>
              <a:gd name="connsiteX269" fmla="*/ 6534748 w 12192000"/>
              <a:gd name="connsiteY269" fmla="*/ 6274969 h 6858000"/>
              <a:gd name="connsiteX270" fmla="*/ 6517178 w 12192000"/>
              <a:gd name="connsiteY270" fmla="*/ 6264489 h 6858000"/>
              <a:gd name="connsiteX271" fmla="*/ 6524206 w 12192000"/>
              <a:gd name="connsiteY271" fmla="*/ 6254010 h 6858000"/>
              <a:gd name="connsiteX272" fmla="*/ 6534748 w 12192000"/>
              <a:gd name="connsiteY272" fmla="*/ 6260996 h 6858000"/>
              <a:gd name="connsiteX273" fmla="*/ 6538261 w 12192000"/>
              <a:gd name="connsiteY273" fmla="*/ 6254010 h 6858000"/>
              <a:gd name="connsiteX274" fmla="*/ 6527720 w 12192000"/>
              <a:gd name="connsiteY274" fmla="*/ 6247023 h 6858000"/>
              <a:gd name="connsiteX275" fmla="*/ 6531234 w 12192000"/>
              <a:gd name="connsiteY275" fmla="*/ 6240037 h 6858000"/>
              <a:gd name="connsiteX276" fmla="*/ 6548803 w 12192000"/>
              <a:gd name="connsiteY276" fmla="*/ 6250516 h 6858000"/>
              <a:gd name="connsiteX277" fmla="*/ 6552317 w 12192000"/>
              <a:gd name="connsiteY277" fmla="*/ 6243529 h 6858000"/>
              <a:gd name="connsiteX278" fmla="*/ 6527720 w 12192000"/>
              <a:gd name="connsiteY278" fmla="*/ 6229557 h 6858000"/>
              <a:gd name="connsiteX279" fmla="*/ 6805172 w 12192000"/>
              <a:gd name="connsiteY279" fmla="*/ 6201343 h 6858000"/>
              <a:gd name="connsiteX280" fmla="*/ 6798186 w 12192000"/>
              <a:gd name="connsiteY280" fmla="*/ 6208396 h 6858000"/>
              <a:gd name="connsiteX281" fmla="*/ 6815652 w 12192000"/>
              <a:gd name="connsiteY281" fmla="*/ 6226030 h 6858000"/>
              <a:gd name="connsiteX282" fmla="*/ 6787706 w 12192000"/>
              <a:gd name="connsiteY282" fmla="*/ 6218977 h 6858000"/>
              <a:gd name="connsiteX283" fmla="*/ 6780719 w 12192000"/>
              <a:gd name="connsiteY283" fmla="*/ 6222503 h 6858000"/>
              <a:gd name="connsiteX284" fmla="*/ 6805172 w 12192000"/>
              <a:gd name="connsiteY284" fmla="*/ 6257772 h 6858000"/>
              <a:gd name="connsiteX285" fmla="*/ 6812159 w 12192000"/>
              <a:gd name="connsiteY285" fmla="*/ 6250718 h 6858000"/>
              <a:gd name="connsiteX286" fmla="*/ 6798186 w 12192000"/>
              <a:gd name="connsiteY286" fmla="*/ 6229557 h 6858000"/>
              <a:gd name="connsiteX287" fmla="*/ 6826132 w 12192000"/>
              <a:gd name="connsiteY287" fmla="*/ 6240137 h 6858000"/>
              <a:gd name="connsiteX288" fmla="*/ 6833118 w 12192000"/>
              <a:gd name="connsiteY288" fmla="*/ 6233084 h 6858000"/>
              <a:gd name="connsiteX289" fmla="*/ 6805172 w 12192000"/>
              <a:gd name="connsiteY289" fmla="*/ 6201343 h 6858000"/>
              <a:gd name="connsiteX290" fmla="*/ 6496819 w 12192000"/>
              <a:gd name="connsiteY290" fmla="*/ 6201343 h 6858000"/>
              <a:gd name="connsiteX291" fmla="*/ 6489791 w 12192000"/>
              <a:gd name="connsiteY291" fmla="*/ 6204856 h 6858000"/>
              <a:gd name="connsiteX292" fmla="*/ 6500333 w 12192000"/>
              <a:gd name="connsiteY292" fmla="*/ 6215398 h 6858000"/>
              <a:gd name="connsiteX293" fmla="*/ 6475735 w 12192000"/>
              <a:gd name="connsiteY293" fmla="*/ 6239995 h 6858000"/>
              <a:gd name="connsiteX294" fmla="*/ 6482763 w 12192000"/>
              <a:gd name="connsiteY294" fmla="*/ 6247023 h 6858000"/>
              <a:gd name="connsiteX295" fmla="*/ 6507360 w 12192000"/>
              <a:gd name="connsiteY295" fmla="*/ 6222426 h 6858000"/>
              <a:gd name="connsiteX296" fmla="*/ 6517902 w 12192000"/>
              <a:gd name="connsiteY296" fmla="*/ 6229453 h 6858000"/>
              <a:gd name="connsiteX297" fmla="*/ 6521416 w 12192000"/>
              <a:gd name="connsiteY297" fmla="*/ 6222426 h 6858000"/>
              <a:gd name="connsiteX298" fmla="*/ 6496819 w 12192000"/>
              <a:gd name="connsiteY298" fmla="*/ 6201343 h 6858000"/>
              <a:gd name="connsiteX299" fmla="*/ 6826400 w 12192000"/>
              <a:gd name="connsiteY299" fmla="*/ 6190594 h 6858000"/>
              <a:gd name="connsiteX300" fmla="*/ 6843866 w 12192000"/>
              <a:gd name="connsiteY300" fmla="*/ 6197312 h 6858000"/>
              <a:gd name="connsiteX301" fmla="*/ 6843866 w 12192000"/>
              <a:gd name="connsiteY301" fmla="*/ 6201343 h 6858000"/>
              <a:gd name="connsiteX302" fmla="*/ 6837148 w 12192000"/>
              <a:gd name="connsiteY302" fmla="*/ 6208061 h 6858000"/>
              <a:gd name="connsiteX303" fmla="*/ 6833118 w 12192000"/>
              <a:gd name="connsiteY303" fmla="*/ 6201343 h 6858000"/>
              <a:gd name="connsiteX304" fmla="*/ 6822753 w 12192000"/>
              <a:gd name="connsiteY304" fmla="*/ 6183876 h 6858000"/>
              <a:gd name="connsiteX305" fmla="*/ 6815652 w 12192000"/>
              <a:gd name="connsiteY305" fmla="*/ 6190818 h 6858000"/>
              <a:gd name="connsiteX306" fmla="*/ 6822753 w 12192000"/>
              <a:gd name="connsiteY306" fmla="*/ 6201230 h 6858000"/>
              <a:gd name="connsiteX307" fmla="*/ 6840507 w 12192000"/>
              <a:gd name="connsiteY307" fmla="*/ 6225526 h 6858000"/>
              <a:gd name="connsiteX308" fmla="*/ 6844059 w 12192000"/>
              <a:gd name="connsiteY308" fmla="*/ 6222056 h 6858000"/>
              <a:gd name="connsiteX309" fmla="*/ 6840507 w 12192000"/>
              <a:gd name="connsiteY309" fmla="*/ 6215114 h 6858000"/>
              <a:gd name="connsiteX310" fmla="*/ 6851160 w 12192000"/>
              <a:gd name="connsiteY310" fmla="*/ 6201230 h 6858000"/>
              <a:gd name="connsiteX311" fmla="*/ 6858262 w 12192000"/>
              <a:gd name="connsiteY311" fmla="*/ 6201230 h 6858000"/>
              <a:gd name="connsiteX312" fmla="*/ 6861813 w 12192000"/>
              <a:gd name="connsiteY312" fmla="*/ 6201230 h 6858000"/>
              <a:gd name="connsiteX313" fmla="*/ 6865363 w 12192000"/>
              <a:gd name="connsiteY313" fmla="*/ 6194288 h 6858000"/>
              <a:gd name="connsiteX314" fmla="*/ 6822753 w 12192000"/>
              <a:gd name="connsiteY314" fmla="*/ 6183876 h 6858000"/>
              <a:gd name="connsiteX315" fmla="*/ 6468010 w 12192000"/>
              <a:gd name="connsiteY315" fmla="*/ 6169097 h 6858000"/>
              <a:gd name="connsiteX316" fmla="*/ 6432742 w 12192000"/>
              <a:gd name="connsiteY316" fmla="*/ 6194177 h 6858000"/>
              <a:gd name="connsiteX317" fmla="*/ 6439796 w 12192000"/>
              <a:gd name="connsiteY317" fmla="*/ 6201343 h 6858000"/>
              <a:gd name="connsiteX318" fmla="*/ 6460956 w 12192000"/>
              <a:gd name="connsiteY318" fmla="*/ 6187012 h 6858000"/>
              <a:gd name="connsiteX319" fmla="*/ 6450376 w 12192000"/>
              <a:gd name="connsiteY319" fmla="*/ 6215673 h 6858000"/>
              <a:gd name="connsiteX320" fmla="*/ 6457429 w 12192000"/>
              <a:gd name="connsiteY320" fmla="*/ 6222839 h 6858000"/>
              <a:gd name="connsiteX321" fmla="*/ 6489170 w 12192000"/>
              <a:gd name="connsiteY321" fmla="*/ 6194177 h 6858000"/>
              <a:gd name="connsiteX322" fmla="*/ 6485644 w 12192000"/>
              <a:gd name="connsiteY322" fmla="*/ 6187012 h 6858000"/>
              <a:gd name="connsiteX323" fmla="*/ 6464483 w 12192000"/>
              <a:gd name="connsiteY323" fmla="*/ 6204925 h 6858000"/>
              <a:gd name="connsiteX324" fmla="*/ 6475063 w 12192000"/>
              <a:gd name="connsiteY324" fmla="*/ 6176263 h 6858000"/>
              <a:gd name="connsiteX325" fmla="*/ 6468010 w 12192000"/>
              <a:gd name="connsiteY325" fmla="*/ 6169097 h 6858000"/>
              <a:gd name="connsiteX326" fmla="*/ 6837149 w 12192000"/>
              <a:gd name="connsiteY326" fmla="*/ 6158349 h 6858000"/>
              <a:gd name="connsiteX327" fmla="*/ 6833118 w 12192000"/>
              <a:gd name="connsiteY327" fmla="*/ 6166410 h 6858000"/>
              <a:gd name="connsiteX328" fmla="*/ 6872081 w 12192000"/>
              <a:gd name="connsiteY328" fmla="*/ 6186564 h 6858000"/>
              <a:gd name="connsiteX329" fmla="*/ 6885517 w 12192000"/>
              <a:gd name="connsiteY329" fmla="*/ 6162380 h 6858000"/>
              <a:gd name="connsiteX330" fmla="*/ 6878799 w 12192000"/>
              <a:gd name="connsiteY330" fmla="*/ 6158349 h 6858000"/>
              <a:gd name="connsiteX331" fmla="*/ 6868050 w 12192000"/>
              <a:gd name="connsiteY331" fmla="*/ 6177159 h 6858000"/>
              <a:gd name="connsiteX332" fmla="*/ 6461445 w 12192000"/>
              <a:gd name="connsiteY332" fmla="*/ 6155662 h 6858000"/>
              <a:gd name="connsiteX333" fmla="*/ 6426023 w 12192000"/>
              <a:gd name="connsiteY333" fmla="*/ 6176824 h 6858000"/>
              <a:gd name="connsiteX334" fmla="*/ 6429565 w 12192000"/>
              <a:gd name="connsiteY334" fmla="*/ 6183877 h 6858000"/>
              <a:gd name="connsiteX335" fmla="*/ 6464987 w 12192000"/>
              <a:gd name="connsiteY335" fmla="*/ 6162716 h 6858000"/>
              <a:gd name="connsiteX336" fmla="*/ 6461445 w 12192000"/>
              <a:gd name="connsiteY336" fmla="*/ 6155662 h 6858000"/>
              <a:gd name="connsiteX337" fmla="*/ 6452739 w 12192000"/>
              <a:gd name="connsiteY337" fmla="*/ 6122052 h 6858000"/>
              <a:gd name="connsiteX338" fmla="*/ 6458004 w 12192000"/>
              <a:gd name="connsiteY338" fmla="*/ 6127783 h 6858000"/>
              <a:gd name="connsiteX339" fmla="*/ 6651068 w 12192000"/>
              <a:gd name="connsiteY339" fmla="*/ 6258276 h 6858000"/>
              <a:gd name="connsiteX340" fmla="*/ 6844131 w 12192000"/>
              <a:gd name="connsiteY340" fmla="*/ 6127783 h 6858000"/>
              <a:gd name="connsiteX341" fmla="*/ 6849397 w 12192000"/>
              <a:gd name="connsiteY341" fmla="*/ 6122052 h 6858000"/>
              <a:gd name="connsiteX342" fmla="*/ 6854662 w 12192000"/>
              <a:gd name="connsiteY342" fmla="*/ 6124256 h 6858000"/>
              <a:gd name="connsiteX343" fmla="*/ 6893275 w 12192000"/>
              <a:gd name="connsiteY343" fmla="*/ 6134837 h 6858000"/>
              <a:gd name="connsiteX344" fmla="*/ 6900295 w 12192000"/>
              <a:gd name="connsiteY344" fmla="*/ 6145417 h 6858000"/>
              <a:gd name="connsiteX345" fmla="*/ 6651068 w 12192000"/>
              <a:gd name="connsiteY345" fmla="*/ 6318232 h 6858000"/>
              <a:gd name="connsiteX346" fmla="*/ 6401840 w 12192000"/>
              <a:gd name="connsiteY346" fmla="*/ 6148945 h 6858000"/>
              <a:gd name="connsiteX347" fmla="*/ 6408860 w 12192000"/>
              <a:gd name="connsiteY347" fmla="*/ 6134837 h 6858000"/>
              <a:gd name="connsiteX348" fmla="*/ 6447473 w 12192000"/>
              <a:gd name="connsiteY348" fmla="*/ 6124256 h 6858000"/>
              <a:gd name="connsiteX349" fmla="*/ 6452739 w 12192000"/>
              <a:gd name="connsiteY349" fmla="*/ 6122052 h 6858000"/>
              <a:gd name="connsiteX350" fmla="*/ 6605253 w 12192000"/>
              <a:gd name="connsiteY350" fmla="*/ 6116214 h 6858000"/>
              <a:gd name="connsiteX351" fmla="*/ 6615733 w 12192000"/>
              <a:gd name="connsiteY351" fmla="*/ 6116214 h 6858000"/>
              <a:gd name="connsiteX352" fmla="*/ 6619226 w 12192000"/>
              <a:gd name="connsiteY352" fmla="*/ 6123305 h 6858000"/>
              <a:gd name="connsiteX353" fmla="*/ 6626212 w 12192000"/>
              <a:gd name="connsiteY353" fmla="*/ 6226124 h 6858000"/>
              <a:gd name="connsiteX354" fmla="*/ 6622719 w 12192000"/>
              <a:gd name="connsiteY354" fmla="*/ 6236761 h 6858000"/>
              <a:gd name="connsiteX355" fmla="*/ 6615733 w 12192000"/>
              <a:gd name="connsiteY355" fmla="*/ 6236761 h 6858000"/>
              <a:gd name="connsiteX356" fmla="*/ 6507443 w 12192000"/>
              <a:gd name="connsiteY356" fmla="*/ 6172941 h 6858000"/>
              <a:gd name="connsiteX357" fmla="*/ 6503949 w 12192000"/>
              <a:gd name="connsiteY357" fmla="*/ 6169396 h 6858000"/>
              <a:gd name="connsiteX358" fmla="*/ 6503949 w 12192000"/>
              <a:gd name="connsiteY358" fmla="*/ 6165851 h 6858000"/>
              <a:gd name="connsiteX359" fmla="*/ 6510935 w 12192000"/>
              <a:gd name="connsiteY359" fmla="*/ 6162306 h 6858000"/>
              <a:gd name="connsiteX360" fmla="*/ 6605253 w 12192000"/>
              <a:gd name="connsiteY360" fmla="*/ 6116214 h 6858000"/>
              <a:gd name="connsiteX361" fmla="*/ 6689896 w 12192000"/>
              <a:gd name="connsiteY361" fmla="*/ 6112668 h 6858000"/>
              <a:gd name="connsiteX362" fmla="*/ 6700376 w 12192000"/>
              <a:gd name="connsiteY362" fmla="*/ 6112668 h 6858000"/>
              <a:gd name="connsiteX363" fmla="*/ 6791199 w 12192000"/>
              <a:gd name="connsiteY363" fmla="*/ 6158579 h 6858000"/>
              <a:gd name="connsiteX364" fmla="*/ 6798186 w 12192000"/>
              <a:gd name="connsiteY364" fmla="*/ 6165643 h 6858000"/>
              <a:gd name="connsiteX365" fmla="*/ 6794693 w 12192000"/>
              <a:gd name="connsiteY365" fmla="*/ 6172706 h 6858000"/>
              <a:gd name="connsiteX366" fmla="*/ 6686403 w 12192000"/>
              <a:gd name="connsiteY366" fmla="*/ 6236275 h 6858000"/>
              <a:gd name="connsiteX367" fmla="*/ 6679416 w 12192000"/>
              <a:gd name="connsiteY367" fmla="*/ 6236275 h 6858000"/>
              <a:gd name="connsiteX368" fmla="*/ 6675923 w 12192000"/>
              <a:gd name="connsiteY368" fmla="*/ 6225680 h 6858000"/>
              <a:gd name="connsiteX369" fmla="*/ 6686403 w 12192000"/>
              <a:gd name="connsiteY369" fmla="*/ 6123264 h 6858000"/>
              <a:gd name="connsiteX370" fmla="*/ 6689896 w 12192000"/>
              <a:gd name="connsiteY370" fmla="*/ 6112668 h 6858000"/>
              <a:gd name="connsiteX371" fmla="*/ 5812094 w 12192000"/>
              <a:gd name="connsiteY371" fmla="*/ 6073704 h 6858000"/>
              <a:gd name="connsiteX372" fmla="*/ 5853673 w 12192000"/>
              <a:gd name="connsiteY372" fmla="*/ 6073704 h 6858000"/>
              <a:gd name="connsiteX373" fmla="*/ 5853673 w 12192000"/>
              <a:gd name="connsiteY373" fmla="*/ 6116314 h 6858000"/>
              <a:gd name="connsiteX374" fmla="*/ 5805164 w 12192000"/>
              <a:gd name="connsiteY374" fmla="*/ 6123416 h 6858000"/>
              <a:gd name="connsiteX375" fmla="*/ 5787839 w 12192000"/>
              <a:gd name="connsiteY375" fmla="*/ 6098560 h 6858000"/>
              <a:gd name="connsiteX376" fmla="*/ 5812094 w 12192000"/>
              <a:gd name="connsiteY376" fmla="*/ 6073704 h 6858000"/>
              <a:gd name="connsiteX377" fmla="*/ 5496290 w 12192000"/>
              <a:gd name="connsiteY377" fmla="*/ 6003839 h 6858000"/>
              <a:gd name="connsiteX378" fmla="*/ 5537940 w 12192000"/>
              <a:gd name="connsiteY378" fmla="*/ 6060111 h 6858000"/>
              <a:gd name="connsiteX379" fmla="*/ 5496290 w 12192000"/>
              <a:gd name="connsiteY379" fmla="*/ 6123415 h 6858000"/>
              <a:gd name="connsiteX380" fmla="*/ 5454640 w 12192000"/>
              <a:gd name="connsiteY380" fmla="*/ 6060111 h 6858000"/>
              <a:gd name="connsiteX381" fmla="*/ 5496290 w 12192000"/>
              <a:gd name="connsiteY381" fmla="*/ 6003839 h 6858000"/>
              <a:gd name="connsiteX382" fmla="*/ 6640816 w 12192000"/>
              <a:gd name="connsiteY382" fmla="*/ 5999810 h 6858000"/>
              <a:gd name="connsiteX383" fmla="*/ 6661845 w 12192000"/>
              <a:gd name="connsiteY383" fmla="*/ 5999810 h 6858000"/>
              <a:gd name="connsiteX384" fmla="*/ 6661845 w 12192000"/>
              <a:gd name="connsiteY384" fmla="*/ 6010450 h 6858000"/>
              <a:gd name="connsiteX385" fmla="*/ 6693389 w 12192000"/>
              <a:gd name="connsiteY385" fmla="*/ 6049467 h 6858000"/>
              <a:gd name="connsiteX386" fmla="*/ 6651330 w 12192000"/>
              <a:gd name="connsiteY386" fmla="*/ 6088484 h 6858000"/>
              <a:gd name="connsiteX387" fmla="*/ 6612777 w 12192000"/>
              <a:gd name="connsiteY387" fmla="*/ 6049467 h 6858000"/>
              <a:gd name="connsiteX388" fmla="*/ 6640816 w 12192000"/>
              <a:gd name="connsiteY388" fmla="*/ 6010450 h 6858000"/>
              <a:gd name="connsiteX389" fmla="*/ 6640816 w 12192000"/>
              <a:gd name="connsiteY389" fmla="*/ 5999810 h 6858000"/>
              <a:gd name="connsiteX390" fmla="*/ 6651068 w 12192000"/>
              <a:gd name="connsiteY390" fmla="*/ 5989061 h 6858000"/>
              <a:gd name="connsiteX391" fmla="*/ 6591280 w 12192000"/>
              <a:gd name="connsiteY391" fmla="*/ 6049521 h 6858000"/>
              <a:gd name="connsiteX392" fmla="*/ 6651068 w 12192000"/>
              <a:gd name="connsiteY392" fmla="*/ 6109981 h 6858000"/>
              <a:gd name="connsiteX393" fmla="*/ 6710856 w 12192000"/>
              <a:gd name="connsiteY393" fmla="*/ 6049521 h 6858000"/>
              <a:gd name="connsiteX394" fmla="*/ 6651068 w 12192000"/>
              <a:gd name="connsiteY394" fmla="*/ 5989061 h 6858000"/>
              <a:gd name="connsiteX395" fmla="*/ 6651068 w 12192000"/>
              <a:gd name="connsiteY395" fmla="*/ 5982344 h 6858000"/>
              <a:gd name="connsiteX396" fmla="*/ 6717574 w 12192000"/>
              <a:gd name="connsiteY396" fmla="*/ 6049521 h 6858000"/>
              <a:gd name="connsiteX397" fmla="*/ 6651068 w 12192000"/>
              <a:gd name="connsiteY397" fmla="*/ 6116699 h 6858000"/>
              <a:gd name="connsiteX398" fmla="*/ 6584562 w 12192000"/>
              <a:gd name="connsiteY398" fmla="*/ 6049521 h 6858000"/>
              <a:gd name="connsiteX399" fmla="*/ 6651068 w 12192000"/>
              <a:gd name="connsiteY399" fmla="*/ 5982344 h 6858000"/>
              <a:gd name="connsiteX400" fmla="*/ 6826360 w 12192000"/>
              <a:gd name="connsiteY400" fmla="*/ 5979657 h 6858000"/>
              <a:gd name="connsiteX401" fmla="*/ 6829861 w 12192000"/>
              <a:gd name="connsiteY401" fmla="*/ 5986710 h 6858000"/>
              <a:gd name="connsiteX402" fmla="*/ 6829861 w 12192000"/>
              <a:gd name="connsiteY402" fmla="*/ 6110149 h 6858000"/>
              <a:gd name="connsiteX403" fmla="*/ 6826360 w 12192000"/>
              <a:gd name="connsiteY403" fmla="*/ 6117203 h 6858000"/>
              <a:gd name="connsiteX404" fmla="*/ 6819357 w 12192000"/>
              <a:gd name="connsiteY404" fmla="*/ 6117203 h 6858000"/>
              <a:gd name="connsiteX405" fmla="*/ 6731823 w 12192000"/>
              <a:gd name="connsiteY405" fmla="*/ 6057247 h 6858000"/>
              <a:gd name="connsiteX406" fmla="*/ 6728322 w 12192000"/>
              <a:gd name="connsiteY406" fmla="*/ 6050193 h 6858000"/>
              <a:gd name="connsiteX407" fmla="*/ 6731823 w 12192000"/>
              <a:gd name="connsiteY407" fmla="*/ 6039612 h 6858000"/>
              <a:gd name="connsiteX408" fmla="*/ 6815856 w 12192000"/>
              <a:gd name="connsiteY408" fmla="*/ 5983183 h 6858000"/>
              <a:gd name="connsiteX409" fmla="*/ 6826360 w 12192000"/>
              <a:gd name="connsiteY409" fmla="*/ 5979657 h 6858000"/>
              <a:gd name="connsiteX410" fmla="*/ 6475776 w 12192000"/>
              <a:gd name="connsiteY410" fmla="*/ 5979657 h 6858000"/>
              <a:gd name="connsiteX411" fmla="*/ 6482778 w 12192000"/>
              <a:gd name="connsiteY411" fmla="*/ 5983183 h 6858000"/>
              <a:gd name="connsiteX412" fmla="*/ 6570312 w 12192000"/>
              <a:gd name="connsiteY412" fmla="*/ 6039612 h 6858000"/>
              <a:gd name="connsiteX413" fmla="*/ 6573813 w 12192000"/>
              <a:gd name="connsiteY413" fmla="*/ 6050193 h 6858000"/>
              <a:gd name="connsiteX414" fmla="*/ 6570312 w 12192000"/>
              <a:gd name="connsiteY414" fmla="*/ 6057247 h 6858000"/>
              <a:gd name="connsiteX415" fmla="*/ 6482778 w 12192000"/>
              <a:gd name="connsiteY415" fmla="*/ 6117203 h 6858000"/>
              <a:gd name="connsiteX416" fmla="*/ 6475776 w 12192000"/>
              <a:gd name="connsiteY416" fmla="*/ 6117203 h 6858000"/>
              <a:gd name="connsiteX417" fmla="*/ 6468772 w 12192000"/>
              <a:gd name="connsiteY417" fmla="*/ 6113676 h 6858000"/>
              <a:gd name="connsiteX418" fmla="*/ 6468772 w 12192000"/>
              <a:gd name="connsiteY418" fmla="*/ 5986710 h 6858000"/>
              <a:gd name="connsiteX419" fmla="*/ 6475776 w 12192000"/>
              <a:gd name="connsiteY419" fmla="*/ 5979657 h 6858000"/>
              <a:gd name="connsiteX420" fmla="*/ 6072127 w 12192000"/>
              <a:gd name="connsiteY420" fmla="*/ 5968908 h 6858000"/>
              <a:gd name="connsiteX421" fmla="*/ 6072127 w 12192000"/>
              <a:gd name="connsiteY421" fmla="*/ 5975961 h 6858000"/>
              <a:gd name="connsiteX422" fmla="*/ 6113977 w 12192000"/>
              <a:gd name="connsiteY422" fmla="*/ 6138195 h 6858000"/>
              <a:gd name="connsiteX423" fmla="*/ 6134902 w 12192000"/>
              <a:gd name="connsiteY423" fmla="*/ 6159356 h 6858000"/>
              <a:gd name="connsiteX424" fmla="*/ 6145365 w 12192000"/>
              <a:gd name="connsiteY424" fmla="*/ 6159356 h 6858000"/>
              <a:gd name="connsiteX425" fmla="*/ 6141877 w 12192000"/>
              <a:gd name="connsiteY425" fmla="*/ 6166409 h 6858000"/>
              <a:gd name="connsiteX426" fmla="*/ 6113977 w 12192000"/>
              <a:gd name="connsiteY426" fmla="*/ 6187570 h 6858000"/>
              <a:gd name="connsiteX427" fmla="*/ 6079102 w 12192000"/>
              <a:gd name="connsiteY427" fmla="*/ 6184044 h 6858000"/>
              <a:gd name="connsiteX428" fmla="*/ 6075615 w 12192000"/>
              <a:gd name="connsiteY428" fmla="*/ 6187570 h 6858000"/>
              <a:gd name="connsiteX429" fmla="*/ 6072127 w 12192000"/>
              <a:gd name="connsiteY429" fmla="*/ 6191097 h 6858000"/>
              <a:gd name="connsiteX430" fmla="*/ 6072127 w 12192000"/>
              <a:gd name="connsiteY430" fmla="*/ 6212258 h 6858000"/>
              <a:gd name="connsiteX431" fmla="*/ 6079102 w 12192000"/>
              <a:gd name="connsiteY431" fmla="*/ 6219312 h 6858000"/>
              <a:gd name="connsiteX432" fmla="*/ 6124440 w 12192000"/>
              <a:gd name="connsiteY432" fmla="*/ 6222838 h 6858000"/>
              <a:gd name="connsiteX433" fmla="*/ 6127927 w 12192000"/>
              <a:gd name="connsiteY433" fmla="*/ 6222838 h 6858000"/>
              <a:gd name="connsiteX434" fmla="*/ 6183727 w 12192000"/>
              <a:gd name="connsiteY434" fmla="*/ 6169936 h 6858000"/>
              <a:gd name="connsiteX435" fmla="*/ 6215114 w 12192000"/>
              <a:gd name="connsiteY435" fmla="*/ 6039444 h 6858000"/>
              <a:gd name="connsiteX436" fmla="*/ 6229064 w 12192000"/>
              <a:gd name="connsiteY436" fmla="*/ 5997122 h 6858000"/>
              <a:gd name="connsiteX437" fmla="*/ 6232552 w 12192000"/>
              <a:gd name="connsiteY437" fmla="*/ 5975961 h 6858000"/>
              <a:gd name="connsiteX438" fmla="*/ 6232552 w 12192000"/>
              <a:gd name="connsiteY438" fmla="*/ 5968908 h 6858000"/>
              <a:gd name="connsiteX439" fmla="*/ 6225577 w 12192000"/>
              <a:gd name="connsiteY439" fmla="*/ 5968908 h 6858000"/>
              <a:gd name="connsiteX440" fmla="*/ 6197677 w 12192000"/>
              <a:gd name="connsiteY440" fmla="*/ 5968908 h 6858000"/>
              <a:gd name="connsiteX441" fmla="*/ 6190702 w 12192000"/>
              <a:gd name="connsiteY441" fmla="*/ 5972434 h 6858000"/>
              <a:gd name="connsiteX442" fmla="*/ 6152340 w 12192000"/>
              <a:gd name="connsiteY442" fmla="*/ 6117034 h 6858000"/>
              <a:gd name="connsiteX443" fmla="*/ 6148852 w 12192000"/>
              <a:gd name="connsiteY443" fmla="*/ 6117034 h 6858000"/>
              <a:gd name="connsiteX444" fmla="*/ 6113977 w 12192000"/>
              <a:gd name="connsiteY444" fmla="*/ 5972434 h 6858000"/>
              <a:gd name="connsiteX445" fmla="*/ 6107002 w 12192000"/>
              <a:gd name="connsiteY445" fmla="*/ 5968908 h 6858000"/>
              <a:gd name="connsiteX446" fmla="*/ 6079102 w 12192000"/>
              <a:gd name="connsiteY446" fmla="*/ 5968908 h 6858000"/>
              <a:gd name="connsiteX447" fmla="*/ 6072127 w 12192000"/>
              <a:gd name="connsiteY447" fmla="*/ 5968908 h 6858000"/>
              <a:gd name="connsiteX448" fmla="*/ 6040101 w 12192000"/>
              <a:gd name="connsiteY448" fmla="*/ 5964877 h 6858000"/>
              <a:gd name="connsiteX449" fmla="*/ 5987285 w 12192000"/>
              <a:gd name="connsiteY449" fmla="*/ 5985983 h 6858000"/>
              <a:gd name="connsiteX450" fmla="*/ 5987285 w 12192000"/>
              <a:gd name="connsiteY450" fmla="*/ 5975430 h 6858000"/>
              <a:gd name="connsiteX451" fmla="*/ 5980244 w 12192000"/>
              <a:gd name="connsiteY451" fmla="*/ 5968395 h 6858000"/>
              <a:gd name="connsiteX452" fmla="*/ 5952076 w 12192000"/>
              <a:gd name="connsiteY452" fmla="*/ 5968395 h 6858000"/>
              <a:gd name="connsiteX453" fmla="*/ 5945033 w 12192000"/>
              <a:gd name="connsiteY453" fmla="*/ 5975430 h 6858000"/>
              <a:gd name="connsiteX454" fmla="*/ 5945033 w 12192000"/>
              <a:gd name="connsiteY454" fmla="*/ 6151313 h 6858000"/>
              <a:gd name="connsiteX455" fmla="*/ 5952076 w 12192000"/>
              <a:gd name="connsiteY455" fmla="*/ 6158348 h 6858000"/>
              <a:gd name="connsiteX456" fmla="*/ 5980244 w 12192000"/>
              <a:gd name="connsiteY456" fmla="*/ 6158348 h 6858000"/>
              <a:gd name="connsiteX457" fmla="*/ 5987285 w 12192000"/>
              <a:gd name="connsiteY457" fmla="*/ 6151313 h 6858000"/>
              <a:gd name="connsiteX458" fmla="*/ 5987285 w 12192000"/>
              <a:gd name="connsiteY458" fmla="*/ 6028195 h 6858000"/>
              <a:gd name="connsiteX459" fmla="*/ 6040101 w 12192000"/>
              <a:gd name="connsiteY459" fmla="*/ 6007089 h 6858000"/>
              <a:gd name="connsiteX460" fmla="*/ 6047143 w 12192000"/>
              <a:gd name="connsiteY460" fmla="*/ 6000054 h 6858000"/>
              <a:gd name="connsiteX461" fmla="*/ 6047143 w 12192000"/>
              <a:gd name="connsiteY461" fmla="*/ 5971913 h 6858000"/>
              <a:gd name="connsiteX462" fmla="*/ 6043622 w 12192000"/>
              <a:gd name="connsiteY462" fmla="*/ 5968395 h 6858000"/>
              <a:gd name="connsiteX463" fmla="*/ 6040101 w 12192000"/>
              <a:gd name="connsiteY463" fmla="*/ 5964877 h 6858000"/>
              <a:gd name="connsiteX464" fmla="*/ 5833459 w 12192000"/>
              <a:gd name="connsiteY464" fmla="*/ 5960846 h 6858000"/>
              <a:gd name="connsiteX465" fmla="*/ 5763228 w 12192000"/>
              <a:gd name="connsiteY465" fmla="*/ 5967917 h 6858000"/>
              <a:gd name="connsiteX466" fmla="*/ 5756205 w 12192000"/>
              <a:gd name="connsiteY466" fmla="*/ 5974989 h 6858000"/>
              <a:gd name="connsiteX467" fmla="*/ 5756205 w 12192000"/>
              <a:gd name="connsiteY467" fmla="*/ 5999738 h 6858000"/>
              <a:gd name="connsiteX468" fmla="*/ 5759716 w 12192000"/>
              <a:gd name="connsiteY468" fmla="*/ 6006810 h 6858000"/>
              <a:gd name="connsiteX469" fmla="*/ 5763228 w 12192000"/>
              <a:gd name="connsiteY469" fmla="*/ 6006810 h 6858000"/>
              <a:gd name="connsiteX470" fmla="*/ 5829947 w 12192000"/>
              <a:gd name="connsiteY470" fmla="*/ 6003274 h 6858000"/>
              <a:gd name="connsiteX471" fmla="*/ 5854528 w 12192000"/>
              <a:gd name="connsiteY471" fmla="*/ 6028024 h 6858000"/>
              <a:gd name="connsiteX472" fmla="*/ 5854528 w 12192000"/>
              <a:gd name="connsiteY472" fmla="*/ 6038631 h 6858000"/>
              <a:gd name="connsiteX473" fmla="*/ 5805366 w 12192000"/>
              <a:gd name="connsiteY473" fmla="*/ 6042167 h 6858000"/>
              <a:gd name="connsiteX474" fmla="*/ 5742158 w 12192000"/>
              <a:gd name="connsiteY474" fmla="*/ 6102272 h 6858000"/>
              <a:gd name="connsiteX475" fmla="*/ 5798344 w 12192000"/>
              <a:gd name="connsiteY475" fmla="*/ 6162378 h 6858000"/>
              <a:gd name="connsiteX476" fmla="*/ 5861552 w 12192000"/>
              <a:gd name="connsiteY476" fmla="*/ 6148235 h 6858000"/>
              <a:gd name="connsiteX477" fmla="*/ 5889644 w 12192000"/>
              <a:gd name="connsiteY477" fmla="*/ 6162378 h 6858000"/>
              <a:gd name="connsiteX478" fmla="*/ 5896667 w 12192000"/>
              <a:gd name="connsiteY478" fmla="*/ 6158842 h 6858000"/>
              <a:gd name="connsiteX479" fmla="*/ 5896667 w 12192000"/>
              <a:gd name="connsiteY479" fmla="*/ 6155307 h 6858000"/>
              <a:gd name="connsiteX480" fmla="*/ 5896667 w 12192000"/>
              <a:gd name="connsiteY480" fmla="*/ 6028024 h 6858000"/>
              <a:gd name="connsiteX481" fmla="*/ 5833459 w 12192000"/>
              <a:gd name="connsiteY481" fmla="*/ 5960846 h 6858000"/>
              <a:gd name="connsiteX482" fmla="*/ 5497633 w 12192000"/>
              <a:gd name="connsiteY482" fmla="*/ 5960845 h 6858000"/>
              <a:gd name="connsiteX483" fmla="*/ 5411646 w 12192000"/>
              <a:gd name="connsiteY483" fmla="*/ 6061612 h 6858000"/>
              <a:gd name="connsiteX484" fmla="*/ 5497633 w 12192000"/>
              <a:gd name="connsiteY484" fmla="*/ 6162378 h 6858000"/>
              <a:gd name="connsiteX485" fmla="*/ 5583620 w 12192000"/>
              <a:gd name="connsiteY485" fmla="*/ 6061612 h 6858000"/>
              <a:gd name="connsiteX486" fmla="*/ 5497633 w 12192000"/>
              <a:gd name="connsiteY486" fmla="*/ 5960845 h 6858000"/>
              <a:gd name="connsiteX487" fmla="*/ 5243703 w 12192000"/>
              <a:gd name="connsiteY487" fmla="*/ 5936662 h 6858000"/>
              <a:gd name="connsiteX488" fmla="*/ 5275052 w 12192000"/>
              <a:gd name="connsiteY488" fmla="*/ 5936662 h 6858000"/>
              <a:gd name="connsiteX489" fmla="*/ 5292468 w 12192000"/>
              <a:gd name="connsiteY489" fmla="*/ 5936662 h 6858000"/>
              <a:gd name="connsiteX490" fmla="*/ 5337751 w 12192000"/>
              <a:gd name="connsiteY490" fmla="*/ 5975626 h 6858000"/>
              <a:gd name="connsiteX491" fmla="*/ 5288986 w 12192000"/>
              <a:gd name="connsiteY491" fmla="*/ 6014588 h 6858000"/>
              <a:gd name="connsiteX492" fmla="*/ 5243703 w 12192000"/>
              <a:gd name="connsiteY492" fmla="*/ 6014588 h 6858000"/>
              <a:gd name="connsiteX493" fmla="*/ 5243703 w 12192000"/>
              <a:gd name="connsiteY493" fmla="*/ 5936662 h 6858000"/>
              <a:gd name="connsiteX494" fmla="*/ 5660874 w 12192000"/>
              <a:gd name="connsiteY494" fmla="*/ 5923227 h 6858000"/>
              <a:gd name="connsiteX495" fmla="*/ 5629222 w 12192000"/>
              <a:gd name="connsiteY495" fmla="*/ 5930261 h 6858000"/>
              <a:gd name="connsiteX496" fmla="*/ 5625705 w 12192000"/>
              <a:gd name="connsiteY496" fmla="*/ 5937295 h 6858000"/>
              <a:gd name="connsiteX497" fmla="*/ 5625705 w 12192000"/>
              <a:gd name="connsiteY497" fmla="*/ 5968947 h 6858000"/>
              <a:gd name="connsiteX498" fmla="*/ 5608120 w 12192000"/>
              <a:gd name="connsiteY498" fmla="*/ 5968947 h 6858000"/>
              <a:gd name="connsiteX499" fmla="*/ 5601086 w 12192000"/>
              <a:gd name="connsiteY499" fmla="*/ 5975981 h 6858000"/>
              <a:gd name="connsiteX500" fmla="*/ 5601086 w 12192000"/>
              <a:gd name="connsiteY500" fmla="*/ 6000599 h 6858000"/>
              <a:gd name="connsiteX501" fmla="*/ 5608120 w 12192000"/>
              <a:gd name="connsiteY501" fmla="*/ 6007633 h 6858000"/>
              <a:gd name="connsiteX502" fmla="*/ 5625705 w 12192000"/>
              <a:gd name="connsiteY502" fmla="*/ 6007633 h 6858000"/>
              <a:gd name="connsiteX503" fmla="*/ 5625705 w 12192000"/>
              <a:gd name="connsiteY503" fmla="*/ 6092040 h 6858000"/>
              <a:gd name="connsiteX504" fmla="*/ 5681975 w 12192000"/>
              <a:gd name="connsiteY504" fmla="*/ 6162378 h 6858000"/>
              <a:gd name="connsiteX505" fmla="*/ 5713628 w 12192000"/>
              <a:gd name="connsiteY505" fmla="*/ 6158862 h 6858000"/>
              <a:gd name="connsiteX506" fmla="*/ 5720662 w 12192000"/>
              <a:gd name="connsiteY506" fmla="*/ 6151827 h 6858000"/>
              <a:gd name="connsiteX507" fmla="*/ 5720662 w 12192000"/>
              <a:gd name="connsiteY507" fmla="*/ 6127209 h 6858000"/>
              <a:gd name="connsiteX508" fmla="*/ 5713628 w 12192000"/>
              <a:gd name="connsiteY508" fmla="*/ 6120175 h 6858000"/>
              <a:gd name="connsiteX509" fmla="*/ 5689009 w 12192000"/>
              <a:gd name="connsiteY509" fmla="*/ 6120175 h 6858000"/>
              <a:gd name="connsiteX510" fmla="*/ 5667908 w 12192000"/>
              <a:gd name="connsiteY510" fmla="*/ 6085006 h 6858000"/>
              <a:gd name="connsiteX511" fmla="*/ 5667908 w 12192000"/>
              <a:gd name="connsiteY511" fmla="*/ 6007633 h 6858000"/>
              <a:gd name="connsiteX512" fmla="*/ 5713628 w 12192000"/>
              <a:gd name="connsiteY512" fmla="*/ 6007633 h 6858000"/>
              <a:gd name="connsiteX513" fmla="*/ 5720662 w 12192000"/>
              <a:gd name="connsiteY513" fmla="*/ 6000599 h 6858000"/>
              <a:gd name="connsiteX514" fmla="*/ 5720662 w 12192000"/>
              <a:gd name="connsiteY514" fmla="*/ 5975981 h 6858000"/>
              <a:gd name="connsiteX515" fmla="*/ 5713628 w 12192000"/>
              <a:gd name="connsiteY515" fmla="*/ 5968947 h 6858000"/>
              <a:gd name="connsiteX516" fmla="*/ 5667908 w 12192000"/>
              <a:gd name="connsiteY516" fmla="*/ 5968947 h 6858000"/>
              <a:gd name="connsiteX517" fmla="*/ 5667908 w 12192000"/>
              <a:gd name="connsiteY517" fmla="*/ 5930261 h 6858000"/>
              <a:gd name="connsiteX518" fmla="*/ 5664391 w 12192000"/>
              <a:gd name="connsiteY518" fmla="*/ 5923227 h 6858000"/>
              <a:gd name="connsiteX519" fmla="*/ 5660874 w 12192000"/>
              <a:gd name="connsiteY519" fmla="*/ 5923227 h 6858000"/>
              <a:gd name="connsiteX520" fmla="*/ 5285479 w 12192000"/>
              <a:gd name="connsiteY520" fmla="*/ 5895013 h 6858000"/>
              <a:gd name="connsiteX521" fmla="*/ 5205019 w 12192000"/>
              <a:gd name="connsiteY521" fmla="*/ 5898524 h 6858000"/>
              <a:gd name="connsiteX522" fmla="*/ 5198022 w 12192000"/>
              <a:gd name="connsiteY522" fmla="*/ 5905546 h 6858000"/>
              <a:gd name="connsiteX523" fmla="*/ 5198022 w 12192000"/>
              <a:gd name="connsiteY523" fmla="*/ 6151326 h 6858000"/>
              <a:gd name="connsiteX524" fmla="*/ 5205019 w 12192000"/>
              <a:gd name="connsiteY524" fmla="*/ 6158348 h 6858000"/>
              <a:gd name="connsiteX525" fmla="*/ 5236504 w 12192000"/>
              <a:gd name="connsiteY525" fmla="*/ 6158348 h 6858000"/>
              <a:gd name="connsiteX526" fmla="*/ 5243501 w 12192000"/>
              <a:gd name="connsiteY526" fmla="*/ 6151326 h 6858000"/>
              <a:gd name="connsiteX527" fmla="*/ 5243501 w 12192000"/>
              <a:gd name="connsiteY527" fmla="*/ 6053014 h 6858000"/>
              <a:gd name="connsiteX528" fmla="*/ 5292476 w 12192000"/>
              <a:gd name="connsiteY528" fmla="*/ 6056525 h 6858000"/>
              <a:gd name="connsiteX529" fmla="*/ 5337954 w 12192000"/>
              <a:gd name="connsiteY529" fmla="*/ 6154837 h 6858000"/>
              <a:gd name="connsiteX530" fmla="*/ 5344951 w 12192000"/>
              <a:gd name="connsiteY530" fmla="*/ 6158348 h 6858000"/>
              <a:gd name="connsiteX531" fmla="*/ 5376435 w 12192000"/>
              <a:gd name="connsiteY531" fmla="*/ 6158348 h 6858000"/>
              <a:gd name="connsiteX532" fmla="*/ 5383431 w 12192000"/>
              <a:gd name="connsiteY532" fmla="*/ 6154837 h 6858000"/>
              <a:gd name="connsiteX533" fmla="*/ 5383431 w 12192000"/>
              <a:gd name="connsiteY533" fmla="*/ 6147815 h 6858000"/>
              <a:gd name="connsiteX534" fmla="*/ 5337954 w 12192000"/>
              <a:gd name="connsiteY534" fmla="*/ 6042481 h 6858000"/>
              <a:gd name="connsiteX535" fmla="*/ 5383431 w 12192000"/>
              <a:gd name="connsiteY535" fmla="*/ 5975769 h 6858000"/>
              <a:gd name="connsiteX536" fmla="*/ 5292476 w 12192000"/>
              <a:gd name="connsiteY536" fmla="*/ 5895013 h 6858000"/>
              <a:gd name="connsiteX537" fmla="*/ 5285479 w 12192000"/>
              <a:gd name="connsiteY537" fmla="*/ 5895013 h 6858000"/>
              <a:gd name="connsiteX538" fmla="*/ 6840997 w 12192000"/>
              <a:gd name="connsiteY538" fmla="*/ 5864091 h 6858000"/>
              <a:gd name="connsiteX539" fmla="*/ 6847534 w 12192000"/>
              <a:gd name="connsiteY539" fmla="*/ 5869822 h 6858000"/>
              <a:gd name="connsiteX540" fmla="*/ 6910281 w 12192000"/>
              <a:gd name="connsiteY540" fmla="*/ 6109646 h 6858000"/>
              <a:gd name="connsiteX541" fmla="*/ 6899823 w 12192000"/>
              <a:gd name="connsiteY541" fmla="*/ 6113173 h 6858000"/>
              <a:gd name="connsiteX542" fmla="*/ 6861478 w 12192000"/>
              <a:gd name="connsiteY542" fmla="*/ 6102592 h 6858000"/>
              <a:gd name="connsiteX543" fmla="*/ 6854506 w 12192000"/>
              <a:gd name="connsiteY543" fmla="*/ 6092012 h 6858000"/>
              <a:gd name="connsiteX544" fmla="*/ 6809188 w 12192000"/>
              <a:gd name="connsiteY544" fmla="*/ 5912144 h 6858000"/>
              <a:gd name="connsiteX545" fmla="*/ 6809188 w 12192000"/>
              <a:gd name="connsiteY545" fmla="*/ 5898037 h 6858000"/>
              <a:gd name="connsiteX546" fmla="*/ 6837075 w 12192000"/>
              <a:gd name="connsiteY546" fmla="*/ 5866295 h 6858000"/>
              <a:gd name="connsiteX547" fmla="*/ 6840997 w 12192000"/>
              <a:gd name="connsiteY547" fmla="*/ 5864091 h 6858000"/>
              <a:gd name="connsiteX548" fmla="*/ 6460734 w 12192000"/>
              <a:gd name="connsiteY548" fmla="*/ 5864091 h 6858000"/>
              <a:gd name="connsiteX549" fmla="*/ 6464696 w 12192000"/>
              <a:gd name="connsiteY549" fmla="*/ 5866295 h 6858000"/>
              <a:gd name="connsiteX550" fmla="*/ 6496396 w 12192000"/>
              <a:gd name="connsiteY550" fmla="*/ 5898037 h 6858000"/>
              <a:gd name="connsiteX551" fmla="*/ 6492874 w 12192000"/>
              <a:gd name="connsiteY551" fmla="*/ 5912144 h 6858000"/>
              <a:gd name="connsiteX552" fmla="*/ 6447085 w 12192000"/>
              <a:gd name="connsiteY552" fmla="*/ 6092012 h 6858000"/>
              <a:gd name="connsiteX553" fmla="*/ 6440040 w 12192000"/>
              <a:gd name="connsiteY553" fmla="*/ 6102592 h 6858000"/>
              <a:gd name="connsiteX554" fmla="*/ 6401295 w 12192000"/>
              <a:gd name="connsiteY554" fmla="*/ 6113173 h 6858000"/>
              <a:gd name="connsiteX555" fmla="*/ 6390728 w 12192000"/>
              <a:gd name="connsiteY555" fmla="*/ 6109646 h 6858000"/>
              <a:gd name="connsiteX556" fmla="*/ 6454129 w 12192000"/>
              <a:gd name="connsiteY556" fmla="*/ 5869822 h 6858000"/>
              <a:gd name="connsiteX557" fmla="*/ 6460734 w 12192000"/>
              <a:gd name="connsiteY557" fmla="*/ 5864091 h 6858000"/>
              <a:gd name="connsiteX558" fmla="*/ 6679416 w 12192000"/>
              <a:gd name="connsiteY558" fmla="*/ 5858737 h 6858000"/>
              <a:gd name="connsiteX559" fmla="*/ 6686403 w 12192000"/>
              <a:gd name="connsiteY559" fmla="*/ 5858737 h 6858000"/>
              <a:gd name="connsiteX560" fmla="*/ 6794693 w 12192000"/>
              <a:gd name="connsiteY560" fmla="*/ 5922306 h 6858000"/>
              <a:gd name="connsiteX561" fmla="*/ 6798186 w 12192000"/>
              <a:gd name="connsiteY561" fmla="*/ 5929370 h 6858000"/>
              <a:gd name="connsiteX562" fmla="*/ 6791199 w 12192000"/>
              <a:gd name="connsiteY562" fmla="*/ 5936433 h 6858000"/>
              <a:gd name="connsiteX563" fmla="*/ 6700376 w 12192000"/>
              <a:gd name="connsiteY563" fmla="*/ 5982344 h 6858000"/>
              <a:gd name="connsiteX564" fmla="*/ 6689896 w 12192000"/>
              <a:gd name="connsiteY564" fmla="*/ 5982344 h 6858000"/>
              <a:gd name="connsiteX565" fmla="*/ 6682909 w 12192000"/>
              <a:gd name="connsiteY565" fmla="*/ 5971749 h 6858000"/>
              <a:gd name="connsiteX566" fmla="*/ 6675923 w 12192000"/>
              <a:gd name="connsiteY566" fmla="*/ 5869333 h 6858000"/>
              <a:gd name="connsiteX567" fmla="*/ 6679416 w 12192000"/>
              <a:gd name="connsiteY567" fmla="*/ 5858737 h 6858000"/>
              <a:gd name="connsiteX568" fmla="*/ 6615733 w 12192000"/>
              <a:gd name="connsiteY568" fmla="*/ 5858737 h 6858000"/>
              <a:gd name="connsiteX569" fmla="*/ 6622719 w 12192000"/>
              <a:gd name="connsiteY569" fmla="*/ 5858737 h 6858000"/>
              <a:gd name="connsiteX570" fmla="*/ 6626212 w 12192000"/>
              <a:gd name="connsiteY570" fmla="*/ 5869333 h 6858000"/>
              <a:gd name="connsiteX571" fmla="*/ 6615733 w 12192000"/>
              <a:gd name="connsiteY571" fmla="*/ 5975280 h 6858000"/>
              <a:gd name="connsiteX572" fmla="*/ 6612239 w 12192000"/>
              <a:gd name="connsiteY572" fmla="*/ 5982344 h 6858000"/>
              <a:gd name="connsiteX573" fmla="*/ 6601760 w 12192000"/>
              <a:gd name="connsiteY573" fmla="*/ 5982344 h 6858000"/>
              <a:gd name="connsiteX574" fmla="*/ 6510935 w 12192000"/>
              <a:gd name="connsiteY574" fmla="*/ 5936433 h 6858000"/>
              <a:gd name="connsiteX575" fmla="*/ 6503949 w 12192000"/>
              <a:gd name="connsiteY575" fmla="*/ 5929370 h 6858000"/>
              <a:gd name="connsiteX576" fmla="*/ 6507443 w 12192000"/>
              <a:gd name="connsiteY576" fmla="*/ 5922306 h 6858000"/>
              <a:gd name="connsiteX577" fmla="*/ 6615733 w 12192000"/>
              <a:gd name="connsiteY577" fmla="*/ 5858737 h 6858000"/>
              <a:gd name="connsiteX578" fmla="*/ 6534583 w 12192000"/>
              <a:gd name="connsiteY578" fmla="*/ 5823805 h 6858000"/>
              <a:gd name="connsiteX579" fmla="*/ 6541569 w 12192000"/>
              <a:gd name="connsiteY579" fmla="*/ 5831195 h 6858000"/>
              <a:gd name="connsiteX580" fmla="*/ 6538076 w 12192000"/>
              <a:gd name="connsiteY580" fmla="*/ 5834890 h 6858000"/>
              <a:gd name="connsiteX581" fmla="*/ 6531089 w 12192000"/>
              <a:gd name="connsiteY581" fmla="*/ 5838585 h 6858000"/>
              <a:gd name="connsiteX582" fmla="*/ 6527596 w 12192000"/>
              <a:gd name="connsiteY582" fmla="*/ 5831195 h 6858000"/>
              <a:gd name="connsiteX583" fmla="*/ 6524103 w 12192000"/>
              <a:gd name="connsiteY583" fmla="*/ 5831195 h 6858000"/>
              <a:gd name="connsiteX584" fmla="*/ 6534583 w 12192000"/>
              <a:gd name="connsiteY584" fmla="*/ 5823805 h 6858000"/>
              <a:gd name="connsiteX585" fmla="*/ 6531109 w 12192000"/>
              <a:gd name="connsiteY585" fmla="*/ 5816608 h 6858000"/>
              <a:gd name="connsiteX586" fmla="*/ 6513354 w 12192000"/>
              <a:gd name="connsiteY586" fmla="*/ 5827260 h 6858000"/>
              <a:gd name="connsiteX587" fmla="*/ 6516905 w 12192000"/>
              <a:gd name="connsiteY587" fmla="*/ 5830811 h 6858000"/>
              <a:gd name="connsiteX588" fmla="*/ 6534660 w 12192000"/>
              <a:gd name="connsiteY588" fmla="*/ 5862769 h 6858000"/>
              <a:gd name="connsiteX589" fmla="*/ 6541761 w 12192000"/>
              <a:gd name="connsiteY589" fmla="*/ 5859217 h 6858000"/>
              <a:gd name="connsiteX590" fmla="*/ 6534660 w 12192000"/>
              <a:gd name="connsiteY590" fmla="*/ 5845014 h 6858000"/>
              <a:gd name="connsiteX591" fmla="*/ 6541761 w 12192000"/>
              <a:gd name="connsiteY591" fmla="*/ 5841464 h 6858000"/>
              <a:gd name="connsiteX592" fmla="*/ 6555964 w 12192000"/>
              <a:gd name="connsiteY592" fmla="*/ 5852116 h 6858000"/>
              <a:gd name="connsiteX593" fmla="*/ 6563066 w 12192000"/>
              <a:gd name="connsiteY593" fmla="*/ 5848565 h 6858000"/>
              <a:gd name="connsiteX594" fmla="*/ 6548863 w 12192000"/>
              <a:gd name="connsiteY594" fmla="*/ 5834362 h 6858000"/>
              <a:gd name="connsiteX595" fmla="*/ 6548863 w 12192000"/>
              <a:gd name="connsiteY595" fmla="*/ 5830811 h 6858000"/>
              <a:gd name="connsiteX596" fmla="*/ 6531109 w 12192000"/>
              <a:gd name="connsiteY596" fmla="*/ 5816608 h 6858000"/>
              <a:gd name="connsiteX597" fmla="*/ 6752016 w 12192000"/>
              <a:gd name="connsiteY597" fmla="*/ 5810370 h 6858000"/>
              <a:gd name="connsiteX598" fmla="*/ 6755559 w 12192000"/>
              <a:gd name="connsiteY598" fmla="*/ 5834554 h 6858000"/>
              <a:gd name="connsiteX599" fmla="*/ 6748474 w 12192000"/>
              <a:gd name="connsiteY599" fmla="*/ 5851828 h 6858000"/>
              <a:gd name="connsiteX600" fmla="*/ 6755559 w 12192000"/>
              <a:gd name="connsiteY600" fmla="*/ 5858737 h 6858000"/>
              <a:gd name="connsiteX601" fmla="*/ 6762643 w 12192000"/>
              <a:gd name="connsiteY601" fmla="*/ 5841463 h 6858000"/>
              <a:gd name="connsiteX602" fmla="*/ 6787438 w 12192000"/>
              <a:gd name="connsiteY602" fmla="*/ 5827644 h 6858000"/>
              <a:gd name="connsiteX603" fmla="*/ 6780354 w 12192000"/>
              <a:gd name="connsiteY603" fmla="*/ 5824189 h 6858000"/>
              <a:gd name="connsiteX604" fmla="*/ 6762643 w 12192000"/>
              <a:gd name="connsiteY604" fmla="*/ 5831099 h 6858000"/>
              <a:gd name="connsiteX605" fmla="*/ 6759101 w 12192000"/>
              <a:gd name="connsiteY605" fmla="*/ 5813824 h 6858000"/>
              <a:gd name="connsiteX606" fmla="*/ 6752016 w 12192000"/>
              <a:gd name="connsiteY606" fmla="*/ 5810370 h 6858000"/>
              <a:gd name="connsiteX607" fmla="*/ 6717036 w 12192000"/>
              <a:gd name="connsiteY607" fmla="*/ 5806340 h 6858000"/>
              <a:gd name="connsiteX608" fmla="*/ 6727516 w 12192000"/>
              <a:gd name="connsiteY608" fmla="*/ 5809699 h 6858000"/>
              <a:gd name="connsiteX609" fmla="*/ 6731009 w 12192000"/>
              <a:gd name="connsiteY609" fmla="*/ 5813058 h 6858000"/>
              <a:gd name="connsiteX610" fmla="*/ 6724022 w 12192000"/>
              <a:gd name="connsiteY610" fmla="*/ 5819775 h 6858000"/>
              <a:gd name="connsiteX611" fmla="*/ 6713542 w 12192000"/>
              <a:gd name="connsiteY611" fmla="*/ 5816416 h 6858000"/>
              <a:gd name="connsiteX612" fmla="*/ 6713542 w 12192000"/>
              <a:gd name="connsiteY612" fmla="*/ 5813058 h 6858000"/>
              <a:gd name="connsiteX613" fmla="*/ 6717036 w 12192000"/>
              <a:gd name="connsiteY613" fmla="*/ 5806340 h 6858000"/>
              <a:gd name="connsiteX614" fmla="*/ 6583891 w 12192000"/>
              <a:gd name="connsiteY614" fmla="*/ 5805835 h 6858000"/>
              <a:gd name="connsiteX615" fmla="*/ 6597998 w 12192000"/>
              <a:gd name="connsiteY615" fmla="*/ 5816416 h 6858000"/>
              <a:gd name="connsiteX616" fmla="*/ 6583891 w 12192000"/>
              <a:gd name="connsiteY616" fmla="*/ 5830523 h 6858000"/>
              <a:gd name="connsiteX617" fmla="*/ 6569783 w 12192000"/>
              <a:gd name="connsiteY617" fmla="*/ 5819943 h 6858000"/>
              <a:gd name="connsiteX618" fmla="*/ 6569783 w 12192000"/>
              <a:gd name="connsiteY618" fmla="*/ 5816416 h 6858000"/>
              <a:gd name="connsiteX619" fmla="*/ 6583891 w 12192000"/>
              <a:gd name="connsiteY619" fmla="*/ 5805835 h 6858000"/>
              <a:gd name="connsiteX620" fmla="*/ 6671893 w 12192000"/>
              <a:gd name="connsiteY620" fmla="*/ 5799621 h 6858000"/>
              <a:gd name="connsiteX621" fmla="*/ 6675251 w 12192000"/>
              <a:gd name="connsiteY621" fmla="*/ 5810101 h 6858000"/>
              <a:gd name="connsiteX622" fmla="*/ 6678610 w 12192000"/>
              <a:gd name="connsiteY622" fmla="*/ 5817088 h 6858000"/>
              <a:gd name="connsiteX623" fmla="*/ 6665174 w 12192000"/>
              <a:gd name="connsiteY623" fmla="*/ 5817088 h 6858000"/>
              <a:gd name="connsiteX624" fmla="*/ 6668534 w 12192000"/>
              <a:gd name="connsiteY624" fmla="*/ 5810101 h 6858000"/>
              <a:gd name="connsiteX625" fmla="*/ 6671893 w 12192000"/>
              <a:gd name="connsiteY625" fmla="*/ 5799621 h 6858000"/>
              <a:gd name="connsiteX626" fmla="*/ 6580420 w 12192000"/>
              <a:gd name="connsiteY626" fmla="*/ 5799105 h 6858000"/>
              <a:gd name="connsiteX627" fmla="*/ 6563065 w 12192000"/>
              <a:gd name="connsiteY627" fmla="*/ 5816675 h 6858000"/>
              <a:gd name="connsiteX628" fmla="*/ 6563065 w 12192000"/>
              <a:gd name="connsiteY628" fmla="*/ 5820188 h 6858000"/>
              <a:gd name="connsiteX629" fmla="*/ 6583891 w 12192000"/>
              <a:gd name="connsiteY629" fmla="*/ 5837758 h 6858000"/>
              <a:gd name="connsiteX630" fmla="*/ 6604715 w 12192000"/>
              <a:gd name="connsiteY630" fmla="*/ 5816675 h 6858000"/>
              <a:gd name="connsiteX631" fmla="*/ 6580420 w 12192000"/>
              <a:gd name="connsiteY631" fmla="*/ 5799105 h 6858000"/>
              <a:gd name="connsiteX632" fmla="*/ 6710733 w 12192000"/>
              <a:gd name="connsiteY632" fmla="*/ 5795591 h 6858000"/>
              <a:gd name="connsiteX633" fmla="*/ 6707191 w 12192000"/>
              <a:gd name="connsiteY633" fmla="*/ 5813345 h 6858000"/>
              <a:gd name="connsiteX634" fmla="*/ 6700107 w 12192000"/>
              <a:gd name="connsiteY634" fmla="*/ 5834650 h 6858000"/>
              <a:gd name="connsiteX635" fmla="*/ 6710733 w 12192000"/>
              <a:gd name="connsiteY635" fmla="*/ 5838201 h 6858000"/>
              <a:gd name="connsiteX636" fmla="*/ 6714275 w 12192000"/>
              <a:gd name="connsiteY636" fmla="*/ 5823998 h 6858000"/>
              <a:gd name="connsiteX637" fmla="*/ 6721360 w 12192000"/>
              <a:gd name="connsiteY637" fmla="*/ 5823998 h 6858000"/>
              <a:gd name="connsiteX638" fmla="*/ 6724902 w 12192000"/>
              <a:gd name="connsiteY638" fmla="*/ 5841752 h 6858000"/>
              <a:gd name="connsiteX639" fmla="*/ 6731986 w 12192000"/>
              <a:gd name="connsiteY639" fmla="*/ 5845303 h 6858000"/>
              <a:gd name="connsiteX640" fmla="*/ 6728443 w 12192000"/>
              <a:gd name="connsiteY640" fmla="*/ 5827549 h 6858000"/>
              <a:gd name="connsiteX641" fmla="*/ 6739070 w 12192000"/>
              <a:gd name="connsiteY641" fmla="*/ 5813345 h 6858000"/>
              <a:gd name="connsiteX642" fmla="*/ 6731986 w 12192000"/>
              <a:gd name="connsiteY642" fmla="*/ 5802693 h 6858000"/>
              <a:gd name="connsiteX643" fmla="*/ 6710733 w 12192000"/>
              <a:gd name="connsiteY643" fmla="*/ 5795591 h 6858000"/>
              <a:gd name="connsiteX644" fmla="*/ 6668106 w 12192000"/>
              <a:gd name="connsiteY644" fmla="*/ 5788873 h 6858000"/>
              <a:gd name="connsiteX645" fmla="*/ 6661022 w 12192000"/>
              <a:gd name="connsiteY645" fmla="*/ 5809957 h 6858000"/>
              <a:gd name="connsiteX646" fmla="*/ 6650396 w 12192000"/>
              <a:gd name="connsiteY646" fmla="*/ 5831040 h 6858000"/>
              <a:gd name="connsiteX647" fmla="*/ 6657481 w 12192000"/>
              <a:gd name="connsiteY647" fmla="*/ 5831040 h 6858000"/>
              <a:gd name="connsiteX648" fmla="*/ 6661022 w 12192000"/>
              <a:gd name="connsiteY648" fmla="*/ 5824012 h 6858000"/>
              <a:gd name="connsiteX649" fmla="*/ 6678733 w 12192000"/>
              <a:gd name="connsiteY649" fmla="*/ 5824012 h 6858000"/>
              <a:gd name="connsiteX650" fmla="*/ 6682275 w 12192000"/>
              <a:gd name="connsiteY650" fmla="*/ 5831040 h 6858000"/>
              <a:gd name="connsiteX651" fmla="*/ 6689359 w 12192000"/>
              <a:gd name="connsiteY651" fmla="*/ 5834554 h 6858000"/>
              <a:gd name="connsiteX652" fmla="*/ 6682275 w 12192000"/>
              <a:gd name="connsiteY652" fmla="*/ 5809957 h 6858000"/>
              <a:gd name="connsiteX653" fmla="*/ 6678733 w 12192000"/>
              <a:gd name="connsiteY653" fmla="*/ 5788873 h 6858000"/>
              <a:gd name="connsiteX654" fmla="*/ 6668106 w 12192000"/>
              <a:gd name="connsiteY654" fmla="*/ 5788873 h 6858000"/>
              <a:gd name="connsiteX655" fmla="*/ 6647709 w 12192000"/>
              <a:gd name="connsiteY655" fmla="*/ 5788873 h 6858000"/>
              <a:gd name="connsiteX656" fmla="*/ 6608746 w 12192000"/>
              <a:gd name="connsiteY656" fmla="*/ 5792344 h 6858000"/>
              <a:gd name="connsiteX657" fmla="*/ 6608746 w 12192000"/>
              <a:gd name="connsiteY657" fmla="*/ 5799285 h 6858000"/>
              <a:gd name="connsiteX658" fmla="*/ 6622914 w 12192000"/>
              <a:gd name="connsiteY658" fmla="*/ 5795815 h 6858000"/>
              <a:gd name="connsiteX659" fmla="*/ 6626456 w 12192000"/>
              <a:gd name="connsiteY659" fmla="*/ 5830523 h 6858000"/>
              <a:gd name="connsiteX660" fmla="*/ 6637082 w 12192000"/>
              <a:gd name="connsiteY660" fmla="*/ 5830523 h 6858000"/>
              <a:gd name="connsiteX661" fmla="*/ 6633540 w 12192000"/>
              <a:gd name="connsiteY661" fmla="*/ 5795815 h 6858000"/>
              <a:gd name="connsiteX662" fmla="*/ 6647709 w 12192000"/>
              <a:gd name="connsiteY662" fmla="*/ 5795815 h 6858000"/>
              <a:gd name="connsiteX663" fmla="*/ 6647709 w 12192000"/>
              <a:gd name="connsiteY663" fmla="*/ 5788873 h 6858000"/>
              <a:gd name="connsiteX664" fmla="*/ 6198068 w 12192000"/>
              <a:gd name="connsiteY664" fmla="*/ 5788872 h 6858000"/>
              <a:gd name="connsiteX665" fmla="*/ 6223148 w 12192000"/>
              <a:gd name="connsiteY665" fmla="*/ 5823804 h 6858000"/>
              <a:gd name="connsiteX666" fmla="*/ 6169406 w 12192000"/>
              <a:gd name="connsiteY666" fmla="*/ 5823804 h 6858000"/>
              <a:gd name="connsiteX667" fmla="*/ 6198068 w 12192000"/>
              <a:gd name="connsiteY667" fmla="*/ 5788872 h 6858000"/>
              <a:gd name="connsiteX668" fmla="*/ 6650396 w 12192000"/>
              <a:gd name="connsiteY668" fmla="*/ 5782156 h 6858000"/>
              <a:gd name="connsiteX669" fmla="*/ 6815350 w 12192000"/>
              <a:gd name="connsiteY669" fmla="*/ 5838047 h 6858000"/>
              <a:gd name="connsiteX670" fmla="*/ 6818860 w 12192000"/>
              <a:gd name="connsiteY670" fmla="*/ 5852020 h 6858000"/>
              <a:gd name="connsiteX671" fmla="*/ 6790783 w 12192000"/>
              <a:gd name="connsiteY671" fmla="*/ 5883460 h 6858000"/>
              <a:gd name="connsiteX672" fmla="*/ 6776744 w 12192000"/>
              <a:gd name="connsiteY672" fmla="*/ 5883460 h 6858000"/>
              <a:gd name="connsiteX673" fmla="*/ 6650396 w 12192000"/>
              <a:gd name="connsiteY673" fmla="*/ 5838047 h 6858000"/>
              <a:gd name="connsiteX674" fmla="*/ 6524048 w 12192000"/>
              <a:gd name="connsiteY674" fmla="*/ 5883460 h 6858000"/>
              <a:gd name="connsiteX675" fmla="*/ 6510010 w 12192000"/>
              <a:gd name="connsiteY675" fmla="*/ 5883460 h 6858000"/>
              <a:gd name="connsiteX676" fmla="*/ 6481932 w 12192000"/>
              <a:gd name="connsiteY676" fmla="*/ 5852020 h 6858000"/>
              <a:gd name="connsiteX677" fmla="*/ 6485442 w 12192000"/>
              <a:gd name="connsiteY677" fmla="*/ 5838047 h 6858000"/>
              <a:gd name="connsiteX678" fmla="*/ 6650396 w 12192000"/>
              <a:gd name="connsiteY678" fmla="*/ 5782156 h 6858000"/>
              <a:gd name="connsiteX679" fmla="*/ 6198292 w 12192000"/>
              <a:gd name="connsiteY679" fmla="*/ 5782155 h 6858000"/>
              <a:gd name="connsiteX680" fmla="*/ 6160001 w 12192000"/>
              <a:gd name="connsiteY680" fmla="*/ 5831195 h 6858000"/>
              <a:gd name="connsiteX681" fmla="*/ 6201773 w 12192000"/>
              <a:gd name="connsiteY681" fmla="*/ 5880234 h 6858000"/>
              <a:gd name="connsiteX682" fmla="*/ 6229621 w 12192000"/>
              <a:gd name="connsiteY682" fmla="*/ 5873228 h 6858000"/>
              <a:gd name="connsiteX683" fmla="*/ 6229621 w 12192000"/>
              <a:gd name="connsiteY683" fmla="*/ 5862720 h 6858000"/>
              <a:gd name="connsiteX684" fmla="*/ 6201773 w 12192000"/>
              <a:gd name="connsiteY684" fmla="*/ 5869725 h 6858000"/>
              <a:gd name="connsiteX685" fmla="*/ 6170443 w 12192000"/>
              <a:gd name="connsiteY685" fmla="*/ 5834698 h 6858000"/>
              <a:gd name="connsiteX686" fmla="*/ 6236583 w 12192000"/>
              <a:gd name="connsiteY686" fmla="*/ 5834698 h 6858000"/>
              <a:gd name="connsiteX687" fmla="*/ 6236583 w 12192000"/>
              <a:gd name="connsiteY687" fmla="*/ 5827692 h 6858000"/>
              <a:gd name="connsiteX688" fmla="*/ 6198292 w 12192000"/>
              <a:gd name="connsiteY688" fmla="*/ 5782155 h 6858000"/>
              <a:gd name="connsiteX689" fmla="*/ 5949064 w 12192000"/>
              <a:gd name="connsiteY689" fmla="*/ 5745879 h 6858000"/>
              <a:gd name="connsiteX690" fmla="*/ 5949064 w 12192000"/>
              <a:gd name="connsiteY690" fmla="*/ 5756627 h 6858000"/>
              <a:gd name="connsiteX691" fmla="*/ 5988028 w 12192000"/>
              <a:gd name="connsiteY691" fmla="*/ 5756627 h 6858000"/>
              <a:gd name="connsiteX692" fmla="*/ 5988028 w 12192000"/>
              <a:gd name="connsiteY692" fmla="*/ 5876203 h 6858000"/>
              <a:gd name="connsiteX693" fmla="*/ 6001464 w 12192000"/>
              <a:gd name="connsiteY693" fmla="*/ 5876203 h 6858000"/>
              <a:gd name="connsiteX694" fmla="*/ 6001464 w 12192000"/>
              <a:gd name="connsiteY694" fmla="*/ 5756627 h 6858000"/>
              <a:gd name="connsiteX695" fmla="*/ 6040426 w 12192000"/>
              <a:gd name="connsiteY695" fmla="*/ 5756627 h 6858000"/>
              <a:gd name="connsiteX696" fmla="*/ 6040426 w 12192000"/>
              <a:gd name="connsiteY696" fmla="*/ 5745879 h 6858000"/>
              <a:gd name="connsiteX697" fmla="*/ 6061922 w 12192000"/>
              <a:gd name="connsiteY697" fmla="*/ 5735130 h 6858000"/>
              <a:gd name="connsiteX698" fmla="*/ 6061922 w 12192000"/>
              <a:gd name="connsiteY698" fmla="*/ 5876203 h 6858000"/>
              <a:gd name="connsiteX699" fmla="*/ 6072287 w 12192000"/>
              <a:gd name="connsiteY699" fmla="*/ 5876203 h 6858000"/>
              <a:gd name="connsiteX700" fmla="*/ 6072287 w 12192000"/>
              <a:gd name="connsiteY700" fmla="*/ 5826827 h 6858000"/>
              <a:gd name="connsiteX701" fmla="*/ 6099926 w 12192000"/>
              <a:gd name="connsiteY701" fmla="*/ 5788033 h 6858000"/>
              <a:gd name="connsiteX702" fmla="*/ 6120655 w 12192000"/>
              <a:gd name="connsiteY702" fmla="*/ 5819774 h 6858000"/>
              <a:gd name="connsiteX703" fmla="*/ 6120655 w 12192000"/>
              <a:gd name="connsiteY703" fmla="*/ 5876203 h 6858000"/>
              <a:gd name="connsiteX704" fmla="*/ 6134474 w 12192000"/>
              <a:gd name="connsiteY704" fmla="*/ 5876203 h 6858000"/>
              <a:gd name="connsiteX705" fmla="*/ 6134474 w 12192000"/>
              <a:gd name="connsiteY705" fmla="*/ 5819774 h 6858000"/>
              <a:gd name="connsiteX706" fmla="*/ 6103380 w 12192000"/>
              <a:gd name="connsiteY706" fmla="*/ 5780979 h 6858000"/>
              <a:gd name="connsiteX707" fmla="*/ 6072287 w 12192000"/>
              <a:gd name="connsiteY707" fmla="*/ 5798613 h 6858000"/>
              <a:gd name="connsiteX708" fmla="*/ 6072287 w 12192000"/>
              <a:gd name="connsiteY708" fmla="*/ 5735130 h 6858000"/>
              <a:gd name="connsiteX709" fmla="*/ 6061922 w 12192000"/>
              <a:gd name="connsiteY709" fmla="*/ 5735130 h 6858000"/>
              <a:gd name="connsiteX710" fmla="*/ 6640551 w 12192000"/>
              <a:gd name="connsiteY710" fmla="*/ 5710947 h 6858000"/>
              <a:gd name="connsiteX711" fmla="*/ 6626527 w 12192000"/>
              <a:gd name="connsiteY711" fmla="*/ 5763810 h 6858000"/>
              <a:gd name="connsiteX712" fmla="*/ 6601987 w 12192000"/>
              <a:gd name="connsiteY712" fmla="*/ 5767334 h 6858000"/>
              <a:gd name="connsiteX713" fmla="*/ 6577446 w 12192000"/>
              <a:gd name="connsiteY713" fmla="*/ 5721520 h 6858000"/>
              <a:gd name="connsiteX714" fmla="*/ 6573940 w 12192000"/>
              <a:gd name="connsiteY714" fmla="*/ 5721520 h 6858000"/>
              <a:gd name="connsiteX715" fmla="*/ 6552905 w 12192000"/>
              <a:gd name="connsiteY715" fmla="*/ 5725044 h 6858000"/>
              <a:gd name="connsiteX716" fmla="*/ 6552905 w 12192000"/>
              <a:gd name="connsiteY716" fmla="*/ 5728568 h 6858000"/>
              <a:gd name="connsiteX717" fmla="*/ 6549399 w 12192000"/>
              <a:gd name="connsiteY717" fmla="*/ 5753237 h 6858000"/>
              <a:gd name="connsiteX718" fmla="*/ 6552905 w 12192000"/>
              <a:gd name="connsiteY718" fmla="*/ 5781431 h 6858000"/>
              <a:gd name="connsiteX719" fmla="*/ 6531870 w 12192000"/>
              <a:gd name="connsiteY719" fmla="*/ 5788479 h 6858000"/>
              <a:gd name="connsiteX720" fmla="*/ 6493306 w 12192000"/>
              <a:gd name="connsiteY720" fmla="*/ 5753237 h 6858000"/>
              <a:gd name="connsiteX721" fmla="*/ 6472271 w 12192000"/>
              <a:gd name="connsiteY721" fmla="*/ 5763810 h 6858000"/>
              <a:gd name="connsiteX722" fmla="*/ 6486295 w 12192000"/>
              <a:gd name="connsiteY722" fmla="*/ 5816672 h 6858000"/>
              <a:gd name="connsiteX723" fmla="*/ 6468766 w 12192000"/>
              <a:gd name="connsiteY723" fmla="*/ 5827245 h 6858000"/>
              <a:gd name="connsiteX724" fmla="*/ 6423190 w 12192000"/>
              <a:gd name="connsiteY724" fmla="*/ 5802576 h 6858000"/>
              <a:gd name="connsiteX725" fmla="*/ 6405661 w 12192000"/>
              <a:gd name="connsiteY725" fmla="*/ 5816672 h 6858000"/>
              <a:gd name="connsiteX726" fmla="*/ 6405661 w 12192000"/>
              <a:gd name="connsiteY726" fmla="*/ 5820196 h 6858000"/>
              <a:gd name="connsiteX727" fmla="*/ 6433707 w 12192000"/>
              <a:gd name="connsiteY727" fmla="*/ 5866011 h 6858000"/>
              <a:gd name="connsiteX728" fmla="*/ 6419684 w 12192000"/>
              <a:gd name="connsiteY728" fmla="*/ 5883632 h 6858000"/>
              <a:gd name="connsiteX729" fmla="*/ 6367097 w 12192000"/>
              <a:gd name="connsiteY729" fmla="*/ 5869535 h 6858000"/>
              <a:gd name="connsiteX730" fmla="*/ 6356580 w 12192000"/>
              <a:gd name="connsiteY730" fmla="*/ 5890680 h 6858000"/>
              <a:gd name="connsiteX731" fmla="*/ 6391638 w 12192000"/>
              <a:gd name="connsiteY731" fmla="*/ 5929447 h 6858000"/>
              <a:gd name="connsiteX732" fmla="*/ 6384626 w 12192000"/>
              <a:gd name="connsiteY732" fmla="*/ 5950591 h 6858000"/>
              <a:gd name="connsiteX733" fmla="*/ 6332039 w 12192000"/>
              <a:gd name="connsiteY733" fmla="*/ 5950591 h 6858000"/>
              <a:gd name="connsiteX734" fmla="*/ 6325027 w 12192000"/>
              <a:gd name="connsiteY734" fmla="*/ 5971736 h 6858000"/>
              <a:gd name="connsiteX735" fmla="*/ 6370602 w 12192000"/>
              <a:gd name="connsiteY735" fmla="*/ 5999930 h 6858000"/>
              <a:gd name="connsiteX736" fmla="*/ 6367097 w 12192000"/>
              <a:gd name="connsiteY736" fmla="*/ 6021074 h 6858000"/>
              <a:gd name="connsiteX737" fmla="*/ 6318016 w 12192000"/>
              <a:gd name="connsiteY737" fmla="*/ 6035172 h 6858000"/>
              <a:gd name="connsiteX738" fmla="*/ 6314510 w 12192000"/>
              <a:gd name="connsiteY738" fmla="*/ 6035172 h 6858000"/>
              <a:gd name="connsiteX739" fmla="*/ 6314510 w 12192000"/>
              <a:gd name="connsiteY739" fmla="*/ 6049268 h 6858000"/>
              <a:gd name="connsiteX740" fmla="*/ 6314510 w 12192000"/>
              <a:gd name="connsiteY740" fmla="*/ 6059841 h 6858000"/>
              <a:gd name="connsiteX741" fmla="*/ 6318016 w 12192000"/>
              <a:gd name="connsiteY741" fmla="*/ 6059841 h 6858000"/>
              <a:gd name="connsiteX742" fmla="*/ 6367097 w 12192000"/>
              <a:gd name="connsiteY742" fmla="*/ 6073938 h 6858000"/>
              <a:gd name="connsiteX743" fmla="*/ 6370602 w 12192000"/>
              <a:gd name="connsiteY743" fmla="*/ 6095083 h 6858000"/>
              <a:gd name="connsiteX744" fmla="*/ 6325027 w 12192000"/>
              <a:gd name="connsiteY744" fmla="*/ 6123276 h 6858000"/>
              <a:gd name="connsiteX745" fmla="*/ 6325027 w 12192000"/>
              <a:gd name="connsiteY745" fmla="*/ 6126800 h 6858000"/>
              <a:gd name="connsiteX746" fmla="*/ 6332039 w 12192000"/>
              <a:gd name="connsiteY746" fmla="*/ 6147945 h 6858000"/>
              <a:gd name="connsiteX747" fmla="*/ 6384626 w 12192000"/>
              <a:gd name="connsiteY747" fmla="*/ 6147945 h 6858000"/>
              <a:gd name="connsiteX748" fmla="*/ 6395143 w 12192000"/>
              <a:gd name="connsiteY748" fmla="*/ 6169091 h 6858000"/>
              <a:gd name="connsiteX749" fmla="*/ 6356580 w 12192000"/>
              <a:gd name="connsiteY749" fmla="*/ 6204332 h 6858000"/>
              <a:gd name="connsiteX750" fmla="*/ 6356580 w 12192000"/>
              <a:gd name="connsiteY750" fmla="*/ 6207856 h 6858000"/>
              <a:gd name="connsiteX751" fmla="*/ 6367097 w 12192000"/>
              <a:gd name="connsiteY751" fmla="*/ 6225477 h 6858000"/>
              <a:gd name="connsiteX752" fmla="*/ 6419684 w 12192000"/>
              <a:gd name="connsiteY752" fmla="*/ 6211380 h 6858000"/>
              <a:gd name="connsiteX753" fmla="*/ 6433707 w 12192000"/>
              <a:gd name="connsiteY753" fmla="*/ 6232526 h 6858000"/>
              <a:gd name="connsiteX754" fmla="*/ 6405661 w 12192000"/>
              <a:gd name="connsiteY754" fmla="*/ 6278340 h 6858000"/>
              <a:gd name="connsiteX755" fmla="*/ 6423190 w 12192000"/>
              <a:gd name="connsiteY755" fmla="*/ 6292436 h 6858000"/>
              <a:gd name="connsiteX756" fmla="*/ 6468766 w 12192000"/>
              <a:gd name="connsiteY756" fmla="*/ 6267768 h 6858000"/>
              <a:gd name="connsiteX757" fmla="*/ 6486295 w 12192000"/>
              <a:gd name="connsiteY757" fmla="*/ 6281864 h 6858000"/>
              <a:gd name="connsiteX758" fmla="*/ 6475777 w 12192000"/>
              <a:gd name="connsiteY758" fmla="*/ 6331202 h 6858000"/>
              <a:gd name="connsiteX759" fmla="*/ 6475777 w 12192000"/>
              <a:gd name="connsiteY759" fmla="*/ 6334727 h 6858000"/>
              <a:gd name="connsiteX760" fmla="*/ 6493306 w 12192000"/>
              <a:gd name="connsiteY760" fmla="*/ 6345299 h 6858000"/>
              <a:gd name="connsiteX761" fmla="*/ 6496812 w 12192000"/>
              <a:gd name="connsiteY761" fmla="*/ 6345299 h 6858000"/>
              <a:gd name="connsiteX762" fmla="*/ 6531870 w 12192000"/>
              <a:gd name="connsiteY762" fmla="*/ 6306533 h 6858000"/>
              <a:gd name="connsiteX763" fmla="*/ 6552905 w 12192000"/>
              <a:gd name="connsiteY763" fmla="*/ 6317106 h 6858000"/>
              <a:gd name="connsiteX764" fmla="*/ 6549399 w 12192000"/>
              <a:gd name="connsiteY764" fmla="*/ 6341775 h 6858000"/>
              <a:gd name="connsiteX765" fmla="*/ 6552905 w 12192000"/>
              <a:gd name="connsiteY765" fmla="*/ 6369969 h 6858000"/>
              <a:gd name="connsiteX766" fmla="*/ 6573940 w 12192000"/>
              <a:gd name="connsiteY766" fmla="*/ 6377017 h 6858000"/>
              <a:gd name="connsiteX767" fmla="*/ 6577446 w 12192000"/>
              <a:gd name="connsiteY767" fmla="*/ 6377017 h 6858000"/>
              <a:gd name="connsiteX768" fmla="*/ 6601987 w 12192000"/>
              <a:gd name="connsiteY768" fmla="*/ 6331202 h 6858000"/>
              <a:gd name="connsiteX769" fmla="*/ 6626527 w 12192000"/>
              <a:gd name="connsiteY769" fmla="*/ 6331202 h 6858000"/>
              <a:gd name="connsiteX770" fmla="*/ 6640551 w 12192000"/>
              <a:gd name="connsiteY770" fmla="*/ 6384065 h 6858000"/>
              <a:gd name="connsiteX771" fmla="*/ 6661585 w 12192000"/>
              <a:gd name="connsiteY771" fmla="*/ 6384065 h 6858000"/>
              <a:gd name="connsiteX772" fmla="*/ 6665092 w 12192000"/>
              <a:gd name="connsiteY772" fmla="*/ 6384065 h 6858000"/>
              <a:gd name="connsiteX773" fmla="*/ 6679114 w 12192000"/>
              <a:gd name="connsiteY773" fmla="*/ 6331202 h 6858000"/>
              <a:gd name="connsiteX774" fmla="*/ 6700150 w 12192000"/>
              <a:gd name="connsiteY774" fmla="*/ 6331202 h 6858000"/>
              <a:gd name="connsiteX775" fmla="*/ 6724690 w 12192000"/>
              <a:gd name="connsiteY775" fmla="*/ 6377017 h 6858000"/>
              <a:gd name="connsiteX776" fmla="*/ 6728196 w 12192000"/>
              <a:gd name="connsiteY776" fmla="*/ 6377017 h 6858000"/>
              <a:gd name="connsiteX777" fmla="*/ 6749231 w 12192000"/>
              <a:gd name="connsiteY777" fmla="*/ 6369969 h 6858000"/>
              <a:gd name="connsiteX778" fmla="*/ 6752736 w 12192000"/>
              <a:gd name="connsiteY778" fmla="*/ 6341775 h 6858000"/>
              <a:gd name="connsiteX779" fmla="*/ 6749231 w 12192000"/>
              <a:gd name="connsiteY779" fmla="*/ 6317106 h 6858000"/>
              <a:gd name="connsiteX780" fmla="*/ 6770266 w 12192000"/>
              <a:gd name="connsiteY780" fmla="*/ 6306533 h 6858000"/>
              <a:gd name="connsiteX781" fmla="*/ 6808830 w 12192000"/>
              <a:gd name="connsiteY781" fmla="*/ 6345299 h 6858000"/>
              <a:gd name="connsiteX782" fmla="*/ 6826358 w 12192000"/>
              <a:gd name="connsiteY782" fmla="*/ 6334727 h 6858000"/>
              <a:gd name="connsiteX783" fmla="*/ 6829865 w 12192000"/>
              <a:gd name="connsiteY783" fmla="*/ 6334727 h 6858000"/>
              <a:gd name="connsiteX784" fmla="*/ 6829865 w 12192000"/>
              <a:gd name="connsiteY784" fmla="*/ 6331202 h 6858000"/>
              <a:gd name="connsiteX785" fmla="*/ 6815841 w 12192000"/>
              <a:gd name="connsiteY785" fmla="*/ 6281864 h 6858000"/>
              <a:gd name="connsiteX786" fmla="*/ 6833370 w 12192000"/>
              <a:gd name="connsiteY786" fmla="*/ 6267768 h 6858000"/>
              <a:gd name="connsiteX787" fmla="*/ 6878946 w 12192000"/>
              <a:gd name="connsiteY787" fmla="*/ 6292436 h 6858000"/>
              <a:gd name="connsiteX788" fmla="*/ 6896475 w 12192000"/>
              <a:gd name="connsiteY788" fmla="*/ 6278340 h 6858000"/>
              <a:gd name="connsiteX789" fmla="*/ 6896475 w 12192000"/>
              <a:gd name="connsiteY789" fmla="*/ 6274816 h 6858000"/>
              <a:gd name="connsiteX790" fmla="*/ 6868429 w 12192000"/>
              <a:gd name="connsiteY790" fmla="*/ 6229001 h 6858000"/>
              <a:gd name="connsiteX791" fmla="*/ 6882452 w 12192000"/>
              <a:gd name="connsiteY791" fmla="*/ 6211380 h 6858000"/>
              <a:gd name="connsiteX792" fmla="*/ 6935039 w 12192000"/>
              <a:gd name="connsiteY792" fmla="*/ 6225477 h 6858000"/>
              <a:gd name="connsiteX793" fmla="*/ 6945557 w 12192000"/>
              <a:gd name="connsiteY793" fmla="*/ 6207856 h 6858000"/>
              <a:gd name="connsiteX794" fmla="*/ 6945557 w 12192000"/>
              <a:gd name="connsiteY794" fmla="*/ 6204332 h 6858000"/>
              <a:gd name="connsiteX795" fmla="*/ 6910499 w 12192000"/>
              <a:gd name="connsiteY795" fmla="*/ 6165566 h 6858000"/>
              <a:gd name="connsiteX796" fmla="*/ 6917510 w 12192000"/>
              <a:gd name="connsiteY796" fmla="*/ 6147945 h 6858000"/>
              <a:gd name="connsiteX797" fmla="*/ 6970097 w 12192000"/>
              <a:gd name="connsiteY797" fmla="*/ 6147945 h 6858000"/>
              <a:gd name="connsiteX798" fmla="*/ 6970097 w 12192000"/>
              <a:gd name="connsiteY798" fmla="*/ 6144421 h 6858000"/>
              <a:gd name="connsiteX799" fmla="*/ 6977109 w 12192000"/>
              <a:gd name="connsiteY799" fmla="*/ 6123276 h 6858000"/>
              <a:gd name="connsiteX800" fmla="*/ 6931533 w 12192000"/>
              <a:gd name="connsiteY800" fmla="*/ 6095083 h 6858000"/>
              <a:gd name="connsiteX801" fmla="*/ 6935039 w 12192000"/>
              <a:gd name="connsiteY801" fmla="*/ 6073938 h 6858000"/>
              <a:gd name="connsiteX802" fmla="*/ 6984121 w 12192000"/>
              <a:gd name="connsiteY802" fmla="*/ 6059841 h 6858000"/>
              <a:gd name="connsiteX803" fmla="*/ 6987626 w 12192000"/>
              <a:gd name="connsiteY803" fmla="*/ 6049268 h 6858000"/>
              <a:gd name="connsiteX804" fmla="*/ 6984121 w 12192000"/>
              <a:gd name="connsiteY804" fmla="*/ 6038696 h 6858000"/>
              <a:gd name="connsiteX805" fmla="*/ 6984121 w 12192000"/>
              <a:gd name="connsiteY805" fmla="*/ 6035172 h 6858000"/>
              <a:gd name="connsiteX806" fmla="*/ 6935039 w 12192000"/>
              <a:gd name="connsiteY806" fmla="*/ 6021074 h 6858000"/>
              <a:gd name="connsiteX807" fmla="*/ 6931533 w 12192000"/>
              <a:gd name="connsiteY807" fmla="*/ 5999930 h 6858000"/>
              <a:gd name="connsiteX808" fmla="*/ 6977109 w 12192000"/>
              <a:gd name="connsiteY808" fmla="*/ 5975261 h 6858000"/>
              <a:gd name="connsiteX809" fmla="*/ 6977109 w 12192000"/>
              <a:gd name="connsiteY809" fmla="*/ 5971736 h 6858000"/>
              <a:gd name="connsiteX810" fmla="*/ 6970097 w 12192000"/>
              <a:gd name="connsiteY810" fmla="*/ 5950591 h 6858000"/>
              <a:gd name="connsiteX811" fmla="*/ 6917510 w 12192000"/>
              <a:gd name="connsiteY811" fmla="*/ 5950591 h 6858000"/>
              <a:gd name="connsiteX812" fmla="*/ 6910499 w 12192000"/>
              <a:gd name="connsiteY812" fmla="*/ 5929447 h 6858000"/>
              <a:gd name="connsiteX813" fmla="*/ 6945557 w 12192000"/>
              <a:gd name="connsiteY813" fmla="*/ 5890680 h 6858000"/>
              <a:gd name="connsiteX814" fmla="*/ 6935039 w 12192000"/>
              <a:gd name="connsiteY814" fmla="*/ 5873059 h 6858000"/>
              <a:gd name="connsiteX815" fmla="*/ 6935039 w 12192000"/>
              <a:gd name="connsiteY815" fmla="*/ 5869535 h 6858000"/>
              <a:gd name="connsiteX816" fmla="*/ 6882452 w 12192000"/>
              <a:gd name="connsiteY816" fmla="*/ 5883632 h 6858000"/>
              <a:gd name="connsiteX817" fmla="*/ 6868429 w 12192000"/>
              <a:gd name="connsiteY817" fmla="*/ 5866011 h 6858000"/>
              <a:gd name="connsiteX818" fmla="*/ 6896475 w 12192000"/>
              <a:gd name="connsiteY818" fmla="*/ 5820196 h 6858000"/>
              <a:gd name="connsiteX819" fmla="*/ 6878946 w 12192000"/>
              <a:gd name="connsiteY819" fmla="*/ 5802576 h 6858000"/>
              <a:gd name="connsiteX820" fmla="*/ 6833370 w 12192000"/>
              <a:gd name="connsiteY820" fmla="*/ 5830770 h 6858000"/>
              <a:gd name="connsiteX821" fmla="*/ 6815841 w 12192000"/>
              <a:gd name="connsiteY821" fmla="*/ 5816672 h 6858000"/>
              <a:gd name="connsiteX822" fmla="*/ 6829865 w 12192000"/>
              <a:gd name="connsiteY822" fmla="*/ 5763810 h 6858000"/>
              <a:gd name="connsiteX823" fmla="*/ 6808830 w 12192000"/>
              <a:gd name="connsiteY823" fmla="*/ 5753237 h 6858000"/>
              <a:gd name="connsiteX824" fmla="*/ 6770266 w 12192000"/>
              <a:gd name="connsiteY824" fmla="*/ 5788479 h 6858000"/>
              <a:gd name="connsiteX825" fmla="*/ 6749231 w 12192000"/>
              <a:gd name="connsiteY825" fmla="*/ 5781431 h 6858000"/>
              <a:gd name="connsiteX826" fmla="*/ 6752736 w 12192000"/>
              <a:gd name="connsiteY826" fmla="*/ 5753237 h 6858000"/>
              <a:gd name="connsiteX827" fmla="*/ 6749231 w 12192000"/>
              <a:gd name="connsiteY827" fmla="*/ 5728568 h 6858000"/>
              <a:gd name="connsiteX828" fmla="*/ 6749231 w 12192000"/>
              <a:gd name="connsiteY828" fmla="*/ 5725044 h 6858000"/>
              <a:gd name="connsiteX829" fmla="*/ 6728196 w 12192000"/>
              <a:gd name="connsiteY829" fmla="*/ 5721520 h 6858000"/>
              <a:gd name="connsiteX830" fmla="*/ 6724690 w 12192000"/>
              <a:gd name="connsiteY830" fmla="*/ 5721520 h 6858000"/>
              <a:gd name="connsiteX831" fmla="*/ 6700150 w 12192000"/>
              <a:gd name="connsiteY831" fmla="*/ 5767334 h 6858000"/>
              <a:gd name="connsiteX832" fmla="*/ 6675609 w 12192000"/>
              <a:gd name="connsiteY832" fmla="*/ 5763810 h 6858000"/>
              <a:gd name="connsiteX833" fmla="*/ 6661585 w 12192000"/>
              <a:gd name="connsiteY833" fmla="*/ 5710947 h 6858000"/>
              <a:gd name="connsiteX834" fmla="*/ 6640551 w 12192000"/>
              <a:gd name="connsiteY834" fmla="*/ 5710947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6948486" y="6345467"/>
                </a:moveTo>
                <a:lnTo>
                  <a:pt x="6954599" y="6345467"/>
                </a:lnTo>
                <a:cubicBezTo>
                  <a:pt x="6957225" y="6345467"/>
                  <a:pt x="6959024" y="6345659"/>
                  <a:pt x="6959994" y="6346042"/>
                </a:cubicBezTo>
                <a:cubicBezTo>
                  <a:pt x="6960965" y="6346425"/>
                  <a:pt x="6961724" y="6347006"/>
                  <a:pt x="6962272" y="6347785"/>
                </a:cubicBezTo>
                <a:cubicBezTo>
                  <a:pt x="6962819" y="6348565"/>
                  <a:pt x="6963092" y="6349448"/>
                  <a:pt x="6963092" y="6350432"/>
                </a:cubicBezTo>
                <a:cubicBezTo>
                  <a:pt x="6963092" y="6351964"/>
                  <a:pt x="6962524" y="6353194"/>
                  <a:pt x="6961389" y="6354124"/>
                </a:cubicBezTo>
                <a:cubicBezTo>
                  <a:pt x="6960254" y="6355055"/>
                  <a:pt x="6958127" y="6355519"/>
                  <a:pt x="6955010" y="6355519"/>
                </a:cubicBezTo>
                <a:lnTo>
                  <a:pt x="6948486" y="6355519"/>
                </a:lnTo>
                <a:close/>
                <a:moveTo>
                  <a:pt x="6943111" y="6340955"/>
                </a:moveTo>
                <a:lnTo>
                  <a:pt x="6943111" y="6374269"/>
                </a:lnTo>
                <a:lnTo>
                  <a:pt x="6948486" y="6374269"/>
                </a:lnTo>
                <a:lnTo>
                  <a:pt x="6948486" y="6360115"/>
                </a:lnTo>
                <a:lnTo>
                  <a:pt x="6951645" y="6360115"/>
                </a:lnTo>
                <a:cubicBezTo>
                  <a:pt x="6953533" y="6360115"/>
                  <a:pt x="6954969" y="6360497"/>
                  <a:pt x="6955953" y="6361263"/>
                </a:cubicBezTo>
                <a:cubicBezTo>
                  <a:pt x="6957375" y="6362302"/>
                  <a:pt x="6959249" y="6364887"/>
                  <a:pt x="6961574" y="6369017"/>
                </a:cubicBezTo>
                <a:lnTo>
                  <a:pt x="6964528" y="6374269"/>
                </a:lnTo>
                <a:lnTo>
                  <a:pt x="6971092" y="6374269"/>
                </a:lnTo>
                <a:lnTo>
                  <a:pt x="6967031" y="6367745"/>
                </a:lnTo>
                <a:cubicBezTo>
                  <a:pt x="6965088" y="6364654"/>
                  <a:pt x="6963447" y="6362453"/>
                  <a:pt x="6962108" y="6361140"/>
                </a:cubicBezTo>
                <a:cubicBezTo>
                  <a:pt x="6961396" y="6360457"/>
                  <a:pt x="6960452" y="6359868"/>
                  <a:pt x="6959277" y="6359376"/>
                </a:cubicBezTo>
                <a:cubicBezTo>
                  <a:pt x="6962148" y="6359157"/>
                  <a:pt x="6964453" y="6358145"/>
                  <a:pt x="6966190" y="6356340"/>
                </a:cubicBezTo>
                <a:cubicBezTo>
                  <a:pt x="6967926" y="6354535"/>
                  <a:pt x="6968795" y="6352415"/>
                  <a:pt x="6968795" y="6349981"/>
                </a:cubicBezTo>
                <a:cubicBezTo>
                  <a:pt x="6968795" y="6348258"/>
                  <a:pt x="6968275" y="6346630"/>
                  <a:pt x="6967236" y="6345098"/>
                </a:cubicBezTo>
                <a:cubicBezTo>
                  <a:pt x="6966196" y="6343566"/>
                  <a:pt x="6964802" y="6342493"/>
                  <a:pt x="6963051" y="6341878"/>
                </a:cubicBezTo>
                <a:cubicBezTo>
                  <a:pt x="6961300" y="6341262"/>
                  <a:pt x="6958469" y="6340955"/>
                  <a:pt x="6954558" y="6340955"/>
                </a:cubicBezTo>
                <a:close/>
                <a:moveTo>
                  <a:pt x="5903900" y="6338384"/>
                </a:moveTo>
                <a:cubicBezTo>
                  <a:pt x="5903900" y="6338384"/>
                  <a:pt x="5903900" y="6338384"/>
                  <a:pt x="5907414" y="6338384"/>
                </a:cubicBezTo>
                <a:lnTo>
                  <a:pt x="5907414" y="6341925"/>
                </a:lnTo>
                <a:cubicBezTo>
                  <a:pt x="5907414" y="6352552"/>
                  <a:pt x="5907414" y="6377347"/>
                  <a:pt x="5879303" y="6377347"/>
                </a:cubicBezTo>
                <a:cubicBezTo>
                  <a:pt x="5868761" y="6377347"/>
                  <a:pt x="5861734" y="6373805"/>
                  <a:pt x="5861734" y="6359637"/>
                </a:cubicBezTo>
                <a:cubicBezTo>
                  <a:pt x="5861734" y="6338384"/>
                  <a:pt x="5886331" y="6338384"/>
                  <a:pt x="5903900" y="6338384"/>
                </a:cubicBezTo>
                <a:close/>
                <a:moveTo>
                  <a:pt x="6956692" y="6331313"/>
                </a:moveTo>
                <a:cubicBezTo>
                  <a:pt x="6961013" y="6331313"/>
                  <a:pt x="6965239" y="6332428"/>
                  <a:pt x="6969369" y="6334657"/>
                </a:cubicBezTo>
                <a:cubicBezTo>
                  <a:pt x="6973499" y="6336886"/>
                  <a:pt x="6976720" y="6340073"/>
                  <a:pt x="6979032" y="6344216"/>
                </a:cubicBezTo>
                <a:cubicBezTo>
                  <a:pt x="6981342" y="6348360"/>
                  <a:pt x="6982498" y="6352675"/>
                  <a:pt x="6982498" y="6357160"/>
                </a:cubicBezTo>
                <a:cubicBezTo>
                  <a:pt x="6982498" y="6361619"/>
                  <a:pt x="6981363" y="6365893"/>
                  <a:pt x="6979093" y="6369981"/>
                </a:cubicBezTo>
                <a:cubicBezTo>
                  <a:pt x="6976823" y="6374071"/>
                  <a:pt x="6973636" y="6377257"/>
                  <a:pt x="6969533" y="6379541"/>
                </a:cubicBezTo>
                <a:cubicBezTo>
                  <a:pt x="6965430" y="6381825"/>
                  <a:pt x="6961151" y="6382967"/>
                  <a:pt x="6956692" y="6382967"/>
                </a:cubicBezTo>
                <a:cubicBezTo>
                  <a:pt x="6952234" y="6382967"/>
                  <a:pt x="6947953" y="6381825"/>
                  <a:pt x="6943850" y="6379541"/>
                </a:cubicBezTo>
                <a:cubicBezTo>
                  <a:pt x="6939748" y="6377257"/>
                  <a:pt x="6936554" y="6374071"/>
                  <a:pt x="6934270" y="6369981"/>
                </a:cubicBezTo>
                <a:cubicBezTo>
                  <a:pt x="6931986" y="6365893"/>
                  <a:pt x="6930844" y="6361619"/>
                  <a:pt x="6930844" y="6357160"/>
                </a:cubicBezTo>
                <a:cubicBezTo>
                  <a:pt x="6930844" y="6352675"/>
                  <a:pt x="6932006" y="6348360"/>
                  <a:pt x="6934332" y="6344216"/>
                </a:cubicBezTo>
                <a:cubicBezTo>
                  <a:pt x="6936657" y="6340073"/>
                  <a:pt x="6939877" y="6336886"/>
                  <a:pt x="6943994" y="6334657"/>
                </a:cubicBezTo>
                <a:cubicBezTo>
                  <a:pt x="6948110" y="6332428"/>
                  <a:pt x="6952343" y="6331313"/>
                  <a:pt x="6956692" y="6331313"/>
                </a:cubicBezTo>
                <a:close/>
                <a:moveTo>
                  <a:pt x="6956692" y="6326185"/>
                </a:moveTo>
                <a:cubicBezTo>
                  <a:pt x="6951495" y="6326185"/>
                  <a:pt x="6946421" y="6327518"/>
                  <a:pt x="6941471" y="6330185"/>
                </a:cubicBezTo>
                <a:cubicBezTo>
                  <a:pt x="6936520" y="6332851"/>
                  <a:pt x="6932656" y="6336667"/>
                  <a:pt x="6929880" y="6341632"/>
                </a:cubicBezTo>
                <a:cubicBezTo>
                  <a:pt x="6927104" y="6346595"/>
                  <a:pt x="6925716" y="6351772"/>
                  <a:pt x="6925716" y="6357160"/>
                </a:cubicBezTo>
                <a:cubicBezTo>
                  <a:pt x="6925716" y="6362494"/>
                  <a:pt x="6927083" y="6367623"/>
                  <a:pt x="6929819" y="6372546"/>
                </a:cubicBezTo>
                <a:cubicBezTo>
                  <a:pt x="6932554" y="6377469"/>
                  <a:pt x="6936376" y="6381292"/>
                  <a:pt x="6941286" y="6384013"/>
                </a:cubicBezTo>
                <a:cubicBezTo>
                  <a:pt x="6946196" y="6386734"/>
                  <a:pt x="6951331" y="6388095"/>
                  <a:pt x="6956692" y="6388095"/>
                </a:cubicBezTo>
                <a:cubicBezTo>
                  <a:pt x="6962053" y="6388095"/>
                  <a:pt x="6967187" y="6386734"/>
                  <a:pt x="6972098" y="6384013"/>
                </a:cubicBezTo>
                <a:cubicBezTo>
                  <a:pt x="6977007" y="6381292"/>
                  <a:pt x="6980823" y="6377469"/>
                  <a:pt x="6983544" y="6372546"/>
                </a:cubicBezTo>
                <a:cubicBezTo>
                  <a:pt x="6986265" y="6367623"/>
                  <a:pt x="6987626" y="6362494"/>
                  <a:pt x="6987626" y="6357160"/>
                </a:cubicBezTo>
                <a:cubicBezTo>
                  <a:pt x="6987626" y="6351772"/>
                  <a:pt x="6986245" y="6346595"/>
                  <a:pt x="6983483" y="6341632"/>
                </a:cubicBezTo>
                <a:cubicBezTo>
                  <a:pt x="6980720" y="6336667"/>
                  <a:pt x="6976863" y="6332851"/>
                  <a:pt x="6971912" y="6330185"/>
                </a:cubicBezTo>
                <a:cubicBezTo>
                  <a:pt x="6966962" y="6327518"/>
                  <a:pt x="6961889" y="6326185"/>
                  <a:pt x="6956692" y="6326185"/>
                </a:cubicBezTo>
                <a:close/>
                <a:moveTo>
                  <a:pt x="6093496" y="6296733"/>
                </a:moveTo>
                <a:cubicBezTo>
                  <a:pt x="6110934" y="6296733"/>
                  <a:pt x="6125070" y="6314779"/>
                  <a:pt x="6125070" y="6337040"/>
                </a:cubicBezTo>
                <a:cubicBezTo>
                  <a:pt x="6125070" y="6359301"/>
                  <a:pt x="6110934" y="6377346"/>
                  <a:pt x="6093496" y="6377346"/>
                </a:cubicBezTo>
                <a:cubicBezTo>
                  <a:pt x="6076059" y="6377346"/>
                  <a:pt x="6061922" y="6359301"/>
                  <a:pt x="6061922" y="6337040"/>
                </a:cubicBezTo>
                <a:cubicBezTo>
                  <a:pt x="6061922" y="6314779"/>
                  <a:pt x="6076059" y="6296733"/>
                  <a:pt x="6093496" y="6296733"/>
                </a:cubicBezTo>
                <a:close/>
                <a:moveTo>
                  <a:pt x="5783809" y="6296733"/>
                </a:moveTo>
                <a:cubicBezTo>
                  <a:pt x="5799391" y="6296733"/>
                  <a:pt x="5812024" y="6314779"/>
                  <a:pt x="5812024" y="6337040"/>
                </a:cubicBezTo>
                <a:cubicBezTo>
                  <a:pt x="5812024" y="6359301"/>
                  <a:pt x="5799391" y="6377346"/>
                  <a:pt x="5783809" y="6377346"/>
                </a:cubicBezTo>
                <a:cubicBezTo>
                  <a:pt x="5768226" y="6377346"/>
                  <a:pt x="5755594" y="6359301"/>
                  <a:pt x="5755594" y="6337040"/>
                </a:cubicBezTo>
                <a:cubicBezTo>
                  <a:pt x="5755594" y="6314779"/>
                  <a:pt x="5768226" y="6296733"/>
                  <a:pt x="5783809" y="6296733"/>
                </a:cubicBezTo>
                <a:close/>
                <a:moveTo>
                  <a:pt x="5471433" y="6296733"/>
                </a:moveTo>
                <a:cubicBezTo>
                  <a:pt x="5488871" y="6296733"/>
                  <a:pt x="5503007" y="6314779"/>
                  <a:pt x="5503007" y="6337040"/>
                </a:cubicBezTo>
                <a:cubicBezTo>
                  <a:pt x="5503007" y="6359301"/>
                  <a:pt x="5488871" y="6377346"/>
                  <a:pt x="5471433" y="6377346"/>
                </a:cubicBezTo>
                <a:cubicBezTo>
                  <a:pt x="5453996" y="6377346"/>
                  <a:pt x="5439860" y="6359301"/>
                  <a:pt x="5439860" y="6337040"/>
                </a:cubicBezTo>
                <a:cubicBezTo>
                  <a:pt x="5439860" y="6314779"/>
                  <a:pt x="5453996" y="6296733"/>
                  <a:pt x="5471433" y="6296733"/>
                </a:cubicBezTo>
                <a:close/>
                <a:moveTo>
                  <a:pt x="6016373" y="6291486"/>
                </a:moveTo>
                <a:lnTo>
                  <a:pt x="6016373" y="6387446"/>
                </a:lnTo>
                <a:lnTo>
                  <a:pt x="6028662" y="6387446"/>
                </a:lnTo>
                <a:lnTo>
                  <a:pt x="6028662" y="6291486"/>
                </a:lnTo>
                <a:close/>
                <a:moveTo>
                  <a:pt x="6160001" y="6290016"/>
                </a:moveTo>
                <a:cubicBezTo>
                  <a:pt x="6160001" y="6296982"/>
                  <a:pt x="6160001" y="6307432"/>
                  <a:pt x="6160001" y="6314399"/>
                </a:cubicBezTo>
                <a:lnTo>
                  <a:pt x="6160001" y="6384064"/>
                </a:lnTo>
                <a:cubicBezTo>
                  <a:pt x="6160001" y="6384064"/>
                  <a:pt x="6160001" y="6384064"/>
                  <a:pt x="6173820" y="6384064"/>
                </a:cubicBezTo>
                <a:cubicBezTo>
                  <a:pt x="6173820" y="6384064"/>
                  <a:pt x="6173820" y="6384064"/>
                  <a:pt x="6173820" y="6331815"/>
                </a:cubicBezTo>
                <a:cubicBezTo>
                  <a:pt x="6173820" y="6317882"/>
                  <a:pt x="6180730" y="6296982"/>
                  <a:pt x="6201459" y="6296982"/>
                </a:cubicBezTo>
                <a:cubicBezTo>
                  <a:pt x="6215278" y="6296982"/>
                  <a:pt x="6222188" y="6310915"/>
                  <a:pt x="6222188" y="6328332"/>
                </a:cubicBezTo>
                <a:cubicBezTo>
                  <a:pt x="6222188" y="6328332"/>
                  <a:pt x="6222188" y="6328332"/>
                  <a:pt x="6222188" y="6384064"/>
                </a:cubicBezTo>
                <a:cubicBezTo>
                  <a:pt x="6222188" y="6384064"/>
                  <a:pt x="6222188" y="6384064"/>
                  <a:pt x="6232552" y="6384064"/>
                </a:cubicBezTo>
                <a:cubicBezTo>
                  <a:pt x="6232552" y="6384064"/>
                  <a:pt x="6232552" y="6384064"/>
                  <a:pt x="6232552" y="6324848"/>
                </a:cubicBezTo>
                <a:cubicBezTo>
                  <a:pt x="6232552" y="6303949"/>
                  <a:pt x="6225643" y="6290016"/>
                  <a:pt x="6201459" y="6290016"/>
                </a:cubicBezTo>
                <a:cubicBezTo>
                  <a:pt x="6184184" y="6290016"/>
                  <a:pt x="6177275" y="6300465"/>
                  <a:pt x="6170366" y="6307432"/>
                </a:cubicBezTo>
                <a:cubicBezTo>
                  <a:pt x="6170366" y="6307432"/>
                  <a:pt x="6170366" y="6307432"/>
                  <a:pt x="6170366" y="6290016"/>
                </a:cubicBezTo>
                <a:cubicBezTo>
                  <a:pt x="6170366" y="6290016"/>
                  <a:pt x="6170366" y="6290016"/>
                  <a:pt x="6160001" y="6290016"/>
                </a:cubicBezTo>
                <a:close/>
                <a:moveTo>
                  <a:pt x="6090808" y="6290016"/>
                </a:moveTo>
                <a:cubicBezTo>
                  <a:pt x="6066692" y="6290016"/>
                  <a:pt x="6047143" y="6311971"/>
                  <a:pt x="6047143" y="6339056"/>
                </a:cubicBezTo>
                <a:cubicBezTo>
                  <a:pt x="6047143" y="6366140"/>
                  <a:pt x="6066692" y="6388095"/>
                  <a:pt x="6090808" y="6388095"/>
                </a:cubicBezTo>
                <a:cubicBezTo>
                  <a:pt x="6114924" y="6388095"/>
                  <a:pt x="6134474" y="6366140"/>
                  <a:pt x="6134474" y="6339056"/>
                </a:cubicBezTo>
                <a:cubicBezTo>
                  <a:pt x="6134474" y="6311971"/>
                  <a:pt x="6114924" y="6290016"/>
                  <a:pt x="6090808" y="6290016"/>
                </a:cubicBezTo>
                <a:close/>
                <a:moveTo>
                  <a:pt x="5885663" y="6290016"/>
                </a:moveTo>
                <a:cubicBezTo>
                  <a:pt x="5878625" y="6290016"/>
                  <a:pt x="5864549" y="6290016"/>
                  <a:pt x="5857511" y="6293519"/>
                </a:cubicBezTo>
                <a:cubicBezTo>
                  <a:pt x="5857511" y="6293519"/>
                  <a:pt x="5857511" y="6293519"/>
                  <a:pt x="5857511" y="6307530"/>
                </a:cubicBezTo>
                <a:cubicBezTo>
                  <a:pt x="5868068" y="6300525"/>
                  <a:pt x="5875106" y="6297022"/>
                  <a:pt x="5885663" y="6297022"/>
                </a:cubicBezTo>
                <a:cubicBezTo>
                  <a:pt x="5903256" y="6297022"/>
                  <a:pt x="5906775" y="6307530"/>
                  <a:pt x="5906775" y="6321542"/>
                </a:cubicBezTo>
                <a:cubicBezTo>
                  <a:pt x="5906775" y="6321542"/>
                  <a:pt x="5906775" y="6321542"/>
                  <a:pt x="5906775" y="6328547"/>
                </a:cubicBezTo>
                <a:cubicBezTo>
                  <a:pt x="5882144" y="6328547"/>
                  <a:pt x="5846955" y="6328547"/>
                  <a:pt x="5846955" y="6360072"/>
                </a:cubicBezTo>
                <a:cubicBezTo>
                  <a:pt x="5846955" y="6370581"/>
                  <a:pt x="5850474" y="6388095"/>
                  <a:pt x="5878625" y="6388095"/>
                </a:cubicBezTo>
                <a:cubicBezTo>
                  <a:pt x="5889181" y="6388095"/>
                  <a:pt x="5903256" y="6381089"/>
                  <a:pt x="5906775" y="6370581"/>
                </a:cubicBezTo>
                <a:cubicBezTo>
                  <a:pt x="5906775" y="6370581"/>
                  <a:pt x="5906775" y="6370581"/>
                  <a:pt x="5910294" y="6370581"/>
                </a:cubicBezTo>
                <a:lnTo>
                  <a:pt x="5910294" y="6384592"/>
                </a:lnTo>
                <a:cubicBezTo>
                  <a:pt x="5910294" y="6384592"/>
                  <a:pt x="5910294" y="6384592"/>
                  <a:pt x="5920851" y="6384592"/>
                </a:cubicBezTo>
                <a:cubicBezTo>
                  <a:pt x="5920851" y="6381089"/>
                  <a:pt x="5920851" y="6374084"/>
                  <a:pt x="5920851" y="6367078"/>
                </a:cubicBezTo>
                <a:cubicBezTo>
                  <a:pt x="5920851" y="6367078"/>
                  <a:pt x="5920851" y="6367078"/>
                  <a:pt x="5920851" y="6325045"/>
                </a:cubicBezTo>
                <a:cubicBezTo>
                  <a:pt x="5920851" y="6300525"/>
                  <a:pt x="5910294" y="6290016"/>
                  <a:pt x="5885663" y="6290016"/>
                </a:cubicBezTo>
                <a:close/>
                <a:moveTo>
                  <a:pt x="5644079" y="6290016"/>
                </a:moveTo>
                <a:cubicBezTo>
                  <a:pt x="5644079" y="6296982"/>
                  <a:pt x="5644079" y="6307432"/>
                  <a:pt x="5644079" y="6314399"/>
                </a:cubicBezTo>
                <a:lnTo>
                  <a:pt x="5644079" y="6384064"/>
                </a:lnTo>
                <a:cubicBezTo>
                  <a:pt x="5644079" y="6384064"/>
                  <a:pt x="5644079" y="6384064"/>
                  <a:pt x="5658155" y="6384064"/>
                </a:cubicBezTo>
                <a:cubicBezTo>
                  <a:pt x="5658155" y="6384064"/>
                  <a:pt x="5658155" y="6384064"/>
                  <a:pt x="5658155" y="6331815"/>
                </a:cubicBezTo>
                <a:cubicBezTo>
                  <a:pt x="5658155" y="6317882"/>
                  <a:pt x="5665192" y="6296982"/>
                  <a:pt x="5686305" y="6296982"/>
                </a:cubicBezTo>
                <a:cubicBezTo>
                  <a:pt x="5700381" y="6296982"/>
                  <a:pt x="5707418" y="6310915"/>
                  <a:pt x="5707418" y="6328332"/>
                </a:cubicBezTo>
                <a:cubicBezTo>
                  <a:pt x="5707418" y="6328332"/>
                  <a:pt x="5707418" y="6328332"/>
                  <a:pt x="5707418" y="6384064"/>
                </a:cubicBezTo>
                <a:cubicBezTo>
                  <a:pt x="5707418" y="6384064"/>
                  <a:pt x="5707418" y="6384064"/>
                  <a:pt x="5717975" y="6384064"/>
                </a:cubicBezTo>
                <a:cubicBezTo>
                  <a:pt x="5717975" y="6384064"/>
                  <a:pt x="5717975" y="6384064"/>
                  <a:pt x="5717975" y="6324848"/>
                </a:cubicBezTo>
                <a:cubicBezTo>
                  <a:pt x="5717975" y="6303949"/>
                  <a:pt x="5710937" y="6290016"/>
                  <a:pt x="5686305" y="6290016"/>
                </a:cubicBezTo>
                <a:cubicBezTo>
                  <a:pt x="5668711" y="6290016"/>
                  <a:pt x="5661674" y="6300465"/>
                  <a:pt x="5654636" y="6307432"/>
                </a:cubicBezTo>
                <a:cubicBezTo>
                  <a:pt x="5654636" y="6307432"/>
                  <a:pt x="5654636" y="6307432"/>
                  <a:pt x="5654636" y="6290016"/>
                </a:cubicBezTo>
                <a:cubicBezTo>
                  <a:pt x="5654636" y="6290016"/>
                  <a:pt x="5654636" y="6290016"/>
                  <a:pt x="5644079" y="6290016"/>
                </a:cubicBezTo>
                <a:close/>
                <a:moveTo>
                  <a:pt x="5541970" y="6290016"/>
                </a:moveTo>
                <a:cubicBezTo>
                  <a:pt x="5541970" y="6290016"/>
                  <a:pt x="5541970" y="6290016"/>
                  <a:pt x="5541970" y="6353066"/>
                </a:cubicBezTo>
                <a:cubicBezTo>
                  <a:pt x="5541970" y="6374084"/>
                  <a:pt x="5549007" y="6388095"/>
                  <a:pt x="5573640" y="6388095"/>
                </a:cubicBezTo>
                <a:cubicBezTo>
                  <a:pt x="5591234" y="6388095"/>
                  <a:pt x="5598271" y="6377586"/>
                  <a:pt x="5605309" y="6370581"/>
                </a:cubicBezTo>
                <a:cubicBezTo>
                  <a:pt x="5605309" y="6370581"/>
                  <a:pt x="5605309" y="6370581"/>
                  <a:pt x="5605309" y="6384592"/>
                </a:cubicBezTo>
                <a:cubicBezTo>
                  <a:pt x="5605309" y="6384592"/>
                  <a:pt x="5605309" y="6384592"/>
                  <a:pt x="5615865" y="6384592"/>
                </a:cubicBezTo>
                <a:cubicBezTo>
                  <a:pt x="5615865" y="6377586"/>
                  <a:pt x="5615865" y="6370581"/>
                  <a:pt x="5615865" y="6363575"/>
                </a:cubicBezTo>
                <a:lnTo>
                  <a:pt x="5615865" y="6290016"/>
                </a:lnTo>
                <a:cubicBezTo>
                  <a:pt x="5615865" y="6290016"/>
                  <a:pt x="5615865" y="6290016"/>
                  <a:pt x="5601790" y="6290016"/>
                </a:cubicBezTo>
                <a:cubicBezTo>
                  <a:pt x="5601790" y="6290016"/>
                  <a:pt x="5601790" y="6290016"/>
                  <a:pt x="5601790" y="6342558"/>
                </a:cubicBezTo>
                <a:cubicBezTo>
                  <a:pt x="5601790" y="6360072"/>
                  <a:pt x="5594752" y="6377586"/>
                  <a:pt x="5573640" y="6377586"/>
                </a:cubicBezTo>
                <a:cubicBezTo>
                  <a:pt x="5559564" y="6377586"/>
                  <a:pt x="5552527" y="6367078"/>
                  <a:pt x="5552527" y="6349564"/>
                </a:cubicBezTo>
                <a:cubicBezTo>
                  <a:pt x="5552527" y="6349564"/>
                  <a:pt x="5552527" y="6349564"/>
                  <a:pt x="5552527" y="6290016"/>
                </a:cubicBezTo>
                <a:cubicBezTo>
                  <a:pt x="5552527" y="6290016"/>
                  <a:pt x="5552527" y="6290016"/>
                  <a:pt x="5541970" y="6290016"/>
                </a:cubicBezTo>
                <a:close/>
                <a:moveTo>
                  <a:pt x="5473449" y="6290016"/>
                </a:moveTo>
                <a:cubicBezTo>
                  <a:pt x="5448962" y="6290016"/>
                  <a:pt x="5429111" y="6311971"/>
                  <a:pt x="5429111" y="6339056"/>
                </a:cubicBezTo>
                <a:cubicBezTo>
                  <a:pt x="5429111" y="6366140"/>
                  <a:pt x="5448962" y="6388095"/>
                  <a:pt x="5473449" y="6388095"/>
                </a:cubicBezTo>
                <a:cubicBezTo>
                  <a:pt x="5497935" y="6388095"/>
                  <a:pt x="5517786" y="6366140"/>
                  <a:pt x="5517786" y="6339056"/>
                </a:cubicBezTo>
                <a:cubicBezTo>
                  <a:pt x="5517786" y="6311971"/>
                  <a:pt x="5497935" y="6290016"/>
                  <a:pt x="5473449" y="6290016"/>
                </a:cubicBezTo>
                <a:close/>
                <a:moveTo>
                  <a:pt x="6657114" y="6275237"/>
                </a:moveTo>
                <a:lnTo>
                  <a:pt x="6661144" y="6285986"/>
                </a:lnTo>
                <a:lnTo>
                  <a:pt x="6665175" y="6292704"/>
                </a:lnTo>
                <a:lnTo>
                  <a:pt x="6650396" y="6292704"/>
                </a:lnTo>
                <a:lnTo>
                  <a:pt x="6654427" y="6285986"/>
                </a:lnTo>
                <a:close/>
                <a:moveTo>
                  <a:pt x="6661257" y="6264489"/>
                </a:moveTo>
                <a:cubicBezTo>
                  <a:pt x="6661257" y="6264489"/>
                  <a:pt x="6661257" y="6264489"/>
                  <a:pt x="6650844" y="6268003"/>
                </a:cubicBezTo>
                <a:cubicBezTo>
                  <a:pt x="6650844" y="6268003"/>
                  <a:pt x="6650844" y="6268003"/>
                  <a:pt x="6647373" y="6285573"/>
                </a:cubicBezTo>
                <a:cubicBezTo>
                  <a:pt x="6647373" y="6285573"/>
                  <a:pt x="6647373" y="6285573"/>
                  <a:pt x="6636960" y="6306655"/>
                </a:cubicBezTo>
                <a:cubicBezTo>
                  <a:pt x="6640431" y="6306655"/>
                  <a:pt x="6643902" y="6306655"/>
                  <a:pt x="6647373" y="6310169"/>
                </a:cubicBezTo>
                <a:cubicBezTo>
                  <a:pt x="6647373" y="6310169"/>
                  <a:pt x="6647373" y="6310169"/>
                  <a:pt x="6647373" y="6299628"/>
                </a:cubicBezTo>
                <a:cubicBezTo>
                  <a:pt x="6647373" y="6299628"/>
                  <a:pt x="6647373" y="6299628"/>
                  <a:pt x="6668198" y="6299628"/>
                </a:cubicBezTo>
                <a:cubicBezTo>
                  <a:pt x="6668198" y="6299628"/>
                  <a:pt x="6668198" y="6299628"/>
                  <a:pt x="6668198" y="6306655"/>
                </a:cubicBezTo>
                <a:cubicBezTo>
                  <a:pt x="6671669" y="6306655"/>
                  <a:pt x="6675140" y="6306655"/>
                  <a:pt x="6678611" y="6306655"/>
                </a:cubicBezTo>
                <a:cubicBezTo>
                  <a:pt x="6678611" y="6306655"/>
                  <a:pt x="6678611" y="6306655"/>
                  <a:pt x="6668198" y="6285573"/>
                </a:cubicBezTo>
                <a:lnTo>
                  <a:pt x="6661257" y="6268003"/>
                </a:lnTo>
                <a:cubicBezTo>
                  <a:pt x="6661257" y="6268003"/>
                  <a:pt x="6661257" y="6268003"/>
                  <a:pt x="6661257" y="6264489"/>
                </a:cubicBezTo>
                <a:close/>
                <a:moveTo>
                  <a:pt x="5966262" y="6264488"/>
                </a:moveTo>
                <a:cubicBezTo>
                  <a:pt x="5966262" y="6264488"/>
                  <a:pt x="5966262" y="6264488"/>
                  <a:pt x="5955783" y="6268020"/>
                </a:cubicBezTo>
                <a:cubicBezTo>
                  <a:pt x="5955783" y="6268020"/>
                  <a:pt x="5955783" y="6268020"/>
                  <a:pt x="5955783" y="6289209"/>
                </a:cubicBezTo>
                <a:cubicBezTo>
                  <a:pt x="5955783" y="6289209"/>
                  <a:pt x="5955783" y="6289209"/>
                  <a:pt x="5938316" y="6289209"/>
                </a:cubicBezTo>
                <a:cubicBezTo>
                  <a:pt x="5938316" y="6289209"/>
                  <a:pt x="5938316" y="6289209"/>
                  <a:pt x="5938316" y="6299804"/>
                </a:cubicBezTo>
                <a:cubicBezTo>
                  <a:pt x="5938316" y="6299804"/>
                  <a:pt x="5938316" y="6299804"/>
                  <a:pt x="5955783" y="6299804"/>
                </a:cubicBezTo>
                <a:cubicBezTo>
                  <a:pt x="5955783" y="6299804"/>
                  <a:pt x="5955783" y="6299804"/>
                  <a:pt x="5955783" y="6356310"/>
                </a:cubicBezTo>
                <a:cubicBezTo>
                  <a:pt x="5955783" y="6373968"/>
                  <a:pt x="5955783" y="6388094"/>
                  <a:pt x="5976742" y="6388094"/>
                </a:cubicBezTo>
                <a:cubicBezTo>
                  <a:pt x="5983728" y="6388094"/>
                  <a:pt x="5987221" y="6388094"/>
                  <a:pt x="5990715" y="6384563"/>
                </a:cubicBezTo>
                <a:cubicBezTo>
                  <a:pt x="5990715" y="6384563"/>
                  <a:pt x="5990715" y="6384563"/>
                  <a:pt x="5990715" y="6373968"/>
                </a:cubicBezTo>
                <a:cubicBezTo>
                  <a:pt x="5987221" y="6377499"/>
                  <a:pt x="5983728" y="6377499"/>
                  <a:pt x="5980235" y="6377499"/>
                </a:cubicBezTo>
                <a:cubicBezTo>
                  <a:pt x="5969755" y="6377499"/>
                  <a:pt x="5966262" y="6370437"/>
                  <a:pt x="5966262" y="6363373"/>
                </a:cubicBezTo>
                <a:cubicBezTo>
                  <a:pt x="5966262" y="6363373"/>
                  <a:pt x="5966262" y="6363373"/>
                  <a:pt x="5966262" y="6299804"/>
                </a:cubicBezTo>
                <a:cubicBezTo>
                  <a:pt x="5966262" y="6299804"/>
                  <a:pt x="5966262" y="6299804"/>
                  <a:pt x="5987221" y="6299804"/>
                </a:cubicBezTo>
                <a:lnTo>
                  <a:pt x="5987221" y="6289209"/>
                </a:lnTo>
                <a:cubicBezTo>
                  <a:pt x="5987221" y="6289209"/>
                  <a:pt x="5987221" y="6289209"/>
                  <a:pt x="5966262" y="6289209"/>
                </a:cubicBezTo>
                <a:cubicBezTo>
                  <a:pt x="5966262" y="6289209"/>
                  <a:pt x="5966262" y="6289209"/>
                  <a:pt x="5966262" y="6264488"/>
                </a:cubicBezTo>
                <a:close/>
                <a:moveTo>
                  <a:pt x="6601692" y="6261802"/>
                </a:moveTo>
                <a:cubicBezTo>
                  <a:pt x="6591280" y="6303968"/>
                  <a:pt x="6591280" y="6303968"/>
                  <a:pt x="6591280" y="6303968"/>
                </a:cubicBezTo>
                <a:cubicBezTo>
                  <a:pt x="6594751" y="6303968"/>
                  <a:pt x="6598221" y="6303968"/>
                  <a:pt x="6601692" y="6303968"/>
                </a:cubicBezTo>
                <a:cubicBezTo>
                  <a:pt x="6605163" y="6279372"/>
                  <a:pt x="6605163" y="6279372"/>
                  <a:pt x="6605163" y="6279372"/>
                </a:cubicBezTo>
                <a:cubicBezTo>
                  <a:pt x="6619047" y="6307482"/>
                  <a:pt x="6619047" y="6307482"/>
                  <a:pt x="6619047" y="6307482"/>
                </a:cubicBezTo>
                <a:cubicBezTo>
                  <a:pt x="6622518" y="6307482"/>
                  <a:pt x="6625989" y="6307482"/>
                  <a:pt x="6625989" y="6307482"/>
                </a:cubicBezTo>
                <a:cubicBezTo>
                  <a:pt x="6632930" y="6265316"/>
                  <a:pt x="6632930" y="6265316"/>
                  <a:pt x="6632930" y="6265316"/>
                </a:cubicBezTo>
                <a:cubicBezTo>
                  <a:pt x="6629459" y="6265316"/>
                  <a:pt x="6625989" y="6265316"/>
                  <a:pt x="6625989" y="6265316"/>
                </a:cubicBezTo>
                <a:cubicBezTo>
                  <a:pt x="6622518" y="6293427"/>
                  <a:pt x="6622518" y="6293427"/>
                  <a:pt x="6622518" y="6293427"/>
                </a:cubicBezTo>
                <a:cubicBezTo>
                  <a:pt x="6608635" y="6261802"/>
                  <a:pt x="6608635" y="6261802"/>
                  <a:pt x="6608635" y="6261802"/>
                </a:cubicBezTo>
                <a:cubicBezTo>
                  <a:pt x="6605163" y="6261802"/>
                  <a:pt x="6605163" y="6261802"/>
                  <a:pt x="6601692" y="6261802"/>
                </a:cubicBezTo>
                <a:close/>
                <a:moveTo>
                  <a:pt x="6710855" y="6257772"/>
                </a:moveTo>
                <a:cubicBezTo>
                  <a:pt x="6696882" y="6261323"/>
                  <a:pt x="6686403" y="6264873"/>
                  <a:pt x="6675923" y="6264873"/>
                </a:cubicBezTo>
                <a:cubicBezTo>
                  <a:pt x="6675923" y="6271975"/>
                  <a:pt x="6675923" y="6271975"/>
                  <a:pt x="6675923" y="6271975"/>
                </a:cubicBezTo>
                <a:cubicBezTo>
                  <a:pt x="6682909" y="6271975"/>
                  <a:pt x="6686403" y="6271975"/>
                  <a:pt x="6689896" y="6271975"/>
                </a:cubicBezTo>
                <a:cubicBezTo>
                  <a:pt x="6696882" y="6307483"/>
                  <a:pt x="6696882" y="6307483"/>
                  <a:pt x="6696882" y="6307483"/>
                </a:cubicBezTo>
                <a:cubicBezTo>
                  <a:pt x="6703869" y="6303932"/>
                  <a:pt x="6703869" y="6303932"/>
                  <a:pt x="6703869" y="6303932"/>
                </a:cubicBezTo>
                <a:cubicBezTo>
                  <a:pt x="6696882" y="6268424"/>
                  <a:pt x="6696882" y="6268424"/>
                  <a:pt x="6696882" y="6268424"/>
                </a:cubicBezTo>
                <a:cubicBezTo>
                  <a:pt x="6703869" y="6268424"/>
                  <a:pt x="6707362" y="6268424"/>
                  <a:pt x="6710855" y="6264873"/>
                </a:cubicBezTo>
                <a:close/>
                <a:moveTo>
                  <a:pt x="6566559" y="6257772"/>
                </a:moveTo>
                <a:cubicBezTo>
                  <a:pt x="6566559" y="6257772"/>
                  <a:pt x="6566559" y="6257772"/>
                  <a:pt x="6577039" y="6261131"/>
                </a:cubicBezTo>
                <a:cubicBezTo>
                  <a:pt x="6580532" y="6261131"/>
                  <a:pt x="6580532" y="6264490"/>
                  <a:pt x="6580532" y="6264490"/>
                </a:cubicBezTo>
                <a:cubicBezTo>
                  <a:pt x="6580532" y="6264490"/>
                  <a:pt x="6580532" y="6267848"/>
                  <a:pt x="6580532" y="6267848"/>
                </a:cubicBezTo>
                <a:cubicBezTo>
                  <a:pt x="6580532" y="6267848"/>
                  <a:pt x="6577039" y="6271207"/>
                  <a:pt x="6573545" y="6271207"/>
                </a:cubicBezTo>
                <a:cubicBezTo>
                  <a:pt x="6573545" y="6271207"/>
                  <a:pt x="6573545" y="6271207"/>
                  <a:pt x="6563065" y="6267848"/>
                </a:cubicBezTo>
                <a:cubicBezTo>
                  <a:pt x="6563065" y="6267848"/>
                  <a:pt x="6563065" y="6267848"/>
                  <a:pt x="6566559" y="6264490"/>
                </a:cubicBezTo>
                <a:cubicBezTo>
                  <a:pt x="6566559" y="6264490"/>
                  <a:pt x="6566559" y="6264490"/>
                  <a:pt x="6566559" y="6257772"/>
                </a:cubicBezTo>
                <a:close/>
                <a:moveTo>
                  <a:pt x="6016373" y="6255886"/>
                </a:moveTo>
                <a:lnTo>
                  <a:pt x="6016373" y="6269580"/>
                </a:lnTo>
                <a:lnTo>
                  <a:pt x="6028662" y="6269580"/>
                </a:lnTo>
                <a:lnTo>
                  <a:pt x="6028662" y="6255886"/>
                </a:lnTo>
                <a:close/>
                <a:moveTo>
                  <a:pt x="6717573" y="6253740"/>
                </a:moveTo>
                <a:cubicBezTo>
                  <a:pt x="6731393" y="6296734"/>
                  <a:pt x="6731393" y="6296734"/>
                  <a:pt x="6731393" y="6296734"/>
                </a:cubicBezTo>
                <a:cubicBezTo>
                  <a:pt x="6734848" y="6293151"/>
                  <a:pt x="6738302" y="6293151"/>
                  <a:pt x="6741757" y="6293151"/>
                </a:cubicBezTo>
                <a:cubicBezTo>
                  <a:pt x="6727938" y="6253740"/>
                  <a:pt x="6727938" y="6253740"/>
                  <a:pt x="6727938" y="6253740"/>
                </a:cubicBezTo>
                <a:cubicBezTo>
                  <a:pt x="6724483" y="6253740"/>
                  <a:pt x="6721028" y="6253740"/>
                  <a:pt x="6717573" y="6253740"/>
                </a:cubicBezTo>
                <a:close/>
                <a:moveTo>
                  <a:pt x="5348499" y="6253740"/>
                </a:moveTo>
                <a:lnTo>
                  <a:pt x="5348499" y="6384064"/>
                </a:lnTo>
                <a:lnTo>
                  <a:pt x="5363278" y="6384064"/>
                </a:lnTo>
                <a:lnTo>
                  <a:pt x="5363278" y="6324948"/>
                </a:lnTo>
                <a:lnTo>
                  <a:pt x="5408960" y="6324948"/>
                </a:lnTo>
                <a:lnTo>
                  <a:pt x="5408960" y="6314200"/>
                </a:lnTo>
                <a:lnTo>
                  <a:pt x="5363278" y="6314200"/>
                </a:lnTo>
                <a:lnTo>
                  <a:pt x="5363278" y="6264488"/>
                </a:lnTo>
                <a:lnTo>
                  <a:pt x="5411646" y="6264488"/>
                </a:lnTo>
                <a:lnTo>
                  <a:pt x="5411646" y="6253740"/>
                </a:lnTo>
                <a:close/>
                <a:moveTo>
                  <a:pt x="6562954" y="6247023"/>
                </a:moveTo>
                <a:cubicBezTo>
                  <a:pt x="6562954" y="6247023"/>
                  <a:pt x="6562954" y="6247023"/>
                  <a:pt x="6556012" y="6264490"/>
                </a:cubicBezTo>
                <a:cubicBezTo>
                  <a:pt x="6556012" y="6264490"/>
                  <a:pt x="6556012" y="6264490"/>
                  <a:pt x="6556012" y="6267982"/>
                </a:cubicBezTo>
                <a:cubicBezTo>
                  <a:pt x="6556012" y="6267982"/>
                  <a:pt x="6556012" y="6267982"/>
                  <a:pt x="6545599" y="6285449"/>
                </a:cubicBezTo>
                <a:cubicBezTo>
                  <a:pt x="6549070" y="6288942"/>
                  <a:pt x="6552541" y="6288942"/>
                  <a:pt x="6556012" y="6288942"/>
                </a:cubicBezTo>
                <a:cubicBezTo>
                  <a:pt x="6556012" y="6288942"/>
                  <a:pt x="6556012" y="6288942"/>
                  <a:pt x="6559483" y="6274969"/>
                </a:cubicBezTo>
                <a:cubicBezTo>
                  <a:pt x="6559483" y="6274969"/>
                  <a:pt x="6559483" y="6274969"/>
                  <a:pt x="6569896" y="6278463"/>
                </a:cubicBezTo>
                <a:cubicBezTo>
                  <a:pt x="6569896" y="6278463"/>
                  <a:pt x="6569896" y="6278463"/>
                  <a:pt x="6569896" y="6295928"/>
                </a:cubicBezTo>
                <a:cubicBezTo>
                  <a:pt x="6573367" y="6295928"/>
                  <a:pt x="6576837" y="6299422"/>
                  <a:pt x="6580308" y="6299422"/>
                </a:cubicBezTo>
                <a:cubicBezTo>
                  <a:pt x="6580308" y="6299422"/>
                  <a:pt x="6580308" y="6299422"/>
                  <a:pt x="6576837" y="6278463"/>
                </a:cubicBezTo>
                <a:cubicBezTo>
                  <a:pt x="6583779" y="6278463"/>
                  <a:pt x="6587250" y="6271476"/>
                  <a:pt x="6587250" y="6267982"/>
                </a:cubicBezTo>
                <a:cubicBezTo>
                  <a:pt x="6587250" y="6267982"/>
                  <a:pt x="6587250" y="6264490"/>
                  <a:pt x="6587250" y="6264490"/>
                </a:cubicBezTo>
                <a:cubicBezTo>
                  <a:pt x="6587250" y="6260996"/>
                  <a:pt x="6587250" y="6257503"/>
                  <a:pt x="6580308" y="6254010"/>
                </a:cubicBezTo>
                <a:cubicBezTo>
                  <a:pt x="6580308" y="6254010"/>
                  <a:pt x="6580308" y="6254010"/>
                  <a:pt x="6562954" y="6247023"/>
                </a:cubicBezTo>
                <a:close/>
                <a:moveTo>
                  <a:pt x="6768052" y="6244316"/>
                </a:moveTo>
                <a:cubicBezTo>
                  <a:pt x="6771507" y="6244757"/>
                  <a:pt x="6774962" y="6246520"/>
                  <a:pt x="6776689" y="6250047"/>
                </a:cubicBezTo>
                <a:cubicBezTo>
                  <a:pt x="6776689" y="6253574"/>
                  <a:pt x="6776689" y="6257100"/>
                  <a:pt x="6776689" y="6257100"/>
                </a:cubicBezTo>
                <a:cubicBezTo>
                  <a:pt x="6776689" y="6260627"/>
                  <a:pt x="6776689" y="6264155"/>
                  <a:pt x="6773234" y="6267681"/>
                </a:cubicBezTo>
                <a:cubicBezTo>
                  <a:pt x="6773234" y="6267681"/>
                  <a:pt x="6773234" y="6267681"/>
                  <a:pt x="6769780" y="6271208"/>
                </a:cubicBezTo>
                <a:cubicBezTo>
                  <a:pt x="6766325" y="6271208"/>
                  <a:pt x="6759415" y="6271208"/>
                  <a:pt x="6755960" y="6267681"/>
                </a:cubicBezTo>
                <a:cubicBezTo>
                  <a:pt x="6752505" y="6267681"/>
                  <a:pt x="6752505" y="6264155"/>
                  <a:pt x="6752505" y="6264155"/>
                </a:cubicBezTo>
                <a:cubicBezTo>
                  <a:pt x="6752505" y="6264155"/>
                  <a:pt x="6752505" y="6260627"/>
                  <a:pt x="6752505" y="6257100"/>
                </a:cubicBezTo>
                <a:cubicBezTo>
                  <a:pt x="6752505" y="6253574"/>
                  <a:pt x="6752505" y="6250047"/>
                  <a:pt x="6759415" y="6246520"/>
                </a:cubicBezTo>
                <a:cubicBezTo>
                  <a:pt x="6761143" y="6244757"/>
                  <a:pt x="6764598" y="6243875"/>
                  <a:pt x="6768052" y="6244316"/>
                </a:cubicBezTo>
                <a:close/>
                <a:moveTo>
                  <a:pt x="5812549" y="6242991"/>
                </a:moveTo>
                <a:cubicBezTo>
                  <a:pt x="5812549" y="6242991"/>
                  <a:pt x="5812549" y="6242991"/>
                  <a:pt x="5812549" y="6306695"/>
                </a:cubicBezTo>
                <a:cubicBezTo>
                  <a:pt x="5812549" y="6299617"/>
                  <a:pt x="5801859" y="6288999"/>
                  <a:pt x="5784042" y="6288999"/>
                </a:cubicBezTo>
                <a:cubicBezTo>
                  <a:pt x="5755536" y="6288999"/>
                  <a:pt x="5744846" y="6310234"/>
                  <a:pt x="5744846" y="6338547"/>
                </a:cubicBezTo>
                <a:cubicBezTo>
                  <a:pt x="5744846" y="6366860"/>
                  <a:pt x="5755536" y="6388094"/>
                  <a:pt x="5784042" y="6388094"/>
                </a:cubicBezTo>
                <a:cubicBezTo>
                  <a:pt x="5798295" y="6388094"/>
                  <a:pt x="5805422" y="6384555"/>
                  <a:pt x="5812549" y="6370398"/>
                </a:cubicBezTo>
                <a:cubicBezTo>
                  <a:pt x="5812549" y="6370398"/>
                  <a:pt x="5812549" y="6370398"/>
                  <a:pt x="5812549" y="6384555"/>
                </a:cubicBezTo>
                <a:cubicBezTo>
                  <a:pt x="5812549" y="6384555"/>
                  <a:pt x="5812549" y="6384555"/>
                  <a:pt x="5826802" y="6384555"/>
                </a:cubicBezTo>
                <a:lnTo>
                  <a:pt x="5826802" y="6242991"/>
                </a:lnTo>
                <a:cubicBezTo>
                  <a:pt x="5826802" y="6242991"/>
                  <a:pt x="5826802" y="6242991"/>
                  <a:pt x="5812549" y="6242991"/>
                </a:cubicBezTo>
                <a:close/>
                <a:moveTo>
                  <a:pt x="6769972" y="6237475"/>
                </a:moveTo>
                <a:cubicBezTo>
                  <a:pt x="6764149" y="6236180"/>
                  <a:pt x="6757880" y="6237043"/>
                  <a:pt x="6752505" y="6240498"/>
                </a:cubicBezTo>
                <a:cubicBezTo>
                  <a:pt x="6745339" y="6243953"/>
                  <a:pt x="6741757" y="6250863"/>
                  <a:pt x="6741757" y="6257772"/>
                </a:cubicBezTo>
                <a:cubicBezTo>
                  <a:pt x="6741757" y="6261227"/>
                  <a:pt x="6745339" y="6264682"/>
                  <a:pt x="6745339" y="6268137"/>
                </a:cubicBezTo>
                <a:cubicBezTo>
                  <a:pt x="6752505" y="6278502"/>
                  <a:pt x="6766836" y="6281956"/>
                  <a:pt x="6774002" y="6275047"/>
                </a:cubicBezTo>
                <a:cubicBezTo>
                  <a:pt x="6781168" y="6275047"/>
                  <a:pt x="6781168" y="6271592"/>
                  <a:pt x="6784750" y="6268137"/>
                </a:cubicBezTo>
                <a:cubicBezTo>
                  <a:pt x="6784750" y="6264682"/>
                  <a:pt x="6784750" y="6261227"/>
                  <a:pt x="6784750" y="6257772"/>
                </a:cubicBezTo>
                <a:cubicBezTo>
                  <a:pt x="6784750" y="6254318"/>
                  <a:pt x="6784750" y="6250863"/>
                  <a:pt x="6784750" y="6247408"/>
                </a:cubicBezTo>
                <a:cubicBezTo>
                  <a:pt x="6781168" y="6242225"/>
                  <a:pt x="6775794" y="6238771"/>
                  <a:pt x="6769972" y="6237475"/>
                </a:cubicBezTo>
                <a:close/>
                <a:moveTo>
                  <a:pt x="6527720" y="6229557"/>
                </a:moveTo>
                <a:cubicBezTo>
                  <a:pt x="6506636" y="6264489"/>
                  <a:pt x="6506636" y="6264489"/>
                  <a:pt x="6506636" y="6264489"/>
                </a:cubicBezTo>
                <a:cubicBezTo>
                  <a:pt x="6513664" y="6271475"/>
                  <a:pt x="6520692" y="6274969"/>
                  <a:pt x="6531234" y="6281955"/>
                </a:cubicBezTo>
                <a:cubicBezTo>
                  <a:pt x="6534748" y="6274969"/>
                  <a:pt x="6534748" y="6274969"/>
                  <a:pt x="6534748" y="6274969"/>
                </a:cubicBezTo>
                <a:cubicBezTo>
                  <a:pt x="6517178" y="6264489"/>
                  <a:pt x="6517178" y="6264489"/>
                  <a:pt x="6517178" y="6264489"/>
                </a:cubicBezTo>
                <a:cubicBezTo>
                  <a:pt x="6524206" y="6254010"/>
                  <a:pt x="6524206" y="6254010"/>
                  <a:pt x="6524206" y="6254010"/>
                </a:cubicBezTo>
                <a:cubicBezTo>
                  <a:pt x="6534748" y="6260996"/>
                  <a:pt x="6534748" y="6260996"/>
                  <a:pt x="6534748" y="6260996"/>
                </a:cubicBezTo>
                <a:cubicBezTo>
                  <a:pt x="6538261" y="6254010"/>
                  <a:pt x="6538261" y="6254010"/>
                  <a:pt x="6538261" y="6254010"/>
                </a:cubicBezTo>
                <a:cubicBezTo>
                  <a:pt x="6534748" y="6254010"/>
                  <a:pt x="6531234" y="6250516"/>
                  <a:pt x="6527720" y="6247023"/>
                </a:cubicBezTo>
                <a:lnTo>
                  <a:pt x="6531234" y="6240037"/>
                </a:lnTo>
                <a:cubicBezTo>
                  <a:pt x="6538261" y="6243529"/>
                  <a:pt x="6541775" y="6247023"/>
                  <a:pt x="6548803" y="6250516"/>
                </a:cubicBezTo>
                <a:cubicBezTo>
                  <a:pt x="6552317" y="6243529"/>
                  <a:pt x="6552317" y="6243529"/>
                  <a:pt x="6552317" y="6243529"/>
                </a:cubicBezTo>
                <a:cubicBezTo>
                  <a:pt x="6545289" y="6240037"/>
                  <a:pt x="6534748" y="6233050"/>
                  <a:pt x="6527720" y="6229557"/>
                </a:cubicBezTo>
                <a:close/>
                <a:moveTo>
                  <a:pt x="6805172" y="6201343"/>
                </a:moveTo>
                <a:cubicBezTo>
                  <a:pt x="6801679" y="6204869"/>
                  <a:pt x="6801679" y="6204869"/>
                  <a:pt x="6798186" y="6208396"/>
                </a:cubicBezTo>
                <a:cubicBezTo>
                  <a:pt x="6815652" y="6226030"/>
                  <a:pt x="6815652" y="6226030"/>
                  <a:pt x="6815652" y="6226030"/>
                </a:cubicBezTo>
                <a:cubicBezTo>
                  <a:pt x="6787706" y="6218977"/>
                  <a:pt x="6787706" y="6218977"/>
                  <a:pt x="6787706" y="6218977"/>
                </a:cubicBezTo>
                <a:cubicBezTo>
                  <a:pt x="6784213" y="6218977"/>
                  <a:pt x="6784213" y="6222503"/>
                  <a:pt x="6780719" y="6222503"/>
                </a:cubicBezTo>
                <a:cubicBezTo>
                  <a:pt x="6805172" y="6257772"/>
                  <a:pt x="6805172" y="6257772"/>
                  <a:pt x="6805172" y="6257772"/>
                </a:cubicBezTo>
                <a:cubicBezTo>
                  <a:pt x="6808665" y="6254245"/>
                  <a:pt x="6808665" y="6254245"/>
                  <a:pt x="6812159" y="6250718"/>
                </a:cubicBezTo>
                <a:cubicBezTo>
                  <a:pt x="6798186" y="6229557"/>
                  <a:pt x="6798186" y="6229557"/>
                  <a:pt x="6798186" y="6229557"/>
                </a:cubicBezTo>
                <a:cubicBezTo>
                  <a:pt x="6826132" y="6240137"/>
                  <a:pt x="6826132" y="6240137"/>
                  <a:pt x="6826132" y="6240137"/>
                </a:cubicBezTo>
                <a:cubicBezTo>
                  <a:pt x="6829625" y="6236611"/>
                  <a:pt x="6829625" y="6236611"/>
                  <a:pt x="6833118" y="6233084"/>
                </a:cubicBezTo>
                <a:cubicBezTo>
                  <a:pt x="6805172" y="6201343"/>
                  <a:pt x="6805172" y="6201343"/>
                  <a:pt x="6805172" y="6201343"/>
                </a:cubicBezTo>
                <a:close/>
                <a:moveTo>
                  <a:pt x="6496819" y="6201343"/>
                </a:moveTo>
                <a:cubicBezTo>
                  <a:pt x="6496819" y="6201343"/>
                  <a:pt x="6496819" y="6201343"/>
                  <a:pt x="6489791" y="6204856"/>
                </a:cubicBezTo>
                <a:cubicBezTo>
                  <a:pt x="6493305" y="6208370"/>
                  <a:pt x="6496819" y="6211884"/>
                  <a:pt x="6500333" y="6215398"/>
                </a:cubicBezTo>
                <a:cubicBezTo>
                  <a:pt x="6500333" y="6215398"/>
                  <a:pt x="6500333" y="6215398"/>
                  <a:pt x="6475735" y="6239995"/>
                </a:cubicBezTo>
                <a:cubicBezTo>
                  <a:pt x="6475735" y="6239995"/>
                  <a:pt x="6475735" y="6239995"/>
                  <a:pt x="6482763" y="6247023"/>
                </a:cubicBezTo>
                <a:cubicBezTo>
                  <a:pt x="6482763" y="6247023"/>
                  <a:pt x="6482763" y="6247023"/>
                  <a:pt x="6507360" y="6222426"/>
                </a:cubicBezTo>
                <a:cubicBezTo>
                  <a:pt x="6510874" y="6222426"/>
                  <a:pt x="6514388" y="6225939"/>
                  <a:pt x="6517902" y="6229453"/>
                </a:cubicBezTo>
                <a:cubicBezTo>
                  <a:pt x="6517902" y="6229453"/>
                  <a:pt x="6517902" y="6229453"/>
                  <a:pt x="6521416" y="6222426"/>
                </a:cubicBezTo>
                <a:cubicBezTo>
                  <a:pt x="6510874" y="6215398"/>
                  <a:pt x="6503847" y="6208370"/>
                  <a:pt x="6496819" y="6201343"/>
                </a:cubicBezTo>
                <a:close/>
                <a:moveTo>
                  <a:pt x="6826400" y="6190594"/>
                </a:moveTo>
                <a:lnTo>
                  <a:pt x="6843866" y="6197312"/>
                </a:lnTo>
                <a:lnTo>
                  <a:pt x="6843866" y="6201343"/>
                </a:lnTo>
                <a:lnTo>
                  <a:pt x="6837148" y="6208061"/>
                </a:lnTo>
                <a:lnTo>
                  <a:pt x="6833118" y="6201343"/>
                </a:lnTo>
                <a:close/>
                <a:moveTo>
                  <a:pt x="6822753" y="6183876"/>
                </a:moveTo>
                <a:lnTo>
                  <a:pt x="6815652" y="6190818"/>
                </a:lnTo>
                <a:cubicBezTo>
                  <a:pt x="6815652" y="6190818"/>
                  <a:pt x="6815652" y="6190818"/>
                  <a:pt x="6822753" y="6201230"/>
                </a:cubicBezTo>
                <a:cubicBezTo>
                  <a:pt x="6822753" y="6201230"/>
                  <a:pt x="6822753" y="6201230"/>
                  <a:pt x="6840507" y="6225526"/>
                </a:cubicBezTo>
                <a:cubicBezTo>
                  <a:pt x="6840507" y="6225526"/>
                  <a:pt x="6844059" y="6222056"/>
                  <a:pt x="6844059" y="6222056"/>
                </a:cubicBezTo>
                <a:cubicBezTo>
                  <a:pt x="6844059" y="6222056"/>
                  <a:pt x="6844059" y="6222056"/>
                  <a:pt x="6840507" y="6215114"/>
                </a:cubicBezTo>
                <a:cubicBezTo>
                  <a:pt x="6840507" y="6215114"/>
                  <a:pt x="6840507" y="6215114"/>
                  <a:pt x="6851160" y="6201230"/>
                </a:cubicBezTo>
                <a:cubicBezTo>
                  <a:pt x="6851160" y="6201230"/>
                  <a:pt x="6851160" y="6201230"/>
                  <a:pt x="6858262" y="6201230"/>
                </a:cubicBezTo>
                <a:cubicBezTo>
                  <a:pt x="6861813" y="6201230"/>
                  <a:pt x="6861813" y="6201230"/>
                  <a:pt x="6861813" y="6201230"/>
                </a:cubicBezTo>
                <a:cubicBezTo>
                  <a:pt x="6861813" y="6197759"/>
                  <a:pt x="6865363" y="6197759"/>
                  <a:pt x="6865363" y="6194288"/>
                </a:cubicBezTo>
                <a:cubicBezTo>
                  <a:pt x="6865363" y="6194288"/>
                  <a:pt x="6865363" y="6194288"/>
                  <a:pt x="6822753" y="6183876"/>
                </a:cubicBezTo>
                <a:close/>
                <a:moveTo>
                  <a:pt x="6468010" y="6169097"/>
                </a:moveTo>
                <a:cubicBezTo>
                  <a:pt x="6432742" y="6194177"/>
                  <a:pt x="6432742" y="6194177"/>
                  <a:pt x="6432742" y="6194177"/>
                </a:cubicBezTo>
                <a:cubicBezTo>
                  <a:pt x="6436268" y="6197760"/>
                  <a:pt x="6436268" y="6197760"/>
                  <a:pt x="6439796" y="6201343"/>
                </a:cubicBezTo>
                <a:cubicBezTo>
                  <a:pt x="6460956" y="6187012"/>
                  <a:pt x="6460956" y="6187012"/>
                  <a:pt x="6460956" y="6187012"/>
                </a:cubicBezTo>
                <a:cubicBezTo>
                  <a:pt x="6450376" y="6215673"/>
                  <a:pt x="6450376" y="6215673"/>
                  <a:pt x="6450376" y="6215673"/>
                </a:cubicBezTo>
                <a:cubicBezTo>
                  <a:pt x="6453902" y="6219257"/>
                  <a:pt x="6453902" y="6219257"/>
                  <a:pt x="6457429" y="6222839"/>
                </a:cubicBezTo>
                <a:cubicBezTo>
                  <a:pt x="6489170" y="6194177"/>
                  <a:pt x="6489170" y="6194177"/>
                  <a:pt x="6489170" y="6194177"/>
                </a:cubicBezTo>
                <a:cubicBezTo>
                  <a:pt x="6489170" y="6190594"/>
                  <a:pt x="6485644" y="6190594"/>
                  <a:pt x="6485644" y="6187012"/>
                </a:cubicBezTo>
                <a:cubicBezTo>
                  <a:pt x="6464483" y="6204925"/>
                  <a:pt x="6464483" y="6204925"/>
                  <a:pt x="6464483" y="6204925"/>
                </a:cubicBezTo>
                <a:cubicBezTo>
                  <a:pt x="6475063" y="6176263"/>
                  <a:pt x="6475063" y="6176263"/>
                  <a:pt x="6475063" y="6176263"/>
                </a:cubicBezTo>
                <a:cubicBezTo>
                  <a:pt x="6471536" y="6172680"/>
                  <a:pt x="6471536" y="6172680"/>
                  <a:pt x="6468010" y="6169097"/>
                </a:cubicBezTo>
                <a:close/>
                <a:moveTo>
                  <a:pt x="6837149" y="6158349"/>
                </a:moveTo>
                <a:lnTo>
                  <a:pt x="6833118" y="6166410"/>
                </a:lnTo>
                <a:lnTo>
                  <a:pt x="6872081" y="6186564"/>
                </a:lnTo>
                <a:lnTo>
                  <a:pt x="6885517" y="6162380"/>
                </a:lnTo>
                <a:lnTo>
                  <a:pt x="6878799" y="6158349"/>
                </a:lnTo>
                <a:lnTo>
                  <a:pt x="6868050" y="6177159"/>
                </a:lnTo>
                <a:close/>
                <a:moveTo>
                  <a:pt x="6461445" y="6155662"/>
                </a:moveTo>
                <a:cubicBezTo>
                  <a:pt x="6426023" y="6176824"/>
                  <a:pt x="6426023" y="6176824"/>
                  <a:pt x="6426023" y="6176824"/>
                </a:cubicBezTo>
                <a:cubicBezTo>
                  <a:pt x="6426023" y="6176824"/>
                  <a:pt x="6426023" y="6180350"/>
                  <a:pt x="6429565" y="6183877"/>
                </a:cubicBezTo>
                <a:cubicBezTo>
                  <a:pt x="6464987" y="6162716"/>
                  <a:pt x="6464987" y="6162716"/>
                  <a:pt x="6464987" y="6162716"/>
                </a:cubicBezTo>
                <a:cubicBezTo>
                  <a:pt x="6464987" y="6159189"/>
                  <a:pt x="6461445" y="6159189"/>
                  <a:pt x="6461445" y="6155662"/>
                </a:cubicBezTo>
                <a:close/>
                <a:moveTo>
                  <a:pt x="6452739" y="6122052"/>
                </a:moveTo>
                <a:cubicBezTo>
                  <a:pt x="6454494" y="6122493"/>
                  <a:pt x="6456248" y="6124256"/>
                  <a:pt x="6458004" y="6127783"/>
                </a:cubicBezTo>
                <a:cubicBezTo>
                  <a:pt x="6489596" y="6205374"/>
                  <a:pt x="6563311" y="6258276"/>
                  <a:pt x="6651068" y="6258276"/>
                </a:cubicBezTo>
                <a:cubicBezTo>
                  <a:pt x="6738824" y="6258276"/>
                  <a:pt x="6812539" y="6205374"/>
                  <a:pt x="6844131" y="6127783"/>
                </a:cubicBezTo>
                <a:cubicBezTo>
                  <a:pt x="6845887" y="6124256"/>
                  <a:pt x="6847642" y="6122493"/>
                  <a:pt x="6849397" y="6122052"/>
                </a:cubicBezTo>
                <a:cubicBezTo>
                  <a:pt x="6851152" y="6121612"/>
                  <a:pt x="6852907" y="6122493"/>
                  <a:pt x="6854662" y="6124256"/>
                </a:cubicBezTo>
                <a:cubicBezTo>
                  <a:pt x="6854662" y="6124256"/>
                  <a:pt x="6854662" y="6124256"/>
                  <a:pt x="6893275" y="6134837"/>
                </a:cubicBezTo>
                <a:cubicBezTo>
                  <a:pt x="6896786" y="6138364"/>
                  <a:pt x="6900295" y="6141890"/>
                  <a:pt x="6900295" y="6145417"/>
                </a:cubicBezTo>
                <a:cubicBezTo>
                  <a:pt x="6861682" y="6247695"/>
                  <a:pt x="6763396" y="6318232"/>
                  <a:pt x="6651068" y="6318232"/>
                </a:cubicBezTo>
                <a:cubicBezTo>
                  <a:pt x="6538740" y="6318232"/>
                  <a:pt x="6440452" y="6247695"/>
                  <a:pt x="6401840" y="6148945"/>
                </a:cubicBezTo>
                <a:cubicBezTo>
                  <a:pt x="6401840" y="6141890"/>
                  <a:pt x="6401840" y="6138364"/>
                  <a:pt x="6408860" y="6134837"/>
                </a:cubicBezTo>
                <a:cubicBezTo>
                  <a:pt x="6408860" y="6134837"/>
                  <a:pt x="6408860" y="6134837"/>
                  <a:pt x="6447473" y="6124256"/>
                </a:cubicBezTo>
                <a:cubicBezTo>
                  <a:pt x="6449228" y="6122493"/>
                  <a:pt x="6450983" y="6121612"/>
                  <a:pt x="6452739" y="6122052"/>
                </a:cubicBezTo>
                <a:close/>
                <a:moveTo>
                  <a:pt x="6605253" y="6116214"/>
                </a:moveTo>
                <a:cubicBezTo>
                  <a:pt x="6608746" y="6112668"/>
                  <a:pt x="6612239" y="6112668"/>
                  <a:pt x="6615733" y="6116214"/>
                </a:cubicBezTo>
                <a:cubicBezTo>
                  <a:pt x="6615733" y="6116214"/>
                  <a:pt x="6619226" y="6119760"/>
                  <a:pt x="6619226" y="6123305"/>
                </a:cubicBezTo>
                <a:cubicBezTo>
                  <a:pt x="6619226" y="6123305"/>
                  <a:pt x="6626212" y="6226124"/>
                  <a:pt x="6626212" y="6226124"/>
                </a:cubicBezTo>
                <a:cubicBezTo>
                  <a:pt x="6626212" y="6233215"/>
                  <a:pt x="6626212" y="6236761"/>
                  <a:pt x="6622719" y="6236761"/>
                </a:cubicBezTo>
                <a:cubicBezTo>
                  <a:pt x="6622719" y="6240306"/>
                  <a:pt x="6619226" y="6240306"/>
                  <a:pt x="6615733" y="6236761"/>
                </a:cubicBezTo>
                <a:cubicBezTo>
                  <a:pt x="6570321" y="6226124"/>
                  <a:pt x="6538881" y="6208397"/>
                  <a:pt x="6507443" y="6172941"/>
                </a:cubicBezTo>
                <a:cubicBezTo>
                  <a:pt x="6503949" y="6172941"/>
                  <a:pt x="6503949" y="6169396"/>
                  <a:pt x="6503949" y="6169396"/>
                </a:cubicBezTo>
                <a:cubicBezTo>
                  <a:pt x="6503949" y="6165851"/>
                  <a:pt x="6503949" y="6165851"/>
                  <a:pt x="6503949" y="6165851"/>
                </a:cubicBezTo>
                <a:cubicBezTo>
                  <a:pt x="6503949" y="6162306"/>
                  <a:pt x="6507443" y="6162306"/>
                  <a:pt x="6510935" y="6162306"/>
                </a:cubicBezTo>
                <a:cubicBezTo>
                  <a:pt x="6510935" y="6162306"/>
                  <a:pt x="6510935" y="6162306"/>
                  <a:pt x="6605253" y="6116214"/>
                </a:cubicBezTo>
                <a:close/>
                <a:moveTo>
                  <a:pt x="6689896" y="6112668"/>
                </a:moveTo>
                <a:cubicBezTo>
                  <a:pt x="6693389" y="6112668"/>
                  <a:pt x="6696882" y="6112668"/>
                  <a:pt x="6700376" y="6112668"/>
                </a:cubicBezTo>
                <a:cubicBezTo>
                  <a:pt x="6700376" y="6112668"/>
                  <a:pt x="6700376" y="6112668"/>
                  <a:pt x="6791199" y="6158579"/>
                </a:cubicBezTo>
                <a:cubicBezTo>
                  <a:pt x="6794693" y="6162111"/>
                  <a:pt x="6798186" y="6162111"/>
                  <a:pt x="6798186" y="6165643"/>
                </a:cubicBezTo>
                <a:cubicBezTo>
                  <a:pt x="6798186" y="6169174"/>
                  <a:pt x="6798186" y="6169174"/>
                  <a:pt x="6794693" y="6172706"/>
                </a:cubicBezTo>
                <a:cubicBezTo>
                  <a:pt x="6763254" y="6208022"/>
                  <a:pt x="6731814" y="6225680"/>
                  <a:pt x="6686403" y="6236275"/>
                </a:cubicBezTo>
                <a:cubicBezTo>
                  <a:pt x="6682909" y="6236275"/>
                  <a:pt x="6679416" y="6236275"/>
                  <a:pt x="6679416" y="6236275"/>
                </a:cubicBezTo>
                <a:cubicBezTo>
                  <a:pt x="6675923" y="6232743"/>
                  <a:pt x="6675923" y="6229211"/>
                  <a:pt x="6675923" y="6225680"/>
                </a:cubicBezTo>
                <a:cubicBezTo>
                  <a:pt x="6675923" y="6225680"/>
                  <a:pt x="6675923" y="6225680"/>
                  <a:pt x="6686403" y="6123264"/>
                </a:cubicBezTo>
                <a:cubicBezTo>
                  <a:pt x="6686403" y="6119732"/>
                  <a:pt x="6686403" y="6116200"/>
                  <a:pt x="6689896" y="6112668"/>
                </a:cubicBezTo>
                <a:close/>
                <a:moveTo>
                  <a:pt x="5812094" y="6073704"/>
                </a:moveTo>
                <a:lnTo>
                  <a:pt x="5853673" y="6073704"/>
                </a:lnTo>
                <a:cubicBezTo>
                  <a:pt x="5853673" y="6073704"/>
                  <a:pt x="5853673" y="6073704"/>
                  <a:pt x="5853673" y="6116314"/>
                </a:cubicBezTo>
                <a:cubicBezTo>
                  <a:pt x="5853673" y="6116314"/>
                  <a:pt x="5825954" y="6123416"/>
                  <a:pt x="5805164" y="6123416"/>
                </a:cubicBezTo>
                <a:cubicBezTo>
                  <a:pt x="5787839" y="6123416"/>
                  <a:pt x="5787839" y="6109213"/>
                  <a:pt x="5787839" y="6098560"/>
                </a:cubicBezTo>
                <a:cubicBezTo>
                  <a:pt x="5787839" y="6084357"/>
                  <a:pt x="5794769" y="6077255"/>
                  <a:pt x="5812094" y="6073704"/>
                </a:cubicBezTo>
                <a:close/>
                <a:moveTo>
                  <a:pt x="5496290" y="6003839"/>
                </a:moveTo>
                <a:cubicBezTo>
                  <a:pt x="5527527" y="6003839"/>
                  <a:pt x="5537940" y="6017907"/>
                  <a:pt x="5537940" y="6060111"/>
                </a:cubicBezTo>
                <a:cubicBezTo>
                  <a:pt x="5537940" y="6098796"/>
                  <a:pt x="5530998" y="6123415"/>
                  <a:pt x="5496290" y="6123415"/>
                </a:cubicBezTo>
                <a:cubicBezTo>
                  <a:pt x="5461581" y="6123415"/>
                  <a:pt x="5454640" y="6102314"/>
                  <a:pt x="5454640" y="6060111"/>
                </a:cubicBezTo>
                <a:cubicBezTo>
                  <a:pt x="5454640" y="6017907"/>
                  <a:pt x="5465052" y="6003839"/>
                  <a:pt x="5496290" y="6003839"/>
                </a:cubicBezTo>
                <a:close/>
                <a:moveTo>
                  <a:pt x="6640816" y="5999810"/>
                </a:moveTo>
                <a:cubicBezTo>
                  <a:pt x="6640816" y="5999810"/>
                  <a:pt x="6640816" y="5999810"/>
                  <a:pt x="6661845" y="5999810"/>
                </a:cubicBezTo>
                <a:cubicBezTo>
                  <a:pt x="6661845" y="5999810"/>
                  <a:pt x="6661845" y="6006903"/>
                  <a:pt x="6661845" y="6010450"/>
                </a:cubicBezTo>
                <a:cubicBezTo>
                  <a:pt x="6679370" y="6013997"/>
                  <a:pt x="6693389" y="6031732"/>
                  <a:pt x="6693389" y="6049467"/>
                </a:cubicBezTo>
                <a:cubicBezTo>
                  <a:pt x="6693389" y="6070749"/>
                  <a:pt x="6672360" y="6088484"/>
                  <a:pt x="6651330" y="6088484"/>
                </a:cubicBezTo>
                <a:cubicBezTo>
                  <a:pt x="6630302" y="6088484"/>
                  <a:pt x="6612777" y="6070749"/>
                  <a:pt x="6612777" y="6049467"/>
                </a:cubicBezTo>
                <a:cubicBezTo>
                  <a:pt x="6612777" y="6031732"/>
                  <a:pt x="6623291" y="6013997"/>
                  <a:pt x="6640816" y="6010450"/>
                </a:cubicBezTo>
                <a:cubicBezTo>
                  <a:pt x="6640816" y="6010450"/>
                  <a:pt x="6640816" y="5999810"/>
                  <a:pt x="6640816" y="5999810"/>
                </a:cubicBezTo>
                <a:close/>
                <a:moveTo>
                  <a:pt x="6651068" y="5989061"/>
                </a:moveTo>
                <a:cubicBezTo>
                  <a:pt x="6618048" y="5989061"/>
                  <a:pt x="6591280" y="6016130"/>
                  <a:pt x="6591280" y="6049521"/>
                </a:cubicBezTo>
                <a:cubicBezTo>
                  <a:pt x="6591280" y="6082912"/>
                  <a:pt x="6618048" y="6109981"/>
                  <a:pt x="6651068" y="6109981"/>
                </a:cubicBezTo>
                <a:cubicBezTo>
                  <a:pt x="6684088" y="6109981"/>
                  <a:pt x="6710856" y="6082912"/>
                  <a:pt x="6710856" y="6049521"/>
                </a:cubicBezTo>
                <a:cubicBezTo>
                  <a:pt x="6710856" y="6016130"/>
                  <a:pt x="6684088" y="5989061"/>
                  <a:pt x="6651068" y="5989061"/>
                </a:cubicBezTo>
                <a:close/>
                <a:moveTo>
                  <a:pt x="6651068" y="5982344"/>
                </a:moveTo>
                <a:cubicBezTo>
                  <a:pt x="6687799" y="5982344"/>
                  <a:pt x="6717574" y="6012420"/>
                  <a:pt x="6717574" y="6049521"/>
                </a:cubicBezTo>
                <a:cubicBezTo>
                  <a:pt x="6717574" y="6086623"/>
                  <a:pt x="6687799" y="6116699"/>
                  <a:pt x="6651068" y="6116699"/>
                </a:cubicBezTo>
                <a:cubicBezTo>
                  <a:pt x="6614337" y="6116699"/>
                  <a:pt x="6584562" y="6086623"/>
                  <a:pt x="6584562" y="6049521"/>
                </a:cubicBezTo>
                <a:cubicBezTo>
                  <a:pt x="6584562" y="6012420"/>
                  <a:pt x="6614337" y="5982344"/>
                  <a:pt x="6651068" y="5982344"/>
                </a:cubicBezTo>
                <a:close/>
                <a:moveTo>
                  <a:pt x="6826360" y="5979657"/>
                </a:moveTo>
                <a:cubicBezTo>
                  <a:pt x="6829861" y="5979657"/>
                  <a:pt x="6829861" y="5983183"/>
                  <a:pt x="6829861" y="5986710"/>
                </a:cubicBezTo>
                <a:cubicBezTo>
                  <a:pt x="6843866" y="6029032"/>
                  <a:pt x="6843866" y="6067827"/>
                  <a:pt x="6829861" y="6110149"/>
                </a:cubicBezTo>
                <a:cubicBezTo>
                  <a:pt x="6829861" y="6117203"/>
                  <a:pt x="6829861" y="6117203"/>
                  <a:pt x="6826360" y="6117203"/>
                </a:cubicBezTo>
                <a:cubicBezTo>
                  <a:pt x="6822858" y="6120730"/>
                  <a:pt x="6819357" y="6117203"/>
                  <a:pt x="6819357" y="6117203"/>
                </a:cubicBezTo>
                <a:lnTo>
                  <a:pt x="6731823" y="6057247"/>
                </a:lnTo>
                <a:cubicBezTo>
                  <a:pt x="6728322" y="6053720"/>
                  <a:pt x="6728322" y="6050193"/>
                  <a:pt x="6728322" y="6050193"/>
                </a:cubicBezTo>
                <a:cubicBezTo>
                  <a:pt x="6728322" y="6046667"/>
                  <a:pt x="6728322" y="6043140"/>
                  <a:pt x="6731823" y="6039612"/>
                </a:cubicBezTo>
                <a:cubicBezTo>
                  <a:pt x="6731823" y="6039612"/>
                  <a:pt x="6731823" y="6039612"/>
                  <a:pt x="6815856" y="5983183"/>
                </a:cubicBezTo>
                <a:cubicBezTo>
                  <a:pt x="6822858" y="5979657"/>
                  <a:pt x="6826360" y="5979657"/>
                  <a:pt x="6826360" y="5979657"/>
                </a:cubicBezTo>
                <a:close/>
                <a:moveTo>
                  <a:pt x="6475776" y="5979657"/>
                </a:moveTo>
                <a:cubicBezTo>
                  <a:pt x="6479277" y="5979657"/>
                  <a:pt x="6482778" y="5979657"/>
                  <a:pt x="6482778" y="5983183"/>
                </a:cubicBezTo>
                <a:lnTo>
                  <a:pt x="6570312" y="6039612"/>
                </a:lnTo>
                <a:cubicBezTo>
                  <a:pt x="6573813" y="6043140"/>
                  <a:pt x="6573813" y="6046667"/>
                  <a:pt x="6573813" y="6050193"/>
                </a:cubicBezTo>
                <a:cubicBezTo>
                  <a:pt x="6573813" y="6053720"/>
                  <a:pt x="6573813" y="6057247"/>
                  <a:pt x="6570312" y="6057247"/>
                </a:cubicBezTo>
                <a:cubicBezTo>
                  <a:pt x="6570312" y="6057247"/>
                  <a:pt x="6570312" y="6057247"/>
                  <a:pt x="6482778" y="6117203"/>
                </a:cubicBezTo>
                <a:cubicBezTo>
                  <a:pt x="6479277" y="6117203"/>
                  <a:pt x="6475776" y="6120730"/>
                  <a:pt x="6475776" y="6117203"/>
                </a:cubicBezTo>
                <a:cubicBezTo>
                  <a:pt x="6472274" y="6117203"/>
                  <a:pt x="6472274" y="6113676"/>
                  <a:pt x="6468772" y="6113676"/>
                </a:cubicBezTo>
                <a:cubicBezTo>
                  <a:pt x="6458269" y="6067827"/>
                  <a:pt x="6458269" y="6029032"/>
                  <a:pt x="6468772" y="5986710"/>
                </a:cubicBezTo>
                <a:cubicBezTo>
                  <a:pt x="6472274" y="5983183"/>
                  <a:pt x="6472274" y="5979657"/>
                  <a:pt x="6475776" y="5979657"/>
                </a:cubicBezTo>
                <a:close/>
                <a:moveTo>
                  <a:pt x="6072127" y="5968908"/>
                </a:moveTo>
                <a:cubicBezTo>
                  <a:pt x="6072127" y="5972434"/>
                  <a:pt x="6068640" y="5972434"/>
                  <a:pt x="6072127" y="5975961"/>
                </a:cubicBezTo>
                <a:cubicBezTo>
                  <a:pt x="6113977" y="6138195"/>
                  <a:pt x="6113977" y="6138195"/>
                  <a:pt x="6113977" y="6138195"/>
                </a:cubicBezTo>
                <a:cubicBezTo>
                  <a:pt x="6113977" y="6145249"/>
                  <a:pt x="6120952" y="6159356"/>
                  <a:pt x="6134902" y="6159356"/>
                </a:cubicBezTo>
                <a:cubicBezTo>
                  <a:pt x="6145365" y="6159356"/>
                  <a:pt x="6145365" y="6159356"/>
                  <a:pt x="6145365" y="6159356"/>
                </a:cubicBezTo>
                <a:cubicBezTo>
                  <a:pt x="6141877" y="6162883"/>
                  <a:pt x="6141877" y="6162883"/>
                  <a:pt x="6141877" y="6166409"/>
                </a:cubicBezTo>
                <a:cubicBezTo>
                  <a:pt x="6138390" y="6176989"/>
                  <a:pt x="6134902" y="6187570"/>
                  <a:pt x="6113977" y="6187570"/>
                </a:cubicBezTo>
                <a:cubicBezTo>
                  <a:pt x="6079102" y="6184044"/>
                  <a:pt x="6079102" y="6184044"/>
                  <a:pt x="6079102" y="6184044"/>
                </a:cubicBezTo>
                <a:cubicBezTo>
                  <a:pt x="6079102" y="6184044"/>
                  <a:pt x="6075615" y="6184044"/>
                  <a:pt x="6075615" y="6187570"/>
                </a:cubicBezTo>
                <a:cubicBezTo>
                  <a:pt x="6072127" y="6187570"/>
                  <a:pt x="6072127" y="6191097"/>
                  <a:pt x="6072127" y="6191097"/>
                </a:cubicBezTo>
                <a:cubicBezTo>
                  <a:pt x="6072127" y="6212258"/>
                  <a:pt x="6072127" y="6212258"/>
                  <a:pt x="6072127" y="6212258"/>
                </a:cubicBezTo>
                <a:cubicBezTo>
                  <a:pt x="6072127" y="6215785"/>
                  <a:pt x="6075615" y="6215785"/>
                  <a:pt x="6079102" y="6219312"/>
                </a:cubicBezTo>
                <a:cubicBezTo>
                  <a:pt x="6089566" y="6219312"/>
                  <a:pt x="6110490" y="6222838"/>
                  <a:pt x="6124440" y="6222838"/>
                </a:cubicBezTo>
                <a:cubicBezTo>
                  <a:pt x="6127927" y="6222838"/>
                  <a:pt x="6127927" y="6222838"/>
                  <a:pt x="6127927" y="6222838"/>
                </a:cubicBezTo>
                <a:cubicBezTo>
                  <a:pt x="6155827" y="6222838"/>
                  <a:pt x="6173264" y="6205204"/>
                  <a:pt x="6183727" y="6169936"/>
                </a:cubicBezTo>
                <a:cubicBezTo>
                  <a:pt x="6194190" y="6131141"/>
                  <a:pt x="6208140" y="6078239"/>
                  <a:pt x="6215114" y="6039444"/>
                </a:cubicBezTo>
                <a:cubicBezTo>
                  <a:pt x="6222090" y="6021810"/>
                  <a:pt x="6225577" y="6007702"/>
                  <a:pt x="6229064" y="5997122"/>
                </a:cubicBezTo>
                <a:cubicBezTo>
                  <a:pt x="6232552" y="5975961"/>
                  <a:pt x="6232552" y="5975961"/>
                  <a:pt x="6232552" y="5975961"/>
                </a:cubicBezTo>
                <a:cubicBezTo>
                  <a:pt x="6232552" y="5972434"/>
                  <a:pt x="6232552" y="5972434"/>
                  <a:pt x="6232552" y="5968908"/>
                </a:cubicBezTo>
                <a:cubicBezTo>
                  <a:pt x="6229064" y="5968908"/>
                  <a:pt x="6229064" y="5968908"/>
                  <a:pt x="6225577" y="5968908"/>
                </a:cubicBezTo>
                <a:cubicBezTo>
                  <a:pt x="6197677" y="5968908"/>
                  <a:pt x="6197677" y="5968908"/>
                  <a:pt x="6197677" y="5968908"/>
                </a:cubicBezTo>
                <a:cubicBezTo>
                  <a:pt x="6194190" y="5968908"/>
                  <a:pt x="6190702" y="5968908"/>
                  <a:pt x="6190702" y="5972434"/>
                </a:cubicBezTo>
                <a:cubicBezTo>
                  <a:pt x="6152340" y="6117034"/>
                  <a:pt x="6152340" y="6117034"/>
                  <a:pt x="6152340" y="6117034"/>
                </a:cubicBezTo>
                <a:cubicBezTo>
                  <a:pt x="6148852" y="6117034"/>
                  <a:pt x="6148852" y="6117034"/>
                  <a:pt x="6148852" y="6117034"/>
                </a:cubicBezTo>
                <a:cubicBezTo>
                  <a:pt x="6113977" y="5972434"/>
                  <a:pt x="6113977" y="5972434"/>
                  <a:pt x="6113977" y="5972434"/>
                </a:cubicBezTo>
                <a:cubicBezTo>
                  <a:pt x="6110490" y="5968908"/>
                  <a:pt x="6110490" y="5968908"/>
                  <a:pt x="6107002" y="5968908"/>
                </a:cubicBezTo>
                <a:cubicBezTo>
                  <a:pt x="6079102" y="5968908"/>
                  <a:pt x="6079102" y="5968908"/>
                  <a:pt x="6079102" y="5968908"/>
                </a:cubicBezTo>
                <a:cubicBezTo>
                  <a:pt x="6075615" y="5968908"/>
                  <a:pt x="6072127" y="5968908"/>
                  <a:pt x="6072127" y="5968908"/>
                </a:cubicBezTo>
                <a:close/>
                <a:moveTo>
                  <a:pt x="6040101" y="5964877"/>
                </a:moveTo>
                <a:cubicBezTo>
                  <a:pt x="6018975" y="5964877"/>
                  <a:pt x="6001370" y="5978948"/>
                  <a:pt x="5987285" y="5985983"/>
                </a:cubicBezTo>
                <a:cubicBezTo>
                  <a:pt x="5987285" y="5975430"/>
                  <a:pt x="5987285" y="5975430"/>
                  <a:pt x="5987285" y="5975430"/>
                </a:cubicBezTo>
                <a:cubicBezTo>
                  <a:pt x="5987285" y="5968395"/>
                  <a:pt x="5983765" y="5968395"/>
                  <a:pt x="5980244" y="5968395"/>
                </a:cubicBezTo>
                <a:cubicBezTo>
                  <a:pt x="5952076" y="5968395"/>
                  <a:pt x="5952076" y="5968395"/>
                  <a:pt x="5952076" y="5968395"/>
                </a:cubicBezTo>
                <a:cubicBezTo>
                  <a:pt x="5948554" y="5968395"/>
                  <a:pt x="5945033" y="5968395"/>
                  <a:pt x="5945033" y="5975430"/>
                </a:cubicBezTo>
                <a:cubicBezTo>
                  <a:pt x="5945033" y="6151313"/>
                  <a:pt x="5945033" y="6151313"/>
                  <a:pt x="5945033" y="6151313"/>
                </a:cubicBezTo>
                <a:cubicBezTo>
                  <a:pt x="5945033" y="6154831"/>
                  <a:pt x="5948554" y="6158348"/>
                  <a:pt x="5952076" y="6158348"/>
                </a:cubicBezTo>
                <a:cubicBezTo>
                  <a:pt x="5980244" y="6158348"/>
                  <a:pt x="5980244" y="6158348"/>
                  <a:pt x="5980244" y="6158348"/>
                </a:cubicBezTo>
                <a:cubicBezTo>
                  <a:pt x="5983765" y="6158348"/>
                  <a:pt x="5987285" y="6154831"/>
                  <a:pt x="5987285" y="6151313"/>
                </a:cubicBezTo>
                <a:cubicBezTo>
                  <a:pt x="5987285" y="6028195"/>
                  <a:pt x="5987285" y="6028195"/>
                  <a:pt x="5987285" y="6028195"/>
                </a:cubicBezTo>
                <a:cubicBezTo>
                  <a:pt x="5994328" y="6024677"/>
                  <a:pt x="6015454" y="6007089"/>
                  <a:pt x="6040101" y="6007089"/>
                </a:cubicBezTo>
                <a:cubicBezTo>
                  <a:pt x="6043622" y="6003571"/>
                  <a:pt x="6047143" y="6003571"/>
                  <a:pt x="6047143" y="6000054"/>
                </a:cubicBezTo>
                <a:cubicBezTo>
                  <a:pt x="6047143" y="5971913"/>
                  <a:pt x="6047143" y="5971913"/>
                  <a:pt x="6047143" y="5971913"/>
                </a:cubicBezTo>
                <a:cubicBezTo>
                  <a:pt x="6047143" y="5971913"/>
                  <a:pt x="6047143" y="5968395"/>
                  <a:pt x="6043622" y="5968395"/>
                </a:cubicBezTo>
                <a:cubicBezTo>
                  <a:pt x="6043622" y="5964877"/>
                  <a:pt x="6040101" y="5964877"/>
                  <a:pt x="6040101" y="5964877"/>
                </a:cubicBezTo>
                <a:close/>
                <a:moveTo>
                  <a:pt x="5833459" y="5960846"/>
                </a:moveTo>
                <a:cubicBezTo>
                  <a:pt x="5812389" y="5960846"/>
                  <a:pt x="5777274" y="5967917"/>
                  <a:pt x="5763228" y="5967917"/>
                </a:cubicBezTo>
                <a:cubicBezTo>
                  <a:pt x="5759716" y="5967917"/>
                  <a:pt x="5756205" y="5971453"/>
                  <a:pt x="5756205" y="5974989"/>
                </a:cubicBezTo>
                <a:cubicBezTo>
                  <a:pt x="5756205" y="5974989"/>
                  <a:pt x="5756205" y="5974989"/>
                  <a:pt x="5756205" y="5999738"/>
                </a:cubicBezTo>
                <a:cubicBezTo>
                  <a:pt x="5756205" y="6003274"/>
                  <a:pt x="5756205" y="6003274"/>
                  <a:pt x="5759716" y="6006810"/>
                </a:cubicBezTo>
                <a:cubicBezTo>
                  <a:pt x="5759716" y="6006810"/>
                  <a:pt x="5763228" y="6006810"/>
                  <a:pt x="5763228" y="6006810"/>
                </a:cubicBezTo>
                <a:cubicBezTo>
                  <a:pt x="5780786" y="6006810"/>
                  <a:pt x="5808878" y="6003274"/>
                  <a:pt x="5829947" y="6003274"/>
                </a:cubicBezTo>
                <a:cubicBezTo>
                  <a:pt x="5843994" y="6003274"/>
                  <a:pt x="5854528" y="6013881"/>
                  <a:pt x="5854528" y="6028024"/>
                </a:cubicBezTo>
                <a:cubicBezTo>
                  <a:pt x="5854528" y="6028024"/>
                  <a:pt x="5854528" y="6028024"/>
                  <a:pt x="5854528" y="6038631"/>
                </a:cubicBezTo>
                <a:cubicBezTo>
                  <a:pt x="5854528" y="6038631"/>
                  <a:pt x="5854528" y="6038631"/>
                  <a:pt x="5805366" y="6042167"/>
                </a:cubicBezTo>
                <a:cubicBezTo>
                  <a:pt x="5763228" y="6045702"/>
                  <a:pt x="5742158" y="6063380"/>
                  <a:pt x="5742158" y="6102272"/>
                </a:cubicBezTo>
                <a:cubicBezTo>
                  <a:pt x="5742158" y="6141164"/>
                  <a:pt x="5763228" y="6162378"/>
                  <a:pt x="5798344" y="6162378"/>
                </a:cubicBezTo>
                <a:cubicBezTo>
                  <a:pt x="5826436" y="6162378"/>
                  <a:pt x="5861552" y="6148235"/>
                  <a:pt x="5861552" y="6148235"/>
                </a:cubicBezTo>
                <a:cubicBezTo>
                  <a:pt x="5868574" y="6155307"/>
                  <a:pt x="5875597" y="6158842"/>
                  <a:pt x="5889644" y="6162378"/>
                </a:cubicBezTo>
                <a:cubicBezTo>
                  <a:pt x="5893155" y="6162378"/>
                  <a:pt x="5893155" y="6162378"/>
                  <a:pt x="5896667" y="6158842"/>
                </a:cubicBezTo>
                <a:cubicBezTo>
                  <a:pt x="5896667" y="6158842"/>
                  <a:pt x="5896667" y="6155307"/>
                  <a:pt x="5896667" y="6155307"/>
                </a:cubicBezTo>
                <a:cubicBezTo>
                  <a:pt x="5896667" y="6155307"/>
                  <a:pt x="5896667" y="6155307"/>
                  <a:pt x="5896667" y="6028024"/>
                </a:cubicBezTo>
                <a:cubicBezTo>
                  <a:pt x="5896667" y="5982060"/>
                  <a:pt x="5875597" y="5960846"/>
                  <a:pt x="5833459" y="5960846"/>
                </a:cubicBezTo>
                <a:close/>
                <a:moveTo>
                  <a:pt x="5497633" y="5960845"/>
                </a:moveTo>
                <a:cubicBezTo>
                  <a:pt x="5450145" y="5960845"/>
                  <a:pt x="5411646" y="6005960"/>
                  <a:pt x="5411646" y="6061612"/>
                </a:cubicBezTo>
                <a:cubicBezTo>
                  <a:pt x="5411646" y="6117264"/>
                  <a:pt x="5450145" y="6162378"/>
                  <a:pt x="5497633" y="6162378"/>
                </a:cubicBezTo>
                <a:cubicBezTo>
                  <a:pt x="5545122" y="6162378"/>
                  <a:pt x="5583620" y="6117264"/>
                  <a:pt x="5583620" y="6061612"/>
                </a:cubicBezTo>
                <a:cubicBezTo>
                  <a:pt x="5583620" y="6005960"/>
                  <a:pt x="5545122" y="5960845"/>
                  <a:pt x="5497633" y="5960845"/>
                </a:cubicBezTo>
                <a:close/>
                <a:moveTo>
                  <a:pt x="5243703" y="5936662"/>
                </a:moveTo>
                <a:cubicBezTo>
                  <a:pt x="5250670" y="5936662"/>
                  <a:pt x="5257636" y="5936662"/>
                  <a:pt x="5275052" y="5936662"/>
                </a:cubicBezTo>
                <a:cubicBezTo>
                  <a:pt x="5275052" y="5936662"/>
                  <a:pt x="5275052" y="5936662"/>
                  <a:pt x="5292468" y="5936662"/>
                </a:cubicBezTo>
                <a:cubicBezTo>
                  <a:pt x="5323818" y="5936662"/>
                  <a:pt x="5337751" y="5957915"/>
                  <a:pt x="5337751" y="5975626"/>
                </a:cubicBezTo>
                <a:cubicBezTo>
                  <a:pt x="5337751" y="6000420"/>
                  <a:pt x="5320334" y="6014588"/>
                  <a:pt x="5288986" y="6014588"/>
                </a:cubicBezTo>
                <a:cubicBezTo>
                  <a:pt x="5268085" y="6014588"/>
                  <a:pt x="5250670" y="6014588"/>
                  <a:pt x="5243703" y="6014588"/>
                </a:cubicBezTo>
                <a:cubicBezTo>
                  <a:pt x="5243703" y="6014588"/>
                  <a:pt x="5243703" y="6014588"/>
                  <a:pt x="5243703" y="5936662"/>
                </a:cubicBezTo>
                <a:close/>
                <a:moveTo>
                  <a:pt x="5660874" y="5923227"/>
                </a:moveTo>
                <a:cubicBezTo>
                  <a:pt x="5660874" y="5923227"/>
                  <a:pt x="5660874" y="5923227"/>
                  <a:pt x="5629222" y="5930261"/>
                </a:cubicBezTo>
                <a:cubicBezTo>
                  <a:pt x="5625705" y="5930261"/>
                  <a:pt x="5625705" y="5933778"/>
                  <a:pt x="5625705" y="5937295"/>
                </a:cubicBezTo>
                <a:cubicBezTo>
                  <a:pt x="5625705" y="5937295"/>
                  <a:pt x="5625705" y="5937295"/>
                  <a:pt x="5625705" y="5968947"/>
                </a:cubicBezTo>
                <a:cubicBezTo>
                  <a:pt x="5625705" y="5968947"/>
                  <a:pt x="5625705" y="5968947"/>
                  <a:pt x="5608120" y="5968947"/>
                </a:cubicBezTo>
                <a:cubicBezTo>
                  <a:pt x="5604603" y="5968947"/>
                  <a:pt x="5601086" y="5968947"/>
                  <a:pt x="5601086" y="5975981"/>
                </a:cubicBezTo>
                <a:cubicBezTo>
                  <a:pt x="5601086" y="5975981"/>
                  <a:pt x="5601086" y="5975981"/>
                  <a:pt x="5601086" y="6000599"/>
                </a:cubicBezTo>
                <a:cubicBezTo>
                  <a:pt x="5601086" y="6004117"/>
                  <a:pt x="5604603" y="6007633"/>
                  <a:pt x="5608120" y="6007633"/>
                </a:cubicBezTo>
                <a:cubicBezTo>
                  <a:pt x="5608120" y="6007633"/>
                  <a:pt x="5608120" y="6007633"/>
                  <a:pt x="5625705" y="6007633"/>
                </a:cubicBezTo>
                <a:cubicBezTo>
                  <a:pt x="5625705" y="6007633"/>
                  <a:pt x="5625705" y="6007633"/>
                  <a:pt x="5625705" y="6092040"/>
                </a:cubicBezTo>
                <a:cubicBezTo>
                  <a:pt x="5625705" y="6144793"/>
                  <a:pt x="5639772" y="6162378"/>
                  <a:pt x="5681975" y="6162378"/>
                </a:cubicBezTo>
                <a:cubicBezTo>
                  <a:pt x="5692527" y="6162378"/>
                  <a:pt x="5703077" y="6158862"/>
                  <a:pt x="5713628" y="6158862"/>
                </a:cubicBezTo>
                <a:cubicBezTo>
                  <a:pt x="5717145" y="6158862"/>
                  <a:pt x="5720662" y="6155345"/>
                  <a:pt x="5720662" y="6151827"/>
                </a:cubicBezTo>
                <a:cubicBezTo>
                  <a:pt x="5720662" y="6151827"/>
                  <a:pt x="5720662" y="6151827"/>
                  <a:pt x="5720662" y="6127209"/>
                </a:cubicBezTo>
                <a:cubicBezTo>
                  <a:pt x="5720662" y="6123692"/>
                  <a:pt x="5717145" y="6120175"/>
                  <a:pt x="5713628" y="6120175"/>
                </a:cubicBezTo>
                <a:cubicBezTo>
                  <a:pt x="5706595" y="6120175"/>
                  <a:pt x="5696043" y="6120175"/>
                  <a:pt x="5689009" y="6120175"/>
                </a:cubicBezTo>
                <a:cubicBezTo>
                  <a:pt x="5667908" y="6120175"/>
                  <a:pt x="5667908" y="6113141"/>
                  <a:pt x="5667908" y="6085006"/>
                </a:cubicBezTo>
                <a:cubicBezTo>
                  <a:pt x="5667908" y="6085006"/>
                  <a:pt x="5667908" y="6085006"/>
                  <a:pt x="5667908" y="6007633"/>
                </a:cubicBezTo>
                <a:cubicBezTo>
                  <a:pt x="5667908" y="6007633"/>
                  <a:pt x="5667908" y="6007633"/>
                  <a:pt x="5713628" y="6007633"/>
                </a:cubicBezTo>
                <a:cubicBezTo>
                  <a:pt x="5717145" y="6007633"/>
                  <a:pt x="5720662" y="6004117"/>
                  <a:pt x="5720662" y="6000599"/>
                </a:cubicBezTo>
                <a:cubicBezTo>
                  <a:pt x="5720662" y="6000599"/>
                  <a:pt x="5720662" y="6000599"/>
                  <a:pt x="5720662" y="5975981"/>
                </a:cubicBezTo>
                <a:cubicBezTo>
                  <a:pt x="5720662" y="5968947"/>
                  <a:pt x="5717145" y="5968947"/>
                  <a:pt x="5713628" y="5968947"/>
                </a:cubicBezTo>
                <a:cubicBezTo>
                  <a:pt x="5713628" y="5968947"/>
                  <a:pt x="5713628" y="5968947"/>
                  <a:pt x="5667908" y="5968947"/>
                </a:cubicBezTo>
                <a:cubicBezTo>
                  <a:pt x="5667908" y="5968947"/>
                  <a:pt x="5667908" y="5968947"/>
                  <a:pt x="5667908" y="5930261"/>
                </a:cubicBezTo>
                <a:cubicBezTo>
                  <a:pt x="5667908" y="5926744"/>
                  <a:pt x="5667908" y="5926744"/>
                  <a:pt x="5664391" y="5923227"/>
                </a:cubicBezTo>
                <a:cubicBezTo>
                  <a:pt x="5664391" y="5923227"/>
                  <a:pt x="5660874" y="5923227"/>
                  <a:pt x="5660874" y="5923227"/>
                </a:cubicBezTo>
                <a:close/>
                <a:moveTo>
                  <a:pt x="5285479" y="5895013"/>
                </a:moveTo>
                <a:cubicBezTo>
                  <a:pt x="5274985" y="5895013"/>
                  <a:pt x="5243501" y="5895013"/>
                  <a:pt x="5205019" y="5898524"/>
                </a:cubicBezTo>
                <a:cubicBezTo>
                  <a:pt x="5201521" y="5898524"/>
                  <a:pt x="5198022" y="5902035"/>
                  <a:pt x="5198022" y="5905546"/>
                </a:cubicBezTo>
                <a:cubicBezTo>
                  <a:pt x="5198022" y="5905546"/>
                  <a:pt x="5198022" y="5905546"/>
                  <a:pt x="5198022" y="6151326"/>
                </a:cubicBezTo>
                <a:cubicBezTo>
                  <a:pt x="5198022" y="6154837"/>
                  <a:pt x="5201521" y="6158348"/>
                  <a:pt x="5205019" y="6158348"/>
                </a:cubicBezTo>
                <a:cubicBezTo>
                  <a:pt x="5205019" y="6158348"/>
                  <a:pt x="5205019" y="6158348"/>
                  <a:pt x="5236504" y="6158348"/>
                </a:cubicBezTo>
                <a:cubicBezTo>
                  <a:pt x="5240002" y="6158348"/>
                  <a:pt x="5243501" y="6154837"/>
                  <a:pt x="5243501" y="6151326"/>
                </a:cubicBezTo>
                <a:cubicBezTo>
                  <a:pt x="5243501" y="6151326"/>
                  <a:pt x="5243501" y="6151326"/>
                  <a:pt x="5243501" y="6053014"/>
                </a:cubicBezTo>
                <a:cubicBezTo>
                  <a:pt x="5253995" y="6056525"/>
                  <a:pt x="5271486" y="6056525"/>
                  <a:pt x="5292476" y="6056525"/>
                </a:cubicBezTo>
                <a:cubicBezTo>
                  <a:pt x="5292476" y="6056525"/>
                  <a:pt x="5292476" y="6056525"/>
                  <a:pt x="5337954" y="6154837"/>
                </a:cubicBezTo>
                <a:cubicBezTo>
                  <a:pt x="5337954" y="6154837"/>
                  <a:pt x="5341452" y="6158348"/>
                  <a:pt x="5344951" y="6158348"/>
                </a:cubicBezTo>
                <a:cubicBezTo>
                  <a:pt x="5344951" y="6158348"/>
                  <a:pt x="5344951" y="6158348"/>
                  <a:pt x="5376435" y="6158348"/>
                </a:cubicBezTo>
                <a:cubicBezTo>
                  <a:pt x="5379934" y="6158348"/>
                  <a:pt x="5383431" y="6154837"/>
                  <a:pt x="5383431" y="6154837"/>
                </a:cubicBezTo>
                <a:cubicBezTo>
                  <a:pt x="5383431" y="6151326"/>
                  <a:pt x="5383431" y="6151326"/>
                  <a:pt x="5383431" y="6147815"/>
                </a:cubicBezTo>
                <a:lnTo>
                  <a:pt x="5337954" y="6042481"/>
                </a:lnTo>
                <a:cubicBezTo>
                  <a:pt x="5369438" y="6028436"/>
                  <a:pt x="5383431" y="6007369"/>
                  <a:pt x="5383431" y="5975769"/>
                </a:cubicBezTo>
                <a:cubicBezTo>
                  <a:pt x="5383431" y="5937146"/>
                  <a:pt x="5365940" y="5895013"/>
                  <a:pt x="5292476" y="5895013"/>
                </a:cubicBezTo>
                <a:cubicBezTo>
                  <a:pt x="5292476" y="5895013"/>
                  <a:pt x="5288978" y="5895013"/>
                  <a:pt x="5285479" y="5895013"/>
                </a:cubicBezTo>
                <a:close/>
                <a:moveTo>
                  <a:pt x="6840997" y="5864091"/>
                </a:moveTo>
                <a:cubicBezTo>
                  <a:pt x="6843176" y="5864532"/>
                  <a:pt x="6845791" y="5866295"/>
                  <a:pt x="6847534" y="5869822"/>
                </a:cubicBezTo>
                <a:cubicBezTo>
                  <a:pt x="6903309" y="5926252"/>
                  <a:pt x="6931196" y="6017949"/>
                  <a:pt x="6910281" y="6109646"/>
                </a:cubicBezTo>
                <a:cubicBezTo>
                  <a:pt x="6910281" y="6113173"/>
                  <a:pt x="6906795" y="6116699"/>
                  <a:pt x="6899823" y="6113173"/>
                </a:cubicBezTo>
                <a:cubicBezTo>
                  <a:pt x="6899823" y="6113173"/>
                  <a:pt x="6899823" y="6113173"/>
                  <a:pt x="6861478" y="6102592"/>
                </a:cubicBezTo>
                <a:cubicBezTo>
                  <a:pt x="6857992" y="6102592"/>
                  <a:pt x="6854506" y="6099065"/>
                  <a:pt x="6854506" y="6092012"/>
                </a:cubicBezTo>
                <a:cubicBezTo>
                  <a:pt x="6868450" y="6017949"/>
                  <a:pt x="6851020" y="5957992"/>
                  <a:pt x="6809188" y="5912144"/>
                </a:cubicBezTo>
                <a:cubicBezTo>
                  <a:pt x="6802216" y="5908618"/>
                  <a:pt x="6802216" y="5901563"/>
                  <a:pt x="6809188" y="5898037"/>
                </a:cubicBezTo>
                <a:cubicBezTo>
                  <a:pt x="6809188" y="5898037"/>
                  <a:pt x="6809188" y="5898037"/>
                  <a:pt x="6837075" y="5866295"/>
                </a:cubicBezTo>
                <a:cubicBezTo>
                  <a:pt x="6837075" y="5864532"/>
                  <a:pt x="6838819" y="5863650"/>
                  <a:pt x="6840997" y="5864091"/>
                </a:cubicBezTo>
                <a:close/>
                <a:moveTo>
                  <a:pt x="6460734" y="5864091"/>
                </a:moveTo>
                <a:cubicBezTo>
                  <a:pt x="6462935" y="5863650"/>
                  <a:pt x="6464696" y="5864532"/>
                  <a:pt x="6464696" y="5866295"/>
                </a:cubicBezTo>
                <a:cubicBezTo>
                  <a:pt x="6464696" y="5866295"/>
                  <a:pt x="6464696" y="5866295"/>
                  <a:pt x="6496396" y="5898037"/>
                </a:cubicBezTo>
                <a:cubicBezTo>
                  <a:pt x="6499919" y="5901563"/>
                  <a:pt x="6499919" y="5908618"/>
                  <a:pt x="6492874" y="5912144"/>
                </a:cubicBezTo>
                <a:cubicBezTo>
                  <a:pt x="6450607" y="5957992"/>
                  <a:pt x="6432995" y="6017949"/>
                  <a:pt x="6447085" y="6092012"/>
                </a:cubicBezTo>
                <a:cubicBezTo>
                  <a:pt x="6447085" y="6099065"/>
                  <a:pt x="6443563" y="6102592"/>
                  <a:pt x="6440040" y="6102592"/>
                </a:cubicBezTo>
                <a:cubicBezTo>
                  <a:pt x="6440040" y="6102592"/>
                  <a:pt x="6440040" y="6102592"/>
                  <a:pt x="6401295" y="6113173"/>
                </a:cubicBezTo>
                <a:cubicBezTo>
                  <a:pt x="6394251" y="6116699"/>
                  <a:pt x="6390728" y="6113173"/>
                  <a:pt x="6390728" y="6109646"/>
                </a:cubicBezTo>
                <a:cubicBezTo>
                  <a:pt x="6369595" y="6017949"/>
                  <a:pt x="6397773" y="5926252"/>
                  <a:pt x="6454129" y="5869822"/>
                </a:cubicBezTo>
                <a:cubicBezTo>
                  <a:pt x="6455890" y="5866295"/>
                  <a:pt x="6458533" y="5864532"/>
                  <a:pt x="6460734" y="5864091"/>
                </a:cubicBezTo>
                <a:close/>
                <a:moveTo>
                  <a:pt x="6679416" y="5858737"/>
                </a:moveTo>
                <a:cubicBezTo>
                  <a:pt x="6682909" y="5858737"/>
                  <a:pt x="6682909" y="5858737"/>
                  <a:pt x="6686403" y="5858737"/>
                </a:cubicBezTo>
                <a:cubicBezTo>
                  <a:pt x="6731814" y="5869333"/>
                  <a:pt x="6763254" y="5886990"/>
                  <a:pt x="6794693" y="5922306"/>
                </a:cubicBezTo>
                <a:cubicBezTo>
                  <a:pt x="6798186" y="5925838"/>
                  <a:pt x="6798186" y="5925838"/>
                  <a:pt x="6798186" y="5929370"/>
                </a:cubicBezTo>
                <a:cubicBezTo>
                  <a:pt x="6798186" y="5932901"/>
                  <a:pt x="6794693" y="5932901"/>
                  <a:pt x="6791199" y="5936433"/>
                </a:cubicBezTo>
                <a:cubicBezTo>
                  <a:pt x="6791199" y="5936433"/>
                  <a:pt x="6791199" y="5936433"/>
                  <a:pt x="6700376" y="5982344"/>
                </a:cubicBezTo>
                <a:cubicBezTo>
                  <a:pt x="6696882" y="5982344"/>
                  <a:pt x="6693389" y="5982344"/>
                  <a:pt x="6689896" y="5982344"/>
                </a:cubicBezTo>
                <a:cubicBezTo>
                  <a:pt x="6686403" y="5978812"/>
                  <a:pt x="6686403" y="5975280"/>
                  <a:pt x="6682909" y="5971749"/>
                </a:cubicBezTo>
                <a:cubicBezTo>
                  <a:pt x="6682909" y="5971749"/>
                  <a:pt x="6682909" y="5971749"/>
                  <a:pt x="6675923" y="5869333"/>
                </a:cubicBezTo>
                <a:cubicBezTo>
                  <a:pt x="6675923" y="5865801"/>
                  <a:pt x="6675923" y="5862269"/>
                  <a:pt x="6679416" y="5858737"/>
                </a:cubicBezTo>
                <a:close/>
                <a:moveTo>
                  <a:pt x="6615733" y="5858737"/>
                </a:moveTo>
                <a:cubicBezTo>
                  <a:pt x="6619226" y="5858737"/>
                  <a:pt x="6619226" y="5858737"/>
                  <a:pt x="6622719" y="5858737"/>
                </a:cubicBezTo>
                <a:cubicBezTo>
                  <a:pt x="6622719" y="5862269"/>
                  <a:pt x="6626212" y="5865801"/>
                  <a:pt x="6626212" y="5869333"/>
                </a:cubicBezTo>
                <a:cubicBezTo>
                  <a:pt x="6626212" y="5869333"/>
                  <a:pt x="6626212" y="5869333"/>
                  <a:pt x="6615733" y="5975280"/>
                </a:cubicBezTo>
                <a:cubicBezTo>
                  <a:pt x="6615733" y="5978812"/>
                  <a:pt x="6615733" y="5982344"/>
                  <a:pt x="6612239" y="5982344"/>
                </a:cubicBezTo>
                <a:cubicBezTo>
                  <a:pt x="6608746" y="5982344"/>
                  <a:pt x="6605253" y="5982344"/>
                  <a:pt x="6601760" y="5982344"/>
                </a:cubicBezTo>
                <a:cubicBezTo>
                  <a:pt x="6601760" y="5982344"/>
                  <a:pt x="6601760" y="5982344"/>
                  <a:pt x="6510935" y="5936433"/>
                </a:cubicBezTo>
                <a:cubicBezTo>
                  <a:pt x="6507443" y="5936433"/>
                  <a:pt x="6503949" y="5932901"/>
                  <a:pt x="6503949" y="5929370"/>
                </a:cubicBezTo>
                <a:cubicBezTo>
                  <a:pt x="6503949" y="5929370"/>
                  <a:pt x="6503949" y="5925838"/>
                  <a:pt x="6507443" y="5922306"/>
                </a:cubicBezTo>
                <a:cubicBezTo>
                  <a:pt x="6538881" y="5890522"/>
                  <a:pt x="6570321" y="5869333"/>
                  <a:pt x="6615733" y="5858737"/>
                </a:cubicBezTo>
                <a:close/>
                <a:moveTo>
                  <a:pt x="6534583" y="5823805"/>
                </a:moveTo>
                <a:cubicBezTo>
                  <a:pt x="6538076" y="5823805"/>
                  <a:pt x="6541569" y="5827500"/>
                  <a:pt x="6541569" y="5831195"/>
                </a:cubicBezTo>
                <a:cubicBezTo>
                  <a:pt x="6541569" y="5834890"/>
                  <a:pt x="6541569" y="5834890"/>
                  <a:pt x="6538076" y="5834890"/>
                </a:cubicBezTo>
                <a:cubicBezTo>
                  <a:pt x="6538076" y="5834890"/>
                  <a:pt x="6538076" y="5834890"/>
                  <a:pt x="6531089" y="5838585"/>
                </a:cubicBezTo>
                <a:cubicBezTo>
                  <a:pt x="6531089" y="5838585"/>
                  <a:pt x="6531089" y="5838585"/>
                  <a:pt x="6527596" y="5831195"/>
                </a:cubicBezTo>
                <a:cubicBezTo>
                  <a:pt x="6527596" y="5831195"/>
                  <a:pt x="6527596" y="5831195"/>
                  <a:pt x="6524103" y="5831195"/>
                </a:cubicBezTo>
                <a:cubicBezTo>
                  <a:pt x="6527596" y="5827500"/>
                  <a:pt x="6531089" y="5827500"/>
                  <a:pt x="6534583" y="5823805"/>
                </a:cubicBezTo>
                <a:close/>
                <a:moveTo>
                  <a:pt x="6531109" y="5816608"/>
                </a:moveTo>
                <a:cubicBezTo>
                  <a:pt x="6527557" y="5820158"/>
                  <a:pt x="6520456" y="5823710"/>
                  <a:pt x="6513354" y="5827260"/>
                </a:cubicBezTo>
                <a:cubicBezTo>
                  <a:pt x="6513354" y="5827260"/>
                  <a:pt x="6513354" y="5827260"/>
                  <a:pt x="6516905" y="5830811"/>
                </a:cubicBezTo>
                <a:lnTo>
                  <a:pt x="6534660" y="5862769"/>
                </a:lnTo>
                <a:cubicBezTo>
                  <a:pt x="6538210" y="5862769"/>
                  <a:pt x="6538210" y="5859217"/>
                  <a:pt x="6541761" y="5859217"/>
                </a:cubicBezTo>
                <a:cubicBezTo>
                  <a:pt x="6541761" y="5859217"/>
                  <a:pt x="6541761" y="5859217"/>
                  <a:pt x="6534660" y="5845014"/>
                </a:cubicBezTo>
                <a:cubicBezTo>
                  <a:pt x="6534660" y="5845014"/>
                  <a:pt x="6534660" y="5845014"/>
                  <a:pt x="6541761" y="5841464"/>
                </a:cubicBezTo>
                <a:cubicBezTo>
                  <a:pt x="6541761" y="5841464"/>
                  <a:pt x="6541761" y="5841464"/>
                  <a:pt x="6555964" y="5852116"/>
                </a:cubicBezTo>
                <a:cubicBezTo>
                  <a:pt x="6559516" y="5848565"/>
                  <a:pt x="6559516" y="5848565"/>
                  <a:pt x="6563066" y="5848565"/>
                </a:cubicBezTo>
                <a:cubicBezTo>
                  <a:pt x="6563066" y="5848565"/>
                  <a:pt x="6563066" y="5848565"/>
                  <a:pt x="6548863" y="5834362"/>
                </a:cubicBezTo>
                <a:cubicBezTo>
                  <a:pt x="6548863" y="5834362"/>
                  <a:pt x="6548863" y="5834362"/>
                  <a:pt x="6548863" y="5830811"/>
                </a:cubicBezTo>
                <a:cubicBezTo>
                  <a:pt x="6552413" y="5823710"/>
                  <a:pt x="6541761" y="5813057"/>
                  <a:pt x="6531109" y="5816608"/>
                </a:cubicBezTo>
                <a:close/>
                <a:moveTo>
                  <a:pt x="6752016" y="5810370"/>
                </a:moveTo>
                <a:cubicBezTo>
                  <a:pt x="6755559" y="5834554"/>
                  <a:pt x="6755559" y="5834554"/>
                  <a:pt x="6755559" y="5834554"/>
                </a:cubicBezTo>
                <a:cubicBezTo>
                  <a:pt x="6748474" y="5851828"/>
                  <a:pt x="6748474" y="5851828"/>
                  <a:pt x="6748474" y="5851828"/>
                </a:cubicBezTo>
                <a:lnTo>
                  <a:pt x="6755559" y="5858737"/>
                </a:lnTo>
                <a:cubicBezTo>
                  <a:pt x="6762643" y="5841463"/>
                  <a:pt x="6762643" y="5841463"/>
                  <a:pt x="6762643" y="5841463"/>
                </a:cubicBezTo>
                <a:cubicBezTo>
                  <a:pt x="6787438" y="5827644"/>
                  <a:pt x="6787438" y="5827644"/>
                  <a:pt x="6787438" y="5827644"/>
                </a:cubicBezTo>
                <a:cubicBezTo>
                  <a:pt x="6787438" y="5827644"/>
                  <a:pt x="6783896" y="5824189"/>
                  <a:pt x="6780354" y="5824189"/>
                </a:cubicBezTo>
                <a:cubicBezTo>
                  <a:pt x="6762643" y="5831099"/>
                  <a:pt x="6762643" y="5831099"/>
                  <a:pt x="6762643" y="5831099"/>
                </a:cubicBezTo>
                <a:cubicBezTo>
                  <a:pt x="6759101" y="5813824"/>
                  <a:pt x="6759101" y="5813824"/>
                  <a:pt x="6759101" y="5813824"/>
                </a:cubicBezTo>
                <a:cubicBezTo>
                  <a:pt x="6755559" y="5810370"/>
                  <a:pt x="6755559" y="5810370"/>
                  <a:pt x="6752016" y="5810370"/>
                </a:cubicBezTo>
                <a:close/>
                <a:moveTo>
                  <a:pt x="6717036" y="5806340"/>
                </a:moveTo>
                <a:cubicBezTo>
                  <a:pt x="6720529" y="5806340"/>
                  <a:pt x="6724022" y="5806340"/>
                  <a:pt x="6727516" y="5809699"/>
                </a:cubicBezTo>
                <a:cubicBezTo>
                  <a:pt x="6727516" y="5809699"/>
                  <a:pt x="6731009" y="5809699"/>
                  <a:pt x="6731009" y="5813058"/>
                </a:cubicBezTo>
                <a:cubicBezTo>
                  <a:pt x="6731009" y="5816416"/>
                  <a:pt x="6727516" y="5819775"/>
                  <a:pt x="6724022" y="5819775"/>
                </a:cubicBezTo>
                <a:cubicBezTo>
                  <a:pt x="6724022" y="5819775"/>
                  <a:pt x="6724022" y="5819775"/>
                  <a:pt x="6713542" y="5816416"/>
                </a:cubicBezTo>
                <a:lnTo>
                  <a:pt x="6713542" y="5813058"/>
                </a:lnTo>
                <a:cubicBezTo>
                  <a:pt x="6713542" y="5813058"/>
                  <a:pt x="6713542" y="5813058"/>
                  <a:pt x="6717036" y="5806340"/>
                </a:cubicBezTo>
                <a:close/>
                <a:moveTo>
                  <a:pt x="6583891" y="5805835"/>
                </a:moveTo>
                <a:cubicBezTo>
                  <a:pt x="6590945" y="5802308"/>
                  <a:pt x="6597998" y="5809363"/>
                  <a:pt x="6597998" y="5816416"/>
                </a:cubicBezTo>
                <a:cubicBezTo>
                  <a:pt x="6597998" y="5823470"/>
                  <a:pt x="6590945" y="5830523"/>
                  <a:pt x="6583891" y="5830523"/>
                </a:cubicBezTo>
                <a:cubicBezTo>
                  <a:pt x="6576837" y="5830523"/>
                  <a:pt x="6569783" y="5826997"/>
                  <a:pt x="6569783" y="5819943"/>
                </a:cubicBezTo>
                <a:cubicBezTo>
                  <a:pt x="6569783" y="5819943"/>
                  <a:pt x="6569783" y="5819943"/>
                  <a:pt x="6569783" y="5816416"/>
                </a:cubicBezTo>
                <a:cubicBezTo>
                  <a:pt x="6569783" y="5809363"/>
                  <a:pt x="6576837" y="5805835"/>
                  <a:pt x="6583891" y="5805835"/>
                </a:cubicBezTo>
                <a:close/>
                <a:moveTo>
                  <a:pt x="6671893" y="5799621"/>
                </a:moveTo>
                <a:cubicBezTo>
                  <a:pt x="6671893" y="5799621"/>
                  <a:pt x="6671893" y="5799621"/>
                  <a:pt x="6675251" y="5810101"/>
                </a:cubicBezTo>
                <a:cubicBezTo>
                  <a:pt x="6675251" y="5810101"/>
                  <a:pt x="6675251" y="5810101"/>
                  <a:pt x="6678610" y="5817088"/>
                </a:cubicBezTo>
                <a:cubicBezTo>
                  <a:pt x="6675251" y="5817088"/>
                  <a:pt x="6668534" y="5817088"/>
                  <a:pt x="6665174" y="5817088"/>
                </a:cubicBezTo>
                <a:lnTo>
                  <a:pt x="6668534" y="5810101"/>
                </a:lnTo>
                <a:cubicBezTo>
                  <a:pt x="6668534" y="5810101"/>
                  <a:pt x="6668534" y="5810101"/>
                  <a:pt x="6671893" y="5799621"/>
                </a:cubicBezTo>
                <a:close/>
                <a:moveTo>
                  <a:pt x="6580420" y="5799105"/>
                </a:moveTo>
                <a:cubicBezTo>
                  <a:pt x="6570007" y="5799105"/>
                  <a:pt x="6563065" y="5806133"/>
                  <a:pt x="6563065" y="5816675"/>
                </a:cubicBezTo>
                <a:cubicBezTo>
                  <a:pt x="6563065" y="5820188"/>
                  <a:pt x="6563065" y="5820188"/>
                  <a:pt x="6563065" y="5820188"/>
                </a:cubicBezTo>
                <a:cubicBezTo>
                  <a:pt x="6563065" y="5830730"/>
                  <a:pt x="6573477" y="5841272"/>
                  <a:pt x="6583891" y="5837758"/>
                </a:cubicBezTo>
                <a:cubicBezTo>
                  <a:pt x="6597774" y="5837758"/>
                  <a:pt x="6604715" y="5830730"/>
                  <a:pt x="6604715" y="5816675"/>
                </a:cubicBezTo>
                <a:cubicBezTo>
                  <a:pt x="6604715" y="5806133"/>
                  <a:pt x="6594303" y="5795591"/>
                  <a:pt x="6580420" y="5799105"/>
                </a:cubicBezTo>
                <a:close/>
                <a:moveTo>
                  <a:pt x="6710733" y="5795591"/>
                </a:moveTo>
                <a:cubicBezTo>
                  <a:pt x="6710733" y="5795591"/>
                  <a:pt x="6710733" y="5795591"/>
                  <a:pt x="6707191" y="5813345"/>
                </a:cubicBezTo>
                <a:cubicBezTo>
                  <a:pt x="6707191" y="5813345"/>
                  <a:pt x="6707191" y="5813345"/>
                  <a:pt x="6700107" y="5834650"/>
                </a:cubicBezTo>
                <a:cubicBezTo>
                  <a:pt x="6703649" y="5838201"/>
                  <a:pt x="6707191" y="5838201"/>
                  <a:pt x="6710733" y="5838201"/>
                </a:cubicBezTo>
                <a:lnTo>
                  <a:pt x="6714275" y="5823998"/>
                </a:lnTo>
                <a:cubicBezTo>
                  <a:pt x="6714275" y="5823998"/>
                  <a:pt x="6714275" y="5823998"/>
                  <a:pt x="6721360" y="5823998"/>
                </a:cubicBezTo>
                <a:cubicBezTo>
                  <a:pt x="6721360" y="5823998"/>
                  <a:pt x="6721360" y="5823998"/>
                  <a:pt x="6724902" y="5841752"/>
                </a:cubicBezTo>
                <a:cubicBezTo>
                  <a:pt x="6728443" y="5845303"/>
                  <a:pt x="6728443" y="5845303"/>
                  <a:pt x="6731986" y="5845303"/>
                </a:cubicBezTo>
                <a:cubicBezTo>
                  <a:pt x="6731986" y="5845303"/>
                  <a:pt x="6731986" y="5845303"/>
                  <a:pt x="6728443" y="5827549"/>
                </a:cubicBezTo>
                <a:cubicBezTo>
                  <a:pt x="6735528" y="5823998"/>
                  <a:pt x="6739070" y="5816896"/>
                  <a:pt x="6739070" y="5813345"/>
                </a:cubicBezTo>
                <a:cubicBezTo>
                  <a:pt x="6739070" y="5806244"/>
                  <a:pt x="6735528" y="5802693"/>
                  <a:pt x="6731986" y="5802693"/>
                </a:cubicBezTo>
                <a:cubicBezTo>
                  <a:pt x="6724902" y="5799142"/>
                  <a:pt x="6717817" y="5795591"/>
                  <a:pt x="6710733" y="5795591"/>
                </a:cubicBezTo>
                <a:close/>
                <a:moveTo>
                  <a:pt x="6668106" y="5788873"/>
                </a:moveTo>
                <a:cubicBezTo>
                  <a:pt x="6668106" y="5788873"/>
                  <a:pt x="6668106" y="5788873"/>
                  <a:pt x="6661022" y="5809957"/>
                </a:cubicBezTo>
                <a:cubicBezTo>
                  <a:pt x="6661022" y="5809957"/>
                  <a:pt x="6661022" y="5809957"/>
                  <a:pt x="6650396" y="5831040"/>
                </a:cubicBezTo>
                <a:cubicBezTo>
                  <a:pt x="6653938" y="5831040"/>
                  <a:pt x="6653938" y="5831040"/>
                  <a:pt x="6657481" y="5831040"/>
                </a:cubicBezTo>
                <a:lnTo>
                  <a:pt x="6661022" y="5824012"/>
                </a:lnTo>
                <a:cubicBezTo>
                  <a:pt x="6668106" y="5824012"/>
                  <a:pt x="6671649" y="5824012"/>
                  <a:pt x="6678733" y="5824012"/>
                </a:cubicBezTo>
                <a:cubicBezTo>
                  <a:pt x="6678733" y="5824012"/>
                  <a:pt x="6678733" y="5824012"/>
                  <a:pt x="6682275" y="5831040"/>
                </a:cubicBezTo>
                <a:cubicBezTo>
                  <a:pt x="6685817" y="5831040"/>
                  <a:pt x="6685817" y="5834554"/>
                  <a:pt x="6689359" y="5834554"/>
                </a:cubicBezTo>
                <a:cubicBezTo>
                  <a:pt x="6689359" y="5834554"/>
                  <a:pt x="6689359" y="5834554"/>
                  <a:pt x="6682275" y="5809957"/>
                </a:cubicBezTo>
                <a:cubicBezTo>
                  <a:pt x="6682275" y="5809957"/>
                  <a:pt x="6682275" y="5809957"/>
                  <a:pt x="6678733" y="5788873"/>
                </a:cubicBezTo>
                <a:cubicBezTo>
                  <a:pt x="6678733" y="5788873"/>
                  <a:pt x="6678733" y="5788873"/>
                  <a:pt x="6668106" y="5788873"/>
                </a:cubicBezTo>
                <a:close/>
                <a:moveTo>
                  <a:pt x="6647709" y="5788873"/>
                </a:moveTo>
                <a:cubicBezTo>
                  <a:pt x="6629999" y="5788873"/>
                  <a:pt x="6622914" y="5788873"/>
                  <a:pt x="6608746" y="5792344"/>
                </a:cubicBezTo>
                <a:cubicBezTo>
                  <a:pt x="6608746" y="5799285"/>
                  <a:pt x="6608746" y="5799285"/>
                  <a:pt x="6608746" y="5799285"/>
                </a:cubicBezTo>
                <a:lnTo>
                  <a:pt x="6622914" y="5795815"/>
                </a:lnTo>
                <a:cubicBezTo>
                  <a:pt x="6626456" y="5830523"/>
                  <a:pt x="6626456" y="5830523"/>
                  <a:pt x="6626456" y="5830523"/>
                </a:cubicBezTo>
                <a:cubicBezTo>
                  <a:pt x="6637082" y="5830523"/>
                  <a:pt x="6637082" y="5830523"/>
                  <a:pt x="6637082" y="5830523"/>
                </a:cubicBezTo>
                <a:cubicBezTo>
                  <a:pt x="6633540" y="5795815"/>
                  <a:pt x="6633540" y="5795815"/>
                  <a:pt x="6633540" y="5795815"/>
                </a:cubicBezTo>
                <a:cubicBezTo>
                  <a:pt x="6647709" y="5795815"/>
                  <a:pt x="6647709" y="5795815"/>
                  <a:pt x="6647709" y="5795815"/>
                </a:cubicBezTo>
                <a:cubicBezTo>
                  <a:pt x="6647709" y="5788873"/>
                  <a:pt x="6647709" y="5788873"/>
                  <a:pt x="6647709" y="5788873"/>
                </a:cubicBezTo>
                <a:close/>
                <a:moveTo>
                  <a:pt x="6198068" y="5788872"/>
                </a:moveTo>
                <a:cubicBezTo>
                  <a:pt x="6215982" y="5788872"/>
                  <a:pt x="6223148" y="5806339"/>
                  <a:pt x="6223148" y="5823804"/>
                </a:cubicBezTo>
                <a:lnTo>
                  <a:pt x="6169406" y="5823804"/>
                </a:lnTo>
                <a:cubicBezTo>
                  <a:pt x="6169406" y="5806339"/>
                  <a:pt x="6180154" y="5788872"/>
                  <a:pt x="6198068" y="5788872"/>
                </a:cubicBezTo>
                <a:close/>
                <a:moveTo>
                  <a:pt x="6650396" y="5782156"/>
                </a:moveTo>
                <a:cubicBezTo>
                  <a:pt x="6713570" y="5782156"/>
                  <a:pt x="6769725" y="5803115"/>
                  <a:pt x="6815350" y="5838047"/>
                </a:cubicBezTo>
                <a:cubicBezTo>
                  <a:pt x="6822370" y="5845034"/>
                  <a:pt x="6822370" y="5848527"/>
                  <a:pt x="6818860" y="5852020"/>
                </a:cubicBezTo>
                <a:cubicBezTo>
                  <a:pt x="6818860" y="5852020"/>
                  <a:pt x="6818860" y="5852020"/>
                  <a:pt x="6790783" y="5883460"/>
                </a:cubicBezTo>
                <a:cubicBezTo>
                  <a:pt x="6787273" y="5886952"/>
                  <a:pt x="6783764" y="5886952"/>
                  <a:pt x="6776744" y="5883460"/>
                </a:cubicBezTo>
                <a:cubicBezTo>
                  <a:pt x="6741648" y="5855514"/>
                  <a:pt x="6696021" y="5838047"/>
                  <a:pt x="6650396" y="5838047"/>
                </a:cubicBezTo>
                <a:cubicBezTo>
                  <a:pt x="6601261" y="5838047"/>
                  <a:pt x="6559145" y="5855514"/>
                  <a:pt x="6524048" y="5883460"/>
                </a:cubicBezTo>
                <a:cubicBezTo>
                  <a:pt x="6517028" y="5886952"/>
                  <a:pt x="6513519" y="5886952"/>
                  <a:pt x="6510010" y="5883460"/>
                </a:cubicBezTo>
                <a:cubicBezTo>
                  <a:pt x="6510010" y="5883460"/>
                  <a:pt x="6510010" y="5883460"/>
                  <a:pt x="6481932" y="5852020"/>
                </a:cubicBezTo>
                <a:cubicBezTo>
                  <a:pt x="6478422" y="5848527"/>
                  <a:pt x="6478422" y="5845034"/>
                  <a:pt x="6485442" y="5838047"/>
                </a:cubicBezTo>
                <a:cubicBezTo>
                  <a:pt x="6531067" y="5803115"/>
                  <a:pt x="6587222" y="5782156"/>
                  <a:pt x="6650396" y="5782156"/>
                </a:cubicBezTo>
                <a:close/>
                <a:moveTo>
                  <a:pt x="6198292" y="5782155"/>
                </a:moveTo>
                <a:cubicBezTo>
                  <a:pt x="6173924" y="5782155"/>
                  <a:pt x="6160001" y="5799669"/>
                  <a:pt x="6160001" y="5831195"/>
                </a:cubicBezTo>
                <a:cubicBezTo>
                  <a:pt x="6160001" y="5859217"/>
                  <a:pt x="6170443" y="5880234"/>
                  <a:pt x="6201773" y="5880234"/>
                </a:cubicBezTo>
                <a:cubicBezTo>
                  <a:pt x="6208735" y="5880234"/>
                  <a:pt x="6222659" y="5876731"/>
                  <a:pt x="6229621" y="5873228"/>
                </a:cubicBezTo>
                <a:lnTo>
                  <a:pt x="6229621" y="5862720"/>
                </a:lnTo>
                <a:cubicBezTo>
                  <a:pt x="6222659" y="5866223"/>
                  <a:pt x="6212216" y="5869725"/>
                  <a:pt x="6201773" y="5869725"/>
                </a:cubicBezTo>
                <a:cubicBezTo>
                  <a:pt x="6180887" y="5869725"/>
                  <a:pt x="6170443" y="5852211"/>
                  <a:pt x="6170443" y="5834698"/>
                </a:cubicBezTo>
                <a:cubicBezTo>
                  <a:pt x="6170443" y="5834698"/>
                  <a:pt x="6170443" y="5834698"/>
                  <a:pt x="6236583" y="5834698"/>
                </a:cubicBezTo>
                <a:cubicBezTo>
                  <a:pt x="6236583" y="5834698"/>
                  <a:pt x="6236583" y="5834698"/>
                  <a:pt x="6236583" y="5827692"/>
                </a:cubicBezTo>
                <a:cubicBezTo>
                  <a:pt x="6236583" y="5803172"/>
                  <a:pt x="6226140" y="5782155"/>
                  <a:pt x="6198292" y="5782155"/>
                </a:cubicBezTo>
                <a:close/>
                <a:moveTo>
                  <a:pt x="5949064" y="5745879"/>
                </a:moveTo>
                <a:lnTo>
                  <a:pt x="5949064" y="5756627"/>
                </a:lnTo>
                <a:lnTo>
                  <a:pt x="5988028" y="5756627"/>
                </a:lnTo>
                <a:lnTo>
                  <a:pt x="5988028" y="5876203"/>
                </a:lnTo>
                <a:lnTo>
                  <a:pt x="6001464" y="5876203"/>
                </a:lnTo>
                <a:lnTo>
                  <a:pt x="6001464" y="5756627"/>
                </a:lnTo>
                <a:lnTo>
                  <a:pt x="6040426" y="5756627"/>
                </a:lnTo>
                <a:lnTo>
                  <a:pt x="6040426" y="5745879"/>
                </a:lnTo>
                <a:close/>
                <a:moveTo>
                  <a:pt x="6061922" y="5735130"/>
                </a:moveTo>
                <a:lnTo>
                  <a:pt x="6061922" y="5876203"/>
                </a:lnTo>
                <a:cubicBezTo>
                  <a:pt x="6061922" y="5876203"/>
                  <a:pt x="6061922" y="5876203"/>
                  <a:pt x="6072287" y="5876203"/>
                </a:cubicBezTo>
                <a:cubicBezTo>
                  <a:pt x="6072287" y="5876203"/>
                  <a:pt x="6072287" y="5876203"/>
                  <a:pt x="6072287" y="5826827"/>
                </a:cubicBezTo>
                <a:cubicBezTo>
                  <a:pt x="6072287" y="5809193"/>
                  <a:pt x="6079197" y="5788033"/>
                  <a:pt x="6099926" y="5788033"/>
                </a:cubicBezTo>
                <a:cubicBezTo>
                  <a:pt x="6120655" y="5788033"/>
                  <a:pt x="6120655" y="5802140"/>
                  <a:pt x="6120655" y="5819774"/>
                </a:cubicBezTo>
                <a:cubicBezTo>
                  <a:pt x="6120655" y="5819774"/>
                  <a:pt x="6120655" y="5819774"/>
                  <a:pt x="6120655" y="5876203"/>
                </a:cubicBezTo>
                <a:cubicBezTo>
                  <a:pt x="6120655" y="5876203"/>
                  <a:pt x="6120655" y="5876203"/>
                  <a:pt x="6134474" y="5876203"/>
                </a:cubicBezTo>
                <a:cubicBezTo>
                  <a:pt x="6134474" y="5876203"/>
                  <a:pt x="6134474" y="5876203"/>
                  <a:pt x="6134474" y="5819774"/>
                </a:cubicBezTo>
                <a:cubicBezTo>
                  <a:pt x="6134474" y="5795086"/>
                  <a:pt x="6127564" y="5780979"/>
                  <a:pt x="6103380" y="5780979"/>
                </a:cubicBezTo>
                <a:cubicBezTo>
                  <a:pt x="6089561" y="5780979"/>
                  <a:pt x="6079197" y="5788033"/>
                  <a:pt x="6072287" y="5798613"/>
                </a:cubicBezTo>
                <a:cubicBezTo>
                  <a:pt x="6072287" y="5798613"/>
                  <a:pt x="6072287" y="5798613"/>
                  <a:pt x="6072287" y="5735130"/>
                </a:cubicBezTo>
                <a:cubicBezTo>
                  <a:pt x="6072287" y="5735130"/>
                  <a:pt x="6072287" y="5735130"/>
                  <a:pt x="6061922" y="5735130"/>
                </a:cubicBezTo>
                <a:close/>
                <a:moveTo>
                  <a:pt x="6640551" y="5710947"/>
                </a:moveTo>
                <a:cubicBezTo>
                  <a:pt x="6630033" y="5728568"/>
                  <a:pt x="6626527" y="5746189"/>
                  <a:pt x="6626527" y="5763810"/>
                </a:cubicBezTo>
                <a:cubicBezTo>
                  <a:pt x="6623021" y="5763810"/>
                  <a:pt x="6605492" y="5767334"/>
                  <a:pt x="6601987" y="5767334"/>
                </a:cubicBezTo>
                <a:cubicBezTo>
                  <a:pt x="6598480" y="5749713"/>
                  <a:pt x="6587963" y="5732092"/>
                  <a:pt x="6577446" y="5721520"/>
                </a:cubicBezTo>
                <a:cubicBezTo>
                  <a:pt x="6577446" y="5721520"/>
                  <a:pt x="6577446" y="5721520"/>
                  <a:pt x="6573940" y="5721520"/>
                </a:cubicBezTo>
                <a:cubicBezTo>
                  <a:pt x="6566929" y="5721520"/>
                  <a:pt x="6559917" y="5725044"/>
                  <a:pt x="6552905" y="5725044"/>
                </a:cubicBezTo>
                <a:cubicBezTo>
                  <a:pt x="6552905" y="5725044"/>
                  <a:pt x="6552905" y="5725044"/>
                  <a:pt x="6552905" y="5728568"/>
                </a:cubicBezTo>
                <a:cubicBezTo>
                  <a:pt x="6549399" y="5735617"/>
                  <a:pt x="6549399" y="5742665"/>
                  <a:pt x="6549399" y="5753237"/>
                </a:cubicBezTo>
                <a:cubicBezTo>
                  <a:pt x="6549399" y="5763810"/>
                  <a:pt x="6549399" y="5770858"/>
                  <a:pt x="6552905" y="5781431"/>
                </a:cubicBezTo>
                <a:cubicBezTo>
                  <a:pt x="6549399" y="5781431"/>
                  <a:pt x="6531870" y="5788479"/>
                  <a:pt x="6531870" y="5788479"/>
                </a:cubicBezTo>
                <a:cubicBezTo>
                  <a:pt x="6521353" y="5774382"/>
                  <a:pt x="6507329" y="5760286"/>
                  <a:pt x="6493306" y="5753237"/>
                </a:cubicBezTo>
                <a:cubicBezTo>
                  <a:pt x="6486295" y="5753237"/>
                  <a:pt x="6479283" y="5760286"/>
                  <a:pt x="6472271" y="5763810"/>
                </a:cubicBezTo>
                <a:cubicBezTo>
                  <a:pt x="6472271" y="5781431"/>
                  <a:pt x="6475777" y="5799052"/>
                  <a:pt x="6486295" y="5816672"/>
                </a:cubicBezTo>
                <a:cubicBezTo>
                  <a:pt x="6482789" y="5816672"/>
                  <a:pt x="6472271" y="5827245"/>
                  <a:pt x="6468766" y="5827245"/>
                </a:cubicBezTo>
                <a:cubicBezTo>
                  <a:pt x="6458248" y="5816672"/>
                  <a:pt x="6440719" y="5806100"/>
                  <a:pt x="6423190" y="5802576"/>
                </a:cubicBezTo>
                <a:cubicBezTo>
                  <a:pt x="6416178" y="5806100"/>
                  <a:pt x="6409167" y="5813148"/>
                  <a:pt x="6405661" y="5816672"/>
                </a:cubicBezTo>
                <a:cubicBezTo>
                  <a:pt x="6405661" y="5816672"/>
                  <a:pt x="6405661" y="5816672"/>
                  <a:pt x="6405661" y="5820196"/>
                </a:cubicBezTo>
                <a:cubicBezTo>
                  <a:pt x="6409167" y="5834294"/>
                  <a:pt x="6419684" y="5851914"/>
                  <a:pt x="6433707" y="5866011"/>
                </a:cubicBezTo>
                <a:cubicBezTo>
                  <a:pt x="6430202" y="5866011"/>
                  <a:pt x="6419684" y="5883632"/>
                  <a:pt x="6419684" y="5883632"/>
                </a:cubicBezTo>
                <a:cubicBezTo>
                  <a:pt x="6402155" y="5876583"/>
                  <a:pt x="6384626" y="5869535"/>
                  <a:pt x="6367097" y="5869535"/>
                </a:cubicBezTo>
                <a:cubicBezTo>
                  <a:pt x="6363592" y="5876583"/>
                  <a:pt x="6356580" y="5883632"/>
                  <a:pt x="6356580" y="5890680"/>
                </a:cubicBezTo>
                <a:cubicBezTo>
                  <a:pt x="6363592" y="5904777"/>
                  <a:pt x="6377614" y="5918873"/>
                  <a:pt x="6391638" y="5929447"/>
                </a:cubicBezTo>
                <a:cubicBezTo>
                  <a:pt x="6391638" y="5932971"/>
                  <a:pt x="6384626" y="5947067"/>
                  <a:pt x="6384626" y="5950591"/>
                </a:cubicBezTo>
                <a:cubicBezTo>
                  <a:pt x="6367097" y="5943543"/>
                  <a:pt x="6346062" y="5943543"/>
                  <a:pt x="6332039" y="5950591"/>
                </a:cubicBezTo>
                <a:cubicBezTo>
                  <a:pt x="6328533" y="5957640"/>
                  <a:pt x="6325027" y="5964688"/>
                  <a:pt x="6325027" y="5971736"/>
                </a:cubicBezTo>
                <a:cubicBezTo>
                  <a:pt x="6335544" y="5985833"/>
                  <a:pt x="6353073" y="5992881"/>
                  <a:pt x="6370602" y="5999930"/>
                </a:cubicBezTo>
                <a:cubicBezTo>
                  <a:pt x="6370602" y="6003454"/>
                  <a:pt x="6367097" y="6017550"/>
                  <a:pt x="6367097" y="6021074"/>
                </a:cubicBezTo>
                <a:cubicBezTo>
                  <a:pt x="6349568" y="6021074"/>
                  <a:pt x="6332039" y="6028123"/>
                  <a:pt x="6318016" y="6035172"/>
                </a:cubicBezTo>
                <a:cubicBezTo>
                  <a:pt x="6318016" y="6035172"/>
                  <a:pt x="6318016" y="6035172"/>
                  <a:pt x="6314510" y="6035172"/>
                </a:cubicBezTo>
                <a:cubicBezTo>
                  <a:pt x="6314510" y="6038696"/>
                  <a:pt x="6314510" y="6042220"/>
                  <a:pt x="6314510" y="6049268"/>
                </a:cubicBezTo>
                <a:cubicBezTo>
                  <a:pt x="6314510" y="6052792"/>
                  <a:pt x="6314510" y="6056316"/>
                  <a:pt x="6314510" y="6059841"/>
                </a:cubicBezTo>
                <a:cubicBezTo>
                  <a:pt x="6314510" y="6059841"/>
                  <a:pt x="6314510" y="6059841"/>
                  <a:pt x="6318016" y="6059841"/>
                </a:cubicBezTo>
                <a:cubicBezTo>
                  <a:pt x="6332039" y="6070414"/>
                  <a:pt x="6349568" y="6073938"/>
                  <a:pt x="6367097" y="6073938"/>
                </a:cubicBezTo>
                <a:cubicBezTo>
                  <a:pt x="6367097" y="6077462"/>
                  <a:pt x="6370602" y="6095083"/>
                  <a:pt x="6370602" y="6095083"/>
                </a:cubicBezTo>
                <a:cubicBezTo>
                  <a:pt x="6353073" y="6102131"/>
                  <a:pt x="6335544" y="6112703"/>
                  <a:pt x="6325027" y="6123276"/>
                </a:cubicBezTo>
                <a:cubicBezTo>
                  <a:pt x="6325027" y="6123276"/>
                  <a:pt x="6325027" y="6123276"/>
                  <a:pt x="6325027" y="6126800"/>
                </a:cubicBezTo>
                <a:cubicBezTo>
                  <a:pt x="6325027" y="6130325"/>
                  <a:pt x="6328533" y="6140897"/>
                  <a:pt x="6332039" y="6147945"/>
                </a:cubicBezTo>
                <a:cubicBezTo>
                  <a:pt x="6349568" y="6151469"/>
                  <a:pt x="6367097" y="6151469"/>
                  <a:pt x="6384626" y="6147945"/>
                </a:cubicBezTo>
                <a:cubicBezTo>
                  <a:pt x="6384626" y="6147945"/>
                  <a:pt x="6391638" y="6165566"/>
                  <a:pt x="6395143" y="6169091"/>
                </a:cubicBezTo>
                <a:cubicBezTo>
                  <a:pt x="6377614" y="6176139"/>
                  <a:pt x="6363592" y="6190235"/>
                  <a:pt x="6356580" y="6204332"/>
                </a:cubicBezTo>
                <a:cubicBezTo>
                  <a:pt x="6356580" y="6204332"/>
                  <a:pt x="6356580" y="6204332"/>
                  <a:pt x="6356580" y="6207856"/>
                </a:cubicBezTo>
                <a:cubicBezTo>
                  <a:pt x="6360085" y="6211380"/>
                  <a:pt x="6363592" y="6221953"/>
                  <a:pt x="6367097" y="6225477"/>
                </a:cubicBezTo>
                <a:cubicBezTo>
                  <a:pt x="6384626" y="6225477"/>
                  <a:pt x="6402155" y="6221953"/>
                  <a:pt x="6419684" y="6211380"/>
                </a:cubicBezTo>
                <a:cubicBezTo>
                  <a:pt x="6419684" y="6214905"/>
                  <a:pt x="6430202" y="6229001"/>
                  <a:pt x="6433707" y="6232526"/>
                </a:cubicBezTo>
                <a:cubicBezTo>
                  <a:pt x="6419684" y="6243098"/>
                  <a:pt x="6412673" y="6260718"/>
                  <a:pt x="6405661" y="6278340"/>
                </a:cubicBezTo>
                <a:cubicBezTo>
                  <a:pt x="6412673" y="6281864"/>
                  <a:pt x="6416178" y="6288912"/>
                  <a:pt x="6423190" y="6292436"/>
                </a:cubicBezTo>
                <a:cubicBezTo>
                  <a:pt x="6440719" y="6288912"/>
                  <a:pt x="6458248" y="6281864"/>
                  <a:pt x="6468766" y="6267768"/>
                </a:cubicBezTo>
                <a:cubicBezTo>
                  <a:pt x="6472271" y="6267768"/>
                  <a:pt x="6486295" y="6281864"/>
                  <a:pt x="6486295" y="6281864"/>
                </a:cubicBezTo>
                <a:cubicBezTo>
                  <a:pt x="6479283" y="6295960"/>
                  <a:pt x="6475777" y="6317106"/>
                  <a:pt x="6475777" y="6331202"/>
                </a:cubicBezTo>
                <a:cubicBezTo>
                  <a:pt x="6475777" y="6331202"/>
                  <a:pt x="6475777" y="6334727"/>
                  <a:pt x="6475777" y="6334727"/>
                </a:cubicBezTo>
                <a:cubicBezTo>
                  <a:pt x="6479283" y="6338251"/>
                  <a:pt x="6486295" y="6341775"/>
                  <a:pt x="6493306" y="6345299"/>
                </a:cubicBezTo>
                <a:cubicBezTo>
                  <a:pt x="6493306" y="6345299"/>
                  <a:pt x="6493306" y="6345299"/>
                  <a:pt x="6496812" y="6345299"/>
                </a:cubicBezTo>
                <a:cubicBezTo>
                  <a:pt x="6510836" y="6338251"/>
                  <a:pt x="6524858" y="6324154"/>
                  <a:pt x="6531870" y="6306533"/>
                </a:cubicBezTo>
                <a:cubicBezTo>
                  <a:pt x="6535376" y="6310057"/>
                  <a:pt x="6549399" y="6313582"/>
                  <a:pt x="6552905" y="6317106"/>
                </a:cubicBezTo>
                <a:cubicBezTo>
                  <a:pt x="6549399" y="6324154"/>
                  <a:pt x="6549399" y="6334727"/>
                  <a:pt x="6549399" y="6341775"/>
                </a:cubicBezTo>
                <a:cubicBezTo>
                  <a:pt x="6549399" y="6352347"/>
                  <a:pt x="6549399" y="6359396"/>
                  <a:pt x="6552905" y="6369969"/>
                </a:cubicBezTo>
                <a:cubicBezTo>
                  <a:pt x="6559917" y="6373493"/>
                  <a:pt x="6566929" y="6373493"/>
                  <a:pt x="6573940" y="6377017"/>
                </a:cubicBezTo>
                <a:cubicBezTo>
                  <a:pt x="6573940" y="6377017"/>
                  <a:pt x="6573940" y="6377017"/>
                  <a:pt x="6577446" y="6377017"/>
                </a:cubicBezTo>
                <a:cubicBezTo>
                  <a:pt x="6587963" y="6362920"/>
                  <a:pt x="6598480" y="6345299"/>
                  <a:pt x="6601987" y="6331202"/>
                </a:cubicBezTo>
                <a:cubicBezTo>
                  <a:pt x="6605492" y="6331202"/>
                  <a:pt x="6623021" y="6331202"/>
                  <a:pt x="6626527" y="6331202"/>
                </a:cubicBezTo>
                <a:cubicBezTo>
                  <a:pt x="6626527" y="6352347"/>
                  <a:pt x="6630033" y="6369969"/>
                  <a:pt x="6640551" y="6384065"/>
                </a:cubicBezTo>
                <a:cubicBezTo>
                  <a:pt x="6647562" y="6384065"/>
                  <a:pt x="6658080" y="6384065"/>
                  <a:pt x="6661585" y="6384065"/>
                </a:cubicBezTo>
                <a:cubicBezTo>
                  <a:pt x="6661585" y="6384065"/>
                  <a:pt x="6661585" y="6384065"/>
                  <a:pt x="6665092" y="6384065"/>
                </a:cubicBezTo>
                <a:cubicBezTo>
                  <a:pt x="6672103" y="6369969"/>
                  <a:pt x="6679114" y="6352347"/>
                  <a:pt x="6679114" y="6331202"/>
                </a:cubicBezTo>
                <a:cubicBezTo>
                  <a:pt x="6679114" y="6331202"/>
                  <a:pt x="6696643" y="6331202"/>
                  <a:pt x="6700150" y="6331202"/>
                </a:cubicBezTo>
                <a:cubicBezTo>
                  <a:pt x="6703655" y="6345299"/>
                  <a:pt x="6714173" y="6362920"/>
                  <a:pt x="6724690" y="6377017"/>
                </a:cubicBezTo>
                <a:cubicBezTo>
                  <a:pt x="6724690" y="6377017"/>
                  <a:pt x="6724690" y="6377017"/>
                  <a:pt x="6728196" y="6377017"/>
                </a:cubicBezTo>
                <a:cubicBezTo>
                  <a:pt x="6735207" y="6373493"/>
                  <a:pt x="6742219" y="6373493"/>
                  <a:pt x="6749231" y="6369969"/>
                </a:cubicBezTo>
                <a:cubicBezTo>
                  <a:pt x="6752736" y="6359396"/>
                  <a:pt x="6752736" y="6352347"/>
                  <a:pt x="6752736" y="6341775"/>
                </a:cubicBezTo>
                <a:cubicBezTo>
                  <a:pt x="6752736" y="6334727"/>
                  <a:pt x="6752736" y="6324154"/>
                  <a:pt x="6749231" y="6317106"/>
                </a:cubicBezTo>
                <a:cubicBezTo>
                  <a:pt x="6752736" y="6313582"/>
                  <a:pt x="6766760" y="6306533"/>
                  <a:pt x="6770266" y="6306533"/>
                </a:cubicBezTo>
                <a:cubicBezTo>
                  <a:pt x="6780783" y="6324154"/>
                  <a:pt x="6791301" y="6334727"/>
                  <a:pt x="6808830" y="6345299"/>
                </a:cubicBezTo>
                <a:cubicBezTo>
                  <a:pt x="6815841" y="6341775"/>
                  <a:pt x="6822853" y="6338251"/>
                  <a:pt x="6826358" y="6334727"/>
                </a:cubicBezTo>
                <a:cubicBezTo>
                  <a:pt x="6826358" y="6334727"/>
                  <a:pt x="6826358" y="6334727"/>
                  <a:pt x="6829865" y="6334727"/>
                </a:cubicBezTo>
                <a:cubicBezTo>
                  <a:pt x="6829865" y="6334727"/>
                  <a:pt x="6829865" y="6331202"/>
                  <a:pt x="6829865" y="6331202"/>
                </a:cubicBezTo>
                <a:cubicBezTo>
                  <a:pt x="6829865" y="6313582"/>
                  <a:pt x="6822853" y="6295960"/>
                  <a:pt x="6815841" y="6281864"/>
                </a:cubicBezTo>
                <a:cubicBezTo>
                  <a:pt x="6815841" y="6278340"/>
                  <a:pt x="6829865" y="6267768"/>
                  <a:pt x="6833370" y="6267768"/>
                </a:cubicBezTo>
                <a:cubicBezTo>
                  <a:pt x="6843888" y="6278340"/>
                  <a:pt x="6861417" y="6288912"/>
                  <a:pt x="6878946" y="6292436"/>
                </a:cubicBezTo>
                <a:cubicBezTo>
                  <a:pt x="6885958" y="6288912"/>
                  <a:pt x="6892970" y="6281864"/>
                  <a:pt x="6896475" y="6278340"/>
                </a:cubicBezTo>
                <a:cubicBezTo>
                  <a:pt x="6896475" y="6278340"/>
                  <a:pt x="6896475" y="6278340"/>
                  <a:pt x="6896475" y="6274816"/>
                </a:cubicBezTo>
                <a:cubicBezTo>
                  <a:pt x="6892970" y="6260718"/>
                  <a:pt x="6882452" y="6243098"/>
                  <a:pt x="6868429" y="6229001"/>
                </a:cubicBezTo>
                <a:cubicBezTo>
                  <a:pt x="6871934" y="6229001"/>
                  <a:pt x="6882452" y="6214905"/>
                  <a:pt x="6882452" y="6211380"/>
                </a:cubicBezTo>
                <a:cubicBezTo>
                  <a:pt x="6899981" y="6221953"/>
                  <a:pt x="6917510" y="6225477"/>
                  <a:pt x="6935039" y="6225477"/>
                </a:cubicBezTo>
                <a:cubicBezTo>
                  <a:pt x="6938545" y="6218429"/>
                  <a:pt x="6942051" y="6211380"/>
                  <a:pt x="6945557" y="6207856"/>
                </a:cubicBezTo>
                <a:cubicBezTo>
                  <a:pt x="6945557" y="6207856"/>
                  <a:pt x="6945557" y="6207856"/>
                  <a:pt x="6945557" y="6204332"/>
                </a:cubicBezTo>
                <a:cubicBezTo>
                  <a:pt x="6938545" y="6190235"/>
                  <a:pt x="6924521" y="6176139"/>
                  <a:pt x="6910499" y="6165566"/>
                </a:cubicBezTo>
                <a:cubicBezTo>
                  <a:pt x="6910499" y="6165566"/>
                  <a:pt x="6917510" y="6147945"/>
                  <a:pt x="6917510" y="6147945"/>
                </a:cubicBezTo>
                <a:cubicBezTo>
                  <a:pt x="6935039" y="6151469"/>
                  <a:pt x="6952568" y="6151469"/>
                  <a:pt x="6970097" y="6147945"/>
                </a:cubicBezTo>
                <a:cubicBezTo>
                  <a:pt x="6970097" y="6147945"/>
                  <a:pt x="6970097" y="6147945"/>
                  <a:pt x="6970097" y="6144421"/>
                </a:cubicBezTo>
                <a:cubicBezTo>
                  <a:pt x="6973603" y="6140897"/>
                  <a:pt x="6977109" y="6130325"/>
                  <a:pt x="6977109" y="6123276"/>
                </a:cubicBezTo>
                <a:cubicBezTo>
                  <a:pt x="6963086" y="6109179"/>
                  <a:pt x="6949062" y="6102131"/>
                  <a:pt x="6931533" y="6095083"/>
                </a:cubicBezTo>
                <a:cubicBezTo>
                  <a:pt x="6931533" y="6095083"/>
                  <a:pt x="6931533" y="6077462"/>
                  <a:pt x="6935039" y="6073938"/>
                </a:cubicBezTo>
                <a:cubicBezTo>
                  <a:pt x="6952568" y="6073938"/>
                  <a:pt x="6970097" y="6070414"/>
                  <a:pt x="6984121" y="6059841"/>
                </a:cubicBezTo>
                <a:cubicBezTo>
                  <a:pt x="6987626" y="6056316"/>
                  <a:pt x="6987626" y="6052792"/>
                  <a:pt x="6987626" y="6049268"/>
                </a:cubicBezTo>
                <a:cubicBezTo>
                  <a:pt x="6987626" y="6045744"/>
                  <a:pt x="6987626" y="6042220"/>
                  <a:pt x="6984121" y="6038696"/>
                </a:cubicBezTo>
                <a:cubicBezTo>
                  <a:pt x="6984121" y="6038696"/>
                  <a:pt x="6984121" y="6038696"/>
                  <a:pt x="6984121" y="6035172"/>
                </a:cubicBezTo>
                <a:cubicBezTo>
                  <a:pt x="6970097" y="6028123"/>
                  <a:pt x="6952568" y="6021074"/>
                  <a:pt x="6935039" y="6021074"/>
                </a:cubicBezTo>
                <a:cubicBezTo>
                  <a:pt x="6935039" y="6021074"/>
                  <a:pt x="6931533" y="6003454"/>
                  <a:pt x="6931533" y="5999930"/>
                </a:cubicBezTo>
                <a:cubicBezTo>
                  <a:pt x="6949062" y="5996406"/>
                  <a:pt x="6966592" y="5985833"/>
                  <a:pt x="6977109" y="5975261"/>
                </a:cubicBezTo>
                <a:cubicBezTo>
                  <a:pt x="6977109" y="5975261"/>
                  <a:pt x="6977109" y="5975261"/>
                  <a:pt x="6977109" y="5971736"/>
                </a:cubicBezTo>
                <a:cubicBezTo>
                  <a:pt x="6977109" y="5964688"/>
                  <a:pt x="6973603" y="5957640"/>
                  <a:pt x="6970097" y="5950591"/>
                </a:cubicBezTo>
                <a:cubicBezTo>
                  <a:pt x="6952568" y="5947067"/>
                  <a:pt x="6935039" y="5947067"/>
                  <a:pt x="6917510" y="5950591"/>
                </a:cubicBezTo>
                <a:cubicBezTo>
                  <a:pt x="6917510" y="5947067"/>
                  <a:pt x="6910499" y="5932971"/>
                  <a:pt x="6910499" y="5929447"/>
                </a:cubicBezTo>
                <a:cubicBezTo>
                  <a:pt x="6924521" y="5918873"/>
                  <a:pt x="6938545" y="5908301"/>
                  <a:pt x="6945557" y="5890680"/>
                </a:cubicBezTo>
                <a:cubicBezTo>
                  <a:pt x="6945557" y="5883632"/>
                  <a:pt x="6938545" y="5876583"/>
                  <a:pt x="6935039" y="5873059"/>
                </a:cubicBezTo>
                <a:cubicBezTo>
                  <a:pt x="6935039" y="5873059"/>
                  <a:pt x="6935039" y="5873059"/>
                  <a:pt x="6935039" y="5869535"/>
                </a:cubicBezTo>
                <a:cubicBezTo>
                  <a:pt x="6917510" y="5869535"/>
                  <a:pt x="6899981" y="5876583"/>
                  <a:pt x="6882452" y="5883632"/>
                </a:cubicBezTo>
                <a:cubicBezTo>
                  <a:pt x="6882452" y="5883632"/>
                  <a:pt x="6871934" y="5869535"/>
                  <a:pt x="6868429" y="5866011"/>
                </a:cubicBezTo>
                <a:cubicBezTo>
                  <a:pt x="6882452" y="5851914"/>
                  <a:pt x="6892970" y="5837818"/>
                  <a:pt x="6896475" y="5820196"/>
                </a:cubicBezTo>
                <a:cubicBezTo>
                  <a:pt x="6892970" y="5813148"/>
                  <a:pt x="6885958" y="5806100"/>
                  <a:pt x="6878946" y="5802576"/>
                </a:cubicBezTo>
                <a:cubicBezTo>
                  <a:pt x="6861417" y="5806100"/>
                  <a:pt x="6847394" y="5816672"/>
                  <a:pt x="6833370" y="5830770"/>
                </a:cubicBezTo>
                <a:cubicBezTo>
                  <a:pt x="6829865" y="5827245"/>
                  <a:pt x="6815841" y="5816672"/>
                  <a:pt x="6815841" y="5816672"/>
                </a:cubicBezTo>
                <a:cubicBezTo>
                  <a:pt x="6822853" y="5799052"/>
                  <a:pt x="6829865" y="5781431"/>
                  <a:pt x="6829865" y="5763810"/>
                </a:cubicBezTo>
                <a:cubicBezTo>
                  <a:pt x="6822853" y="5760286"/>
                  <a:pt x="6815841" y="5753237"/>
                  <a:pt x="6808830" y="5753237"/>
                </a:cubicBezTo>
                <a:cubicBezTo>
                  <a:pt x="6794806" y="5760286"/>
                  <a:pt x="6780783" y="5774382"/>
                  <a:pt x="6770266" y="5788479"/>
                </a:cubicBezTo>
                <a:cubicBezTo>
                  <a:pt x="6766760" y="5788479"/>
                  <a:pt x="6752736" y="5781431"/>
                  <a:pt x="6749231" y="5781431"/>
                </a:cubicBezTo>
                <a:cubicBezTo>
                  <a:pt x="6752736" y="5770858"/>
                  <a:pt x="6752736" y="5763810"/>
                  <a:pt x="6752736" y="5753237"/>
                </a:cubicBezTo>
                <a:cubicBezTo>
                  <a:pt x="6752736" y="5742665"/>
                  <a:pt x="6752736" y="5735617"/>
                  <a:pt x="6749231" y="5728568"/>
                </a:cubicBezTo>
                <a:cubicBezTo>
                  <a:pt x="6749231" y="5728568"/>
                  <a:pt x="6749231" y="5728568"/>
                  <a:pt x="6749231" y="5725044"/>
                </a:cubicBezTo>
                <a:cubicBezTo>
                  <a:pt x="6742219" y="5725044"/>
                  <a:pt x="6735207" y="5721520"/>
                  <a:pt x="6728196" y="5721520"/>
                </a:cubicBezTo>
                <a:cubicBezTo>
                  <a:pt x="6728196" y="5721520"/>
                  <a:pt x="6728196" y="5721520"/>
                  <a:pt x="6724690" y="5721520"/>
                </a:cubicBezTo>
                <a:cubicBezTo>
                  <a:pt x="6714173" y="5732092"/>
                  <a:pt x="6703655" y="5749713"/>
                  <a:pt x="6700150" y="5767334"/>
                </a:cubicBezTo>
                <a:cubicBezTo>
                  <a:pt x="6696643" y="5767334"/>
                  <a:pt x="6679114" y="5763810"/>
                  <a:pt x="6675609" y="5763810"/>
                </a:cubicBezTo>
                <a:cubicBezTo>
                  <a:pt x="6675609" y="5746189"/>
                  <a:pt x="6672103" y="5728568"/>
                  <a:pt x="6661585" y="5710947"/>
                </a:cubicBezTo>
                <a:cubicBezTo>
                  <a:pt x="6654574" y="5710947"/>
                  <a:pt x="6647562" y="5710947"/>
                  <a:pt x="6640551" y="5710947"/>
                </a:cubicBezTo>
                <a:close/>
                <a:moveTo>
                  <a:pt x="0" y="0"/>
                </a:moveTo>
                <a:lnTo>
                  <a:pt x="12192000" y="0"/>
                </a:lnTo>
                <a:lnTo>
                  <a:pt x="12192000" y="6858000"/>
                </a:lnTo>
                <a:lnTo>
                  <a:pt x="0" y="6858000"/>
                </a:lnTo>
                <a:close/>
              </a:path>
            </a:pathLst>
          </a:custGeom>
          <a:solidFill>
            <a:srgbClr val="48595D">
              <a:alpha val="70000"/>
            </a:srgbClr>
          </a:solidFill>
        </p:spPr>
        <p:txBody>
          <a:bodyPr wrap="square" tIns="3474720">
            <a:noAutofit/>
          </a:bodyPr>
          <a:lstStyle>
            <a:lvl1pPr marL="0" indent="0" algn="ctr">
              <a:buNone/>
              <a:defRPr sz="4400" b="1" cap="all" baseline="0">
                <a:solidFill>
                  <a:schemeClr val="bg1"/>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829733" y="4174066"/>
            <a:ext cx="10532534" cy="465667"/>
          </a:xfrm>
        </p:spPr>
        <p:txBody>
          <a:bodyPr/>
          <a:lstStyle>
            <a:lvl1pPr marL="0" indent="0" algn="ctr">
              <a:buNone/>
              <a:defRPr sz="2400">
                <a:solidFill>
                  <a:srgbClr val="01B0E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Slide Number Placeholder 5">
            <a:extLst>
              <a:ext uri="{FF2B5EF4-FFF2-40B4-BE49-F238E27FC236}">
                <a16:creationId xmlns:a16="http://schemas.microsoft.com/office/drawing/2014/main" id="{5130B4A2-183C-4739-A12D-8649A5A9BAC2}"/>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3774439074"/>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AB9660-06D7-4EC1-B41A-0141039CF0E9}"/>
              </a:ext>
            </a:extLst>
          </p:cNvPr>
          <p:cNvSpPr/>
          <p:nvPr userDrawn="1"/>
        </p:nvSpPr>
        <p:spPr>
          <a:xfrm>
            <a:off x="0" y="0"/>
            <a:ext cx="12192000" cy="6857999"/>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TextBox 5" hidden="1">
            <a:extLst>
              <a:ext uri="{FF2B5EF4-FFF2-40B4-BE49-F238E27FC236}">
                <a16:creationId xmlns:a16="http://schemas.microsoft.com/office/drawing/2014/main" id="{440A6B87-0865-4F2E-BFC1-2085F3020671}"/>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5" name="Slide Number Placeholder 5">
            <a:extLst>
              <a:ext uri="{FF2B5EF4-FFF2-40B4-BE49-F238E27FC236}">
                <a16:creationId xmlns:a16="http://schemas.microsoft.com/office/drawing/2014/main" id="{5A7B473F-4FCB-4E80-AEDD-AFF0A582E31D}"/>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4087660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6B15CEA-7F4D-4111-91E1-C24BB8942014}"/>
              </a:ext>
            </a:extLst>
          </p:cNvPr>
          <p:cNvSpPr/>
          <p:nvPr userDrawn="1"/>
        </p:nvSpPr>
        <p:spPr>
          <a:xfrm flipV="1">
            <a:off x="0" y="0"/>
            <a:ext cx="12192000" cy="1540042"/>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110B65-104E-48DA-9FDA-01FF9A48E841}"/>
              </a:ext>
            </a:extLst>
          </p:cNvPr>
          <p:cNvSpPr>
            <a:spLocks noGrp="1"/>
          </p:cNvSpPr>
          <p:nvPr>
            <p:ph type="title"/>
          </p:nvPr>
        </p:nvSpPr>
        <p:spPr>
          <a:xfrm>
            <a:off x="381000" y="1"/>
            <a:ext cx="11506200" cy="1540042"/>
          </a:xfrm>
        </p:spPr>
        <p:txBody>
          <a:bodyPr tIns="0" bIns="91440" anchor="b"/>
          <a:lstStyle>
            <a:lvl1pPr>
              <a:defRPr cap="all" baseline="0">
                <a:solidFill>
                  <a:schemeClr val="bg1"/>
                </a:solidFill>
              </a:defRPr>
            </a:lvl1pPr>
          </a:lstStyle>
          <a:p>
            <a:r>
              <a:rPr lang="en-US" dirty="0"/>
              <a:t>Click to edit Master title style</a:t>
            </a:r>
          </a:p>
        </p:txBody>
      </p:sp>
      <p:sp>
        <p:nvSpPr>
          <p:cNvPr id="10" name="Content Placeholder 2">
            <a:extLst>
              <a:ext uri="{FF2B5EF4-FFF2-40B4-BE49-F238E27FC236}">
                <a16:creationId xmlns:a16="http://schemas.microsoft.com/office/drawing/2014/main" id="{9A633E9E-2A95-4274-8C9E-B12F3C8F05DB}"/>
              </a:ext>
            </a:extLst>
          </p:cNvPr>
          <p:cNvSpPr>
            <a:spLocks noGrp="1"/>
          </p:cNvSpPr>
          <p:nvPr>
            <p:ph idx="1"/>
          </p:nvPr>
        </p:nvSpPr>
        <p:spPr>
          <a:xfrm>
            <a:off x="380999" y="2142067"/>
            <a:ext cx="11506199" cy="4034896"/>
          </a:xfrm>
        </p:spPr>
        <p:txBody>
          <a:bodyPr>
            <a:normAutofit/>
          </a:bodyPr>
          <a:lstStyle>
            <a:lvl1pPr>
              <a:defRPr sz="2400">
                <a:solidFill>
                  <a:srgbClr val="333333"/>
                </a:solidFill>
              </a:defRPr>
            </a:lvl1pPr>
            <a:lvl2pPr marL="457200" indent="-228600">
              <a:defRPr sz="2000">
                <a:solidFill>
                  <a:srgbClr val="333333"/>
                </a:solidFill>
              </a:defRPr>
            </a:lvl2pPr>
            <a:lvl3pPr marL="685800" indent="-228600">
              <a:defRPr sz="1800">
                <a:solidFill>
                  <a:srgbClr val="333333"/>
                </a:solidFill>
              </a:defRPr>
            </a:lvl3pPr>
            <a:lvl4pPr marL="914400" indent="-228600">
              <a:defRPr sz="1600">
                <a:solidFill>
                  <a:srgbClr val="333333"/>
                </a:solidFill>
              </a:defRPr>
            </a:lvl4pPr>
            <a:lvl5pPr marL="1143000" indent="-228600">
              <a:defRPr sz="1600">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hidden="1">
            <a:extLst>
              <a:ext uri="{FF2B5EF4-FFF2-40B4-BE49-F238E27FC236}">
                <a16:creationId xmlns:a16="http://schemas.microsoft.com/office/drawing/2014/main" id="{134820A4-D5DF-4EEE-9F8B-8C9C8D423F7B}"/>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9" name="Slide Number Placeholder 5">
            <a:extLst>
              <a:ext uri="{FF2B5EF4-FFF2-40B4-BE49-F238E27FC236}">
                <a16:creationId xmlns:a16="http://schemas.microsoft.com/office/drawing/2014/main" id="{CE2B2F9D-68E3-43FB-86DA-500515AC8355}"/>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3943708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6B15CEA-7F4D-4111-91E1-C24BB8942014}"/>
              </a:ext>
            </a:extLst>
          </p:cNvPr>
          <p:cNvSpPr/>
          <p:nvPr userDrawn="1"/>
        </p:nvSpPr>
        <p:spPr>
          <a:xfrm flipV="1">
            <a:off x="0" y="0"/>
            <a:ext cx="12192000" cy="1540042"/>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110B65-104E-48DA-9FDA-01FF9A48E841}"/>
              </a:ext>
            </a:extLst>
          </p:cNvPr>
          <p:cNvSpPr>
            <a:spLocks noGrp="1"/>
          </p:cNvSpPr>
          <p:nvPr>
            <p:ph type="title"/>
          </p:nvPr>
        </p:nvSpPr>
        <p:spPr>
          <a:xfrm>
            <a:off x="381000" y="1"/>
            <a:ext cx="11506200" cy="1540042"/>
          </a:xfrm>
        </p:spPr>
        <p:txBody>
          <a:bodyPr tIns="0" bIns="91440" anchor="b"/>
          <a:lstStyle>
            <a:lvl1pPr>
              <a:defRPr cap="all" baseline="0">
                <a:solidFill>
                  <a:schemeClr val="bg1"/>
                </a:solidFill>
              </a:defRPr>
            </a:lvl1pPr>
          </a:lstStyle>
          <a:p>
            <a:r>
              <a:rPr lang="en-US" dirty="0"/>
              <a:t>Click to edit Master title style</a:t>
            </a:r>
          </a:p>
        </p:txBody>
      </p:sp>
      <p:sp>
        <p:nvSpPr>
          <p:cNvPr id="10" name="Content Placeholder 2">
            <a:extLst>
              <a:ext uri="{FF2B5EF4-FFF2-40B4-BE49-F238E27FC236}">
                <a16:creationId xmlns:a16="http://schemas.microsoft.com/office/drawing/2014/main" id="{9A633E9E-2A95-4274-8C9E-B12F3C8F05DB}"/>
              </a:ext>
            </a:extLst>
          </p:cNvPr>
          <p:cNvSpPr>
            <a:spLocks noGrp="1"/>
          </p:cNvSpPr>
          <p:nvPr>
            <p:ph idx="1"/>
          </p:nvPr>
        </p:nvSpPr>
        <p:spPr>
          <a:xfrm>
            <a:off x="380999" y="2436811"/>
            <a:ext cx="11506199" cy="3836989"/>
          </a:xfrm>
        </p:spPr>
        <p:txBody>
          <a:bodyPr>
            <a:normAutofit/>
          </a:bodyPr>
          <a:lstStyle>
            <a:lvl1pPr>
              <a:defRPr sz="2400">
                <a:solidFill>
                  <a:srgbClr val="333333"/>
                </a:solidFill>
              </a:defRPr>
            </a:lvl1pPr>
            <a:lvl2pPr marL="457200" indent="-228600">
              <a:defRPr sz="2000">
                <a:solidFill>
                  <a:srgbClr val="333333"/>
                </a:solidFill>
              </a:defRPr>
            </a:lvl2pPr>
            <a:lvl3pPr marL="685800" indent="-228600">
              <a:defRPr sz="1800">
                <a:solidFill>
                  <a:srgbClr val="333333"/>
                </a:solidFill>
              </a:defRPr>
            </a:lvl3pPr>
            <a:lvl4pPr marL="914400" indent="-228600">
              <a:defRPr sz="1600">
                <a:solidFill>
                  <a:srgbClr val="333333"/>
                </a:solidFill>
              </a:defRPr>
            </a:lvl4pPr>
            <a:lvl5pPr marL="1143000" indent="-228600">
              <a:defRPr sz="1600">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ubtitle 2">
            <a:extLst>
              <a:ext uri="{FF2B5EF4-FFF2-40B4-BE49-F238E27FC236}">
                <a16:creationId xmlns:a16="http://schemas.microsoft.com/office/drawing/2014/main" id="{11B1EC5A-E690-43D2-A0E3-D50BD6A53AFE}"/>
              </a:ext>
            </a:extLst>
          </p:cNvPr>
          <p:cNvSpPr>
            <a:spLocks noGrp="1"/>
          </p:cNvSpPr>
          <p:nvPr>
            <p:ph type="subTitle" idx="13"/>
          </p:nvPr>
        </p:nvSpPr>
        <p:spPr>
          <a:xfrm>
            <a:off x="380999" y="1796132"/>
            <a:ext cx="11506199" cy="615279"/>
          </a:xfrm>
        </p:spPr>
        <p:txBody>
          <a:bodyPr>
            <a:normAutofit/>
          </a:bodyPr>
          <a:lstStyle>
            <a:lvl1pPr marL="0" indent="0" algn="l">
              <a:buNone/>
              <a:defRPr sz="2400" b="1" cap="all" baseline="0">
                <a:solidFill>
                  <a:srgbClr val="33333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Box 6" hidden="1">
            <a:extLst>
              <a:ext uri="{FF2B5EF4-FFF2-40B4-BE49-F238E27FC236}">
                <a16:creationId xmlns:a16="http://schemas.microsoft.com/office/drawing/2014/main" id="{C429B5C5-40F0-413F-82DE-781C809F82A3}"/>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9" name="Slide Number Placeholder 5">
            <a:extLst>
              <a:ext uri="{FF2B5EF4-FFF2-40B4-BE49-F238E27FC236}">
                <a16:creationId xmlns:a16="http://schemas.microsoft.com/office/drawing/2014/main" id="{FD10926E-D815-4592-97B7-8EE7A9786ACB}"/>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38747228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A776E0-39A8-48D5-80F8-035E16384242}"/>
              </a:ext>
            </a:extLst>
          </p:cNvPr>
          <p:cNvSpPr/>
          <p:nvPr userDrawn="1"/>
        </p:nvSpPr>
        <p:spPr>
          <a:xfrm>
            <a:off x="0" y="1540042"/>
            <a:ext cx="12192000" cy="5317958"/>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9" name="Slide Number Placeholder 5">
            <a:extLst>
              <a:ext uri="{FF2B5EF4-FFF2-40B4-BE49-F238E27FC236}">
                <a16:creationId xmlns:a16="http://schemas.microsoft.com/office/drawing/2014/main" id="{3720C02A-46A0-4BE0-B1BF-F34465AC270B}"/>
              </a:ext>
            </a:extLst>
          </p:cNvPr>
          <p:cNvSpPr>
            <a:spLocks noGrp="1"/>
          </p:cNvSpPr>
          <p:nvPr>
            <p:ph type="sldNum" sz="quarter" idx="12"/>
          </p:nvPr>
        </p:nvSpPr>
        <p:spPr>
          <a:xfrm>
            <a:off x="11650133" y="6356350"/>
            <a:ext cx="423334" cy="365125"/>
          </a:xfrm>
        </p:spPr>
        <p:txBody>
          <a:bodyPr/>
          <a:lstStyle/>
          <a:p>
            <a:fld id="{97A94E25-127B-4C48-AF96-44BA7B823777}" type="slidenum">
              <a:rPr lang="en-US" smtClean="0"/>
              <a:t>‹#›</a:t>
            </a:fld>
            <a:endParaRPr lang="en-US" dirty="0"/>
          </a:p>
        </p:txBody>
      </p:sp>
      <p:sp>
        <p:nvSpPr>
          <p:cNvPr id="8" name="Title 1">
            <a:extLst>
              <a:ext uri="{FF2B5EF4-FFF2-40B4-BE49-F238E27FC236}">
                <a16:creationId xmlns:a16="http://schemas.microsoft.com/office/drawing/2014/main" id="{C48881AF-761E-4663-9A5E-BC34236BC1FE}"/>
              </a:ext>
            </a:extLst>
          </p:cNvPr>
          <p:cNvSpPr>
            <a:spLocks noGrp="1"/>
          </p:cNvSpPr>
          <p:nvPr>
            <p:ph type="title"/>
          </p:nvPr>
        </p:nvSpPr>
        <p:spPr>
          <a:xfrm>
            <a:off x="381000" y="1"/>
            <a:ext cx="11506200" cy="1540042"/>
          </a:xfrm>
        </p:spPr>
        <p:txBody>
          <a:bodyPr tIns="0" bIns="91440" anchor="b"/>
          <a:lstStyle>
            <a:lvl1pPr>
              <a:defRPr cap="all" baseline="0">
                <a:solidFill>
                  <a:srgbClr val="48595D"/>
                </a:solidFill>
              </a:defRPr>
            </a:lvl1pPr>
          </a:lstStyle>
          <a:p>
            <a:r>
              <a:rPr lang="en-US" dirty="0"/>
              <a:t>Click to edit Master title style</a:t>
            </a:r>
          </a:p>
        </p:txBody>
      </p:sp>
      <p:sp>
        <p:nvSpPr>
          <p:cNvPr id="5" name="TextBox 4" hidden="1">
            <a:extLst>
              <a:ext uri="{FF2B5EF4-FFF2-40B4-BE49-F238E27FC236}">
                <a16:creationId xmlns:a16="http://schemas.microsoft.com/office/drawing/2014/main" id="{31265F87-D1A9-4FC6-9F13-66361C11DF35}"/>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50000"/>
                  </a:schemeClr>
                </a:solidFill>
              </a:rPr>
              <a:t>© 2019 Rotary International. Internal Use Only. Not For Distribution. Private and Confidential.</a:t>
            </a:r>
          </a:p>
        </p:txBody>
      </p:sp>
      <p:sp>
        <p:nvSpPr>
          <p:cNvPr id="10" name="Slide Number Placeholder 5">
            <a:extLst>
              <a:ext uri="{FF2B5EF4-FFF2-40B4-BE49-F238E27FC236}">
                <a16:creationId xmlns:a16="http://schemas.microsoft.com/office/drawing/2014/main" id="{28D424E8-3A20-4BF1-B53F-7A284F46F6A4}"/>
              </a:ext>
            </a:extLst>
          </p:cNvPr>
          <p:cNvSpPr txBox="1">
            <a:spLocks/>
          </p:cNvSpPr>
          <p:nvPr userDrawn="1"/>
        </p:nvSpPr>
        <p:spPr>
          <a:xfrm>
            <a:off x="11650133" y="115570"/>
            <a:ext cx="423334" cy="365125"/>
          </a:xfrm>
          <a:prstGeom prst="rect">
            <a:avLst/>
          </a:prstGeom>
        </p:spPr>
        <p:txBody>
          <a:bodyPr vert="horz" lIns="91440" tIns="45720" rIns="91440" bIns="45720" rtlCol="0" anchor="ctr"/>
          <a:lstStyle>
            <a:defPPr>
              <a:defRPr lang="en-US"/>
            </a:defPPr>
            <a:lvl1pPr marL="0" algn="r" defTabSz="914400" rtl="0" eaLnBrk="1" latinLnBrk="0" hangingPunct="1">
              <a:defRPr lang="en-US" sz="12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A94E25-127B-4C48-AF96-44BA7B823777}"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40268157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A776E0-39A8-48D5-80F8-035E16384242}"/>
              </a:ext>
            </a:extLst>
          </p:cNvPr>
          <p:cNvSpPr/>
          <p:nvPr userDrawn="1"/>
        </p:nvSpPr>
        <p:spPr>
          <a:xfrm>
            <a:off x="0" y="0"/>
            <a:ext cx="12192000" cy="1540042"/>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5" name="Title 1">
            <a:extLst>
              <a:ext uri="{FF2B5EF4-FFF2-40B4-BE49-F238E27FC236}">
                <a16:creationId xmlns:a16="http://schemas.microsoft.com/office/drawing/2014/main" id="{3C0EF89B-F057-4EA3-BC61-71F9D7BF9FC4}"/>
              </a:ext>
            </a:extLst>
          </p:cNvPr>
          <p:cNvSpPr>
            <a:spLocks noGrp="1"/>
          </p:cNvSpPr>
          <p:nvPr>
            <p:ph type="title"/>
          </p:nvPr>
        </p:nvSpPr>
        <p:spPr>
          <a:xfrm>
            <a:off x="381000" y="1"/>
            <a:ext cx="11506200" cy="1540042"/>
          </a:xfrm>
        </p:spPr>
        <p:txBody>
          <a:bodyPr tIns="0" bIns="91440" anchor="b"/>
          <a:lstStyle>
            <a:lvl1pPr>
              <a:defRPr cap="all" baseline="0">
                <a:solidFill>
                  <a:schemeClr val="bg1"/>
                </a:solidFill>
              </a:defRPr>
            </a:lvl1pPr>
          </a:lstStyle>
          <a:p>
            <a:r>
              <a:rPr lang="en-US" dirty="0"/>
              <a:t>Click to edit Master title style</a:t>
            </a:r>
          </a:p>
        </p:txBody>
      </p:sp>
      <p:sp>
        <p:nvSpPr>
          <p:cNvPr id="6" name="TextBox 5" hidden="1">
            <a:extLst>
              <a:ext uri="{FF2B5EF4-FFF2-40B4-BE49-F238E27FC236}">
                <a16:creationId xmlns:a16="http://schemas.microsoft.com/office/drawing/2014/main" id="{3F6A0DDC-8464-4003-BDFD-127BB593AA78}"/>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8" name="Slide Number Placeholder 5">
            <a:extLst>
              <a:ext uri="{FF2B5EF4-FFF2-40B4-BE49-F238E27FC236}">
                <a16:creationId xmlns:a16="http://schemas.microsoft.com/office/drawing/2014/main" id="{FF64A36E-6351-44F5-8371-4CD912E77164}"/>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17365050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FE6C60-BD51-4C06-972B-D598C068A30B}"/>
              </a:ext>
            </a:extLst>
          </p:cNvPr>
          <p:cNvSpPr/>
          <p:nvPr userDrawn="1"/>
        </p:nvSpPr>
        <p:spPr>
          <a:xfrm>
            <a:off x="0" y="0"/>
            <a:ext cx="6096000" cy="68580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1">
            <a:extLst>
              <a:ext uri="{FF2B5EF4-FFF2-40B4-BE49-F238E27FC236}">
                <a16:creationId xmlns:a16="http://schemas.microsoft.com/office/drawing/2014/main" id="{E8702E8D-AEBF-49D4-9D69-00802EFEB718}"/>
              </a:ext>
            </a:extLst>
          </p:cNvPr>
          <p:cNvSpPr>
            <a:spLocks noGrp="1"/>
          </p:cNvSpPr>
          <p:nvPr>
            <p:ph type="body" sz="quarter" idx="12"/>
          </p:nvPr>
        </p:nvSpPr>
        <p:spPr>
          <a:xfrm>
            <a:off x="6350000" y="2141538"/>
            <a:ext cx="5537200" cy="3141662"/>
          </a:xfrm>
        </p:spPr>
        <p:txBody>
          <a:bodyPr>
            <a:normAutofit/>
          </a:bodyPr>
          <a:lstStyle>
            <a:lvl1pPr marL="0" indent="0">
              <a:buNone/>
              <a:defRPr sz="2200"/>
            </a:lvl1pPr>
            <a:lvl2pPr marL="228600" indent="-169863">
              <a:lnSpc>
                <a:spcPct val="100000"/>
              </a:lnSpc>
              <a:spcBef>
                <a:spcPts val="1200"/>
              </a:spcBef>
              <a:spcAft>
                <a:spcPts val="1200"/>
              </a:spcAft>
              <a:defRPr sz="1800"/>
            </a:lvl2pPr>
            <a:lvl3pPr>
              <a:defRPr sz="1800"/>
            </a:lvl3pPr>
            <a:lvl4pPr>
              <a:defRPr sz="1600"/>
            </a:lvl4pPr>
            <a:lvl5pPr>
              <a:defRPr sz="1600"/>
            </a:lvl5pPr>
          </a:lstStyle>
          <a:p>
            <a:pPr lvl="0"/>
            <a:r>
              <a:rPr lang="en-US" dirty="0"/>
              <a:t>Click to edit Master text styles</a:t>
            </a:r>
          </a:p>
          <a:p>
            <a:pPr lvl="1"/>
            <a:r>
              <a:rPr lang="en-US" dirty="0"/>
              <a:t>Second level</a:t>
            </a:r>
          </a:p>
        </p:txBody>
      </p:sp>
      <p:sp>
        <p:nvSpPr>
          <p:cNvPr id="21" name="Text Placeholder 11">
            <a:extLst>
              <a:ext uri="{FF2B5EF4-FFF2-40B4-BE49-F238E27FC236}">
                <a16:creationId xmlns:a16="http://schemas.microsoft.com/office/drawing/2014/main" id="{573E487D-389A-425E-93B1-6E466DB120CE}"/>
              </a:ext>
            </a:extLst>
          </p:cNvPr>
          <p:cNvSpPr>
            <a:spLocks noGrp="1"/>
          </p:cNvSpPr>
          <p:nvPr>
            <p:ph type="body" sz="quarter" idx="14" hasCustomPrompt="1"/>
          </p:nvPr>
        </p:nvSpPr>
        <p:spPr>
          <a:xfrm>
            <a:off x="558800"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4400" b="1" cap="all" baseline="0">
                <a:solidFill>
                  <a:schemeClr val="bg1"/>
                </a:solidFill>
                <a:latin typeface="+mj-lt"/>
              </a:defRPr>
            </a:lvl1pPr>
            <a:lvl2pPr marL="0" indent="0">
              <a:buNone/>
              <a:defRPr sz="2000">
                <a:solidFill>
                  <a:schemeClr val="bg1"/>
                </a:solidFill>
              </a:defRPr>
            </a:lvl2pPr>
            <a:lvl3pPr>
              <a:defRPr sz="1800"/>
            </a:lvl3pPr>
            <a:lvl4pPr>
              <a:defRPr sz="1600"/>
            </a:lvl4pPr>
            <a:lvl5pPr>
              <a:defRPr sz="1600"/>
            </a:lvl5pPr>
          </a:lstStyle>
          <a:p>
            <a:pPr lvl="0"/>
            <a:r>
              <a:rPr lang="en-US" dirty="0"/>
              <a:t>Title</a:t>
            </a:r>
          </a:p>
        </p:txBody>
      </p:sp>
      <p:sp>
        <p:nvSpPr>
          <p:cNvPr id="22" name="Subtitle 2">
            <a:extLst>
              <a:ext uri="{FF2B5EF4-FFF2-40B4-BE49-F238E27FC236}">
                <a16:creationId xmlns:a16="http://schemas.microsoft.com/office/drawing/2014/main" id="{08ACE488-B9EE-4F80-9093-0D25C49D3C1D}"/>
              </a:ext>
            </a:extLst>
          </p:cNvPr>
          <p:cNvSpPr>
            <a:spLocks noGrp="1"/>
          </p:cNvSpPr>
          <p:nvPr>
            <p:ph type="subTitle" idx="1"/>
          </p:nvPr>
        </p:nvSpPr>
        <p:spPr>
          <a:xfrm>
            <a:off x="554567" y="3383632"/>
            <a:ext cx="4986867" cy="1975764"/>
          </a:xfrm>
        </p:spPr>
        <p:txBody>
          <a:bodyPr>
            <a:normAutofit/>
          </a:bodyPr>
          <a:lstStyle>
            <a:lvl1pPr marL="0" indent="0" algn="l">
              <a:buNone/>
              <a:defRPr sz="22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A5D6F820-5DA9-442B-93E8-9740D3002517}"/>
              </a:ext>
            </a:extLst>
          </p:cNvPr>
          <p:cNvSpPr>
            <a:spLocks noGrp="1"/>
          </p:cNvSpPr>
          <p:nvPr>
            <p:ph type="sldNum" sz="quarter" idx="15"/>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a:t>
            </a:fld>
            <a:endParaRPr lang="en-US" dirty="0"/>
          </a:p>
        </p:txBody>
      </p:sp>
      <p:sp>
        <p:nvSpPr>
          <p:cNvPr id="6" name="TextBox 5" hidden="1">
            <a:extLst>
              <a:ext uri="{FF2B5EF4-FFF2-40B4-BE49-F238E27FC236}">
                <a16:creationId xmlns:a16="http://schemas.microsoft.com/office/drawing/2014/main" id="{39D2C925-BE4C-4057-86A9-05FBB940D62D}"/>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50000"/>
                  </a:schemeClr>
                </a:solidFill>
              </a:rPr>
              <a:t>© 2019 Rotary International. Internal Use Only. Not For Distribution. Private and Confidential.</a:t>
            </a:r>
          </a:p>
        </p:txBody>
      </p:sp>
    </p:spTree>
    <p:extLst>
      <p:ext uri="{BB962C8B-B14F-4D97-AF65-F5344CB8AC3E}">
        <p14:creationId xmlns:p14="http://schemas.microsoft.com/office/powerpoint/2010/main" val="698122187"/>
      </p:ext>
    </p:extLst>
  </p:cSld>
  <p:clrMapOvr>
    <a:masterClrMapping/>
  </p:clrMapOvr>
  <p:extLst>
    <p:ext uri="{DCECCB84-F9BA-43D5-87BE-67443E8EF086}">
      <p15:sldGuideLst xmlns:p15="http://schemas.microsoft.com/office/powerpoint/2012/main">
        <p15:guide id="1" pos="381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FE6C60-BD51-4C06-972B-D598C068A30B}"/>
              </a:ext>
            </a:extLst>
          </p:cNvPr>
          <p:cNvSpPr/>
          <p:nvPr userDrawn="1"/>
        </p:nvSpPr>
        <p:spPr>
          <a:xfrm>
            <a:off x="6096000" y="0"/>
            <a:ext cx="6096000" cy="68580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Picture Placeholder 2">
            <a:extLst>
              <a:ext uri="{FF2B5EF4-FFF2-40B4-BE49-F238E27FC236}">
                <a16:creationId xmlns:a16="http://schemas.microsoft.com/office/drawing/2014/main" id="{24D0FBAC-275F-4558-B592-D14B0D074268}"/>
              </a:ext>
            </a:extLst>
          </p:cNvPr>
          <p:cNvSpPr>
            <a:spLocks noGrp="1"/>
          </p:cNvSpPr>
          <p:nvPr>
            <p:ph type="pic" sz="quarter" idx="15"/>
          </p:nvPr>
        </p:nvSpPr>
        <p:spPr>
          <a:xfrm>
            <a:off x="6519863" y="398463"/>
            <a:ext cx="5265737" cy="6019800"/>
          </a:xfrm>
        </p:spPr>
        <p:txBody>
          <a:bodyPr/>
          <a:lstStyle/>
          <a:p>
            <a:endParaRPr lang="en-US" dirty="0"/>
          </a:p>
        </p:txBody>
      </p:sp>
      <p:sp>
        <p:nvSpPr>
          <p:cNvPr id="10" name="Text Placeholder 11">
            <a:extLst>
              <a:ext uri="{FF2B5EF4-FFF2-40B4-BE49-F238E27FC236}">
                <a16:creationId xmlns:a16="http://schemas.microsoft.com/office/drawing/2014/main" id="{F4016360-4C79-4F76-A938-3BBB6229913D}"/>
              </a:ext>
            </a:extLst>
          </p:cNvPr>
          <p:cNvSpPr>
            <a:spLocks noGrp="1"/>
          </p:cNvSpPr>
          <p:nvPr>
            <p:ph type="body" sz="quarter" idx="14" hasCustomPrompt="1"/>
          </p:nvPr>
        </p:nvSpPr>
        <p:spPr>
          <a:xfrm>
            <a:off x="558800" y="2141538"/>
            <a:ext cx="4978400" cy="1135062"/>
          </a:xfrm>
          <a:ln w="25400">
            <a:gradFill flip="none" rotWithShape="1">
              <a:gsLst>
                <a:gs pos="100000">
                  <a:srgbClr val="333333"/>
                </a:gs>
                <a:gs pos="97000">
                  <a:schemeClr val="bg1">
                    <a:alpha val="0"/>
                  </a:schemeClr>
                </a:gs>
              </a:gsLst>
              <a:lin ang="5400000" scaled="1"/>
              <a:tileRect/>
            </a:gradFill>
          </a:ln>
        </p:spPr>
        <p:txBody>
          <a:bodyPr anchor="b">
            <a:noAutofit/>
          </a:bodyPr>
          <a:lstStyle>
            <a:lvl1pPr marL="0" indent="0">
              <a:buNone/>
              <a:defRPr sz="4400" b="1" cap="all" baseline="0">
                <a:solidFill>
                  <a:srgbClr val="333333"/>
                </a:solidFill>
                <a:latin typeface="+mj-lt"/>
              </a:defRPr>
            </a:lvl1pPr>
            <a:lvl2pPr marL="0" indent="0">
              <a:buNone/>
              <a:defRPr sz="2000">
                <a:solidFill>
                  <a:schemeClr val="bg1"/>
                </a:solidFill>
              </a:defRPr>
            </a:lvl2pPr>
            <a:lvl3pPr>
              <a:defRPr sz="1800"/>
            </a:lvl3pPr>
            <a:lvl4pPr>
              <a:defRPr sz="1600"/>
            </a:lvl4pPr>
            <a:lvl5pPr>
              <a:defRPr sz="1600"/>
            </a:lvl5pPr>
          </a:lstStyle>
          <a:p>
            <a:pPr lvl="0"/>
            <a:r>
              <a:rPr lang="en-US" dirty="0"/>
              <a:t>Title</a:t>
            </a:r>
          </a:p>
        </p:txBody>
      </p:sp>
      <p:sp>
        <p:nvSpPr>
          <p:cNvPr id="11" name="Subtitle 2">
            <a:extLst>
              <a:ext uri="{FF2B5EF4-FFF2-40B4-BE49-F238E27FC236}">
                <a16:creationId xmlns:a16="http://schemas.microsoft.com/office/drawing/2014/main" id="{E1D181C7-949B-4052-9076-6B318782A374}"/>
              </a:ext>
            </a:extLst>
          </p:cNvPr>
          <p:cNvSpPr>
            <a:spLocks noGrp="1"/>
          </p:cNvSpPr>
          <p:nvPr>
            <p:ph type="subTitle" idx="1"/>
          </p:nvPr>
        </p:nvSpPr>
        <p:spPr>
          <a:xfrm>
            <a:off x="554567" y="3383632"/>
            <a:ext cx="4986867" cy="1975764"/>
          </a:xfrm>
        </p:spPr>
        <p:txBody>
          <a:bodyPr>
            <a:normAutofit/>
          </a:bodyPr>
          <a:lstStyle>
            <a:lvl1pPr marL="0" indent="0" algn="l">
              <a:buNone/>
              <a:defRPr sz="2200">
                <a:solidFill>
                  <a:srgbClr val="33333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extBox 5" hidden="1">
            <a:extLst>
              <a:ext uri="{FF2B5EF4-FFF2-40B4-BE49-F238E27FC236}">
                <a16:creationId xmlns:a16="http://schemas.microsoft.com/office/drawing/2014/main" id="{3F4EF337-F8F4-4151-B616-10707ECBE95F}"/>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7" name="Slide Number Placeholder 5">
            <a:extLst>
              <a:ext uri="{FF2B5EF4-FFF2-40B4-BE49-F238E27FC236}">
                <a16:creationId xmlns:a16="http://schemas.microsoft.com/office/drawing/2014/main" id="{CEA03AD6-A795-41C0-B0E9-C5E66A8C8FF8}"/>
              </a:ext>
            </a:extLst>
          </p:cNvPr>
          <p:cNvSpPr>
            <a:spLocks noGrp="1"/>
          </p:cNvSpPr>
          <p:nvPr>
            <p:ph type="sldNum" sz="quarter" idx="12"/>
          </p:nvPr>
        </p:nvSpPr>
        <p:spPr>
          <a:xfrm>
            <a:off x="11650133" y="115570"/>
            <a:ext cx="423334" cy="365125"/>
          </a:xfrm>
        </p:spPr>
        <p:txBody>
          <a:bodyPr/>
          <a:lstStyle>
            <a:lvl1pPr>
              <a:defRPr>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4991654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722F4C2-6B86-403A-A8D3-B5878DFE215D}"/>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10" name="Freeform: Shape 9">
            <a:extLst>
              <a:ext uri="{FF2B5EF4-FFF2-40B4-BE49-F238E27FC236}">
                <a16:creationId xmlns:a16="http://schemas.microsoft.com/office/drawing/2014/main" id="{BF50ABD3-1E0C-4476-A263-45C0B39B6727}"/>
              </a:ext>
            </a:extLst>
          </p:cNvPr>
          <p:cNvSpPr/>
          <p:nvPr userDrawn="1"/>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274320" rtlCol="0" anchor="b">
            <a:noAutofit/>
          </a:bodyPr>
          <a:lstStyle/>
          <a:p>
            <a:pPr algn="l"/>
            <a:r>
              <a:rPr lang="en-US" dirty="0">
                <a:solidFill>
                  <a:schemeClr val="lt1">
                    <a:alpha val="0"/>
                  </a:schemeClr>
                </a:solidFill>
              </a:rPr>
              <a:t>z</a:t>
            </a:r>
          </a:p>
        </p:txBody>
      </p:sp>
      <p:sp>
        <p:nvSpPr>
          <p:cNvPr id="9" name="Text Placeholder 8">
            <a:extLst>
              <a:ext uri="{FF2B5EF4-FFF2-40B4-BE49-F238E27FC236}">
                <a16:creationId xmlns:a16="http://schemas.microsoft.com/office/drawing/2014/main" id="{58FA3288-E931-4B57-91D2-DD2960072EA8}"/>
              </a:ext>
            </a:extLst>
          </p:cNvPr>
          <p:cNvSpPr>
            <a:spLocks noGrp="1"/>
          </p:cNvSpPr>
          <p:nvPr>
            <p:ph type="body" sz="quarter" idx="16" hasCustomPrompt="1"/>
          </p:nvPr>
        </p:nvSpPr>
        <p:spPr>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539049 w 6096000"/>
              <a:gd name="connsiteY3" fmla="*/ 6858000 h 6858000"/>
              <a:gd name="connsiteX4" fmla="*/ 0 w 6096000"/>
              <a:gd name="connsiteY4" fmla="*/ 6858000 h 6858000"/>
              <a:gd name="connsiteX5" fmla="*/ 0 w 6096000"/>
              <a:gd name="connsiteY5"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858000">
                <a:moveTo>
                  <a:pt x="0" y="0"/>
                </a:moveTo>
                <a:lnTo>
                  <a:pt x="6096000" y="0"/>
                </a:lnTo>
                <a:lnTo>
                  <a:pt x="6096000" y="6858000"/>
                </a:lnTo>
                <a:lnTo>
                  <a:pt x="4539049" y="6858000"/>
                </a:lnTo>
                <a:lnTo>
                  <a:pt x="0" y="6858000"/>
                </a:lnTo>
                <a:lnTo>
                  <a:pt x="0" y="6273113"/>
                </a:lnTo>
                <a:close/>
              </a:path>
            </a:pathLst>
          </a:custGeom>
          <a:solidFill>
            <a:srgbClr val="01B4E7">
              <a:alpha val="38000"/>
            </a:srgbClr>
          </a:solidFill>
        </p:spPr>
        <p:txBody>
          <a:bodyPr wrap="square" anchor="b">
            <a:noAutofit/>
          </a:bodyPr>
          <a:lstStyle>
            <a:lvl1pPr marL="0" indent="0" algn="r">
              <a:buNone/>
              <a:defRPr>
                <a:solidFill>
                  <a:schemeClr val="tx1">
                    <a:alpha val="0"/>
                  </a:schemeClr>
                </a:solidFill>
              </a:defRPr>
            </a:lvl1pPr>
          </a:lstStyle>
          <a:p>
            <a:pPr lvl="0"/>
            <a:r>
              <a:rPr lang="en-US" dirty="0"/>
              <a:t>c</a:t>
            </a:r>
          </a:p>
        </p:txBody>
      </p:sp>
      <p:sp>
        <p:nvSpPr>
          <p:cNvPr id="25" name="Text Placeholder 11">
            <a:extLst>
              <a:ext uri="{FF2B5EF4-FFF2-40B4-BE49-F238E27FC236}">
                <a16:creationId xmlns:a16="http://schemas.microsoft.com/office/drawing/2014/main" id="{C02B76E2-7589-4337-BF82-0C18E133FEF9}"/>
              </a:ext>
            </a:extLst>
          </p:cNvPr>
          <p:cNvSpPr>
            <a:spLocks noGrp="1"/>
          </p:cNvSpPr>
          <p:nvPr>
            <p:ph type="body" sz="quarter" idx="14" hasCustomPrompt="1"/>
          </p:nvPr>
        </p:nvSpPr>
        <p:spPr>
          <a:xfrm>
            <a:off x="558800"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4400" b="1" cap="all" baseline="0">
                <a:solidFill>
                  <a:schemeClr val="bg1"/>
                </a:solidFill>
                <a:latin typeface="+mj-lt"/>
              </a:defRPr>
            </a:lvl1pPr>
            <a:lvl2pPr marL="0" indent="0">
              <a:buNone/>
              <a:defRPr sz="2000">
                <a:solidFill>
                  <a:schemeClr val="bg1"/>
                </a:solidFill>
              </a:defRPr>
            </a:lvl2pPr>
            <a:lvl3pPr>
              <a:defRPr sz="1800"/>
            </a:lvl3pPr>
            <a:lvl4pPr>
              <a:defRPr sz="1600"/>
            </a:lvl4pPr>
            <a:lvl5pPr>
              <a:defRPr sz="1600"/>
            </a:lvl5pPr>
          </a:lstStyle>
          <a:p>
            <a:pPr lvl="0"/>
            <a:r>
              <a:rPr lang="en-US" dirty="0"/>
              <a:t>Title</a:t>
            </a:r>
          </a:p>
        </p:txBody>
      </p:sp>
      <p:sp>
        <p:nvSpPr>
          <p:cNvPr id="26" name="Subtitle 2">
            <a:extLst>
              <a:ext uri="{FF2B5EF4-FFF2-40B4-BE49-F238E27FC236}">
                <a16:creationId xmlns:a16="http://schemas.microsoft.com/office/drawing/2014/main" id="{4E8986D0-5FBE-4E27-A81A-78A0B31033D2}"/>
              </a:ext>
            </a:extLst>
          </p:cNvPr>
          <p:cNvSpPr>
            <a:spLocks noGrp="1"/>
          </p:cNvSpPr>
          <p:nvPr>
            <p:ph type="subTitle" idx="1"/>
          </p:nvPr>
        </p:nvSpPr>
        <p:spPr>
          <a:xfrm>
            <a:off x="554567" y="3383632"/>
            <a:ext cx="4986867" cy="1975764"/>
          </a:xfrm>
        </p:spPr>
        <p:txBody>
          <a:bodyPr>
            <a:normAutofit/>
          </a:bodyPr>
          <a:lstStyle>
            <a:lvl1pPr marL="0" indent="0" algn="l">
              <a:buNone/>
              <a:defRPr sz="22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Slide Number Placeholder 5">
            <a:extLst>
              <a:ext uri="{FF2B5EF4-FFF2-40B4-BE49-F238E27FC236}">
                <a16:creationId xmlns:a16="http://schemas.microsoft.com/office/drawing/2014/main" id="{1D36450B-DFC0-48BB-9AD4-A3DF476727D3}"/>
              </a:ext>
            </a:extLst>
          </p:cNvPr>
          <p:cNvSpPr>
            <a:spLocks noGrp="1"/>
          </p:cNvSpPr>
          <p:nvPr>
            <p:ph type="sldNum" sz="quarter" idx="12"/>
          </p:nvPr>
        </p:nvSpPr>
        <p:spPr>
          <a:xfrm>
            <a:off x="11650133" y="115570"/>
            <a:ext cx="423334" cy="365125"/>
          </a:xfrm>
        </p:spPr>
        <p:txBody>
          <a:bodyPr/>
          <a:lstStyle>
            <a:lvl1pPr>
              <a:defRPr>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4251405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AD4D34A-C4B4-4E86-86B7-06FF73876E2C}"/>
              </a:ext>
            </a:extLst>
          </p:cNvPr>
          <p:cNvSpPr>
            <a:spLocks noGrp="1"/>
          </p:cNvSpPr>
          <p:nvPr>
            <p:ph type="pic" sz="quarter" idx="17"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r>
              <a:rPr lang="en-US" dirty="0"/>
              <a:t> </a:t>
            </a:r>
          </a:p>
        </p:txBody>
      </p:sp>
      <p:sp>
        <p:nvSpPr>
          <p:cNvPr id="10" name="Text Placeholder 9">
            <a:extLst>
              <a:ext uri="{FF2B5EF4-FFF2-40B4-BE49-F238E27FC236}">
                <a16:creationId xmlns:a16="http://schemas.microsoft.com/office/drawing/2014/main" id="{C7190B4B-2C55-4D6B-AE33-C261461E66A0}"/>
              </a:ext>
            </a:extLst>
          </p:cNvPr>
          <p:cNvSpPr>
            <a:spLocks noGrp="1"/>
          </p:cNvSpPr>
          <p:nvPr>
            <p:ph type="body" sz="quarter" idx="18" hasCustomPrompt="1"/>
          </p:nvPr>
        </p:nvSpPr>
        <p:spPr>
          <a:xfrm>
            <a:off x="6096000" y="0"/>
            <a:ext cx="6096000" cy="6858000"/>
          </a:xfrm>
          <a:custGeom>
            <a:avLst/>
            <a:gdLst>
              <a:gd name="connsiteX0" fmla="*/ 5850675 w 6096000"/>
              <a:gd name="connsiteY0" fmla="*/ 6677576 h 6858000"/>
              <a:gd name="connsiteX1" fmla="*/ 5856788 w 6096000"/>
              <a:gd name="connsiteY1" fmla="*/ 6677576 h 6858000"/>
              <a:gd name="connsiteX2" fmla="*/ 5862183 w 6096000"/>
              <a:gd name="connsiteY2" fmla="*/ 6678151 h 6858000"/>
              <a:gd name="connsiteX3" fmla="*/ 5864461 w 6096000"/>
              <a:gd name="connsiteY3" fmla="*/ 6679894 h 6858000"/>
              <a:gd name="connsiteX4" fmla="*/ 5865281 w 6096000"/>
              <a:gd name="connsiteY4" fmla="*/ 6682541 h 6858000"/>
              <a:gd name="connsiteX5" fmla="*/ 5863578 w 6096000"/>
              <a:gd name="connsiteY5" fmla="*/ 6686233 h 6858000"/>
              <a:gd name="connsiteX6" fmla="*/ 5857198 w 6096000"/>
              <a:gd name="connsiteY6" fmla="*/ 6687628 h 6858000"/>
              <a:gd name="connsiteX7" fmla="*/ 5850675 w 6096000"/>
              <a:gd name="connsiteY7" fmla="*/ 6687628 h 6858000"/>
              <a:gd name="connsiteX8" fmla="*/ 5845300 w 6096000"/>
              <a:gd name="connsiteY8" fmla="*/ 6673064 h 6858000"/>
              <a:gd name="connsiteX9" fmla="*/ 5845300 w 6096000"/>
              <a:gd name="connsiteY9" fmla="*/ 6706378 h 6858000"/>
              <a:gd name="connsiteX10" fmla="*/ 5850675 w 6096000"/>
              <a:gd name="connsiteY10" fmla="*/ 6706378 h 6858000"/>
              <a:gd name="connsiteX11" fmla="*/ 5850675 w 6096000"/>
              <a:gd name="connsiteY11" fmla="*/ 6692224 h 6858000"/>
              <a:gd name="connsiteX12" fmla="*/ 5853834 w 6096000"/>
              <a:gd name="connsiteY12" fmla="*/ 6692224 h 6858000"/>
              <a:gd name="connsiteX13" fmla="*/ 5858142 w 6096000"/>
              <a:gd name="connsiteY13" fmla="*/ 6693372 h 6858000"/>
              <a:gd name="connsiteX14" fmla="*/ 5863762 w 6096000"/>
              <a:gd name="connsiteY14" fmla="*/ 6701126 h 6858000"/>
              <a:gd name="connsiteX15" fmla="*/ 5866717 w 6096000"/>
              <a:gd name="connsiteY15" fmla="*/ 6706378 h 6858000"/>
              <a:gd name="connsiteX16" fmla="*/ 5873281 w 6096000"/>
              <a:gd name="connsiteY16" fmla="*/ 6706378 h 6858000"/>
              <a:gd name="connsiteX17" fmla="*/ 5869220 w 6096000"/>
              <a:gd name="connsiteY17" fmla="*/ 6699854 h 6858000"/>
              <a:gd name="connsiteX18" fmla="*/ 5864296 w 6096000"/>
              <a:gd name="connsiteY18" fmla="*/ 6693249 h 6858000"/>
              <a:gd name="connsiteX19" fmla="*/ 5861466 w 6096000"/>
              <a:gd name="connsiteY19" fmla="*/ 6691485 h 6858000"/>
              <a:gd name="connsiteX20" fmla="*/ 5868378 w 6096000"/>
              <a:gd name="connsiteY20" fmla="*/ 6688449 h 6858000"/>
              <a:gd name="connsiteX21" fmla="*/ 5870983 w 6096000"/>
              <a:gd name="connsiteY21" fmla="*/ 6682090 h 6858000"/>
              <a:gd name="connsiteX22" fmla="*/ 5869424 w 6096000"/>
              <a:gd name="connsiteY22" fmla="*/ 6677207 h 6858000"/>
              <a:gd name="connsiteX23" fmla="*/ 5865239 w 6096000"/>
              <a:gd name="connsiteY23" fmla="*/ 6673987 h 6858000"/>
              <a:gd name="connsiteX24" fmla="*/ 5856747 w 6096000"/>
              <a:gd name="connsiteY24" fmla="*/ 6673064 h 6858000"/>
              <a:gd name="connsiteX25" fmla="*/ 4806089 w 6096000"/>
              <a:gd name="connsiteY25" fmla="*/ 6670493 h 6858000"/>
              <a:gd name="connsiteX26" fmla="*/ 4809603 w 6096000"/>
              <a:gd name="connsiteY26" fmla="*/ 6670493 h 6858000"/>
              <a:gd name="connsiteX27" fmla="*/ 4809603 w 6096000"/>
              <a:gd name="connsiteY27" fmla="*/ 6674034 h 6858000"/>
              <a:gd name="connsiteX28" fmla="*/ 4781492 w 6096000"/>
              <a:gd name="connsiteY28" fmla="*/ 6709456 h 6858000"/>
              <a:gd name="connsiteX29" fmla="*/ 4763922 w 6096000"/>
              <a:gd name="connsiteY29" fmla="*/ 6691746 h 6858000"/>
              <a:gd name="connsiteX30" fmla="*/ 4806089 w 6096000"/>
              <a:gd name="connsiteY30" fmla="*/ 6670493 h 6858000"/>
              <a:gd name="connsiteX31" fmla="*/ 5858881 w 6096000"/>
              <a:gd name="connsiteY31" fmla="*/ 6663422 h 6858000"/>
              <a:gd name="connsiteX32" fmla="*/ 5871558 w 6096000"/>
              <a:gd name="connsiteY32" fmla="*/ 6666766 h 6858000"/>
              <a:gd name="connsiteX33" fmla="*/ 5881220 w 6096000"/>
              <a:gd name="connsiteY33" fmla="*/ 6676325 h 6858000"/>
              <a:gd name="connsiteX34" fmla="*/ 5884687 w 6096000"/>
              <a:gd name="connsiteY34" fmla="*/ 6689269 h 6858000"/>
              <a:gd name="connsiteX35" fmla="*/ 5881282 w 6096000"/>
              <a:gd name="connsiteY35" fmla="*/ 6702090 h 6858000"/>
              <a:gd name="connsiteX36" fmla="*/ 5871722 w 6096000"/>
              <a:gd name="connsiteY36" fmla="*/ 6711650 h 6858000"/>
              <a:gd name="connsiteX37" fmla="*/ 5858881 w 6096000"/>
              <a:gd name="connsiteY37" fmla="*/ 6715076 h 6858000"/>
              <a:gd name="connsiteX38" fmla="*/ 5846039 w 6096000"/>
              <a:gd name="connsiteY38" fmla="*/ 6711650 h 6858000"/>
              <a:gd name="connsiteX39" fmla="*/ 5836459 w 6096000"/>
              <a:gd name="connsiteY39" fmla="*/ 6702090 h 6858000"/>
              <a:gd name="connsiteX40" fmla="*/ 5833033 w 6096000"/>
              <a:gd name="connsiteY40" fmla="*/ 6689269 h 6858000"/>
              <a:gd name="connsiteX41" fmla="*/ 5836521 w 6096000"/>
              <a:gd name="connsiteY41" fmla="*/ 6676325 h 6858000"/>
              <a:gd name="connsiteX42" fmla="*/ 5846183 w 6096000"/>
              <a:gd name="connsiteY42" fmla="*/ 6666766 h 6858000"/>
              <a:gd name="connsiteX43" fmla="*/ 5858881 w 6096000"/>
              <a:gd name="connsiteY43" fmla="*/ 6663422 h 6858000"/>
              <a:gd name="connsiteX44" fmla="*/ 5858881 w 6096000"/>
              <a:gd name="connsiteY44" fmla="*/ 6658294 h 6858000"/>
              <a:gd name="connsiteX45" fmla="*/ 5843660 w 6096000"/>
              <a:gd name="connsiteY45" fmla="*/ 6662294 h 6858000"/>
              <a:gd name="connsiteX46" fmla="*/ 5832069 w 6096000"/>
              <a:gd name="connsiteY46" fmla="*/ 6673741 h 6858000"/>
              <a:gd name="connsiteX47" fmla="*/ 5827904 w 6096000"/>
              <a:gd name="connsiteY47" fmla="*/ 6689269 h 6858000"/>
              <a:gd name="connsiteX48" fmla="*/ 5832007 w 6096000"/>
              <a:gd name="connsiteY48" fmla="*/ 6704655 h 6858000"/>
              <a:gd name="connsiteX49" fmla="*/ 5843474 w 6096000"/>
              <a:gd name="connsiteY49" fmla="*/ 6716122 h 6858000"/>
              <a:gd name="connsiteX50" fmla="*/ 5858881 w 6096000"/>
              <a:gd name="connsiteY50" fmla="*/ 6720204 h 6858000"/>
              <a:gd name="connsiteX51" fmla="*/ 5874287 w 6096000"/>
              <a:gd name="connsiteY51" fmla="*/ 6716122 h 6858000"/>
              <a:gd name="connsiteX52" fmla="*/ 5885733 w 6096000"/>
              <a:gd name="connsiteY52" fmla="*/ 6704655 h 6858000"/>
              <a:gd name="connsiteX53" fmla="*/ 5889815 w 6096000"/>
              <a:gd name="connsiteY53" fmla="*/ 6689269 h 6858000"/>
              <a:gd name="connsiteX54" fmla="*/ 5885671 w 6096000"/>
              <a:gd name="connsiteY54" fmla="*/ 6673741 h 6858000"/>
              <a:gd name="connsiteX55" fmla="*/ 5874101 w 6096000"/>
              <a:gd name="connsiteY55" fmla="*/ 6662294 h 6858000"/>
              <a:gd name="connsiteX56" fmla="*/ 5858881 w 6096000"/>
              <a:gd name="connsiteY56" fmla="*/ 6658294 h 6858000"/>
              <a:gd name="connsiteX57" fmla="*/ 4995685 w 6096000"/>
              <a:gd name="connsiteY57" fmla="*/ 6628842 h 6858000"/>
              <a:gd name="connsiteX58" fmla="*/ 5027259 w 6096000"/>
              <a:gd name="connsiteY58" fmla="*/ 6669149 h 6858000"/>
              <a:gd name="connsiteX59" fmla="*/ 4995685 w 6096000"/>
              <a:gd name="connsiteY59" fmla="*/ 6709455 h 6858000"/>
              <a:gd name="connsiteX60" fmla="*/ 4964111 w 6096000"/>
              <a:gd name="connsiteY60" fmla="*/ 6669149 h 6858000"/>
              <a:gd name="connsiteX61" fmla="*/ 4995685 w 6096000"/>
              <a:gd name="connsiteY61" fmla="*/ 6628842 h 6858000"/>
              <a:gd name="connsiteX62" fmla="*/ 4685998 w 6096000"/>
              <a:gd name="connsiteY62" fmla="*/ 6628842 h 6858000"/>
              <a:gd name="connsiteX63" fmla="*/ 4714212 w 6096000"/>
              <a:gd name="connsiteY63" fmla="*/ 6669149 h 6858000"/>
              <a:gd name="connsiteX64" fmla="*/ 4685998 w 6096000"/>
              <a:gd name="connsiteY64" fmla="*/ 6709455 h 6858000"/>
              <a:gd name="connsiteX65" fmla="*/ 4657783 w 6096000"/>
              <a:gd name="connsiteY65" fmla="*/ 6669149 h 6858000"/>
              <a:gd name="connsiteX66" fmla="*/ 4685998 w 6096000"/>
              <a:gd name="connsiteY66" fmla="*/ 6628842 h 6858000"/>
              <a:gd name="connsiteX67" fmla="*/ 4373622 w 6096000"/>
              <a:gd name="connsiteY67" fmla="*/ 6628842 h 6858000"/>
              <a:gd name="connsiteX68" fmla="*/ 4405196 w 6096000"/>
              <a:gd name="connsiteY68" fmla="*/ 6669149 h 6858000"/>
              <a:gd name="connsiteX69" fmla="*/ 4373622 w 6096000"/>
              <a:gd name="connsiteY69" fmla="*/ 6709455 h 6858000"/>
              <a:gd name="connsiteX70" fmla="*/ 4342048 w 6096000"/>
              <a:gd name="connsiteY70" fmla="*/ 6669149 h 6858000"/>
              <a:gd name="connsiteX71" fmla="*/ 4373622 w 6096000"/>
              <a:gd name="connsiteY71" fmla="*/ 6628842 h 6858000"/>
              <a:gd name="connsiteX72" fmla="*/ 4918562 w 6096000"/>
              <a:gd name="connsiteY72" fmla="*/ 6623595 h 6858000"/>
              <a:gd name="connsiteX73" fmla="*/ 4918562 w 6096000"/>
              <a:gd name="connsiteY73" fmla="*/ 6719555 h 6858000"/>
              <a:gd name="connsiteX74" fmla="*/ 4930851 w 6096000"/>
              <a:gd name="connsiteY74" fmla="*/ 6719555 h 6858000"/>
              <a:gd name="connsiteX75" fmla="*/ 4930851 w 6096000"/>
              <a:gd name="connsiteY75" fmla="*/ 6623595 h 6858000"/>
              <a:gd name="connsiteX76" fmla="*/ 5062189 w 6096000"/>
              <a:gd name="connsiteY76" fmla="*/ 6622125 h 6858000"/>
              <a:gd name="connsiteX77" fmla="*/ 5062189 w 6096000"/>
              <a:gd name="connsiteY77" fmla="*/ 6646508 h 6858000"/>
              <a:gd name="connsiteX78" fmla="*/ 5062189 w 6096000"/>
              <a:gd name="connsiteY78" fmla="*/ 6716173 h 6858000"/>
              <a:gd name="connsiteX79" fmla="*/ 5076009 w 6096000"/>
              <a:gd name="connsiteY79" fmla="*/ 6716173 h 6858000"/>
              <a:gd name="connsiteX80" fmla="*/ 5076009 w 6096000"/>
              <a:gd name="connsiteY80" fmla="*/ 6663924 h 6858000"/>
              <a:gd name="connsiteX81" fmla="*/ 5103648 w 6096000"/>
              <a:gd name="connsiteY81" fmla="*/ 6629091 h 6858000"/>
              <a:gd name="connsiteX82" fmla="*/ 5124377 w 6096000"/>
              <a:gd name="connsiteY82" fmla="*/ 6660441 h 6858000"/>
              <a:gd name="connsiteX83" fmla="*/ 5124377 w 6096000"/>
              <a:gd name="connsiteY83" fmla="*/ 6716173 h 6858000"/>
              <a:gd name="connsiteX84" fmla="*/ 5134741 w 6096000"/>
              <a:gd name="connsiteY84" fmla="*/ 6716173 h 6858000"/>
              <a:gd name="connsiteX85" fmla="*/ 5134741 w 6096000"/>
              <a:gd name="connsiteY85" fmla="*/ 6656957 h 6858000"/>
              <a:gd name="connsiteX86" fmla="*/ 5103648 w 6096000"/>
              <a:gd name="connsiteY86" fmla="*/ 6622125 h 6858000"/>
              <a:gd name="connsiteX87" fmla="*/ 5072554 w 6096000"/>
              <a:gd name="connsiteY87" fmla="*/ 6639541 h 6858000"/>
              <a:gd name="connsiteX88" fmla="*/ 5072554 w 6096000"/>
              <a:gd name="connsiteY88" fmla="*/ 6622125 h 6858000"/>
              <a:gd name="connsiteX89" fmla="*/ 5062189 w 6096000"/>
              <a:gd name="connsiteY89" fmla="*/ 6622125 h 6858000"/>
              <a:gd name="connsiteX90" fmla="*/ 4992997 w 6096000"/>
              <a:gd name="connsiteY90" fmla="*/ 6622125 h 6858000"/>
              <a:gd name="connsiteX91" fmla="*/ 4949332 w 6096000"/>
              <a:gd name="connsiteY91" fmla="*/ 6671165 h 6858000"/>
              <a:gd name="connsiteX92" fmla="*/ 4992997 w 6096000"/>
              <a:gd name="connsiteY92" fmla="*/ 6720204 h 6858000"/>
              <a:gd name="connsiteX93" fmla="*/ 5036662 w 6096000"/>
              <a:gd name="connsiteY93" fmla="*/ 6671165 h 6858000"/>
              <a:gd name="connsiteX94" fmla="*/ 4992997 w 6096000"/>
              <a:gd name="connsiteY94" fmla="*/ 6622125 h 6858000"/>
              <a:gd name="connsiteX95" fmla="*/ 4787851 w 6096000"/>
              <a:gd name="connsiteY95" fmla="*/ 6622125 h 6858000"/>
              <a:gd name="connsiteX96" fmla="*/ 4759700 w 6096000"/>
              <a:gd name="connsiteY96" fmla="*/ 6625628 h 6858000"/>
              <a:gd name="connsiteX97" fmla="*/ 4759700 w 6096000"/>
              <a:gd name="connsiteY97" fmla="*/ 6639639 h 6858000"/>
              <a:gd name="connsiteX98" fmla="*/ 4787851 w 6096000"/>
              <a:gd name="connsiteY98" fmla="*/ 6629131 h 6858000"/>
              <a:gd name="connsiteX99" fmla="*/ 4808964 w 6096000"/>
              <a:gd name="connsiteY99" fmla="*/ 6653651 h 6858000"/>
              <a:gd name="connsiteX100" fmla="*/ 4808964 w 6096000"/>
              <a:gd name="connsiteY100" fmla="*/ 6660656 h 6858000"/>
              <a:gd name="connsiteX101" fmla="*/ 4749144 w 6096000"/>
              <a:gd name="connsiteY101" fmla="*/ 6692181 h 6858000"/>
              <a:gd name="connsiteX102" fmla="*/ 4780813 w 6096000"/>
              <a:gd name="connsiteY102" fmla="*/ 6720204 h 6858000"/>
              <a:gd name="connsiteX103" fmla="*/ 4808964 w 6096000"/>
              <a:gd name="connsiteY103" fmla="*/ 6702690 h 6858000"/>
              <a:gd name="connsiteX104" fmla="*/ 4812483 w 6096000"/>
              <a:gd name="connsiteY104" fmla="*/ 6702690 h 6858000"/>
              <a:gd name="connsiteX105" fmla="*/ 4812483 w 6096000"/>
              <a:gd name="connsiteY105" fmla="*/ 6716701 h 6858000"/>
              <a:gd name="connsiteX106" fmla="*/ 4823039 w 6096000"/>
              <a:gd name="connsiteY106" fmla="*/ 6716701 h 6858000"/>
              <a:gd name="connsiteX107" fmla="*/ 4823039 w 6096000"/>
              <a:gd name="connsiteY107" fmla="*/ 6699187 h 6858000"/>
              <a:gd name="connsiteX108" fmla="*/ 4823039 w 6096000"/>
              <a:gd name="connsiteY108" fmla="*/ 6657154 h 6858000"/>
              <a:gd name="connsiteX109" fmla="*/ 4787851 w 6096000"/>
              <a:gd name="connsiteY109" fmla="*/ 6622125 h 6858000"/>
              <a:gd name="connsiteX110" fmla="*/ 4546268 w 6096000"/>
              <a:gd name="connsiteY110" fmla="*/ 6622125 h 6858000"/>
              <a:gd name="connsiteX111" fmla="*/ 4546268 w 6096000"/>
              <a:gd name="connsiteY111" fmla="*/ 6646508 h 6858000"/>
              <a:gd name="connsiteX112" fmla="*/ 4546268 w 6096000"/>
              <a:gd name="connsiteY112" fmla="*/ 6716173 h 6858000"/>
              <a:gd name="connsiteX113" fmla="*/ 4560343 w 6096000"/>
              <a:gd name="connsiteY113" fmla="*/ 6716173 h 6858000"/>
              <a:gd name="connsiteX114" fmla="*/ 4560343 w 6096000"/>
              <a:gd name="connsiteY114" fmla="*/ 6663924 h 6858000"/>
              <a:gd name="connsiteX115" fmla="*/ 4588494 w 6096000"/>
              <a:gd name="connsiteY115" fmla="*/ 6629091 h 6858000"/>
              <a:gd name="connsiteX116" fmla="*/ 4609607 w 6096000"/>
              <a:gd name="connsiteY116" fmla="*/ 6660441 h 6858000"/>
              <a:gd name="connsiteX117" fmla="*/ 4609607 w 6096000"/>
              <a:gd name="connsiteY117" fmla="*/ 6716173 h 6858000"/>
              <a:gd name="connsiteX118" fmla="*/ 4620163 w 6096000"/>
              <a:gd name="connsiteY118" fmla="*/ 6716173 h 6858000"/>
              <a:gd name="connsiteX119" fmla="*/ 4620163 w 6096000"/>
              <a:gd name="connsiteY119" fmla="*/ 6656957 h 6858000"/>
              <a:gd name="connsiteX120" fmla="*/ 4588494 w 6096000"/>
              <a:gd name="connsiteY120" fmla="*/ 6622125 h 6858000"/>
              <a:gd name="connsiteX121" fmla="*/ 4556824 w 6096000"/>
              <a:gd name="connsiteY121" fmla="*/ 6639541 h 6858000"/>
              <a:gd name="connsiteX122" fmla="*/ 4556824 w 6096000"/>
              <a:gd name="connsiteY122" fmla="*/ 6622125 h 6858000"/>
              <a:gd name="connsiteX123" fmla="*/ 4546268 w 6096000"/>
              <a:gd name="connsiteY123" fmla="*/ 6622125 h 6858000"/>
              <a:gd name="connsiteX124" fmla="*/ 4444159 w 6096000"/>
              <a:gd name="connsiteY124" fmla="*/ 6622125 h 6858000"/>
              <a:gd name="connsiteX125" fmla="*/ 4444159 w 6096000"/>
              <a:gd name="connsiteY125" fmla="*/ 6685175 h 6858000"/>
              <a:gd name="connsiteX126" fmla="*/ 4475828 w 6096000"/>
              <a:gd name="connsiteY126" fmla="*/ 6720204 h 6858000"/>
              <a:gd name="connsiteX127" fmla="*/ 4507498 w 6096000"/>
              <a:gd name="connsiteY127" fmla="*/ 6702690 h 6858000"/>
              <a:gd name="connsiteX128" fmla="*/ 4507498 w 6096000"/>
              <a:gd name="connsiteY128" fmla="*/ 6716701 h 6858000"/>
              <a:gd name="connsiteX129" fmla="*/ 4518054 w 6096000"/>
              <a:gd name="connsiteY129" fmla="*/ 6716701 h 6858000"/>
              <a:gd name="connsiteX130" fmla="*/ 4518054 w 6096000"/>
              <a:gd name="connsiteY130" fmla="*/ 6695684 h 6858000"/>
              <a:gd name="connsiteX131" fmla="*/ 4518054 w 6096000"/>
              <a:gd name="connsiteY131" fmla="*/ 6622125 h 6858000"/>
              <a:gd name="connsiteX132" fmla="*/ 4503979 w 6096000"/>
              <a:gd name="connsiteY132" fmla="*/ 6622125 h 6858000"/>
              <a:gd name="connsiteX133" fmla="*/ 4503979 w 6096000"/>
              <a:gd name="connsiteY133" fmla="*/ 6674667 h 6858000"/>
              <a:gd name="connsiteX134" fmla="*/ 4475828 w 6096000"/>
              <a:gd name="connsiteY134" fmla="*/ 6709695 h 6858000"/>
              <a:gd name="connsiteX135" fmla="*/ 4454715 w 6096000"/>
              <a:gd name="connsiteY135" fmla="*/ 6681673 h 6858000"/>
              <a:gd name="connsiteX136" fmla="*/ 4454715 w 6096000"/>
              <a:gd name="connsiteY136" fmla="*/ 6622125 h 6858000"/>
              <a:gd name="connsiteX137" fmla="*/ 4444159 w 6096000"/>
              <a:gd name="connsiteY137" fmla="*/ 6622125 h 6858000"/>
              <a:gd name="connsiteX138" fmla="*/ 4375637 w 6096000"/>
              <a:gd name="connsiteY138" fmla="*/ 6622125 h 6858000"/>
              <a:gd name="connsiteX139" fmla="*/ 4331300 w 6096000"/>
              <a:gd name="connsiteY139" fmla="*/ 6671165 h 6858000"/>
              <a:gd name="connsiteX140" fmla="*/ 4375637 w 6096000"/>
              <a:gd name="connsiteY140" fmla="*/ 6720204 h 6858000"/>
              <a:gd name="connsiteX141" fmla="*/ 4419975 w 6096000"/>
              <a:gd name="connsiteY141" fmla="*/ 6671165 h 6858000"/>
              <a:gd name="connsiteX142" fmla="*/ 4375637 w 6096000"/>
              <a:gd name="connsiteY142" fmla="*/ 6622125 h 6858000"/>
              <a:gd name="connsiteX143" fmla="*/ 5559303 w 6096000"/>
              <a:gd name="connsiteY143" fmla="*/ 6607346 h 6858000"/>
              <a:gd name="connsiteX144" fmla="*/ 5563333 w 6096000"/>
              <a:gd name="connsiteY144" fmla="*/ 6618095 h 6858000"/>
              <a:gd name="connsiteX145" fmla="*/ 5567364 w 6096000"/>
              <a:gd name="connsiteY145" fmla="*/ 6624813 h 6858000"/>
              <a:gd name="connsiteX146" fmla="*/ 5552585 w 6096000"/>
              <a:gd name="connsiteY146" fmla="*/ 6624813 h 6858000"/>
              <a:gd name="connsiteX147" fmla="*/ 5556616 w 6096000"/>
              <a:gd name="connsiteY147" fmla="*/ 6618095 h 6858000"/>
              <a:gd name="connsiteX148" fmla="*/ 5563446 w 6096000"/>
              <a:gd name="connsiteY148" fmla="*/ 6596598 h 6858000"/>
              <a:gd name="connsiteX149" fmla="*/ 5553032 w 6096000"/>
              <a:gd name="connsiteY149" fmla="*/ 6600112 h 6858000"/>
              <a:gd name="connsiteX150" fmla="*/ 5549562 w 6096000"/>
              <a:gd name="connsiteY150" fmla="*/ 6617682 h 6858000"/>
              <a:gd name="connsiteX151" fmla="*/ 5539149 w 6096000"/>
              <a:gd name="connsiteY151" fmla="*/ 6638764 h 6858000"/>
              <a:gd name="connsiteX152" fmla="*/ 5549562 w 6096000"/>
              <a:gd name="connsiteY152" fmla="*/ 6642278 h 6858000"/>
              <a:gd name="connsiteX153" fmla="*/ 5549562 w 6096000"/>
              <a:gd name="connsiteY153" fmla="*/ 6631737 h 6858000"/>
              <a:gd name="connsiteX154" fmla="*/ 5570387 w 6096000"/>
              <a:gd name="connsiteY154" fmla="*/ 6631737 h 6858000"/>
              <a:gd name="connsiteX155" fmla="*/ 5570387 w 6096000"/>
              <a:gd name="connsiteY155" fmla="*/ 6638764 h 6858000"/>
              <a:gd name="connsiteX156" fmla="*/ 5580800 w 6096000"/>
              <a:gd name="connsiteY156" fmla="*/ 6638764 h 6858000"/>
              <a:gd name="connsiteX157" fmla="*/ 5570387 w 6096000"/>
              <a:gd name="connsiteY157" fmla="*/ 6617682 h 6858000"/>
              <a:gd name="connsiteX158" fmla="*/ 5563446 w 6096000"/>
              <a:gd name="connsiteY158" fmla="*/ 6600112 h 6858000"/>
              <a:gd name="connsiteX159" fmla="*/ 5563446 w 6096000"/>
              <a:gd name="connsiteY159" fmla="*/ 6596598 h 6858000"/>
              <a:gd name="connsiteX160" fmla="*/ 4868451 w 6096000"/>
              <a:gd name="connsiteY160" fmla="*/ 6596597 h 6858000"/>
              <a:gd name="connsiteX161" fmla="*/ 4857971 w 6096000"/>
              <a:gd name="connsiteY161" fmla="*/ 6600129 h 6858000"/>
              <a:gd name="connsiteX162" fmla="*/ 4857971 w 6096000"/>
              <a:gd name="connsiteY162" fmla="*/ 6621318 h 6858000"/>
              <a:gd name="connsiteX163" fmla="*/ 4840505 w 6096000"/>
              <a:gd name="connsiteY163" fmla="*/ 6621318 h 6858000"/>
              <a:gd name="connsiteX164" fmla="*/ 4840505 w 6096000"/>
              <a:gd name="connsiteY164" fmla="*/ 6631913 h 6858000"/>
              <a:gd name="connsiteX165" fmla="*/ 4857971 w 6096000"/>
              <a:gd name="connsiteY165" fmla="*/ 6631913 h 6858000"/>
              <a:gd name="connsiteX166" fmla="*/ 4857971 w 6096000"/>
              <a:gd name="connsiteY166" fmla="*/ 6688419 h 6858000"/>
              <a:gd name="connsiteX167" fmla="*/ 4878931 w 6096000"/>
              <a:gd name="connsiteY167" fmla="*/ 6720203 h 6858000"/>
              <a:gd name="connsiteX168" fmla="*/ 4892904 w 6096000"/>
              <a:gd name="connsiteY168" fmla="*/ 6716672 h 6858000"/>
              <a:gd name="connsiteX169" fmla="*/ 4892904 w 6096000"/>
              <a:gd name="connsiteY169" fmla="*/ 6706077 h 6858000"/>
              <a:gd name="connsiteX170" fmla="*/ 4882424 w 6096000"/>
              <a:gd name="connsiteY170" fmla="*/ 6709608 h 6858000"/>
              <a:gd name="connsiteX171" fmla="*/ 4868451 w 6096000"/>
              <a:gd name="connsiteY171" fmla="*/ 6695482 h 6858000"/>
              <a:gd name="connsiteX172" fmla="*/ 4868451 w 6096000"/>
              <a:gd name="connsiteY172" fmla="*/ 6631913 h 6858000"/>
              <a:gd name="connsiteX173" fmla="*/ 4889410 w 6096000"/>
              <a:gd name="connsiteY173" fmla="*/ 6631913 h 6858000"/>
              <a:gd name="connsiteX174" fmla="*/ 4889410 w 6096000"/>
              <a:gd name="connsiteY174" fmla="*/ 6621318 h 6858000"/>
              <a:gd name="connsiteX175" fmla="*/ 4868451 w 6096000"/>
              <a:gd name="connsiteY175" fmla="*/ 6621318 h 6858000"/>
              <a:gd name="connsiteX176" fmla="*/ 4868451 w 6096000"/>
              <a:gd name="connsiteY176" fmla="*/ 6596597 h 6858000"/>
              <a:gd name="connsiteX177" fmla="*/ 5503881 w 6096000"/>
              <a:gd name="connsiteY177" fmla="*/ 6593911 h 6858000"/>
              <a:gd name="connsiteX178" fmla="*/ 5493469 w 6096000"/>
              <a:gd name="connsiteY178" fmla="*/ 6636077 h 6858000"/>
              <a:gd name="connsiteX179" fmla="*/ 5503881 w 6096000"/>
              <a:gd name="connsiteY179" fmla="*/ 6636077 h 6858000"/>
              <a:gd name="connsiteX180" fmla="*/ 5507352 w 6096000"/>
              <a:gd name="connsiteY180" fmla="*/ 6611481 h 6858000"/>
              <a:gd name="connsiteX181" fmla="*/ 5521236 w 6096000"/>
              <a:gd name="connsiteY181" fmla="*/ 6639591 h 6858000"/>
              <a:gd name="connsiteX182" fmla="*/ 5528178 w 6096000"/>
              <a:gd name="connsiteY182" fmla="*/ 6639591 h 6858000"/>
              <a:gd name="connsiteX183" fmla="*/ 5535119 w 6096000"/>
              <a:gd name="connsiteY183" fmla="*/ 6597425 h 6858000"/>
              <a:gd name="connsiteX184" fmla="*/ 5528178 w 6096000"/>
              <a:gd name="connsiteY184" fmla="*/ 6597425 h 6858000"/>
              <a:gd name="connsiteX185" fmla="*/ 5524707 w 6096000"/>
              <a:gd name="connsiteY185" fmla="*/ 6625536 h 6858000"/>
              <a:gd name="connsiteX186" fmla="*/ 5510824 w 6096000"/>
              <a:gd name="connsiteY186" fmla="*/ 6593911 h 6858000"/>
              <a:gd name="connsiteX187" fmla="*/ 5503881 w 6096000"/>
              <a:gd name="connsiteY187" fmla="*/ 6593911 h 6858000"/>
              <a:gd name="connsiteX188" fmla="*/ 5613044 w 6096000"/>
              <a:gd name="connsiteY188" fmla="*/ 6589881 h 6858000"/>
              <a:gd name="connsiteX189" fmla="*/ 5578112 w 6096000"/>
              <a:gd name="connsiteY189" fmla="*/ 6596982 h 6858000"/>
              <a:gd name="connsiteX190" fmla="*/ 5578112 w 6096000"/>
              <a:gd name="connsiteY190" fmla="*/ 6604084 h 6858000"/>
              <a:gd name="connsiteX191" fmla="*/ 5592084 w 6096000"/>
              <a:gd name="connsiteY191" fmla="*/ 6604084 h 6858000"/>
              <a:gd name="connsiteX192" fmla="*/ 5599071 w 6096000"/>
              <a:gd name="connsiteY192" fmla="*/ 6639592 h 6858000"/>
              <a:gd name="connsiteX193" fmla="*/ 5606057 w 6096000"/>
              <a:gd name="connsiteY193" fmla="*/ 6636041 h 6858000"/>
              <a:gd name="connsiteX194" fmla="*/ 5599071 w 6096000"/>
              <a:gd name="connsiteY194" fmla="*/ 6600533 h 6858000"/>
              <a:gd name="connsiteX195" fmla="*/ 5613044 w 6096000"/>
              <a:gd name="connsiteY195" fmla="*/ 6596982 h 6858000"/>
              <a:gd name="connsiteX196" fmla="*/ 5468748 w 6096000"/>
              <a:gd name="connsiteY196" fmla="*/ 6589881 h 6858000"/>
              <a:gd name="connsiteX197" fmla="*/ 5479228 w 6096000"/>
              <a:gd name="connsiteY197" fmla="*/ 6593240 h 6858000"/>
              <a:gd name="connsiteX198" fmla="*/ 5482720 w 6096000"/>
              <a:gd name="connsiteY198" fmla="*/ 6596599 h 6858000"/>
              <a:gd name="connsiteX199" fmla="*/ 5482720 w 6096000"/>
              <a:gd name="connsiteY199" fmla="*/ 6599957 h 6858000"/>
              <a:gd name="connsiteX200" fmla="*/ 5475734 w 6096000"/>
              <a:gd name="connsiteY200" fmla="*/ 6603316 h 6858000"/>
              <a:gd name="connsiteX201" fmla="*/ 5465254 w 6096000"/>
              <a:gd name="connsiteY201" fmla="*/ 6599957 h 6858000"/>
              <a:gd name="connsiteX202" fmla="*/ 5468748 w 6096000"/>
              <a:gd name="connsiteY202" fmla="*/ 6596599 h 6858000"/>
              <a:gd name="connsiteX203" fmla="*/ 5468748 w 6096000"/>
              <a:gd name="connsiteY203" fmla="*/ 6589881 h 6858000"/>
              <a:gd name="connsiteX204" fmla="*/ 4918562 w 6096000"/>
              <a:gd name="connsiteY204" fmla="*/ 6587995 h 6858000"/>
              <a:gd name="connsiteX205" fmla="*/ 4918562 w 6096000"/>
              <a:gd name="connsiteY205" fmla="*/ 6601689 h 6858000"/>
              <a:gd name="connsiteX206" fmla="*/ 4930851 w 6096000"/>
              <a:gd name="connsiteY206" fmla="*/ 6601689 h 6858000"/>
              <a:gd name="connsiteX207" fmla="*/ 4930851 w 6096000"/>
              <a:gd name="connsiteY207" fmla="*/ 6587995 h 6858000"/>
              <a:gd name="connsiteX208" fmla="*/ 5619762 w 6096000"/>
              <a:gd name="connsiteY208" fmla="*/ 6585849 h 6858000"/>
              <a:gd name="connsiteX209" fmla="*/ 5633582 w 6096000"/>
              <a:gd name="connsiteY209" fmla="*/ 6628843 h 6858000"/>
              <a:gd name="connsiteX210" fmla="*/ 5643946 w 6096000"/>
              <a:gd name="connsiteY210" fmla="*/ 6625260 h 6858000"/>
              <a:gd name="connsiteX211" fmla="*/ 5630127 w 6096000"/>
              <a:gd name="connsiteY211" fmla="*/ 6585849 h 6858000"/>
              <a:gd name="connsiteX212" fmla="*/ 5619762 w 6096000"/>
              <a:gd name="connsiteY212" fmla="*/ 6585849 h 6858000"/>
              <a:gd name="connsiteX213" fmla="*/ 4250688 w 6096000"/>
              <a:gd name="connsiteY213" fmla="*/ 6585849 h 6858000"/>
              <a:gd name="connsiteX214" fmla="*/ 4250688 w 6096000"/>
              <a:gd name="connsiteY214" fmla="*/ 6716173 h 6858000"/>
              <a:gd name="connsiteX215" fmla="*/ 4265467 w 6096000"/>
              <a:gd name="connsiteY215" fmla="*/ 6716173 h 6858000"/>
              <a:gd name="connsiteX216" fmla="*/ 4265467 w 6096000"/>
              <a:gd name="connsiteY216" fmla="*/ 6657057 h 6858000"/>
              <a:gd name="connsiteX217" fmla="*/ 4311148 w 6096000"/>
              <a:gd name="connsiteY217" fmla="*/ 6657057 h 6858000"/>
              <a:gd name="connsiteX218" fmla="*/ 4311148 w 6096000"/>
              <a:gd name="connsiteY218" fmla="*/ 6646309 h 6858000"/>
              <a:gd name="connsiteX219" fmla="*/ 4265467 w 6096000"/>
              <a:gd name="connsiteY219" fmla="*/ 6646309 h 6858000"/>
              <a:gd name="connsiteX220" fmla="*/ 4265467 w 6096000"/>
              <a:gd name="connsiteY220" fmla="*/ 6596597 h 6858000"/>
              <a:gd name="connsiteX221" fmla="*/ 4313835 w 6096000"/>
              <a:gd name="connsiteY221" fmla="*/ 6596597 h 6858000"/>
              <a:gd name="connsiteX222" fmla="*/ 4313835 w 6096000"/>
              <a:gd name="connsiteY222" fmla="*/ 6585849 h 6858000"/>
              <a:gd name="connsiteX223" fmla="*/ 5465143 w 6096000"/>
              <a:gd name="connsiteY223" fmla="*/ 6579132 h 6858000"/>
              <a:gd name="connsiteX224" fmla="*/ 5458200 w 6096000"/>
              <a:gd name="connsiteY224" fmla="*/ 6596599 h 6858000"/>
              <a:gd name="connsiteX225" fmla="*/ 5458200 w 6096000"/>
              <a:gd name="connsiteY225" fmla="*/ 6600091 h 6858000"/>
              <a:gd name="connsiteX226" fmla="*/ 5447788 w 6096000"/>
              <a:gd name="connsiteY226" fmla="*/ 6617558 h 6858000"/>
              <a:gd name="connsiteX227" fmla="*/ 5458200 w 6096000"/>
              <a:gd name="connsiteY227" fmla="*/ 6621051 h 6858000"/>
              <a:gd name="connsiteX228" fmla="*/ 5461671 w 6096000"/>
              <a:gd name="connsiteY228" fmla="*/ 6607078 h 6858000"/>
              <a:gd name="connsiteX229" fmla="*/ 5472084 w 6096000"/>
              <a:gd name="connsiteY229" fmla="*/ 6610572 h 6858000"/>
              <a:gd name="connsiteX230" fmla="*/ 5472084 w 6096000"/>
              <a:gd name="connsiteY230" fmla="*/ 6628037 h 6858000"/>
              <a:gd name="connsiteX231" fmla="*/ 5482497 w 6096000"/>
              <a:gd name="connsiteY231" fmla="*/ 6631531 h 6858000"/>
              <a:gd name="connsiteX232" fmla="*/ 5479026 w 6096000"/>
              <a:gd name="connsiteY232" fmla="*/ 6610572 h 6858000"/>
              <a:gd name="connsiteX233" fmla="*/ 5489438 w 6096000"/>
              <a:gd name="connsiteY233" fmla="*/ 6600091 h 6858000"/>
              <a:gd name="connsiteX234" fmla="*/ 5489438 w 6096000"/>
              <a:gd name="connsiteY234" fmla="*/ 6596599 h 6858000"/>
              <a:gd name="connsiteX235" fmla="*/ 5482497 w 6096000"/>
              <a:gd name="connsiteY235" fmla="*/ 6586119 h 6858000"/>
              <a:gd name="connsiteX236" fmla="*/ 5465143 w 6096000"/>
              <a:gd name="connsiteY236" fmla="*/ 6579132 h 6858000"/>
              <a:gd name="connsiteX237" fmla="*/ 5670241 w 6096000"/>
              <a:gd name="connsiteY237" fmla="*/ 6576425 h 6858000"/>
              <a:gd name="connsiteX238" fmla="*/ 5678878 w 6096000"/>
              <a:gd name="connsiteY238" fmla="*/ 6582156 h 6858000"/>
              <a:gd name="connsiteX239" fmla="*/ 5678878 w 6096000"/>
              <a:gd name="connsiteY239" fmla="*/ 6589209 h 6858000"/>
              <a:gd name="connsiteX240" fmla="*/ 5675423 w 6096000"/>
              <a:gd name="connsiteY240" fmla="*/ 6599790 h 6858000"/>
              <a:gd name="connsiteX241" fmla="*/ 5671968 w 6096000"/>
              <a:gd name="connsiteY241" fmla="*/ 6603317 h 6858000"/>
              <a:gd name="connsiteX242" fmla="*/ 5658149 w 6096000"/>
              <a:gd name="connsiteY242" fmla="*/ 6599790 h 6858000"/>
              <a:gd name="connsiteX243" fmla="*/ 5654694 w 6096000"/>
              <a:gd name="connsiteY243" fmla="*/ 6596264 h 6858000"/>
              <a:gd name="connsiteX244" fmla="*/ 5654694 w 6096000"/>
              <a:gd name="connsiteY244" fmla="*/ 6589209 h 6858000"/>
              <a:gd name="connsiteX245" fmla="*/ 5661604 w 6096000"/>
              <a:gd name="connsiteY245" fmla="*/ 6578629 h 6858000"/>
              <a:gd name="connsiteX246" fmla="*/ 5670241 w 6096000"/>
              <a:gd name="connsiteY246" fmla="*/ 6576425 h 6858000"/>
              <a:gd name="connsiteX247" fmla="*/ 4714738 w 6096000"/>
              <a:gd name="connsiteY247" fmla="*/ 6575100 h 6858000"/>
              <a:gd name="connsiteX248" fmla="*/ 4714738 w 6096000"/>
              <a:gd name="connsiteY248" fmla="*/ 6638804 h 6858000"/>
              <a:gd name="connsiteX249" fmla="*/ 4686231 w 6096000"/>
              <a:gd name="connsiteY249" fmla="*/ 6621108 h 6858000"/>
              <a:gd name="connsiteX250" fmla="*/ 4647034 w 6096000"/>
              <a:gd name="connsiteY250" fmla="*/ 6670656 h 6858000"/>
              <a:gd name="connsiteX251" fmla="*/ 4686231 w 6096000"/>
              <a:gd name="connsiteY251" fmla="*/ 6720203 h 6858000"/>
              <a:gd name="connsiteX252" fmla="*/ 4714738 w 6096000"/>
              <a:gd name="connsiteY252" fmla="*/ 6702507 h 6858000"/>
              <a:gd name="connsiteX253" fmla="*/ 4714738 w 6096000"/>
              <a:gd name="connsiteY253" fmla="*/ 6716664 h 6858000"/>
              <a:gd name="connsiteX254" fmla="*/ 4728991 w 6096000"/>
              <a:gd name="connsiteY254" fmla="*/ 6716664 h 6858000"/>
              <a:gd name="connsiteX255" fmla="*/ 4728991 w 6096000"/>
              <a:gd name="connsiteY255" fmla="*/ 6575100 h 6858000"/>
              <a:gd name="connsiteX256" fmla="*/ 4714738 w 6096000"/>
              <a:gd name="connsiteY256" fmla="*/ 6575100 h 6858000"/>
              <a:gd name="connsiteX257" fmla="*/ 5672161 w 6096000"/>
              <a:gd name="connsiteY257" fmla="*/ 6569584 h 6858000"/>
              <a:gd name="connsiteX258" fmla="*/ 5654694 w 6096000"/>
              <a:gd name="connsiteY258" fmla="*/ 6572607 h 6858000"/>
              <a:gd name="connsiteX259" fmla="*/ 5643946 w 6096000"/>
              <a:gd name="connsiteY259" fmla="*/ 6589881 h 6858000"/>
              <a:gd name="connsiteX260" fmla="*/ 5647528 w 6096000"/>
              <a:gd name="connsiteY260" fmla="*/ 6600246 h 6858000"/>
              <a:gd name="connsiteX261" fmla="*/ 5676191 w 6096000"/>
              <a:gd name="connsiteY261" fmla="*/ 6607156 h 6858000"/>
              <a:gd name="connsiteX262" fmla="*/ 5686939 w 6096000"/>
              <a:gd name="connsiteY262" fmla="*/ 6600246 h 6858000"/>
              <a:gd name="connsiteX263" fmla="*/ 5686939 w 6096000"/>
              <a:gd name="connsiteY263" fmla="*/ 6589881 h 6858000"/>
              <a:gd name="connsiteX264" fmla="*/ 5686939 w 6096000"/>
              <a:gd name="connsiteY264" fmla="*/ 6579517 h 6858000"/>
              <a:gd name="connsiteX265" fmla="*/ 5672161 w 6096000"/>
              <a:gd name="connsiteY265" fmla="*/ 6569584 h 6858000"/>
              <a:gd name="connsiteX266" fmla="*/ 5429909 w 6096000"/>
              <a:gd name="connsiteY266" fmla="*/ 6561666 h 6858000"/>
              <a:gd name="connsiteX267" fmla="*/ 5408825 w 6096000"/>
              <a:gd name="connsiteY267" fmla="*/ 6596598 h 6858000"/>
              <a:gd name="connsiteX268" fmla="*/ 5433423 w 6096000"/>
              <a:gd name="connsiteY268" fmla="*/ 6614064 h 6858000"/>
              <a:gd name="connsiteX269" fmla="*/ 5436937 w 6096000"/>
              <a:gd name="connsiteY269" fmla="*/ 6607078 h 6858000"/>
              <a:gd name="connsiteX270" fmla="*/ 5419367 w 6096000"/>
              <a:gd name="connsiteY270" fmla="*/ 6596598 h 6858000"/>
              <a:gd name="connsiteX271" fmla="*/ 5426395 w 6096000"/>
              <a:gd name="connsiteY271" fmla="*/ 6586119 h 6858000"/>
              <a:gd name="connsiteX272" fmla="*/ 5436937 w 6096000"/>
              <a:gd name="connsiteY272" fmla="*/ 6593105 h 6858000"/>
              <a:gd name="connsiteX273" fmla="*/ 5440450 w 6096000"/>
              <a:gd name="connsiteY273" fmla="*/ 6586119 h 6858000"/>
              <a:gd name="connsiteX274" fmla="*/ 5429909 w 6096000"/>
              <a:gd name="connsiteY274" fmla="*/ 6579132 h 6858000"/>
              <a:gd name="connsiteX275" fmla="*/ 5433423 w 6096000"/>
              <a:gd name="connsiteY275" fmla="*/ 6572146 h 6858000"/>
              <a:gd name="connsiteX276" fmla="*/ 5450992 w 6096000"/>
              <a:gd name="connsiteY276" fmla="*/ 6582625 h 6858000"/>
              <a:gd name="connsiteX277" fmla="*/ 5454506 w 6096000"/>
              <a:gd name="connsiteY277" fmla="*/ 6575638 h 6858000"/>
              <a:gd name="connsiteX278" fmla="*/ 5429909 w 6096000"/>
              <a:gd name="connsiteY278" fmla="*/ 6561666 h 6858000"/>
              <a:gd name="connsiteX279" fmla="*/ 5707361 w 6096000"/>
              <a:gd name="connsiteY279" fmla="*/ 6533452 h 6858000"/>
              <a:gd name="connsiteX280" fmla="*/ 5700375 w 6096000"/>
              <a:gd name="connsiteY280" fmla="*/ 6540505 h 6858000"/>
              <a:gd name="connsiteX281" fmla="*/ 5717840 w 6096000"/>
              <a:gd name="connsiteY281" fmla="*/ 6558139 h 6858000"/>
              <a:gd name="connsiteX282" fmla="*/ 5689895 w 6096000"/>
              <a:gd name="connsiteY282" fmla="*/ 6551086 h 6858000"/>
              <a:gd name="connsiteX283" fmla="*/ 5682908 w 6096000"/>
              <a:gd name="connsiteY283" fmla="*/ 6554612 h 6858000"/>
              <a:gd name="connsiteX284" fmla="*/ 5707361 w 6096000"/>
              <a:gd name="connsiteY284" fmla="*/ 6589881 h 6858000"/>
              <a:gd name="connsiteX285" fmla="*/ 5714348 w 6096000"/>
              <a:gd name="connsiteY285" fmla="*/ 6582827 h 6858000"/>
              <a:gd name="connsiteX286" fmla="*/ 5700375 w 6096000"/>
              <a:gd name="connsiteY286" fmla="*/ 6561666 h 6858000"/>
              <a:gd name="connsiteX287" fmla="*/ 5728320 w 6096000"/>
              <a:gd name="connsiteY287" fmla="*/ 6572246 h 6858000"/>
              <a:gd name="connsiteX288" fmla="*/ 5735307 w 6096000"/>
              <a:gd name="connsiteY288" fmla="*/ 6565193 h 6858000"/>
              <a:gd name="connsiteX289" fmla="*/ 5707361 w 6096000"/>
              <a:gd name="connsiteY289" fmla="*/ 6533452 h 6858000"/>
              <a:gd name="connsiteX290" fmla="*/ 5399008 w 6096000"/>
              <a:gd name="connsiteY290" fmla="*/ 6533452 h 6858000"/>
              <a:gd name="connsiteX291" fmla="*/ 5391980 w 6096000"/>
              <a:gd name="connsiteY291" fmla="*/ 6536965 h 6858000"/>
              <a:gd name="connsiteX292" fmla="*/ 5402522 w 6096000"/>
              <a:gd name="connsiteY292" fmla="*/ 6547507 h 6858000"/>
              <a:gd name="connsiteX293" fmla="*/ 5377924 w 6096000"/>
              <a:gd name="connsiteY293" fmla="*/ 6572104 h 6858000"/>
              <a:gd name="connsiteX294" fmla="*/ 5384952 w 6096000"/>
              <a:gd name="connsiteY294" fmla="*/ 6579132 h 6858000"/>
              <a:gd name="connsiteX295" fmla="*/ 5409548 w 6096000"/>
              <a:gd name="connsiteY295" fmla="*/ 6554535 h 6858000"/>
              <a:gd name="connsiteX296" fmla="*/ 5420090 w 6096000"/>
              <a:gd name="connsiteY296" fmla="*/ 6561562 h 6858000"/>
              <a:gd name="connsiteX297" fmla="*/ 5423604 w 6096000"/>
              <a:gd name="connsiteY297" fmla="*/ 6554535 h 6858000"/>
              <a:gd name="connsiteX298" fmla="*/ 5399008 w 6096000"/>
              <a:gd name="connsiteY298" fmla="*/ 6533452 h 6858000"/>
              <a:gd name="connsiteX299" fmla="*/ 5728589 w 6096000"/>
              <a:gd name="connsiteY299" fmla="*/ 6522703 h 6858000"/>
              <a:gd name="connsiteX300" fmla="*/ 5746055 w 6096000"/>
              <a:gd name="connsiteY300" fmla="*/ 6529421 h 6858000"/>
              <a:gd name="connsiteX301" fmla="*/ 5746055 w 6096000"/>
              <a:gd name="connsiteY301" fmla="*/ 6533452 h 6858000"/>
              <a:gd name="connsiteX302" fmla="*/ 5739337 w 6096000"/>
              <a:gd name="connsiteY302" fmla="*/ 6540170 h 6858000"/>
              <a:gd name="connsiteX303" fmla="*/ 5735307 w 6096000"/>
              <a:gd name="connsiteY303" fmla="*/ 6533452 h 6858000"/>
              <a:gd name="connsiteX304" fmla="*/ 5724942 w 6096000"/>
              <a:gd name="connsiteY304" fmla="*/ 6515985 h 6858000"/>
              <a:gd name="connsiteX305" fmla="*/ 5717840 w 6096000"/>
              <a:gd name="connsiteY305" fmla="*/ 6522927 h 6858000"/>
              <a:gd name="connsiteX306" fmla="*/ 5724942 w 6096000"/>
              <a:gd name="connsiteY306" fmla="*/ 6533339 h 6858000"/>
              <a:gd name="connsiteX307" fmla="*/ 5742696 w 6096000"/>
              <a:gd name="connsiteY307" fmla="*/ 6557635 h 6858000"/>
              <a:gd name="connsiteX308" fmla="*/ 5746247 w 6096000"/>
              <a:gd name="connsiteY308" fmla="*/ 6554165 h 6858000"/>
              <a:gd name="connsiteX309" fmla="*/ 5742696 w 6096000"/>
              <a:gd name="connsiteY309" fmla="*/ 6547223 h 6858000"/>
              <a:gd name="connsiteX310" fmla="*/ 5753349 w 6096000"/>
              <a:gd name="connsiteY310" fmla="*/ 6533339 h 6858000"/>
              <a:gd name="connsiteX311" fmla="*/ 5760450 w 6096000"/>
              <a:gd name="connsiteY311" fmla="*/ 6533339 h 6858000"/>
              <a:gd name="connsiteX312" fmla="*/ 5764002 w 6096000"/>
              <a:gd name="connsiteY312" fmla="*/ 6533339 h 6858000"/>
              <a:gd name="connsiteX313" fmla="*/ 5767552 w 6096000"/>
              <a:gd name="connsiteY313" fmla="*/ 6526397 h 6858000"/>
              <a:gd name="connsiteX314" fmla="*/ 5724942 w 6096000"/>
              <a:gd name="connsiteY314" fmla="*/ 6515985 h 6858000"/>
              <a:gd name="connsiteX315" fmla="*/ 5370198 w 6096000"/>
              <a:gd name="connsiteY315" fmla="*/ 6501206 h 6858000"/>
              <a:gd name="connsiteX316" fmla="*/ 5334930 w 6096000"/>
              <a:gd name="connsiteY316" fmla="*/ 6526286 h 6858000"/>
              <a:gd name="connsiteX317" fmla="*/ 5341984 w 6096000"/>
              <a:gd name="connsiteY317" fmla="*/ 6533452 h 6858000"/>
              <a:gd name="connsiteX318" fmla="*/ 5363145 w 6096000"/>
              <a:gd name="connsiteY318" fmla="*/ 6519121 h 6858000"/>
              <a:gd name="connsiteX319" fmla="*/ 5352564 w 6096000"/>
              <a:gd name="connsiteY319" fmla="*/ 6547782 h 6858000"/>
              <a:gd name="connsiteX320" fmla="*/ 5359618 w 6096000"/>
              <a:gd name="connsiteY320" fmla="*/ 6554948 h 6858000"/>
              <a:gd name="connsiteX321" fmla="*/ 5391359 w 6096000"/>
              <a:gd name="connsiteY321" fmla="*/ 6526286 h 6858000"/>
              <a:gd name="connsiteX322" fmla="*/ 5387833 w 6096000"/>
              <a:gd name="connsiteY322" fmla="*/ 6519121 h 6858000"/>
              <a:gd name="connsiteX323" fmla="*/ 5366672 w 6096000"/>
              <a:gd name="connsiteY323" fmla="*/ 6537034 h 6858000"/>
              <a:gd name="connsiteX324" fmla="*/ 5377252 w 6096000"/>
              <a:gd name="connsiteY324" fmla="*/ 6508372 h 6858000"/>
              <a:gd name="connsiteX325" fmla="*/ 5370198 w 6096000"/>
              <a:gd name="connsiteY325" fmla="*/ 6501206 h 6858000"/>
              <a:gd name="connsiteX326" fmla="*/ 5739338 w 6096000"/>
              <a:gd name="connsiteY326" fmla="*/ 6490458 h 6858000"/>
              <a:gd name="connsiteX327" fmla="*/ 5735307 w 6096000"/>
              <a:gd name="connsiteY327" fmla="*/ 6498519 h 6858000"/>
              <a:gd name="connsiteX328" fmla="*/ 5774270 w 6096000"/>
              <a:gd name="connsiteY328" fmla="*/ 6518673 h 6858000"/>
              <a:gd name="connsiteX329" fmla="*/ 5787706 w 6096000"/>
              <a:gd name="connsiteY329" fmla="*/ 6494489 h 6858000"/>
              <a:gd name="connsiteX330" fmla="*/ 5780988 w 6096000"/>
              <a:gd name="connsiteY330" fmla="*/ 6490458 h 6858000"/>
              <a:gd name="connsiteX331" fmla="*/ 5770239 w 6096000"/>
              <a:gd name="connsiteY331" fmla="*/ 6509268 h 6858000"/>
              <a:gd name="connsiteX332" fmla="*/ 5363634 w 6096000"/>
              <a:gd name="connsiteY332" fmla="*/ 6487771 h 6858000"/>
              <a:gd name="connsiteX333" fmla="*/ 5328212 w 6096000"/>
              <a:gd name="connsiteY333" fmla="*/ 6508933 h 6858000"/>
              <a:gd name="connsiteX334" fmla="*/ 5331754 w 6096000"/>
              <a:gd name="connsiteY334" fmla="*/ 6515986 h 6858000"/>
              <a:gd name="connsiteX335" fmla="*/ 5367176 w 6096000"/>
              <a:gd name="connsiteY335" fmla="*/ 6494825 h 6858000"/>
              <a:gd name="connsiteX336" fmla="*/ 5363634 w 6096000"/>
              <a:gd name="connsiteY336" fmla="*/ 6487771 h 6858000"/>
              <a:gd name="connsiteX337" fmla="*/ 5354927 w 6096000"/>
              <a:gd name="connsiteY337" fmla="*/ 6454161 h 6858000"/>
              <a:gd name="connsiteX338" fmla="*/ 5360192 w 6096000"/>
              <a:gd name="connsiteY338" fmla="*/ 6459892 h 6858000"/>
              <a:gd name="connsiteX339" fmla="*/ 5553257 w 6096000"/>
              <a:gd name="connsiteY339" fmla="*/ 6590385 h 6858000"/>
              <a:gd name="connsiteX340" fmla="*/ 5746320 w 6096000"/>
              <a:gd name="connsiteY340" fmla="*/ 6459892 h 6858000"/>
              <a:gd name="connsiteX341" fmla="*/ 5751586 w 6096000"/>
              <a:gd name="connsiteY341" fmla="*/ 6454161 h 6858000"/>
              <a:gd name="connsiteX342" fmla="*/ 5756851 w 6096000"/>
              <a:gd name="connsiteY342" fmla="*/ 6456365 h 6858000"/>
              <a:gd name="connsiteX343" fmla="*/ 5795464 w 6096000"/>
              <a:gd name="connsiteY343" fmla="*/ 6466946 h 6858000"/>
              <a:gd name="connsiteX344" fmla="*/ 5802484 w 6096000"/>
              <a:gd name="connsiteY344" fmla="*/ 6477526 h 6858000"/>
              <a:gd name="connsiteX345" fmla="*/ 5553257 w 6096000"/>
              <a:gd name="connsiteY345" fmla="*/ 6650341 h 6858000"/>
              <a:gd name="connsiteX346" fmla="*/ 5304028 w 6096000"/>
              <a:gd name="connsiteY346" fmla="*/ 6481054 h 6858000"/>
              <a:gd name="connsiteX347" fmla="*/ 5311049 w 6096000"/>
              <a:gd name="connsiteY347" fmla="*/ 6466946 h 6858000"/>
              <a:gd name="connsiteX348" fmla="*/ 5349662 w 6096000"/>
              <a:gd name="connsiteY348" fmla="*/ 6456365 h 6858000"/>
              <a:gd name="connsiteX349" fmla="*/ 5354927 w 6096000"/>
              <a:gd name="connsiteY349" fmla="*/ 6454161 h 6858000"/>
              <a:gd name="connsiteX350" fmla="*/ 5507442 w 6096000"/>
              <a:gd name="connsiteY350" fmla="*/ 6448323 h 6858000"/>
              <a:gd name="connsiteX351" fmla="*/ 5517922 w 6096000"/>
              <a:gd name="connsiteY351" fmla="*/ 6448323 h 6858000"/>
              <a:gd name="connsiteX352" fmla="*/ 5521414 w 6096000"/>
              <a:gd name="connsiteY352" fmla="*/ 6455414 h 6858000"/>
              <a:gd name="connsiteX353" fmla="*/ 5528401 w 6096000"/>
              <a:gd name="connsiteY353" fmla="*/ 6558233 h 6858000"/>
              <a:gd name="connsiteX354" fmla="*/ 5524908 w 6096000"/>
              <a:gd name="connsiteY354" fmla="*/ 6568870 h 6858000"/>
              <a:gd name="connsiteX355" fmla="*/ 5517922 w 6096000"/>
              <a:gd name="connsiteY355" fmla="*/ 6568870 h 6858000"/>
              <a:gd name="connsiteX356" fmla="*/ 5409632 w 6096000"/>
              <a:gd name="connsiteY356" fmla="*/ 6505050 h 6858000"/>
              <a:gd name="connsiteX357" fmla="*/ 5406138 w 6096000"/>
              <a:gd name="connsiteY357" fmla="*/ 6501505 h 6858000"/>
              <a:gd name="connsiteX358" fmla="*/ 5406138 w 6096000"/>
              <a:gd name="connsiteY358" fmla="*/ 6497960 h 6858000"/>
              <a:gd name="connsiteX359" fmla="*/ 5413124 w 6096000"/>
              <a:gd name="connsiteY359" fmla="*/ 6494415 h 6858000"/>
              <a:gd name="connsiteX360" fmla="*/ 5507442 w 6096000"/>
              <a:gd name="connsiteY360" fmla="*/ 6448323 h 6858000"/>
              <a:gd name="connsiteX361" fmla="*/ 5592084 w 6096000"/>
              <a:gd name="connsiteY361" fmla="*/ 6444777 h 6858000"/>
              <a:gd name="connsiteX362" fmla="*/ 5602565 w 6096000"/>
              <a:gd name="connsiteY362" fmla="*/ 6444777 h 6858000"/>
              <a:gd name="connsiteX363" fmla="*/ 5693388 w 6096000"/>
              <a:gd name="connsiteY363" fmla="*/ 6490688 h 6858000"/>
              <a:gd name="connsiteX364" fmla="*/ 5700375 w 6096000"/>
              <a:gd name="connsiteY364" fmla="*/ 6497752 h 6858000"/>
              <a:gd name="connsiteX365" fmla="*/ 5696882 w 6096000"/>
              <a:gd name="connsiteY365" fmla="*/ 6504815 h 6858000"/>
              <a:gd name="connsiteX366" fmla="*/ 5588592 w 6096000"/>
              <a:gd name="connsiteY366" fmla="*/ 6568384 h 6858000"/>
              <a:gd name="connsiteX367" fmla="*/ 5581605 w 6096000"/>
              <a:gd name="connsiteY367" fmla="*/ 6568384 h 6858000"/>
              <a:gd name="connsiteX368" fmla="*/ 5578112 w 6096000"/>
              <a:gd name="connsiteY368" fmla="*/ 6557789 h 6858000"/>
              <a:gd name="connsiteX369" fmla="*/ 5588592 w 6096000"/>
              <a:gd name="connsiteY369" fmla="*/ 6455373 h 6858000"/>
              <a:gd name="connsiteX370" fmla="*/ 5592084 w 6096000"/>
              <a:gd name="connsiteY370" fmla="*/ 6444777 h 6858000"/>
              <a:gd name="connsiteX371" fmla="*/ 4714283 w 6096000"/>
              <a:gd name="connsiteY371" fmla="*/ 6405813 h 6858000"/>
              <a:gd name="connsiteX372" fmla="*/ 4755862 w 6096000"/>
              <a:gd name="connsiteY372" fmla="*/ 6405813 h 6858000"/>
              <a:gd name="connsiteX373" fmla="*/ 4755862 w 6096000"/>
              <a:gd name="connsiteY373" fmla="*/ 6448423 h 6858000"/>
              <a:gd name="connsiteX374" fmla="*/ 4707353 w 6096000"/>
              <a:gd name="connsiteY374" fmla="*/ 6455525 h 6858000"/>
              <a:gd name="connsiteX375" fmla="*/ 4690028 w 6096000"/>
              <a:gd name="connsiteY375" fmla="*/ 6430669 h 6858000"/>
              <a:gd name="connsiteX376" fmla="*/ 4714283 w 6096000"/>
              <a:gd name="connsiteY376" fmla="*/ 6405813 h 6858000"/>
              <a:gd name="connsiteX377" fmla="*/ 4398479 w 6096000"/>
              <a:gd name="connsiteY377" fmla="*/ 6335948 h 6858000"/>
              <a:gd name="connsiteX378" fmla="*/ 4440128 w 6096000"/>
              <a:gd name="connsiteY378" fmla="*/ 6392220 h 6858000"/>
              <a:gd name="connsiteX379" fmla="*/ 4398479 w 6096000"/>
              <a:gd name="connsiteY379" fmla="*/ 6455524 h 6858000"/>
              <a:gd name="connsiteX380" fmla="*/ 4356829 w 6096000"/>
              <a:gd name="connsiteY380" fmla="*/ 6392220 h 6858000"/>
              <a:gd name="connsiteX381" fmla="*/ 4398479 w 6096000"/>
              <a:gd name="connsiteY381" fmla="*/ 6335948 h 6858000"/>
              <a:gd name="connsiteX382" fmla="*/ 5543005 w 6096000"/>
              <a:gd name="connsiteY382" fmla="*/ 6331919 h 6858000"/>
              <a:gd name="connsiteX383" fmla="*/ 5564034 w 6096000"/>
              <a:gd name="connsiteY383" fmla="*/ 6331919 h 6858000"/>
              <a:gd name="connsiteX384" fmla="*/ 5564034 w 6096000"/>
              <a:gd name="connsiteY384" fmla="*/ 6342559 h 6858000"/>
              <a:gd name="connsiteX385" fmla="*/ 5595578 w 6096000"/>
              <a:gd name="connsiteY385" fmla="*/ 6381576 h 6858000"/>
              <a:gd name="connsiteX386" fmla="*/ 5553519 w 6096000"/>
              <a:gd name="connsiteY386" fmla="*/ 6420593 h 6858000"/>
              <a:gd name="connsiteX387" fmla="*/ 5514966 w 6096000"/>
              <a:gd name="connsiteY387" fmla="*/ 6381576 h 6858000"/>
              <a:gd name="connsiteX388" fmla="*/ 5543005 w 6096000"/>
              <a:gd name="connsiteY388" fmla="*/ 6342559 h 6858000"/>
              <a:gd name="connsiteX389" fmla="*/ 5543005 w 6096000"/>
              <a:gd name="connsiteY389" fmla="*/ 6331919 h 6858000"/>
              <a:gd name="connsiteX390" fmla="*/ 5553257 w 6096000"/>
              <a:gd name="connsiteY390" fmla="*/ 6321170 h 6858000"/>
              <a:gd name="connsiteX391" fmla="*/ 5493469 w 6096000"/>
              <a:gd name="connsiteY391" fmla="*/ 6381630 h 6858000"/>
              <a:gd name="connsiteX392" fmla="*/ 5553257 w 6096000"/>
              <a:gd name="connsiteY392" fmla="*/ 6442090 h 6858000"/>
              <a:gd name="connsiteX393" fmla="*/ 5613045 w 6096000"/>
              <a:gd name="connsiteY393" fmla="*/ 6381630 h 6858000"/>
              <a:gd name="connsiteX394" fmla="*/ 5553257 w 6096000"/>
              <a:gd name="connsiteY394" fmla="*/ 6321170 h 6858000"/>
              <a:gd name="connsiteX395" fmla="*/ 5553257 w 6096000"/>
              <a:gd name="connsiteY395" fmla="*/ 6314453 h 6858000"/>
              <a:gd name="connsiteX396" fmla="*/ 5619763 w 6096000"/>
              <a:gd name="connsiteY396" fmla="*/ 6381630 h 6858000"/>
              <a:gd name="connsiteX397" fmla="*/ 5553257 w 6096000"/>
              <a:gd name="connsiteY397" fmla="*/ 6448808 h 6858000"/>
              <a:gd name="connsiteX398" fmla="*/ 5486751 w 6096000"/>
              <a:gd name="connsiteY398" fmla="*/ 6381630 h 6858000"/>
              <a:gd name="connsiteX399" fmla="*/ 5553257 w 6096000"/>
              <a:gd name="connsiteY399" fmla="*/ 6314453 h 6858000"/>
              <a:gd name="connsiteX400" fmla="*/ 5728549 w 6096000"/>
              <a:gd name="connsiteY400" fmla="*/ 6311766 h 6858000"/>
              <a:gd name="connsiteX401" fmla="*/ 5732050 w 6096000"/>
              <a:gd name="connsiteY401" fmla="*/ 6318819 h 6858000"/>
              <a:gd name="connsiteX402" fmla="*/ 5732050 w 6096000"/>
              <a:gd name="connsiteY402" fmla="*/ 6442258 h 6858000"/>
              <a:gd name="connsiteX403" fmla="*/ 5728549 w 6096000"/>
              <a:gd name="connsiteY403" fmla="*/ 6449312 h 6858000"/>
              <a:gd name="connsiteX404" fmla="*/ 5721546 w 6096000"/>
              <a:gd name="connsiteY404" fmla="*/ 6449312 h 6858000"/>
              <a:gd name="connsiteX405" fmla="*/ 5634012 w 6096000"/>
              <a:gd name="connsiteY405" fmla="*/ 6389356 h 6858000"/>
              <a:gd name="connsiteX406" fmla="*/ 5630510 w 6096000"/>
              <a:gd name="connsiteY406" fmla="*/ 6382302 h 6858000"/>
              <a:gd name="connsiteX407" fmla="*/ 5634012 w 6096000"/>
              <a:gd name="connsiteY407" fmla="*/ 6371721 h 6858000"/>
              <a:gd name="connsiteX408" fmla="*/ 5718044 w 6096000"/>
              <a:gd name="connsiteY408" fmla="*/ 6315292 h 6858000"/>
              <a:gd name="connsiteX409" fmla="*/ 5728549 w 6096000"/>
              <a:gd name="connsiteY409" fmla="*/ 6311766 h 6858000"/>
              <a:gd name="connsiteX410" fmla="*/ 5377964 w 6096000"/>
              <a:gd name="connsiteY410" fmla="*/ 6311766 h 6858000"/>
              <a:gd name="connsiteX411" fmla="*/ 5384967 w 6096000"/>
              <a:gd name="connsiteY411" fmla="*/ 6315292 h 6858000"/>
              <a:gd name="connsiteX412" fmla="*/ 5472501 w 6096000"/>
              <a:gd name="connsiteY412" fmla="*/ 6371721 h 6858000"/>
              <a:gd name="connsiteX413" fmla="*/ 5476002 w 6096000"/>
              <a:gd name="connsiteY413" fmla="*/ 6382302 h 6858000"/>
              <a:gd name="connsiteX414" fmla="*/ 5472501 w 6096000"/>
              <a:gd name="connsiteY414" fmla="*/ 6389356 h 6858000"/>
              <a:gd name="connsiteX415" fmla="*/ 5384967 w 6096000"/>
              <a:gd name="connsiteY415" fmla="*/ 6449312 h 6858000"/>
              <a:gd name="connsiteX416" fmla="*/ 5377964 w 6096000"/>
              <a:gd name="connsiteY416" fmla="*/ 6449312 h 6858000"/>
              <a:gd name="connsiteX417" fmla="*/ 5370961 w 6096000"/>
              <a:gd name="connsiteY417" fmla="*/ 6445785 h 6858000"/>
              <a:gd name="connsiteX418" fmla="*/ 5370961 w 6096000"/>
              <a:gd name="connsiteY418" fmla="*/ 6318819 h 6858000"/>
              <a:gd name="connsiteX419" fmla="*/ 5377964 w 6096000"/>
              <a:gd name="connsiteY419" fmla="*/ 6311766 h 6858000"/>
              <a:gd name="connsiteX420" fmla="*/ 4974316 w 6096000"/>
              <a:gd name="connsiteY420" fmla="*/ 6301017 h 6858000"/>
              <a:gd name="connsiteX421" fmla="*/ 4974316 w 6096000"/>
              <a:gd name="connsiteY421" fmla="*/ 6308070 h 6858000"/>
              <a:gd name="connsiteX422" fmla="*/ 5016166 w 6096000"/>
              <a:gd name="connsiteY422" fmla="*/ 6470304 h 6858000"/>
              <a:gd name="connsiteX423" fmla="*/ 5037091 w 6096000"/>
              <a:gd name="connsiteY423" fmla="*/ 6491465 h 6858000"/>
              <a:gd name="connsiteX424" fmla="*/ 5047554 w 6096000"/>
              <a:gd name="connsiteY424" fmla="*/ 6491465 h 6858000"/>
              <a:gd name="connsiteX425" fmla="*/ 5044066 w 6096000"/>
              <a:gd name="connsiteY425" fmla="*/ 6498518 h 6858000"/>
              <a:gd name="connsiteX426" fmla="*/ 5016166 w 6096000"/>
              <a:gd name="connsiteY426" fmla="*/ 6519679 h 6858000"/>
              <a:gd name="connsiteX427" fmla="*/ 4981291 w 6096000"/>
              <a:gd name="connsiteY427" fmla="*/ 6516153 h 6858000"/>
              <a:gd name="connsiteX428" fmla="*/ 4977804 w 6096000"/>
              <a:gd name="connsiteY428" fmla="*/ 6519679 h 6858000"/>
              <a:gd name="connsiteX429" fmla="*/ 4974316 w 6096000"/>
              <a:gd name="connsiteY429" fmla="*/ 6523206 h 6858000"/>
              <a:gd name="connsiteX430" fmla="*/ 4974316 w 6096000"/>
              <a:gd name="connsiteY430" fmla="*/ 6544367 h 6858000"/>
              <a:gd name="connsiteX431" fmla="*/ 4981291 w 6096000"/>
              <a:gd name="connsiteY431" fmla="*/ 6551421 h 6858000"/>
              <a:gd name="connsiteX432" fmla="*/ 5026628 w 6096000"/>
              <a:gd name="connsiteY432" fmla="*/ 6554947 h 6858000"/>
              <a:gd name="connsiteX433" fmla="*/ 5030116 w 6096000"/>
              <a:gd name="connsiteY433" fmla="*/ 6554947 h 6858000"/>
              <a:gd name="connsiteX434" fmla="*/ 5085916 w 6096000"/>
              <a:gd name="connsiteY434" fmla="*/ 6502045 h 6858000"/>
              <a:gd name="connsiteX435" fmla="*/ 5117303 w 6096000"/>
              <a:gd name="connsiteY435" fmla="*/ 6371553 h 6858000"/>
              <a:gd name="connsiteX436" fmla="*/ 5131253 w 6096000"/>
              <a:gd name="connsiteY436" fmla="*/ 6329231 h 6858000"/>
              <a:gd name="connsiteX437" fmla="*/ 5134741 w 6096000"/>
              <a:gd name="connsiteY437" fmla="*/ 6308070 h 6858000"/>
              <a:gd name="connsiteX438" fmla="*/ 5134741 w 6096000"/>
              <a:gd name="connsiteY438" fmla="*/ 6301017 h 6858000"/>
              <a:gd name="connsiteX439" fmla="*/ 5127766 w 6096000"/>
              <a:gd name="connsiteY439" fmla="*/ 6301017 h 6858000"/>
              <a:gd name="connsiteX440" fmla="*/ 5099866 w 6096000"/>
              <a:gd name="connsiteY440" fmla="*/ 6301017 h 6858000"/>
              <a:gd name="connsiteX441" fmla="*/ 5092891 w 6096000"/>
              <a:gd name="connsiteY441" fmla="*/ 6304543 h 6858000"/>
              <a:gd name="connsiteX442" fmla="*/ 5054528 w 6096000"/>
              <a:gd name="connsiteY442" fmla="*/ 6449143 h 6858000"/>
              <a:gd name="connsiteX443" fmla="*/ 5051041 w 6096000"/>
              <a:gd name="connsiteY443" fmla="*/ 6449143 h 6858000"/>
              <a:gd name="connsiteX444" fmla="*/ 5016166 w 6096000"/>
              <a:gd name="connsiteY444" fmla="*/ 6304543 h 6858000"/>
              <a:gd name="connsiteX445" fmla="*/ 5009191 w 6096000"/>
              <a:gd name="connsiteY445" fmla="*/ 6301017 h 6858000"/>
              <a:gd name="connsiteX446" fmla="*/ 4981291 w 6096000"/>
              <a:gd name="connsiteY446" fmla="*/ 6301017 h 6858000"/>
              <a:gd name="connsiteX447" fmla="*/ 4974316 w 6096000"/>
              <a:gd name="connsiteY447" fmla="*/ 6301017 h 6858000"/>
              <a:gd name="connsiteX448" fmla="*/ 4942289 w 6096000"/>
              <a:gd name="connsiteY448" fmla="*/ 6296986 h 6858000"/>
              <a:gd name="connsiteX449" fmla="*/ 4889474 w 6096000"/>
              <a:gd name="connsiteY449" fmla="*/ 6318092 h 6858000"/>
              <a:gd name="connsiteX450" fmla="*/ 4889474 w 6096000"/>
              <a:gd name="connsiteY450" fmla="*/ 6307539 h 6858000"/>
              <a:gd name="connsiteX451" fmla="*/ 4882433 w 6096000"/>
              <a:gd name="connsiteY451" fmla="*/ 6300504 h 6858000"/>
              <a:gd name="connsiteX452" fmla="*/ 4854264 w 6096000"/>
              <a:gd name="connsiteY452" fmla="*/ 6300504 h 6858000"/>
              <a:gd name="connsiteX453" fmla="*/ 4847222 w 6096000"/>
              <a:gd name="connsiteY453" fmla="*/ 6307539 h 6858000"/>
              <a:gd name="connsiteX454" fmla="*/ 4847222 w 6096000"/>
              <a:gd name="connsiteY454" fmla="*/ 6483422 h 6858000"/>
              <a:gd name="connsiteX455" fmla="*/ 4854264 w 6096000"/>
              <a:gd name="connsiteY455" fmla="*/ 6490457 h 6858000"/>
              <a:gd name="connsiteX456" fmla="*/ 4882433 w 6096000"/>
              <a:gd name="connsiteY456" fmla="*/ 6490457 h 6858000"/>
              <a:gd name="connsiteX457" fmla="*/ 4889474 w 6096000"/>
              <a:gd name="connsiteY457" fmla="*/ 6483422 h 6858000"/>
              <a:gd name="connsiteX458" fmla="*/ 4889474 w 6096000"/>
              <a:gd name="connsiteY458" fmla="*/ 6360304 h 6858000"/>
              <a:gd name="connsiteX459" fmla="*/ 4942289 w 6096000"/>
              <a:gd name="connsiteY459" fmla="*/ 6339198 h 6858000"/>
              <a:gd name="connsiteX460" fmla="*/ 4949332 w 6096000"/>
              <a:gd name="connsiteY460" fmla="*/ 6332163 h 6858000"/>
              <a:gd name="connsiteX461" fmla="*/ 4949332 w 6096000"/>
              <a:gd name="connsiteY461" fmla="*/ 6304022 h 6858000"/>
              <a:gd name="connsiteX462" fmla="*/ 4945811 w 6096000"/>
              <a:gd name="connsiteY462" fmla="*/ 6300504 h 6858000"/>
              <a:gd name="connsiteX463" fmla="*/ 4942289 w 6096000"/>
              <a:gd name="connsiteY463" fmla="*/ 6296986 h 6858000"/>
              <a:gd name="connsiteX464" fmla="*/ 4735647 w 6096000"/>
              <a:gd name="connsiteY464" fmla="*/ 6292955 h 6858000"/>
              <a:gd name="connsiteX465" fmla="*/ 4665417 w 6096000"/>
              <a:gd name="connsiteY465" fmla="*/ 6300026 h 6858000"/>
              <a:gd name="connsiteX466" fmla="*/ 4658394 w 6096000"/>
              <a:gd name="connsiteY466" fmla="*/ 6307098 h 6858000"/>
              <a:gd name="connsiteX467" fmla="*/ 4658394 w 6096000"/>
              <a:gd name="connsiteY467" fmla="*/ 6331847 h 6858000"/>
              <a:gd name="connsiteX468" fmla="*/ 4661905 w 6096000"/>
              <a:gd name="connsiteY468" fmla="*/ 6338919 h 6858000"/>
              <a:gd name="connsiteX469" fmla="*/ 4665417 w 6096000"/>
              <a:gd name="connsiteY469" fmla="*/ 6338919 h 6858000"/>
              <a:gd name="connsiteX470" fmla="*/ 4732136 w 6096000"/>
              <a:gd name="connsiteY470" fmla="*/ 6335383 h 6858000"/>
              <a:gd name="connsiteX471" fmla="*/ 4756717 w 6096000"/>
              <a:gd name="connsiteY471" fmla="*/ 6360133 h 6858000"/>
              <a:gd name="connsiteX472" fmla="*/ 4756717 w 6096000"/>
              <a:gd name="connsiteY472" fmla="*/ 6370740 h 6858000"/>
              <a:gd name="connsiteX473" fmla="*/ 4707555 w 6096000"/>
              <a:gd name="connsiteY473" fmla="*/ 6374276 h 6858000"/>
              <a:gd name="connsiteX474" fmla="*/ 4644347 w 6096000"/>
              <a:gd name="connsiteY474" fmla="*/ 6434381 h 6858000"/>
              <a:gd name="connsiteX475" fmla="*/ 4700532 w 6096000"/>
              <a:gd name="connsiteY475" fmla="*/ 6494487 h 6858000"/>
              <a:gd name="connsiteX476" fmla="*/ 4763740 w 6096000"/>
              <a:gd name="connsiteY476" fmla="*/ 6480344 h 6858000"/>
              <a:gd name="connsiteX477" fmla="*/ 4791833 w 6096000"/>
              <a:gd name="connsiteY477" fmla="*/ 6494487 h 6858000"/>
              <a:gd name="connsiteX478" fmla="*/ 4798855 w 6096000"/>
              <a:gd name="connsiteY478" fmla="*/ 6490951 h 6858000"/>
              <a:gd name="connsiteX479" fmla="*/ 4798855 w 6096000"/>
              <a:gd name="connsiteY479" fmla="*/ 6487416 h 6858000"/>
              <a:gd name="connsiteX480" fmla="*/ 4798855 w 6096000"/>
              <a:gd name="connsiteY480" fmla="*/ 6360133 h 6858000"/>
              <a:gd name="connsiteX481" fmla="*/ 4735647 w 6096000"/>
              <a:gd name="connsiteY481" fmla="*/ 6292955 h 6858000"/>
              <a:gd name="connsiteX482" fmla="*/ 4399822 w 6096000"/>
              <a:gd name="connsiteY482" fmla="*/ 6292954 h 6858000"/>
              <a:gd name="connsiteX483" fmla="*/ 4313835 w 6096000"/>
              <a:gd name="connsiteY483" fmla="*/ 6393721 h 6858000"/>
              <a:gd name="connsiteX484" fmla="*/ 4399822 w 6096000"/>
              <a:gd name="connsiteY484" fmla="*/ 6494487 h 6858000"/>
              <a:gd name="connsiteX485" fmla="*/ 4485809 w 6096000"/>
              <a:gd name="connsiteY485" fmla="*/ 6393721 h 6858000"/>
              <a:gd name="connsiteX486" fmla="*/ 4399822 w 6096000"/>
              <a:gd name="connsiteY486" fmla="*/ 6292954 h 6858000"/>
              <a:gd name="connsiteX487" fmla="*/ 4145892 w 6096000"/>
              <a:gd name="connsiteY487" fmla="*/ 6268771 h 6858000"/>
              <a:gd name="connsiteX488" fmla="*/ 4177241 w 6096000"/>
              <a:gd name="connsiteY488" fmla="*/ 6268771 h 6858000"/>
              <a:gd name="connsiteX489" fmla="*/ 4194657 w 6096000"/>
              <a:gd name="connsiteY489" fmla="*/ 6268771 h 6858000"/>
              <a:gd name="connsiteX490" fmla="*/ 4239940 w 6096000"/>
              <a:gd name="connsiteY490" fmla="*/ 6307735 h 6858000"/>
              <a:gd name="connsiteX491" fmla="*/ 4191174 w 6096000"/>
              <a:gd name="connsiteY491" fmla="*/ 6346697 h 6858000"/>
              <a:gd name="connsiteX492" fmla="*/ 4145892 w 6096000"/>
              <a:gd name="connsiteY492" fmla="*/ 6346697 h 6858000"/>
              <a:gd name="connsiteX493" fmla="*/ 4145892 w 6096000"/>
              <a:gd name="connsiteY493" fmla="*/ 6268771 h 6858000"/>
              <a:gd name="connsiteX494" fmla="*/ 4563063 w 6096000"/>
              <a:gd name="connsiteY494" fmla="*/ 6255336 h 6858000"/>
              <a:gd name="connsiteX495" fmla="*/ 4531410 w 6096000"/>
              <a:gd name="connsiteY495" fmla="*/ 6262370 h 6858000"/>
              <a:gd name="connsiteX496" fmla="*/ 4527893 w 6096000"/>
              <a:gd name="connsiteY496" fmla="*/ 6269404 h 6858000"/>
              <a:gd name="connsiteX497" fmla="*/ 4527893 w 6096000"/>
              <a:gd name="connsiteY497" fmla="*/ 6301056 h 6858000"/>
              <a:gd name="connsiteX498" fmla="*/ 4510308 w 6096000"/>
              <a:gd name="connsiteY498" fmla="*/ 6301056 h 6858000"/>
              <a:gd name="connsiteX499" fmla="*/ 4503275 w 6096000"/>
              <a:gd name="connsiteY499" fmla="*/ 6308090 h 6858000"/>
              <a:gd name="connsiteX500" fmla="*/ 4503275 w 6096000"/>
              <a:gd name="connsiteY500" fmla="*/ 6332708 h 6858000"/>
              <a:gd name="connsiteX501" fmla="*/ 4510308 w 6096000"/>
              <a:gd name="connsiteY501" fmla="*/ 6339742 h 6858000"/>
              <a:gd name="connsiteX502" fmla="*/ 4527893 w 6096000"/>
              <a:gd name="connsiteY502" fmla="*/ 6339742 h 6858000"/>
              <a:gd name="connsiteX503" fmla="*/ 4527893 w 6096000"/>
              <a:gd name="connsiteY503" fmla="*/ 6424149 h 6858000"/>
              <a:gd name="connsiteX504" fmla="*/ 4584164 w 6096000"/>
              <a:gd name="connsiteY504" fmla="*/ 6494487 h 6858000"/>
              <a:gd name="connsiteX505" fmla="*/ 4615817 w 6096000"/>
              <a:gd name="connsiteY505" fmla="*/ 6490971 h 6858000"/>
              <a:gd name="connsiteX506" fmla="*/ 4622851 w 6096000"/>
              <a:gd name="connsiteY506" fmla="*/ 6483936 h 6858000"/>
              <a:gd name="connsiteX507" fmla="*/ 4622851 w 6096000"/>
              <a:gd name="connsiteY507" fmla="*/ 6459318 h 6858000"/>
              <a:gd name="connsiteX508" fmla="*/ 4615817 w 6096000"/>
              <a:gd name="connsiteY508" fmla="*/ 6452284 h 6858000"/>
              <a:gd name="connsiteX509" fmla="*/ 4591198 w 6096000"/>
              <a:gd name="connsiteY509" fmla="*/ 6452284 h 6858000"/>
              <a:gd name="connsiteX510" fmla="*/ 4570096 w 6096000"/>
              <a:gd name="connsiteY510" fmla="*/ 6417115 h 6858000"/>
              <a:gd name="connsiteX511" fmla="*/ 4570096 w 6096000"/>
              <a:gd name="connsiteY511" fmla="*/ 6339742 h 6858000"/>
              <a:gd name="connsiteX512" fmla="*/ 4615817 w 6096000"/>
              <a:gd name="connsiteY512" fmla="*/ 6339742 h 6858000"/>
              <a:gd name="connsiteX513" fmla="*/ 4622851 w 6096000"/>
              <a:gd name="connsiteY513" fmla="*/ 6332708 h 6858000"/>
              <a:gd name="connsiteX514" fmla="*/ 4622851 w 6096000"/>
              <a:gd name="connsiteY514" fmla="*/ 6308090 h 6858000"/>
              <a:gd name="connsiteX515" fmla="*/ 4615817 w 6096000"/>
              <a:gd name="connsiteY515" fmla="*/ 6301056 h 6858000"/>
              <a:gd name="connsiteX516" fmla="*/ 4570096 w 6096000"/>
              <a:gd name="connsiteY516" fmla="*/ 6301056 h 6858000"/>
              <a:gd name="connsiteX517" fmla="*/ 4570096 w 6096000"/>
              <a:gd name="connsiteY517" fmla="*/ 6262370 h 6858000"/>
              <a:gd name="connsiteX518" fmla="*/ 4566580 w 6096000"/>
              <a:gd name="connsiteY518" fmla="*/ 6255336 h 6858000"/>
              <a:gd name="connsiteX519" fmla="*/ 4563063 w 6096000"/>
              <a:gd name="connsiteY519" fmla="*/ 6255336 h 6858000"/>
              <a:gd name="connsiteX520" fmla="*/ 4187668 w 6096000"/>
              <a:gd name="connsiteY520" fmla="*/ 6227122 h 6858000"/>
              <a:gd name="connsiteX521" fmla="*/ 4107208 w 6096000"/>
              <a:gd name="connsiteY521" fmla="*/ 6230633 h 6858000"/>
              <a:gd name="connsiteX522" fmla="*/ 4100211 w 6096000"/>
              <a:gd name="connsiteY522" fmla="*/ 6237655 h 6858000"/>
              <a:gd name="connsiteX523" fmla="*/ 4100211 w 6096000"/>
              <a:gd name="connsiteY523" fmla="*/ 6483435 h 6858000"/>
              <a:gd name="connsiteX524" fmla="*/ 4107208 w 6096000"/>
              <a:gd name="connsiteY524" fmla="*/ 6490457 h 6858000"/>
              <a:gd name="connsiteX525" fmla="*/ 4138693 w 6096000"/>
              <a:gd name="connsiteY525" fmla="*/ 6490457 h 6858000"/>
              <a:gd name="connsiteX526" fmla="*/ 4145689 w 6096000"/>
              <a:gd name="connsiteY526" fmla="*/ 6483435 h 6858000"/>
              <a:gd name="connsiteX527" fmla="*/ 4145689 w 6096000"/>
              <a:gd name="connsiteY527" fmla="*/ 6385123 h 6858000"/>
              <a:gd name="connsiteX528" fmla="*/ 4194665 w 6096000"/>
              <a:gd name="connsiteY528" fmla="*/ 6388634 h 6858000"/>
              <a:gd name="connsiteX529" fmla="*/ 4240143 w 6096000"/>
              <a:gd name="connsiteY529" fmla="*/ 6486946 h 6858000"/>
              <a:gd name="connsiteX530" fmla="*/ 4247139 w 6096000"/>
              <a:gd name="connsiteY530" fmla="*/ 6490457 h 6858000"/>
              <a:gd name="connsiteX531" fmla="*/ 4278624 w 6096000"/>
              <a:gd name="connsiteY531" fmla="*/ 6490457 h 6858000"/>
              <a:gd name="connsiteX532" fmla="*/ 4285620 w 6096000"/>
              <a:gd name="connsiteY532" fmla="*/ 6486946 h 6858000"/>
              <a:gd name="connsiteX533" fmla="*/ 4285620 w 6096000"/>
              <a:gd name="connsiteY533" fmla="*/ 6479924 h 6858000"/>
              <a:gd name="connsiteX534" fmla="*/ 4240143 w 6096000"/>
              <a:gd name="connsiteY534" fmla="*/ 6374590 h 6858000"/>
              <a:gd name="connsiteX535" fmla="*/ 4285620 w 6096000"/>
              <a:gd name="connsiteY535" fmla="*/ 6307878 h 6858000"/>
              <a:gd name="connsiteX536" fmla="*/ 4194665 w 6096000"/>
              <a:gd name="connsiteY536" fmla="*/ 6227122 h 6858000"/>
              <a:gd name="connsiteX537" fmla="*/ 4187668 w 6096000"/>
              <a:gd name="connsiteY537" fmla="*/ 6227122 h 6858000"/>
              <a:gd name="connsiteX538" fmla="*/ 5743186 w 6096000"/>
              <a:gd name="connsiteY538" fmla="*/ 6196200 h 6858000"/>
              <a:gd name="connsiteX539" fmla="*/ 5749722 w 6096000"/>
              <a:gd name="connsiteY539" fmla="*/ 6201931 h 6858000"/>
              <a:gd name="connsiteX540" fmla="*/ 5812470 w 6096000"/>
              <a:gd name="connsiteY540" fmla="*/ 6441755 h 6858000"/>
              <a:gd name="connsiteX541" fmla="*/ 5802012 w 6096000"/>
              <a:gd name="connsiteY541" fmla="*/ 6445282 h 6858000"/>
              <a:gd name="connsiteX542" fmla="*/ 5763666 w 6096000"/>
              <a:gd name="connsiteY542" fmla="*/ 6434701 h 6858000"/>
              <a:gd name="connsiteX543" fmla="*/ 5756694 w 6096000"/>
              <a:gd name="connsiteY543" fmla="*/ 6424121 h 6858000"/>
              <a:gd name="connsiteX544" fmla="*/ 5711377 w 6096000"/>
              <a:gd name="connsiteY544" fmla="*/ 6244253 h 6858000"/>
              <a:gd name="connsiteX545" fmla="*/ 5711377 w 6096000"/>
              <a:gd name="connsiteY545" fmla="*/ 6230146 h 6858000"/>
              <a:gd name="connsiteX546" fmla="*/ 5739264 w 6096000"/>
              <a:gd name="connsiteY546" fmla="*/ 6198404 h 6858000"/>
              <a:gd name="connsiteX547" fmla="*/ 5743186 w 6096000"/>
              <a:gd name="connsiteY547" fmla="*/ 6196200 h 6858000"/>
              <a:gd name="connsiteX548" fmla="*/ 5362923 w 6096000"/>
              <a:gd name="connsiteY548" fmla="*/ 6196200 h 6858000"/>
              <a:gd name="connsiteX549" fmla="*/ 5366885 w 6096000"/>
              <a:gd name="connsiteY549" fmla="*/ 6198404 h 6858000"/>
              <a:gd name="connsiteX550" fmla="*/ 5398585 w 6096000"/>
              <a:gd name="connsiteY550" fmla="*/ 6230146 h 6858000"/>
              <a:gd name="connsiteX551" fmla="*/ 5395063 w 6096000"/>
              <a:gd name="connsiteY551" fmla="*/ 6244253 h 6858000"/>
              <a:gd name="connsiteX552" fmla="*/ 5349274 w 6096000"/>
              <a:gd name="connsiteY552" fmla="*/ 6424121 h 6858000"/>
              <a:gd name="connsiteX553" fmla="*/ 5342229 w 6096000"/>
              <a:gd name="connsiteY553" fmla="*/ 6434701 h 6858000"/>
              <a:gd name="connsiteX554" fmla="*/ 5303484 w 6096000"/>
              <a:gd name="connsiteY554" fmla="*/ 6445282 h 6858000"/>
              <a:gd name="connsiteX555" fmla="*/ 5292917 w 6096000"/>
              <a:gd name="connsiteY555" fmla="*/ 6441755 h 6858000"/>
              <a:gd name="connsiteX556" fmla="*/ 5356318 w 6096000"/>
              <a:gd name="connsiteY556" fmla="*/ 6201931 h 6858000"/>
              <a:gd name="connsiteX557" fmla="*/ 5362923 w 6096000"/>
              <a:gd name="connsiteY557" fmla="*/ 6196200 h 6858000"/>
              <a:gd name="connsiteX558" fmla="*/ 5581605 w 6096000"/>
              <a:gd name="connsiteY558" fmla="*/ 6190846 h 6858000"/>
              <a:gd name="connsiteX559" fmla="*/ 5588592 w 6096000"/>
              <a:gd name="connsiteY559" fmla="*/ 6190846 h 6858000"/>
              <a:gd name="connsiteX560" fmla="*/ 5696882 w 6096000"/>
              <a:gd name="connsiteY560" fmla="*/ 6254415 h 6858000"/>
              <a:gd name="connsiteX561" fmla="*/ 5700375 w 6096000"/>
              <a:gd name="connsiteY561" fmla="*/ 6261479 h 6858000"/>
              <a:gd name="connsiteX562" fmla="*/ 5693388 w 6096000"/>
              <a:gd name="connsiteY562" fmla="*/ 6268542 h 6858000"/>
              <a:gd name="connsiteX563" fmla="*/ 5602565 w 6096000"/>
              <a:gd name="connsiteY563" fmla="*/ 6314453 h 6858000"/>
              <a:gd name="connsiteX564" fmla="*/ 5592084 w 6096000"/>
              <a:gd name="connsiteY564" fmla="*/ 6314453 h 6858000"/>
              <a:gd name="connsiteX565" fmla="*/ 5585098 w 6096000"/>
              <a:gd name="connsiteY565" fmla="*/ 6303858 h 6858000"/>
              <a:gd name="connsiteX566" fmla="*/ 5578112 w 6096000"/>
              <a:gd name="connsiteY566" fmla="*/ 6201442 h 6858000"/>
              <a:gd name="connsiteX567" fmla="*/ 5581605 w 6096000"/>
              <a:gd name="connsiteY567" fmla="*/ 6190846 h 6858000"/>
              <a:gd name="connsiteX568" fmla="*/ 5517922 w 6096000"/>
              <a:gd name="connsiteY568" fmla="*/ 6190846 h 6858000"/>
              <a:gd name="connsiteX569" fmla="*/ 5524908 w 6096000"/>
              <a:gd name="connsiteY569" fmla="*/ 6190846 h 6858000"/>
              <a:gd name="connsiteX570" fmla="*/ 5528401 w 6096000"/>
              <a:gd name="connsiteY570" fmla="*/ 6201442 h 6858000"/>
              <a:gd name="connsiteX571" fmla="*/ 5517922 w 6096000"/>
              <a:gd name="connsiteY571" fmla="*/ 6307389 h 6858000"/>
              <a:gd name="connsiteX572" fmla="*/ 5514428 w 6096000"/>
              <a:gd name="connsiteY572" fmla="*/ 6314453 h 6858000"/>
              <a:gd name="connsiteX573" fmla="*/ 5503949 w 6096000"/>
              <a:gd name="connsiteY573" fmla="*/ 6314453 h 6858000"/>
              <a:gd name="connsiteX574" fmla="*/ 5413124 w 6096000"/>
              <a:gd name="connsiteY574" fmla="*/ 6268542 h 6858000"/>
              <a:gd name="connsiteX575" fmla="*/ 5406138 w 6096000"/>
              <a:gd name="connsiteY575" fmla="*/ 6261479 h 6858000"/>
              <a:gd name="connsiteX576" fmla="*/ 5409632 w 6096000"/>
              <a:gd name="connsiteY576" fmla="*/ 6254415 h 6858000"/>
              <a:gd name="connsiteX577" fmla="*/ 5517922 w 6096000"/>
              <a:gd name="connsiteY577" fmla="*/ 6190846 h 6858000"/>
              <a:gd name="connsiteX578" fmla="*/ 5436772 w 6096000"/>
              <a:gd name="connsiteY578" fmla="*/ 6155914 h 6858000"/>
              <a:gd name="connsiteX579" fmla="*/ 5443758 w 6096000"/>
              <a:gd name="connsiteY579" fmla="*/ 6163304 h 6858000"/>
              <a:gd name="connsiteX580" fmla="*/ 5440265 w 6096000"/>
              <a:gd name="connsiteY580" fmla="*/ 6166999 h 6858000"/>
              <a:gd name="connsiteX581" fmla="*/ 5433278 w 6096000"/>
              <a:gd name="connsiteY581" fmla="*/ 6170694 h 6858000"/>
              <a:gd name="connsiteX582" fmla="*/ 5429785 w 6096000"/>
              <a:gd name="connsiteY582" fmla="*/ 6163304 h 6858000"/>
              <a:gd name="connsiteX583" fmla="*/ 5426292 w 6096000"/>
              <a:gd name="connsiteY583" fmla="*/ 6163304 h 6858000"/>
              <a:gd name="connsiteX584" fmla="*/ 5436772 w 6096000"/>
              <a:gd name="connsiteY584" fmla="*/ 6155914 h 6858000"/>
              <a:gd name="connsiteX585" fmla="*/ 5433297 w 6096000"/>
              <a:gd name="connsiteY585" fmla="*/ 6148717 h 6858000"/>
              <a:gd name="connsiteX586" fmla="*/ 5415543 w 6096000"/>
              <a:gd name="connsiteY586" fmla="*/ 6159369 h 6858000"/>
              <a:gd name="connsiteX587" fmla="*/ 5419094 w 6096000"/>
              <a:gd name="connsiteY587" fmla="*/ 6162920 h 6858000"/>
              <a:gd name="connsiteX588" fmla="*/ 5436848 w 6096000"/>
              <a:gd name="connsiteY588" fmla="*/ 6194878 h 6858000"/>
              <a:gd name="connsiteX589" fmla="*/ 5443950 w 6096000"/>
              <a:gd name="connsiteY589" fmla="*/ 6191326 h 6858000"/>
              <a:gd name="connsiteX590" fmla="*/ 5436848 w 6096000"/>
              <a:gd name="connsiteY590" fmla="*/ 6177123 h 6858000"/>
              <a:gd name="connsiteX591" fmla="*/ 5443950 w 6096000"/>
              <a:gd name="connsiteY591" fmla="*/ 6173573 h 6858000"/>
              <a:gd name="connsiteX592" fmla="*/ 5458153 w 6096000"/>
              <a:gd name="connsiteY592" fmla="*/ 6184225 h 6858000"/>
              <a:gd name="connsiteX593" fmla="*/ 5465255 w 6096000"/>
              <a:gd name="connsiteY593" fmla="*/ 6180674 h 6858000"/>
              <a:gd name="connsiteX594" fmla="*/ 5451052 w 6096000"/>
              <a:gd name="connsiteY594" fmla="*/ 6166471 h 6858000"/>
              <a:gd name="connsiteX595" fmla="*/ 5451052 w 6096000"/>
              <a:gd name="connsiteY595" fmla="*/ 6162920 h 6858000"/>
              <a:gd name="connsiteX596" fmla="*/ 5433297 w 6096000"/>
              <a:gd name="connsiteY596" fmla="*/ 6148717 h 6858000"/>
              <a:gd name="connsiteX597" fmla="*/ 5654205 w 6096000"/>
              <a:gd name="connsiteY597" fmla="*/ 6142479 h 6858000"/>
              <a:gd name="connsiteX598" fmla="*/ 5657748 w 6096000"/>
              <a:gd name="connsiteY598" fmla="*/ 6166663 h 6858000"/>
              <a:gd name="connsiteX599" fmla="*/ 5650663 w 6096000"/>
              <a:gd name="connsiteY599" fmla="*/ 6183937 h 6858000"/>
              <a:gd name="connsiteX600" fmla="*/ 5657748 w 6096000"/>
              <a:gd name="connsiteY600" fmla="*/ 6190846 h 6858000"/>
              <a:gd name="connsiteX601" fmla="*/ 5664832 w 6096000"/>
              <a:gd name="connsiteY601" fmla="*/ 6173572 h 6858000"/>
              <a:gd name="connsiteX602" fmla="*/ 5689626 w 6096000"/>
              <a:gd name="connsiteY602" fmla="*/ 6159753 h 6858000"/>
              <a:gd name="connsiteX603" fmla="*/ 5682543 w 6096000"/>
              <a:gd name="connsiteY603" fmla="*/ 6156298 h 6858000"/>
              <a:gd name="connsiteX604" fmla="*/ 5664832 w 6096000"/>
              <a:gd name="connsiteY604" fmla="*/ 6163208 h 6858000"/>
              <a:gd name="connsiteX605" fmla="*/ 5661290 w 6096000"/>
              <a:gd name="connsiteY605" fmla="*/ 6145933 h 6858000"/>
              <a:gd name="connsiteX606" fmla="*/ 5654205 w 6096000"/>
              <a:gd name="connsiteY606" fmla="*/ 6142479 h 6858000"/>
              <a:gd name="connsiteX607" fmla="*/ 5619224 w 6096000"/>
              <a:gd name="connsiteY607" fmla="*/ 6138449 h 6858000"/>
              <a:gd name="connsiteX608" fmla="*/ 5629705 w 6096000"/>
              <a:gd name="connsiteY608" fmla="*/ 6141808 h 6858000"/>
              <a:gd name="connsiteX609" fmla="*/ 5633197 w 6096000"/>
              <a:gd name="connsiteY609" fmla="*/ 6145167 h 6858000"/>
              <a:gd name="connsiteX610" fmla="*/ 5626211 w 6096000"/>
              <a:gd name="connsiteY610" fmla="*/ 6151884 h 6858000"/>
              <a:gd name="connsiteX611" fmla="*/ 5615731 w 6096000"/>
              <a:gd name="connsiteY611" fmla="*/ 6148525 h 6858000"/>
              <a:gd name="connsiteX612" fmla="*/ 5615731 w 6096000"/>
              <a:gd name="connsiteY612" fmla="*/ 6145167 h 6858000"/>
              <a:gd name="connsiteX613" fmla="*/ 5619224 w 6096000"/>
              <a:gd name="connsiteY613" fmla="*/ 6138449 h 6858000"/>
              <a:gd name="connsiteX614" fmla="*/ 5486079 w 6096000"/>
              <a:gd name="connsiteY614" fmla="*/ 6137944 h 6858000"/>
              <a:gd name="connsiteX615" fmla="*/ 5500187 w 6096000"/>
              <a:gd name="connsiteY615" fmla="*/ 6148525 h 6858000"/>
              <a:gd name="connsiteX616" fmla="*/ 5486079 w 6096000"/>
              <a:gd name="connsiteY616" fmla="*/ 6162632 h 6858000"/>
              <a:gd name="connsiteX617" fmla="*/ 5471972 w 6096000"/>
              <a:gd name="connsiteY617" fmla="*/ 6152052 h 6858000"/>
              <a:gd name="connsiteX618" fmla="*/ 5471972 w 6096000"/>
              <a:gd name="connsiteY618" fmla="*/ 6148525 h 6858000"/>
              <a:gd name="connsiteX619" fmla="*/ 5486079 w 6096000"/>
              <a:gd name="connsiteY619" fmla="*/ 6137944 h 6858000"/>
              <a:gd name="connsiteX620" fmla="*/ 5574081 w 6096000"/>
              <a:gd name="connsiteY620" fmla="*/ 6131730 h 6858000"/>
              <a:gd name="connsiteX621" fmla="*/ 5577440 w 6096000"/>
              <a:gd name="connsiteY621" fmla="*/ 6142210 h 6858000"/>
              <a:gd name="connsiteX622" fmla="*/ 5580799 w 6096000"/>
              <a:gd name="connsiteY622" fmla="*/ 6149197 h 6858000"/>
              <a:gd name="connsiteX623" fmla="*/ 5567363 w 6096000"/>
              <a:gd name="connsiteY623" fmla="*/ 6149197 h 6858000"/>
              <a:gd name="connsiteX624" fmla="*/ 5570722 w 6096000"/>
              <a:gd name="connsiteY624" fmla="*/ 6142210 h 6858000"/>
              <a:gd name="connsiteX625" fmla="*/ 5574081 w 6096000"/>
              <a:gd name="connsiteY625" fmla="*/ 6131730 h 6858000"/>
              <a:gd name="connsiteX626" fmla="*/ 5482609 w 6096000"/>
              <a:gd name="connsiteY626" fmla="*/ 6131214 h 6858000"/>
              <a:gd name="connsiteX627" fmla="*/ 5465254 w 6096000"/>
              <a:gd name="connsiteY627" fmla="*/ 6148784 h 6858000"/>
              <a:gd name="connsiteX628" fmla="*/ 5465254 w 6096000"/>
              <a:gd name="connsiteY628" fmla="*/ 6152297 h 6858000"/>
              <a:gd name="connsiteX629" fmla="*/ 5486079 w 6096000"/>
              <a:gd name="connsiteY629" fmla="*/ 6169867 h 6858000"/>
              <a:gd name="connsiteX630" fmla="*/ 5506904 w 6096000"/>
              <a:gd name="connsiteY630" fmla="*/ 6148784 h 6858000"/>
              <a:gd name="connsiteX631" fmla="*/ 5482609 w 6096000"/>
              <a:gd name="connsiteY631" fmla="*/ 6131214 h 6858000"/>
              <a:gd name="connsiteX632" fmla="*/ 5612922 w 6096000"/>
              <a:gd name="connsiteY632" fmla="*/ 6127700 h 6858000"/>
              <a:gd name="connsiteX633" fmla="*/ 5609380 w 6096000"/>
              <a:gd name="connsiteY633" fmla="*/ 6145454 h 6858000"/>
              <a:gd name="connsiteX634" fmla="*/ 5602296 w 6096000"/>
              <a:gd name="connsiteY634" fmla="*/ 6166759 h 6858000"/>
              <a:gd name="connsiteX635" fmla="*/ 5612922 w 6096000"/>
              <a:gd name="connsiteY635" fmla="*/ 6170310 h 6858000"/>
              <a:gd name="connsiteX636" fmla="*/ 5616464 w 6096000"/>
              <a:gd name="connsiteY636" fmla="*/ 6156107 h 6858000"/>
              <a:gd name="connsiteX637" fmla="*/ 5623548 w 6096000"/>
              <a:gd name="connsiteY637" fmla="*/ 6156107 h 6858000"/>
              <a:gd name="connsiteX638" fmla="*/ 5627090 w 6096000"/>
              <a:gd name="connsiteY638" fmla="*/ 6173861 h 6858000"/>
              <a:gd name="connsiteX639" fmla="*/ 5634175 w 6096000"/>
              <a:gd name="connsiteY639" fmla="*/ 6177412 h 6858000"/>
              <a:gd name="connsiteX640" fmla="*/ 5630632 w 6096000"/>
              <a:gd name="connsiteY640" fmla="*/ 6159658 h 6858000"/>
              <a:gd name="connsiteX641" fmla="*/ 5641259 w 6096000"/>
              <a:gd name="connsiteY641" fmla="*/ 6145454 h 6858000"/>
              <a:gd name="connsiteX642" fmla="*/ 5634175 w 6096000"/>
              <a:gd name="connsiteY642" fmla="*/ 6134802 h 6858000"/>
              <a:gd name="connsiteX643" fmla="*/ 5612922 w 6096000"/>
              <a:gd name="connsiteY643" fmla="*/ 6127700 h 6858000"/>
              <a:gd name="connsiteX644" fmla="*/ 5570295 w 6096000"/>
              <a:gd name="connsiteY644" fmla="*/ 6120982 h 6858000"/>
              <a:gd name="connsiteX645" fmla="*/ 5563211 w 6096000"/>
              <a:gd name="connsiteY645" fmla="*/ 6142066 h 6858000"/>
              <a:gd name="connsiteX646" fmla="*/ 5552585 w 6096000"/>
              <a:gd name="connsiteY646" fmla="*/ 6163149 h 6858000"/>
              <a:gd name="connsiteX647" fmla="*/ 5559669 w 6096000"/>
              <a:gd name="connsiteY647" fmla="*/ 6163149 h 6858000"/>
              <a:gd name="connsiteX648" fmla="*/ 5563211 w 6096000"/>
              <a:gd name="connsiteY648" fmla="*/ 6156121 h 6858000"/>
              <a:gd name="connsiteX649" fmla="*/ 5580922 w 6096000"/>
              <a:gd name="connsiteY649" fmla="*/ 6156121 h 6858000"/>
              <a:gd name="connsiteX650" fmla="*/ 5584464 w 6096000"/>
              <a:gd name="connsiteY650" fmla="*/ 6163149 h 6858000"/>
              <a:gd name="connsiteX651" fmla="*/ 5591548 w 6096000"/>
              <a:gd name="connsiteY651" fmla="*/ 6166663 h 6858000"/>
              <a:gd name="connsiteX652" fmla="*/ 5584464 w 6096000"/>
              <a:gd name="connsiteY652" fmla="*/ 6142066 h 6858000"/>
              <a:gd name="connsiteX653" fmla="*/ 5580922 w 6096000"/>
              <a:gd name="connsiteY653" fmla="*/ 6120982 h 6858000"/>
              <a:gd name="connsiteX654" fmla="*/ 5570295 w 6096000"/>
              <a:gd name="connsiteY654" fmla="*/ 6120982 h 6858000"/>
              <a:gd name="connsiteX655" fmla="*/ 5549898 w 6096000"/>
              <a:gd name="connsiteY655" fmla="*/ 6120982 h 6858000"/>
              <a:gd name="connsiteX656" fmla="*/ 5510934 w 6096000"/>
              <a:gd name="connsiteY656" fmla="*/ 6124453 h 6858000"/>
              <a:gd name="connsiteX657" fmla="*/ 5510934 w 6096000"/>
              <a:gd name="connsiteY657" fmla="*/ 6131394 h 6858000"/>
              <a:gd name="connsiteX658" fmla="*/ 5525103 w 6096000"/>
              <a:gd name="connsiteY658" fmla="*/ 6127924 h 6858000"/>
              <a:gd name="connsiteX659" fmla="*/ 5528645 w 6096000"/>
              <a:gd name="connsiteY659" fmla="*/ 6162632 h 6858000"/>
              <a:gd name="connsiteX660" fmla="*/ 5539271 w 6096000"/>
              <a:gd name="connsiteY660" fmla="*/ 6162632 h 6858000"/>
              <a:gd name="connsiteX661" fmla="*/ 5535729 w 6096000"/>
              <a:gd name="connsiteY661" fmla="*/ 6127924 h 6858000"/>
              <a:gd name="connsiteX662" fmla="*/ 5549898 w 6096000"/>
              <a:gd name="connsiteY662" fmla="*/ 6127924 h 6858000"/>
              <a:gd name="connsiteX663" fmla="*/ 5549898 w 6096000"/>
              <a:gd name="connsiteY663" fmla="*/ 6120982 h 6858000"/>
              <a:gd name="connsiteX664" fmla="*/ 5100257 w 6096000"/>
              <a:gd name="connsiteY664" fmla="*/ 6120981 h 6858000"/>
              <a:gd name="connsiteX665" fmla="*/ 5125336 w 6096000"/>
              <a:gd name="connsiteY665" fmla="*/ 6155913 h 6858000"/>
              <a:gd name="connsiteX666" fmla="*/ 5071595 w 6096000"/>
              <a:gd name="connsiteY666" fmla="*/ 6155913 h 6858000"/>
              <a:gd name="connsiteX667" fmla="*/ 5100257 w 6096000"/>
              <a:gd name="connsiteY667" fmla="*/ 6120981 h 6858000"/>
              <a:gd name="connsiteX668" fmla="*/ 5552585 w 6096000"/>
              <a:gd name="connsiteY668" fmla="*/ 6114265 h 6858000"/>
              <a:gd name="connsiteX669" fmla="*/ 5717539 w 6096000"/>
              <a:gd name="connsiteY669" fmla="*/ 6170156 h 6858000"/>
              <a:gd name="connsiteX670" fmla="*/ 5721049 w 6096000"/>
              <a:gd name="connsiteY670" fmla="*/ 6184129 h 6858000"/>
              <a:gd name="connsiteX671" fmla="*/ 5692972 w 6096000"/>
              <a:gd name="connsiteY671" fmla="*/ 6215569 h 6858000"/>
              <a:gd name="connsiteX672" fmla="*/ 5678933 w 6096000"/>
              <a:gd name="connsiteY672" fmla="*/ 6215569 h 6858000"/>
              <a:gd name="connsiteX673" fmla="*/ 5552585 w 6096000"/>
              <a:gd name="connsiteY673" fmla="*/ 6170156 h 6858000"/>
              <a:gd name="connsiteX674" fmla="*/ 5426236 w 6096000"/>
              <a:gd name="connsiteY674" fmla="*/ 6215569 h 6858000"/>
              <a:gd name="connsiteX675" fmla="*/ 5412198 w 6096000"/>
              <a:gd name="connsiteY675" fmla="*/ 6215569 h 6858000"/>
              <a:gd name="connsiteX676" fmla="*/ 5384121 w 6096000"/>
              <a:gd name="connsiteY676" fmla="*/ 6184129 h 6858000"/>
              <a:gd name="connsiteX677" fmla="*/ 5387630 w 6096000"/>
              <a:gd name="connsiteY677" fmla="*/ 6170156 h 6858000"/>
              <a:gd name="connsiteX678" fmla="*/ 5552585 w 6096000"/>
              <a:gd name="connsiteY678" fmla="*/ 6114265 h 6858000"/>
              <a:gd name="connsiteX679" fmla="*/ 5100481 w 6096000"/>
              <a:gd name="connsiteY679" fmla="*/ 6114264 h 6858000"/>
              <a:gd name="connsiteX680" fmla="*/ 5062189 w 6096000"/>
              <a:gd name="connsiteY680" fmla="*/ 6163304 h 6858000"/>
              <a:gd name="connsiteX681" fmla="*/ 5103962 w 6096000"/>
              <a:gd name="connsiteY681" fmla="*/ 6212343 h 6858000"/>
              <a:gd name="connsiteX682" fmla="*/ 5131810 w 6096000"/>
              <a:gd name="connsiteY682" fmla="*/ 6205337 h 6858000"/>
              <a:gd name="connsiteX683" fmla="*/ 5131810 w 6096000"/>
              <a:gd name="connsiteY683" fmla="*/ 6194829 h 6858000"/>
              <a:gd name="connsiteX684" fmla="*/ 5103962 w 6096000"/>
              <a:gd name="connsiteY684" fmla="*/ 6201834 h 6858000"/>
              <a:gd name="connsiteX685" fmla="*/ 5072632 w 6096000"/>
              <a:gd name="connsiteY685" fmla="*/ 6166807 h 6858000"/>
              <a:gd name="connsiteX686" fmla="*/ 5138772 w 6096000"/>
              <a:gd name="connsiteY686" fmla="*/ 6166807 h 6858000"/>
              <a:gd name="connsiteX687" fmla="*/ 5138772 w 6096000"/>
              <a:gd name="connsiteY687" fmla="*/ 6159801 h 6858000"/>
              <a:gd name="connsiteX688" fmla="*/ 5100481 w 6096000"/>
              <a:gd name="connsiteY688" fmla="*/ 6114264 h 6858000"/>
              <a:gd name="connsiteX689" fmla="*/ 4851253 w 6096000"/>
              <a:gd name="connsiteY689" fmla="*/ 6077988 h 6858000"/>
              <a:gd name="connsiteX690" fmla="*/ 4851253 w 6096000"/>
              <a:gd name="connsiteY690" fmla="*/ 6088736 h 6858000"/>
              <a:gd name="connsiteX691" fmla="*/ 4890216 w 6096000"/>
              <a:gd name="connsiteY691" fmla="*/ 6088736 h 6858000"/>
              <a:gd name="connsiteX692" fmla="*/ 4890216 w 6096000"/>
              <a:gd name="connsiteY692" fmla="*/ 6208312 h 6858000"/>
              <a:gd name="connsiteX693" fmla="*/ 4903652 w 6096000"/>
              <a:gd name="connsiteY693" fmla="*/ 6208312 h 6858000"/>
              <a:gd name="connsiteX694" fmla="*/ 4903652 w 6096000"/>
              <a:gd name="connsiteY694" fmla="*/ 6088736 h 6858000"/>
              <a:gd name="connsiteX695" fmla="*/ 4942614 w 6096000"/>
              <a:gd name="connsiteY695" fmla="*/ 6088736 h 6858000"/>
              <a:gd name="connsiteX696" fmla="*/ 4942614 w 6096000"/>
              <a:gd name="connsiteY696" fmla="*/ 6077988 h 6858000"/>
              <a:gd name="connsiteX697" fmla="*/ 4964111 w 6096000"/>
              <a:gd name="connsiteY697" fmla="*/ 6067239 h 6858000"/>
              <a:gd name="connsiteX698" fmla="*/ 4964111 w 6096000"/>
              <a:gd name="connsiteY698" fmla="*/ 6208312 h 6858000"/>
              <a:gd name="connsiteX699" fmla="*/ 4974476 w 6096000"/>
              <a:gd name="connsiteY699" fmla="*/ 6208312 h 6858000"/>
              <a:gd name="connsiteX700" fmla="*/ 4974476 w 6096000"/>
              <a:gd name="connsiteY700" fmla="*/ 6158936 h 6858000"/>
              <a:gd name="connsiteX701" fmla="*/ 5002115 w 6096000"/>
              <a:gd name="connsiteY701" fmla="*/ 6120142 h 6858000"/>
              <a:gd name="connsiteX702" fmla="*/ 5022844 w 6096000"/>
              <a:gd name="connsiteY702" fmla="*/ 6151883 h 6858000"/>
              <a:gd name="connsiteX703" fmla="*/ 5022844 w 6096000"/>
              <a:gd name="connsiteY703" fmla="*/ 6208312 h 6858000"/>
              <a:gd name="connsiteX704" fmla="*/ 5036662 w 6096000"/>
              <a:gd name="connsiteY704" fmla="*/ 6208312 h 6858000"/>
              <a:gd name="connsiteX705" fmla="*/ 5036662 w 6096000"/>
              <a:gd name="connsiteY705" fmla="*/ 6151883 h 6858000"/>
              <a:gd name="connsiteX706" fmla="*/ 5005569 w 6096000"/>
              <a:gd name="connsiteY706" fmla="*/ 6113088 h 6858000"/>
              <a:gd name="connsiteX707" fmla="*/ 4974476 w 6096000"/>
              <a:gd name="connsiteY707" fmla="*/ 6130722 h 6858000"/>
              <a:gd name="connsiteX708" fmla="*/ 4974476 w 6096000"/>
              <a:gd name="connsiteY708" fmla="*/ 6067239 h 6858000"/>
              <a:gd name="connsiteX709" fmla="*/ 4964111 w 6096000"/>
              <a:gd name="connsiteY709" fmla="*/ 6067239 h 6858000"/>
              <a:gd name="connsiteX710" fmla="*/ 5542739 w 6096000"/>
              <a:gd name="connsiteY710" fmla="*/ 6043056 h 6858000"/>
              <a:gd name="connsiteX711" fmla="*/ 5528716 w 6096000"/>
              <a:gd name="connsiteY711" fmla="*/ 6095919 h 6858000"/>
              <a:gd name="connsiteX712" fmla="*/ 5504176 w 6096000"/>
              <a:gd name="connsiteY712" fmla="*/ 6099443 h 6858000"/>
              <a:gd name="connsiteX713" fmla="*/ 5479635 w 6096000"/>
              <a:gd name="connsiteY713" fmla="*/ 6053629 h 6858000"/>
              <a:gd name="connsiteX714" fmla="*/ 5476129 w 6096000"/>
              <a:gd name="connsiteY714" fmla="*/ 6053629 h 6858000"/>
              <a:gd name="connsiteX715" fmla="*/ 5455094 w 6096000"/>
              <a:gd name="connsiteY715" fmla="*/ 6057153 h 6858000"/>
              <a:gd name="connsiteX716" fmla="*/ 5455094 w 6096000"/>
              <a:gd name="connsiteY716" fmla="*/ 6060677 h 6858000"/>
              <a:gd name="connsiteX717" fmla="*/ 5451588 w 6096000"/>
              <a:gd name="connsiteY717" fmla="*/ 6085346 h 6858000"/>
              <a:gd name="connsiteX718" fmla="*/ 5455094 w 6096000"/>
              <a:gd name="connsiteY718" fmla="*/ 6113540 h 6858000"/>
              <a:gd name="connsiteX719" fmla="*/ 5434059 w 6096000"/>
              <a:gd name="connsiteY719" fmla="*/ 6120588 h 6858000"/>
              <a:gd name="connsiteX720" fmla="*/ 5395495 w 6096000"/>
              <a:gd name="connsiteY720" fmla="*/ 6085346 h 6858000"/>
              <a:gd name="connsiteX721" fmla="*/ 5374460 w 6096000"/>
              <a:gd name="connsiteY721" fmla="*/ 6095919 h 6858000"/>
              <a:gd name="connsiteX722" fmla="*/ 5388484 w 6096000"/>
              <a:gd name="connsiteY722" fmla="*/ 6148781 h 6858000"/>
              <a:gd name="connsiteX723" fmla="*/ 5370954 w 6096000"/>
              <a:gd name="connsiteY723" fmla="*/ 6159354 h 6858000"/>
              <a:gd name="connsiteX724" fmla="*/ 5325379 w 6096000"/>
              <a:gd name="connsiteY724" fmla="*/ 6134685 h 6858000"/>
              <a:gd name="connsiteX725" fmla="*/ 5307850 w 6096000"/>
              <a:gd name="connsiteY725" fmla="*/ 6148781 h 6858000"/>
              <a:gd name="connsiteX726" fmla="*/ 5307850 w 6096000"/>
              <a:gd name="connsiteY726" fmla="*/ 6152305 h 6858000"/>
              <a:gd name="connsiteX727" fmla="*/ 5335896 w 6096000"/>
              <a:gd name="connsiteY727" fmla="*/ 6198120 h 6858000"/>
              <a:gd name="connsiteX728" fmla="*/ 5321873 w 6096000"/>
              <a:gd name="connsiteY728" fmla="*/ 6215741 h 6858000"/>
              <a:gd name="connsiteX729" fmla="*/ 5269286 w 6096000"/>
              <a:gd name="connsiteY729" fmla="*/ 6201644 h 6858000"/>
              <a:gd name="connsiteX730" fmla="*/ 5258768 w 6096000"/>
              <a:gd name="connsiteY730" fmla="*/ 6222789 h 6858000"/>
              <a:gd name="connsiteX731" fmla="*/ 5293827 w 6096000"/>
              <a:gd name="connsiteY731" fmla="*/ 6261556 h 6858000"/>
              <a:gd name="connsiteX732" fmla="*/ 5286815 w 6096000"/>
              <a:gd name="connsiteY732" fmla="*/ 6282700 h 6858000"/>
              <a:gd name="connsiteX733" fmla="*/ 5234228 w 6096000"/>
              <a:gd name="connsiteY733" fmla="*/ 6282700 h 6858000"/>
              <a:gd name="connsiteX734" fmla="*/ 5227216 w 6096000"/>
              <a:gd name="connsiteY734" fmla="*/ 6303845 h 6858000"/>
              <a:gd name="connsiteX735" fmla="*/ 5272791 w 6096000"/>
              <a:gd name="connsiteY735" fmla="*/ 6332039 h 6858000"/>
              <a:gd name="connsiteX736" fmla="*/ 5269286 w 6096000"/>
              <a:gd name="connsiteY736" fmla="*/ 6353183 h 6858000"/>
              <a:gd name="connsiteX737" fmla="*/ 5220205 w 6096000"/>
              <a:gd name="connsiteY737" fmla="*/ 6367281 h 6858000"/>
              <a:gd name="connsiteX738" fmla="*/ 5216698 w 6096000"/>
              <a:gd name="connsiteY738" fmla="*/ 6367281 h 6858000"/>
              <a:gd name="connsiteX739" fmla="*/ 5216698 w 6096000"/>
              <a:gd name="connsiteY739" fmla="*/ 6381377 h 6858000"/>
              <a:gd name="connsiteX740" fmla="*/ 5216698 w 6096000"/>
              <a:gd name="connsiteY740" fmla="*/ 6391950 h 6858000"/>
              <a:gd name="connsiteX741" fmla="*/ 5220205 w 6096000"/>
              <a:gd name="connsiteY741" fmla="*/ 6391950 h 6858000"/>
              <a:gd name="connsiteX742" fmla="*/ 5269286 w 6096000"/>
              <a:gd name="connsiteY742" fmla="*/ 6406047 h 6858000"/>
              <a:gd name="connsiteX743" fmla="*/ 5272791 w 6096000"/>
              <a:gd name="connsiteY743" fmla="*/ 6427192 h 6858000"/>
              <a:gd name="connsiteX744" fmla="*/ 5227216 w 6096000"/>
              <a:gd name="connsiteY744" fmla="*/ 6455385 h 6858000"/>
              <a:gd name="connsiteX745" fmla="*/ 5227216 w 6096000"/>
              <a:gd name="connsiteY745" fmla="*/ 6458909 h 6858000"/>
              <a:gd name="connsiteX746" fmla="*/ 5234228 w 6096000"/>
              <a:gd name="connsiteY746" fmla="*/ 6480054 h 6858000"/>
              <a:gd name="connsiteX747" fmla="*/ 5286815 w 6096000"/>
              <a:gd name="connsiteY747" fmla="*/ 6480054 h 6858000"/>
              <a:gd name="connsiteX748" fmla="*/ 5297332 w 6096000"/>
              <a:gd name="connsiteY748" fmla="*/ 6501200 h 6858000"/>
              <a:gd name="connsiteX749" fmla="*/ 5258768 w 6096000"/>
              <a:gd name="connsiteY749" fmla="*/ 6536441 h 6858000"/>
              <a:gd name="connsiteX750" fmla="*/ 5258768 w 6096000"/>
              <a:gd name="connsiteY750" fmla="*/ 6539965 h 6858000"/>
              <a:gd name="connsiteX751" fmla="*/ 5269286 w 6096000"/>
              <a:gd name="connsiteY751" fmla="*/ 6557586 h 6858000"/>
              <a:gd name="connsiteX752" fmla="*/ 5321873 w 6096000"/>
              <a:gd name="connsiteY752" fmla="*/ 6543489 h 6858000"/>
              <a:gd name="connsiteX753" fmla="*/ 5335896 w 6096000"/>
              <a:gd name="connsiteY753" fmla="*/ 6564635 h 6858000"/>
              <a:gd name="connsiteX754" fmla="*/ 5307850 w 6096000"/>
              <a:gd name="connsiteY754" fmla="*/ 6610449 h 6858000"/>
              <a:gd name="connsiteX755" fmla="*/ 5325379 w 6096000"/>
              <a:gd name="connsiteY755" fmla="*/ 6624545 h 6858000"/>
              <a:gd name="connsiteX756" fmla="*/ 5370954 w 6096000"/>
              <a:gd name="connsiteY756" fmla="*/ 6599877 h 6858000"/>
              <a:gd name="connsiteX757" fmla="*/ 5388484 w 6096000"/>
              <a:gd name="connsiteY757" fmla="*/ 6613973 h 6858000"/>
              <a:gd name="connsiteX758" fmla="*/ 5377966 w 6096000"/>
              <a:gd name="connsiteY758" fmla="*/ 6663311 h 6858000"/>
              <a:gd name="connsiteX759" fmla="*/ 5377966 w 6096000"/>
              <a:gd name="connsiteY759" fmla="*/ 6666836 h 6858000"/>
              <a:gd name="connsiteX760" fmla="*/ 5395495 w 6096000"/>
              <a:gd name="connsiteY760" fmla="*/ 6677408 h 6858000"/>
              <a:gd name="connsiteX761" fmla="*/ 5399001 w 6096000"/>
              <a:gd name="connsiteY761" fmla="*/ 6677408 h 6858000"/>
              <a:gd name="connsiteX762" fmla="*/ 5434059 w 6096000"/>
              <a:gd name="connsiteY762" fmla="*/ 6638642 h 6858000"/>
              <a:gd name="connsiteX763" fmla="*/ 5455094 w 6096000"/>
              <a:gd name="connsiteY763" fmla="*/ 6649215 h 6858000"/>
              <a:gd name="connsiteX764" fmla="*/ 5451588 w 6096000"/>
              <a:gd name="connsiteY764" fmla="*/ 6673884 h 6858000"/>
              <a:gd name="connsiteX765" fmla="*/ 5455094 w 6096000"/>
              <a:gd name="connsiteY765" fmla="*/ 6702078 h 6858000"/>
              <a:gd name="connsiteX766" fmla="*/ 5476129 w 6096000"/>
              <a:gd name="connsiteY766" fmla="*/ 6709126 h 6858000"/>
              <a:gd name="connsiteX767" fmla="*/ 5479635 w 6096000"/>
              <a:gd name="connsiteY767" fmla="*/ 6709126 h 6858000"/>
              <a:gd name="connsiteX768" fmla="*/ 5504176 w 6096000"/>
              <a:gd name="connsiteY768" fmla="*/ 6663311 h 6858000"/>
              <a:gd name="connsiteX769" fmla="*/ 5528716 w 6096000"/>
              <a:gd name="connsiteY769" fmla="*/ 6663311 h 6858000"/>
              <a:gd name="connsiteX770" fmla="*/ 5542739 w 6096000"/>
              <a:gd name="connsiteY770" fmla="*/ 6716174 h 6858000"/>
              <a:gd name="connsiteX771" fmla="*/ 5563774 w 6096000"/>
              <a:gd name="connsiteY771" fmla="*/ 6716174 h 6858000"/>
              <a:gd name="connsiteX772" fmla="*/ 5567280 w 6096000"/>
              <a:gd name="connsiteY772" fmla="*/ 6716174 h 6858000"/>
              <a:gd name="connsiteX773" fmla="*/ 5581303 w 6096000"/>
              <a:gd name="connsiteY773" fmla="*/ 6663311 h 6858000"/>
              <a:gd name="connsiteX774" fmla="*/ 5602339 w 6096000"/>
              <a:gd name="connsiteY774" fmla="*/ 6663311 h 6858000"/>
              <a:gd name="connsiteX775" fmla="*/ 5626879 w 6096000"/>
              <a:gd name="connsiteY775" fmla="*/ 6709126 h 6858000"/>
              <a:gd name="connsiteX776" fmla="*/ 5630385 w 6096000"/>
              <a:gd name="connsiteY776" fmla="*/ 6709126 h 6858000"/>
              <a:gd name="connsiteX777" fmla="*/ 5651420 w 6096000"/>
              <a:gd name="connsiteY777" fmla="*/ 6702078 h 6858000"/>
              <a:gd name="connsiteX778" fmla="*/ 5654925 w 6096000"/>
              <a:gd name="connsiteY778" fmla="*/ 6673884 h 6858000"/>
              <a:gd name="connsiteX779" fmla="*/ 5651420 w 6096000"/>
              <a:gd name="connsiteY779" fmla="*/ 6649215 h 6858000"/>
              <a:gd name="connsiteX780" fmla="*/ 5672454 w 6096000"/>
              <a:gd name="connsiteY780" fmla="*/ 6638642 h 6858000"/>
              <a:gd name="connsiteX781" fmla="*/ 5711019 w 6096000"/>
              <a:gd name="connsiteY781" fmla="*/ 6677408 h 6858000"/>
              <a:gd name="connsiteX782" fmla="*/ 5728547 w 6096000"/>
              <a:gd name="connsiteY782" fmla="*/ 6666836 h 6858000"/>
              <a:gd name="connsiteX783" fmla="*/ 5732054 w 6096000"/>
              <a:gd name="connsiteY783" fmla="*/ 6666836 h 6858000"/>
              <a:gd name="connsiteX784" fmla="*/ 5732054 w 6096000"/>
              <a:gd name="connsiteY784" fmla="*/ 6663311 h 6858000"/>
              <a:gd name="connsiteX785" fmla="*/ 5718030 w 6096000"/>
              <a:gd name="connsiteY785" fmla="*/ 6613973 h 6858000"/>
              <a:gd name="connsiteX786" fmla="*/ 5735559 w 6096000"/>
              <a:gd name="connsiteY786" fmla="*/ 6599877 h 6858000"/>
              <a:gd name="connsiteX787" fmla="*/ 5781135 w 6096000"/>
              <a:gd name="connsiteY787" fmla="*/ 6624545 h 6858000"/>
              <a:gd name="connsiteX788" fmla="*/ 5798664 w 6096000"/>
              <a:gd name="connsiteY788" fmla="*/ 6610449 h 6858000"/>
              <a:gd name="connsiteX789" fmla="*/ 5798664 w 6096000"/>
              <a:gd name="connsiteY789" fmla="*/ 6606925 h 6858000"/>
              <a:gd name="connsiteX790" fmla="*/ 5770617 w 6096000"/>
              <a:gd name="connsiteY790" fmla="*/ 6561110 h 6858000"/>
              <a:gd name="connsiteX791" fmla="*/ 5784641 w 6096000"/>
              <a:gd name="connsiteY791" fmla="*/ 6543489 h 6858000"/>
              <a:gd name="connsiteX792" fmla="*/ 5837228 w 6096000"/>
              <a:gd name="connsiteY792" fmla="*/ 6557586 h 6858000"/>
              <a:gd name="connsiteX793" fmla="*/ 5847746 w 6096000"/>
              <a:gd name="connsiteY793" fmla="*/ 6539965 h 6858000"/>
              <a:gd name="connsiteX794" fmla="*/ 5847746 w 6096000"/>
              <a:gd name="connsiteY794" fmla="*/ 6536441 h 6858000"/>
              <a:gd name="connsiteX795" fmla="*/ 5812688 w 6096000"/>
              <a:gd name="connsiteY795" fmla="*/ 6497675 h 6858000"/>
              <a:gd name="connsiteX796" fmla="*/ 5819699 w 6096000"/>
              <a:gd name="connsiteY796" fmla="*/ 6480054 h 6858000"/>
              <a:gd name="connsiteX797" fmla="*/ 5872286 w 6096000"/>
              <a:gd name="connsiteY797" fmla="*/ 6480054 h 6858000"/>
              <a:gd name="connsiteX798" fmla="*/ 5872286 w 6096000"/>
              <a:gd name="connsiteY798" fmla="*/ 6476530 h 6858000"/>
              <a:gd name="connsiteX799" fmla="*/ 5879298 w 6096000"/>
              <a:gd name="connsiteY799" fmla="*/ 6455385 h 6858000"/>
              <a:gd name="connsiteX800" fmla="*/ 5833722 w 6096000"/>
              <a:gd name="connsiteY800" fmla="*/ 6427192 h 6858000"/>
              <a:gd name="connsiteX801" fmla="*/ 5837228 w 6096000"/>
              <a:gd name="connsiteY801" fmla="*/ 6406047 h 6858000"/>
              <a:gd name="connsiteX802" fmla="*/ 5886310 w 6096000"/>
              <a:gd name="connsiteY802" fmla="*/ 6391950 h 6858000"/>
              <a:gd name="connsiteX803" fmla="*/ 5889815 w 6096000"/>
              <a:gd name="connsiteY803" fmla="*/ 6381377 h 6858000"/>
              <a:gd name="connsiteX804" fmla="*/ 5886310 w 6096000"/>
              <a:gd name="connsiteY804" fmla="*/ 6370805 h 6858000"/>
              <a:gd name="connsiteX805" fmla="*/ 5886310 w 6096000"/>
              <a:gd name="connsiteY805" fmla="*/ 6367281 h 6858000"/>
              <a:gd name="connsiteX806" fmla="*/ 5837228 w 6096000"/>
              <a:gd name="connsiteY806" fmla="*/ 6353183 h 6858000"/>
              <a:gd name="connsiteX807" fmla="*/ 5833722 w 6096000"/>
              <a:gd name="connsiteY807" fmla="*/ 6332039 h 6858000"/>
              <a:gd name="connsiteX808" fmla="*/ 5879298 w 6096000"/>
              <a:gd name="connsiteY808" fmla="*/ 6307370 h 6858000"/>
              <a:gd name="connsiteX809" fmla="*/ 5879298 w 6096000"/>
              <a:gd name="connsiteY809" fmla="*/ 6303845 h 6858000"/>
              <a:gd name="connsiteX810" fmla="*/ 5872286 w 6096000"/>
              <a:gd name="connsiteY810" fmla="*/ 6282700 h 6858000"/>
              <a:gd name="connsiteX811" fmla="*/ 5819699 w 6096000"/>
              <a:gd name="connsiteY811" fmla="*/ 6282700 h 6858000"/>
              <a:gd name="connsiteX812" fmla="*/ 5812688 w 6096000"/>
              <a:gd name="connsiteY812" fmla="*/ 6261556 h 6858000"/>
              <a:gd name="connsiteX813" fmla="*/ 5847746 w 6096000"/>
              <a:gd name="connsiteY813" fmla="*/ 6222789 h 6858000"/>
              <a:gd name="connsiteX814" fmla="*/ 5837228 w 6096000"/>
              <a:gd name="connsiteY814" fmla="*/ 6205168 h 6858000"/>
              <a:gd name="connsiteX815" fmla="*/ 5837228 w 6096000"/>
              <a:gd name="connsiteY815" fmla="*/ 6201644 h 6858000"/>
              <a:gd name="connsiteX816" fmla="*/ 5784641 w 6096000"/>
              <a:gd name="connsiteY816" fmla="*/ 6215741 h 6858000"/>
              <a:gd name="connsiteX817" fmla="*/ 5770617 w 6096000"/>
              <a:gd name="connsiteY817" fmla="*/ 6198120 h 6858000"/>
              <a:gd name="connsiteX818" fmla="*/ 5798664 w 6096000"/>
              <a:gd name="connsiteY818" fmla="*/ 6152305 h 6858000"/>
              <a:gd name="connsiteX819" fmla="*/ 5781135 w 6096000"/>
              <a:gd name="connsiteY819" fmla="*/ 6134685 h 6858000"/>
              <a:gd name="connsiteX820" fmla="*/ 5735559 w 6096000"/>
              <a:gd name="connsiteY820" fmla="*/ 6162879 h 6858000"/>
              <a:gd name="connsiteX821" fmla="*/ 5718030 w 6096000"/>
              <a:gd name="connsiteY821" fmla="*/ 6148781 h 6858000"/>
              <a:gd name="connsiteX822" fmla="*/ 5732054 w 6096000"/>
              <a:gd name="connsiteY822" fmla="*/ 6095919 h 6858000"/>
              <a:gd name="connsiteX823" fmla="*/ 5711019 w 6096000"/>
              <a:gd name="connsiteY823" fmla="*/ 6085346 h 6858000"/>
              <a:gd name="connsiteX824" fmla="*/ 5672454 w 6096000"/>
              <a:gd name="connsiteY824" fmla="*/ 6120588 h 6858000"/>
              <a:gd name="connsiteX825" fmla="*/ 5651420 w 6096000"/>
              <a:gd name="connsiteY825" fmla="*/ 6113540 h 6858000"/>
              <a:gd name="connsiteX826" fmla="*/ 5654925 w 6096000"/>
              <a:gd name="connsiteY826" fmla="*/ 6085346 h 6858000"/>
              <a:gd name="connsiteX827" fmla="*/ 5651420 w 6096000"/>
              <a:gd name="connsiteY827" fmla="*/ 6060677 h 6858000"/>
              <a:gd name="connsiteX828" fmla="*/ 5651420 w 6096000"/>
              <a:gd name="connsiteY828" fmla="*/ 6057153 h 6858000"/>
              <a:gd name="connsiteX829" fmla="*/ 5630385 w 6096000"/>
              <a:gd name="connsiteY829" fmla="*/ 6053629 h 6858000"/>
              <a:gd name="connsiteX830" fmla="*/ 5626879 w 6096000"/>
              <a:gd name="connsiteY830" fmla="*/ 6053629 h 6858000"/>
              <a:gd name="connsiteX831" fmla="*/ 5602339 w 6096000"/>
              <a:gd name="connsiteY831" fmla="*/ 6099443 h 6858000"/>
              <a:gd name="connsiteX832" fmla="*/ 5577798 w 6096000"/>
              <a:gd name="connsiteY832" fmla="*/ 6095919 h 6858000"/>
              <a:gd name="connsiteX833" fmla="*/ 5563774 w 6096000"/>
              <a:gd name="connsiteY833" fmla="*/ 6043056 h 6858000"/>
              <a:gd name="connsiteX834" fmla="*/ 5542739 w 6096000"/>
              <a:gd name="connsiteY834" fmla="*/ 6043056 h 6858000"/>
              <a:gd name="connsiteX835" fmla="*/ 0 w 6096000"/>
              <a:gd name="connsiteY835" fmla="*/ 0 h 6858000"/>
              <a:gd name="connsiteX836" fmla="*/ 6096000 w 6096000"/>
              <a:gd name="connsiteY836" fmla="*/ 0 h 6858000"/>
              <a:gd name="connsiteX837" fmla="*/ 6096000 w 6096000"/>
              <a:gd name="connsiteY837" fmla="*/ 6858000 h 6858000"/>
              <a:gd name="connsiteX838" fmla="*/ 0 w 6096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6096000" h="6858000">
                <a:moveTo>
                  <a:pt x="5850675" y="6677576"/>
                </a:moveTo>
                <a:lnTo>
                  <a:pt x="5856788" y="6677576"/>
                </a:lnTo>
                <a:cubicBezTo>
                  <a:pt x="5859414" y="6677576"/>
                  <a:pt x="5861212" y="6677768"/>
                  <a:pt x="5862183" y="6678151"/>
                </a:cubicBezTo>
                <a:cubicBezTo>
                  <a:pt x="5863154" y="6678534"/>
                  <a:pt x="5863913" y="6679115"/>
                  <a:pt x="5864461" y="6679894"/>
                </a:cubicBezTo>
                <a:cubicBezTo>
                  <a:pt x="5865008" y="6680674"/>
                  <a:pt x="5865281" y="6681557"/>
                  <a:pt x="5865281" y="6682541"/>
                </a:cubicBezTo>
                <a:cubicBezTo>
                  <a:pt x="5865281" y="6684073"/>
                  <a:pt x="5864713" y="6685303"/>
                  <a:pt x="5863578" y="6686233"/>
                </a:cubicBezTo>
                <a:cubicBezTo>
                  <a:pt x="5862443" y="6687164"/>
                  <a:pt x="5860316" y="6687628"/>
                  <a:pt x="5857198" y="6687628"/>
                </a:cubicBezTo>
                <a:lnTo>
                  <a:pt x="5850675" y="6687628"/>
                </a:lnTo>
                <a:close/>
                <a:moveTo>
                  <a:pt x="5845300" y="6673064"/>
                </a:moveTo>
                <a:lnTo>
                  <a:pt x="5845300" y="6706378"/>
                </a:lnTo>
                <a:lnTo>
                  <a:pt x="5850675" y="6706378"/>
                </a:lnTo>
                <a:lnTo>
                  <a:pt x="5850675" y="6692224"/>
                </a:lnTo>
                <a:lnTo>
                  <a:pt x="5853834" y="6692224"/>
                </a:lnTo>
                <a:cubicBezTo>
                  <a:pt x="5855722" y="6692224"/>
                  <a:pt x="5857158" y="6692606"/>
                  <a:pt x="5858142" y="6693372"/>
                </a:cubicBezTo>
                <a:cubicBezTo>
                  <a:pt x="5859564" y="6694411"/>
                  <a:pt x="5861438" y="6696996"/>
                  <a:pt x="5863762" y="6701126"/>
                </a:cubicBezTo>
                <a:lnTo>
                  <a:pt x="5866717" y="6706378"/>
                </a:lnTo>
                <a:lnTo>
                  <a:pt x="5873281" y="6706378"/>
                </a:lnTo>
                <a:lnTo>
                  <a:pt x="5869220" y="6699854"/>
                </a:lnTo>
                <a:cubicBezTo>
                  <a:pt x="5867277" y="6696763"/>
                  <a:pt x="5865636" y="6694562"/>
                  <a:pt x="5864296" y="6693249"/>
                </a:cubicBezTo>
                <a:cubicBezTo>
                  <a:pt x="5863585" y="6692566"/>
                  <a:pt x="5862641" y="6691977"/>
                  <a:pt x="5861466" y="6691485"/>
                </a:cubicBezTo>
                <a:cubicBezTo>
                  <a:pt x="5864337" y="6691266"/>
                  <a:pt x="5866642" y="6690254"/>
                  <a:pt x="5868378" y="6688449"/>
                </a:cubicBezTo>
                <a:cubicBezTo>
                  <a:pt x="5870115" y="6686644"/>
                  <a:pt x="5870983" y="6684524"/>
                  <a:pt x="5870983" y="6682090"/>
                </a:cubicBezTo>
                <a:cubicBezTo>
                  <a:pt x="5870983" y="6680367"/>
                  <a:pt x="5870464" y="6678739"/>
                  <a:pt x="5869424" y="6677207"/>
                </a:cubicBezTo>
                <a:cubicBezTo>
                  <a:pt x="5868385" y="6675675"/>
                  <a:pt x="5866990" y="6674602"/>
                  <a:pt x="5865239" y="6673987"/>
                </a:cubicBezTo>
                <a:cubicBezTo>
                  <a:pt x="5863489" y="6673371"/>
                  <a:pt x="5860658" y="6673064"/>
                  <a:pt x="5856747" y="6673064"/>
                </a:cubicBezTo>
                <a:close/>
                <a:moveTo>
                  <a:pt x="4806089" y="6670493"/>
                </a:moveTo>
                <a:cubicBezTo>
                  <a:pt x="4806089" y="6670493"/>
                  <a:pt x="4806089" y="6670493"/>
                  <a:pt x="4809603" y="6670493"/>
                </a:cubicBezTo>
                <a:lnTo>
                  <a:pt x="4809603" y="6674034"/>
                </a:lnTo>
                <a:cubicBezTo>
                  <a:pt x="4809603" y="6684661"/>
                  <a:pt x="4809603" y="6709456"/>
                  <a:pt x="4781492" y="6709456"/>
                </a:cubicBezTo>
                <a:cubicBezTo>
                  <a:pt x="4770950" y="6709456"/>
                  <a:pt x="4763922" y="6705914"/>
                  <a:pt x="4763922" y="6691746"/>
                </a:cubicBezTo>
                <a:cubicBezTo>
                  <a:pt x="4763922" y="6670493"/>
                  <a:pt x="4788520" y="6670493"/>
                  <a:pt x="4806089" y="6670493"/>
                </a:cubicBezTo>
                <a:close/>
                <a:moveTo>
                  <a:pt x="5858881" y="6663422"/>
                </a:moveTo>
                <a:cubicBezTo>
                  <a:pt x="5863202" y="6663422"/>
                  <a:pt x="5867428" y="6664537"/>
                  <a:pt x="5871558" y="6666766"/>
                </a:cubicBezTo>
                <a:cubicBezTo>
                  <a:pt x="5875688" y="6668995"/>
                  <a:pt x="5878909" y="6672182"/>
                  <a:pt x="5881220" y="6676325"/>
                </a:cubicBezTo>
                <a:cubicBezTo>
                  <a:pt x="5883531" y="6680469"/>
                  <a:pt x="5884687" y="6684784"/>
                  <a:pt x="5884687" y="6689269"/>
                </a:cubicBezTo>
                <a:cubicBezTo>
                  <a:pt x="5884687" y="6693728"/>
                  <a:pt x="5883552" y="6698002"/>
                  <a:pt x="5881282" y="6702090"/>
                </a:cubicBezTo>
                <a:cubicBezTo>
                  <a:pt x="5879012" y="6706180"/>
                  <a:pt x="5875825" y="6709366"/>
                  <a:pt x="5871722" y="6711650"/>
                </a:cubicBezTo>
                <a:cubicBezTo>
                  <a:pt x="5867619" y="6713934"/>
                  <a:pt x="5863339" y="6715076"/>
                  <a:pt x="5858881" y="6715076"/>
                </a:cubicBezTo>
                <a:cubicBezTo>
                  <a:pt x="5854422" y="6715076"/>
                  <a:pt x="5850142" y="6713934"/>
                  <a:pt x="5846039" y="6711650"/>
                </a:cubicBezTo>
                <a:cubicBezTo>
                  <a:pt x="5841936" y="6709366"/>
                  <a:pt x="5838742" y="6706180"/>
                  <a:pt x="5836459" y="6702090"/>
                </a:cubicBezTo>
                <a:cubicBezTo>
                  <a:pt x="5834175" y="6698002"/>
                  <a:pt x="5833033" y="6693728"/>
                  <a:pt x="5833033" y="6689269"/>
                </a:cubicBezTo>
                <a:cubicBezTo>
                  <a:pt x="5833033" y="6684784"/>
                  <a:pt x="5834195" y="6680469"/>
                  <a:pt x="5836521" y="6676325"/>
                </a:cubicBezTo>
                <a:cubicBezTo>
                  <a:pt x="5838846" y="6672182"/>
                  <a:pt x="5842066" y="6668995"/>
                  <a:pt x="5846183" y="6666766"/>
                </a:cubicBezTo>
                <a:cubicBezTo>
                  <a:pt x="5850299" y="6664537"/>
                  <a:pt x="5854532" y="6663422"/>
                  <a:pt x="5858881" y="6663422"/>
                </a:cubicBezTo>
                <a:close/>
                <a:moveTo>
                  <a:pt x="5858881" y="6658294"/>
                </a:moveTo>
                <a:cubicBezTo>
                  <a:pt x="5853684" y="6658294"/>
                  <a:pt x="5848610" y="6659627"/>
                  <a:pt x="5843660" y="6662294"/>
                </a:cubicBezTo>
                <a:cubicBezTo>
                  <a:pt x="5838709" y="6664960"/>
                  <a:pt x="5834845" y="6668776"/>
                  <a:pt x="5832069" y="6673741"/>
                </a:cubicBezTo>
                <a:cubicBezTo>
                  <a:pt x="5829293" y="6678704"/>
                  <a:pt x="5827904" y="6683881"/>
                  <a:pt x="5827904" y="6689269"/>
                </a:cubicBezTo>
                <a:cubicBezTo>
                  <a:pt x="5827904" y="6694603"/>
                  <a:pt x="5829272" y="6699732"/>
                  <a:pt x="5832007" y="6704655"/>
                </a:cubicBezTo>
                <a:cubicBezTo>
                  <a:pt x="5834743" y="6709578"/>
                  <a:pt x="5838565" y="6713401"/>
                  <a:pt x="5843474" y="6716122"/>
                </a:cubicBezTo>
                <a:cubicBezTo>
                  <a:pt x="5848385" y="6718843"/>
                  <a:pt x="5853519" y="6720204"/>
                  <a:pt x="5858881" y="6720204"/>
                </a:cubicBezTo>
                <a:cubicBezTo>
                  <a:pt x="5864242" y="6720204"/>
                  <a:pt x="5869376" y="6718843"/>
                  <a:pt x="5874287" y="6716122"/>
                </a:cubicBezTo>
                <a:cubicBezTo>
                  <a:pt x="5879196" y="6713401"/>
                  <a:pt x="5883011" y="6709578"/>
                  <a:pt x="5885733" y="6704655"/>
                </a:cubicBezTo>
                <a:cubicBezTo>
                  <a:pt x="5888454" y="6699732"/>
                  <a:pt x="5889815" y="6694603"/>
                  <a:pt x="5889815" y="6689269"/>
                </a:cubicBezTo>
                <a:cubicBezTo>
                  <a:pt x="5889815" y="6683881"/>
                  <a:pt x="5888434" y="6678704"/>
                  <a:pt x="5885671" y="6673741"/>
                </a:cubicBezTo>
                <a:cubicBezTo>
                  <a:pt x="5882909" y="6668776"/>
                  <a:pt x="5879052" y="6664960"/>
                  <a:pt x="5874101" y="6662294"/>
                </a:cubicBezTo>
                <a:cubicBezTo>
                  <a:pt x="5869151" y="6659627"/>
                  <a:pt x="5864077" y="6658294"/>
                  <a:pt x="5858881" y="6658294"/>
                </a:cubicBezTo>
                <a:close/>
                <a:moveTo>
                  <a:pt x="4995685" y="6628842"/>
                </a:moveTo>
                <a:cubicBezTo>
                  <a:pt x="5013123" y="6628842"/>
                  <a:pt x="5027259" y="6646888"/>
                  <a:pt x="5027259" y="6669149"/>
                </a:cubicBezTo>
                <a:cubicBezTo>
                  <a:pt x="5027259" y="6691410"/>
                  <a:pt x="5013123" y="6709455"/>
                  <a:pt x="4995685" y="6709455"/>
                </a:cubicBezTo>
                <a:cubicBezTo>
                  <a:pt x="4978247" y="6709455"/>
                  <a:pt x="4964111" y="6691410"/>
                  <a:pt x="4964111" y="6669149"/>
                </a:cubicBezTo>
                <a:cubicBezTo>
                  <a:pt x="4964111" y="6646888"/>
                  <a:pt x="4978247" y="6628842"/>
                  <a:pt x="4995685" y="6628842"/>
                </a:cubicBezTo>
                <a:close/>
                <a:moveTo>
                  <a:pt x="4685998" y="6628842"/>
                </a:moveTo>
                <a:cubicBezTo>
                  <a:pt x="4701580" y="6628842"/>
                  <a:pt x="4714212" y="6646888"/>
                  <a:pt x="4714212" y="6669149"/>
                </a:cubicBezTo>
                <a:cubicBezTo>
                  <a:pt x="4714212" y="6691410"/>
                  <a:pt x="4701580" y="6709455"/>
                  <a:pt x="4685998" y="6709455"/>
                </a:cubicBezTo>
                <a:cubicBezTo>
                  <a:pt x="4670415" y="6709455"/>
                  <a:pt x="4657783" y="6691410"/>
                  <a:pt x="4657783" y="6669149"/>
                </a:cubicBezTo>
                <a:cubicBezTo>
                  <a:pt x="4657783" y="6646888"/>
                  <a:pt x="4670415" y="6628842"/>
                  <a:pt x="4685998" y="6628842"/>
                </a:cubicBezTo>
                <a:close/>
                <a:moveTo>
                  <a:pt x="4373622" y="6628842"/>
                </a:moveTo>
                <a:cubicBezTo>
                  <a:pt x="4391060" y="6628842"/>
                  <a:pt x="4405196" y="6646888"/>
                  <a:pt x="4405196" y="6669149"/>
                </a:cubicBezTo>
                <a:cubicBezTo>
                  <a:pt x="4405196" y="6691410"/>
                  <a:pt x="4391060" y="6709455"/>
                  <a:pt x="4373622" y="6709455"/>
                </a:cubicBezTo>
                <a:cubicBezTo>
                  <a:pt x="4356185" y="6709455"/>
                  <a:pt x="4342048" y="6691410"/>
                  <a:pt x="4342048" y="6669149"/>
                </a:cubicBezTo>
                <a:cubicBezTo>
                  <a:pt x="4342048" y="6646888"/>
                  <a:pt x="4356185" y="6628842"/>
                  <a:pt x="4373622" y="6628842"/>
                </a:cubicBezTo>
                <a:close/>
                <a:moveTo>
                  <a:pt x="4918562" y="6623595"/>
                </a:moveTo>
                <a:lnTo>
                  <a:pt x="4918562" y="6719555"/>
                </a:lnTo>
                <a:lnTo>
                  <a:pt x="4930851" y="6719555"/>
                </a:lnTo>
                <a:lnTo>
                  <a:pt x="4930851" y="6623595"/>
                </a:lnTo>
                <a:close/>
                <a:moveTo>
                  <a:pt x="5062189" y="6622125"/>
                </a:moveTo>
                <a:cubicBezTo>
                  <a:pt x="5062189" y="6629091"/>
                  <a:pt x="5062189" y="6639541"/>
                  <a:pt x="5062189" y="6646508"/>
                </a:cubicBezTo>
                <a:lnTo>
                  <a:pt x="5062189" y="6716173"/>
                </a:lnTo>
                <a:cubicBezTo>
                  <a:pt x="5062189" y="6716173"/>
                  <a:pt x="5062189" y="6716173"/>
                  <a:pt x="5076009" y="6716173"/>
                </a:cubicBezTo>
                <a:cubicBezTo>
                  <a:pt x="5076009" y="6716173"/>
                  <a:pt x="5076009" y="6716173"/>
                  <a:pt x="5076009" y="6663924"/>
                </a:cubicBezTo>
                <a:cubicBezTo>
                  <a:pt x="5076009" y="6649991"/>
                  <a:pt x="5082918" y="6629091"/>
                  <a:pt x="5103648" y="6629091"/>
                </a:cubicBezTo>
                <a:cubicBezTo>
                  <a:pt x="5117466" y="6629091"/>
                  <a:pt x="5124377" y="6643024"/>
                  <a:pt x="5124377" y="6660441"/>
                </a:cubicBezTo>
                <a:cubicBezTo>
                  <a:pt x="5124377" y="6660441"/>
                  <a:pt x="5124377" y="6660441"/>
                  <a:pt x="5124377" y="6716173"/>
                </a:cubicBezTo>
                <a:cubicBezTo>
                  <a:pt x="5124377" y="6716173"/>
                  <a:pt x="5124377" y="6716173"/>
                  <a:pt x="5134741" y="6716173"/>
                </a:cubicBezTo>
                <a:cubicBezTo>
                  <a:pt x="5134741" y="6716173"/>
                  <a:pt x="5134741" y="6716173"/>
                  <a:pt x="5134741" y="6656957"/>
                </a:cubicBezTo>
                <a:cubicBezTo>
                  <a:pt x="5134741" y="6636058"/>
                  <a:pt x="5127831" y="6622125"/>
                  <a:pt x="5103648" y="6622125"/>
                </a:cubicBezTo>
                <a:cubicBezTo>
                  <a:pt x="5086373" y="6622125"/>
                  <a:pt x="5079464" y="6632574"/>
                  <a:pt x="5072554" y="6639541"/>
                </a:cubicBezTo>
                <a:cubicBezTo>
                  <a:pt x="5072554" y="6639541"/>
                  <a:pt x="5072554" y="6639541"/>
                  <a:pt x="5072554" y="6622125"/>
                </a:cubicBezTo>
                <a:cubicBezTo>
                  <a:pt x="5072554" y="6622125"/>
                  <a:pt x="5072554" y="6622125"/>
                  <a:pt x="5062189" y="6622125"/>
                </a:cubicBezTo>
                <a:close/>
                <a:moveTo>
                  <a:pt x="4992997" y="6622125"/>
                </a:moveTo>
                <a:cubicBezTo>
                  <a:pt x="4968881" y="6622125"/>
                  <a:pt x="4949332" y="6644080"/>
                  <a:pt x="4949332" y="6671165"/>
                </a:cubicBezTo>
                <a:cubicBezTo>
                  <a:pt x="4949332" y="6698249"/>
                  <a:pt x="4968881" y="6720204"/>
                  <a:pt x="4992997" y="6720204"/>
                </a:cubicBezTo>
                <a:cubicBezTo>
                  <a:pt x="5017113" y="6720204"/>
                  <a:pt x="5036662" y="6698249"/>
                  <a:pt x="5036662" y="6671165"/>
                </a:cubicBezTo>
                <a:cubicBezTo>
                  <a:pt x="5036662" y="6644080"/>
                  <a:pt x="5017113" y="6622125"/>
                  <a:pt x="4992997" y="6622125"/>
                </a:cubicBezTo>
                <a:close/>
                <a:moveTo>
                  <a:pt x="4787851" y="6622125"/>
                </a:moveTo>
                <a:cubicBezTo>
                  <a:pt x="4780813" y="6622125"/>
                  <a:pt x="4766738" y="6622125"/>
                  <a:pt x="4759700" y="6625628"/>
                </a:cubicBezTo>
                <a:cubicBezTo>
                  <a:pt x="4759700" y="6625628"/>
                  <a:pt x="4759700" y="6625628"/>
                  <a:pt x="4759700" y="6639639"/>
                </a:cubicBezTo>
                <a:cubicBezTo>
                  <a:pt x="4770257" y="6632634"/>
                  <a:pt x="4777294" y="6629131"/>
                  <a:pt x="4787851" y="6629131"/>
                </a:cubicBezTo>
                <a:cubicBezTo>
                  <a:pt x="4805445" y="6629131"/>
                  <a:pt x="4808964" y="6639639"/>
                  <a:pt x="4808964" y="6653651"/>
                </a:cubicBezTo>
                <a:cubicBezTo>
                  <a:pt x="4808964" y="6653651"/>
                  <a:pt x="4808964" y="6653651"/>
                  <a:pt x="4808964" y="6660656"/>
                </a:cubicBezTo>
                <a:cubicBezTo>
                  <a:pt x="4784332" y="6660656"/>
                  <a:pt x="4749144" y="6660656"/>
                  <a:pt x="4749144" y="6692181"/>
                </a:cubicBezTo>
                <a:cubicBezTo>
                  <a:pt x="4749144" y="6702690"/>
                  <a:pt x="4752663" y="6720204"/>
                  <a:pt x="4780813" y="6720204"/>
                </a:cubicBezTo>
                <a:cubicBezTo>
                  <a:pt x="4791370" y="6720204"/>
                  <a:pt x="4805445" y="6713198"/>
                  <a:pt x="4808964" y="6702690"/>
                </a:cubicBezTo>
                <a:cubicBezTo>
                  <a:pt x="4808964" y="6702690"/>
                  <a:pt x="4808964" y="6702690"/>
                  <a:pt x="4812483" y="6702690"/>
                </a:cubicBezTo>
                <a:lnTo>
                  <a:pt x="4812483" y="6716701"/>
                </a:lnTo>
                <a:cubicBezTo>
                  <a:pt x="4812483" y="6716701"/>
                  <a:pt x="4812483" y="6716701"/>
                  <a:pt x="4823039" y="6716701"/>
                </a:cubicBezTo>
                <a:cubicBezTo>
                  <a:pt x="4823039" y="6713198"/>
                  <a:pt x="4823039" y="6706193"/>
                  <a:pt x="4823039" y="6699187"/>
                </a:cubicBezTo>
                <a:cubicBezTo>
                  <a:pt x="4823039" y="6699187"/>
                  <a:pt x="4823039" y="6699187"/>
                  <a:pt x="4823039" y="6657154"/>
                </a:cubicBezTo>
                <a:cubicBezTo>
                  <a:pt x="4823039" y="6632634"/>
                  <a:pt x="4812483" y="6622125"/>
                  <a:pt x="4787851" y="6622125"/>
                </a:cubicBezTo>
                <a:close/>
                <a:moveTo>
                  <a:pt x="4546268" y="6622125"/>
                </a:moveTo>
                <a:cubicBezTo>
                  <a:pt x="4546268" y="6629091"/>
                  <a:pt x="4546268" y="6639541"/>
                  <a:pt x="4546268" y="6646508"/>
                </a:cubicBezTo>
                <a:lnTo>
                  <a:pt x="4546268" y="6716173"/>
                </a:lnTo>
                <a:cubicBezTo>
                  <a:pt x="4546268" y="6716173"/>
                  <a:pt x="4546268" y="6716173"/>
                  <a:pt x="4560343" y="6716173"/>
                </a:cubicBezTo>
                <a:cubicBezTo>
                  <a:pt x="4560343" y="6716173"/>
                  <a:pt x="4560343" y="6716173"/>
                  <a:pt x="4560343" y="6663924"/>
                </a:cubicBezTo>
                <a:cubicBezTo>
                  <a:pt x="4560343" y="6649991"/>
                  <a:pt x="4567381" y="6629091"/>
                  <a:pt x="4588494" y="6629091"/>
                </a:cubicBezTo>
                <a:cubicBezTo>
                  <a:pt x="4602569" y="6629091"/>
                  <a:pt x="4609607" y="6643024"/>
                  <a:pt x="4609607" y="6660441"/>
                </a:cubicBezTo>
                <a:cubicBezTo>
                  <a:pt x="4609607" y="6660441"/>
                  <a:pt x="4609607" y="6660441"/>
                  <a:pt x="4609607" y="6716173"/>
                </a:cubicBezTo>
                <a:cubicBezTo>
                  <a:pt x="4609607" y="6716173"/>
                  <a:pt x="4609607" y="6716173"/>
                  <a:pt x="4620163" y="6716173"/>
                </a:cubicBezTo>
                <a:cubicBezTo>
                  <a:pt x="4620163" y="6716173"/>
                  <a:pt x="4620163" y="6716173"/>
                  <a:pt x="4620163" y="6656957"/>
                </a:cubicBezTo>
                <a:cubicBezTo>
                  <a:pt x="4620163" y="6636058"/>
                  <a:pt x="4613125" y="6622125"/>
                  <a:pt x="4588494" y="6622125"/>
                </a:cubicBezTo>
                <a:cubicBezTo>
                  <a:pt x="4570900" y="6622125"/>
                  <a:pt x="4563862" y="6632574"/>
                  <a:pt x="4556824" y="6639541"/>
                </a:cubicBezTo>
                <a:cubicBezTo>
                  <a:pt x="4556824" y="6639541"/>
                  <a:pt x="4556824" y="6639541"/>
                  <a:pt x="4556824" y="6622125"/>
                </a:cubicBezTo>
                <a:cubicBezTo>
                  <a:pt x="4556824" y="6622125"/>
                  <a:pt x="4556824" y="6622125"/>
                  <a:pt x="4546268" y="6622125"/>
                </a:cubicBezTo>
                <a:close/>
                <a:moveTo>
                  <a:pt x="4444159" y="6622125"/>
                </a:moveTo>
                <a:cubicBezTo>
                  <a:pt x="4444159" y="6622125"/>
                  <a:pt x="4444159" y="6622125"/>
                  <a:pt x="4444159" y="6685175"/>
                </a:cubicBezTo>
                <a:cubicBezTo>
                  <a:pt x="4444159" y="6706193"/>
                  <a:pt x="4451196" y="6720204"/>
                  <a:pt x="4475828" y="6720204"/>
                </a:cubicBezTo>
                <a:cubicBezTo>
                  <a:pt x="4493422" y="6720204"/>
                  <a:pt x="4500460" y="6709695"/>
                  <a:pt x="4507498" y="6702690"/>
                </a:cubicBezTo>
                <a:cubicBezTo>
                  <a:pt x="4507498" y="6702690"/>
                  <a:pt x="4507498" y="6702690"/>
                  <a:pt x="4507498" y="6716701"/>
                </a:cubicBezTo>
                <a:cubicBezTo>
                  <a:pt x="4507498" y="6716701"/>
                  <a:pt x="4507498" y="6716701"/>
                  <a:pt x="4518054" y="6716701"/>
                </a:cubicBezTo>
                <a:cubicBezTo>
                  <a:pt x="4518054" y="6709695"/>
                  <a:pt x="4518054" y="6702690"/>
                  <a:pt x="4518054" y="6695684"/>
                </a:cubicBezTo>
                <a:lnTo>
                  <a:pt x="4518054" y="6622125"/>
                </a:lnTo>
                <a:cubicBezTo>
                  <a:pt x="4518054" y="6622125"/>
                  <a:pt x="4518054" y="6622125"/>
                  <a:pt x="4503979" y="6622125"/>
                </a:cubicBezTo>
                <a:cubicBezTo>
                  <a:pt x="4503979" y="6622125"/>
                  <a:pt x="4503979" y="6622125"/>
                  <a:pt x="4503979" y="6674667"/>
                </a:cubicBezTo>
                <a:cubicBezTo>
                  <a:pt x="4503979" y="6692181"/>
                  <a:pt x="4496941" y="6709695"/>
                  <a:pt x="4475828" y="6709695"/>
                </a:cubicBezTo>
                <a:cubicBezTo>
                  <a:pt x="4461753" y="6709695"/>
                  <a:pt x="4454715" y="6699187"/>
                  <a:pt x="4454715" y="6681673"/>
                </a:cubicBezTo>
                <a:cubicBezTo>
                  <a:pt x="4454715" y="6681673"/>
                  <a:pt x="4454715" y="6681673"/>
                  <a:pt x="4454715" y="6622125"/>
                </a:cubicBezTo>
                <a:cubicBezTo>
                  <a:pt x="4454715" y="6622125"/>
                  <a:pt x="4454715" y="6622125"/>
                  <a:pt x="4444159" y="6622125"/>
                </a:cubicBezTo>
                <a:close/>
                <a:moveTo>
                  <a:pt x="4375637" y="6622125"/>
                </a:moveTo>
                <a:cubicBezTo>
                  <a:pt x="4351151" y="6622125"/>
                  <a:pt x="4331300" y="6644080"/>
                  <a:pt x="4331300" y="6671165"/>
                </a:cubicBezTo>
                <a:cubicBezTo>
                  <a:pt x="4331300" y="6698249"/>
                  <a:pt x="4351151" y="6720204"/>
                  <a:pt x="4375637" y="6720204"/>
                </a:cubicBezTo>
                <a:cubicBezTo>
                  <a:pt x="4400124" y="6720204"/>
                  <a:pt x="4419975" y="6698249"/>
                  <a:pt x="4419975" y="6671165"/>
                </a:cubicBezTo>
                <a:cubicBezTo>
                  <a:pt x="4419975" y="6644080"/>
                  <a:pt x="4400124" y="6622125"/>
                  <a:pt x="4375637" y="6622125"/>
                </a:cubicBezTo>
                <a:close/>
                <a:moveTo>
                  <a:pt x="5559303" y="6607346"/>
                </a:moveTo>
                <a:lnTo>
                  <a:pt x="5563333" y="6618095"/>
                </a:lnTo>
                <a:lnTo>
                  <a:pt x="5567364" y="6624813"/>
                </a:lnTo>
                <a:lnTo>
                  <a:pt x="5552585" y="6624813"/>
                </a:lnTo>
                <a:lnTo>
                  <a:pt x="5556616" y="6618095"/>
                </a:lnTo>
                <a:close/>
                <a:moveTo>
                  <a:pt x="5563446" y="6596598"/>
                </a:moveTo>
                <a:cubicBezTo>
                  <a:pt x="5563446" y="6596598"/>
                  <a:pt x="5563446" y="6596598"/>
                  <a:pt x="5553032" y="6600112"/>
                </a:cubicBezTo>
                <a:cubicBezTo>
                  <a:pt x="5553032" y="6600112"/>
                  <a:pt x="5553032" y="6600112"/>
                  <a:pt x="5549562" y="6617682"/>
                </a:cubicBezTo>
                <a:cubicBezTo>
                  <a:pt x="5549562" y="6617682"/>
                  <a:pt x="5549562" y="6617682"/>
                  <a:pt x="5539149" y="6638764"/>
                </a:cubicBezTo>
                <a:cubicBezTo>
                  <a:pt x="5542620" y="6638764"/>
                  <a:pt x="5546091" y="6638764"/>
                  <a:pt x="5549562" y="6642278"/>
                </a:cubicBezTo>
                <a:cubicBezTo>
                  <a:pt x="5549562" y="6642278"/>
                  <a:pt x="5549562" y="6642278"/>
                  <a:pt x="5549562" y="6631737"/>
                </a:cubicBezTo>
                <a:cubicBezTo>
                  <a:pt x="5549562" y="6631737"/>
                  <a:pt x="5549562" y="6631737"/>
                  <a:pt x="5570387" y="6631737"/>
                </a:cubicBezTo>
                <a:cubicBezTo>
                  <a:pt x="5570387" y="6631737"/>
                  <a:pt x="5570387" y="6631737"/>
                  <a:pt x="5570387" y="6638764"/>
                </a:cubicBezTo>
                <a:cubicBezTo>
                  <a:pt x="5573858" y="6638764"/>
                  <a:pt x="5577329" y="6638764"/>
                  <a:pt x="5580800" y="6638764"/>
                </a:cubicBezTo>
                <a:cubicBezTo>
                  <a:pt x="5580800" y="6638764"/>
                  <a:pt x="5580800" y="6638764"/>
                  <a:pt x="5570387" y="6617682"/>
                </a:cubicBezTo>
                <a:lnTo>
                  <a:pt x="5563446" y="6600112"/>
                </a:lnTo>
                <a:cubicBezTo>
                  <a:pt x="5563446" y="6600112"/>
                  <a:pt x="5563446" y="6600112"/>
                  <a:pt x="5563446" y="6596598"/>
                </a:cubicBezTo>
                <a:close/>
                <a:moveTo>
                  <a:pt x="4868451" y="6596597"/>
                </a:moveTo>
                <a:cubicBezTo>
                  <a:pt x="4868451" y="6596597"/>
                  <a:pt x="4868451" y="6596597"/>
                  <a:pt x="4857971" y="6600129"/>
                </a:cubicBezTo>
                <a:cubicBezTo>
                  <a:pt x="4857971" y="6600129"/>
                  <a:pt x="4857971" y="6600129"/>
                  <a:pt x="4857971" y="6621318"/>
                </a:cubicBezTo>
                <a:cubicBezTo>
                  <a:pt x="4857971" y="6621318"/>
                  <a:pt x="4857971" y="6621318"/>
                  <a:pt x="4840505" y="6621318"/>
                </a:cubicBezTo>
                <a:cubicBezTo>
                  <a:pt x="4840505" y="6621318"/>
                  <a:pt x="4840505" y="6621318"/>
                  <a:pt x="4840505" y="6631913"/>
                </a:cubicBezTo>
                <a:cubicBezTo>
                  <a:pt x="4840505" y="6631913"/>
                  <a:pt x="4840505" y="6631913"/>
                  <a:pt x="4857971" y="6631913"/>
                </a:cubicBezTo>
                <a:cubicBezTo>
                  <a:pt x="4857971" y="6631913"/>
                  <a:pt x="4857971" y="6631913"/>
                  <a:pt x="4857971" y="6688419"/>
                </a:cubicBezTo>
                <a:cubicBezTo>
                  <a:pt x="4857971" y="6706077"/>
                  <a:pt x="4857971" y="6720203"/>
                  <a:pt x="4878931" y="6720203"/>
                </a:cubicBezTo>
                <a:cubicBezTo>
                  <a:pt x="4885917" y="6720203"/>
                  <a:pt x="4889410" y="6720203"/>
                  <a:pt x="4892904" y="6716672"/>
                </a:cubicBezTo>
                <a:cubicBezTo>
                  <a:pt x="4892904" y="6716672"/>
                  <a:pt x="4892904" y="6716672"/>
                  <a:pt x="4892904" y="6706077"/>
                </a:cubicBezTo>
                <a:cubicBezTo>
                  <a:pt x="4889410" y="6709608"/>
                  <a:pt x="4885917" y="6709608"/>
                  <a:pt x="4882424" y="6709608"/>
                </a:cubicBezTo>
                <a:cubicBezTo>
                  <a:pt x="4871944" y="6709608"/>
                  <a:pt x="4868451" y="6702546"/>
                  <a:pt x="4868451" y="6695482"/>
                </a:cubicBezTo>
                <a:cubicBezTo>
                  <a:pt x="4868451" y="6695482"/>
                  <a:pt x="4868451" y="6695482"/>
                  <a:pt x="4868451" y="6631913"/>
                </a:cubicBezTo>
                <a:cubicBezTo>
                  <a:pt x="4868451" y="6631913"/>
                  <a:pt x="4868451" y="6631913"/>
                  <a:pt x="4889410" y="6631913"/>
                </a:cubicBezTo>
                <a:lnTo>
                  <a:pt x="4889410" y="6621318"/>
                </a:lnTo>
                <a:cubicBezTo>
                  <a:pt x="4889410" y="6621318"/>
                  <a:pt x="4889410" y="6621318"/>
                  <a:pt x="4868451" y="6621318"/>
                </a:cubicBezTo>
                <a:cubicBezTo>
                  <a:pt x="4868451" y="6621318"/>
                  <a:pt x="4868451" y="6621318"/>
                  <a:pt x="4868451" y="6596597"/>
                </a:cubicBezTo>
                <a:close/>
                <a:moveTo>
                  <a:pt x="5503881" y="6593911"/>
                </a:moveTo>
                <a:cubicBezTo>
                  <a:pt x="5493469" y="6636077"/>
                  <a:pt x="5493469" y="6636077"/>
                  <a:pt x="5493469" y="6636077"/>
                </a:cubicBezTo>
                <a:cubicBezTo>
                  <a:pt x="5496940" y="6636077"/>
                  <a:pt x="5500410" y="6636077"/>
                  <a:pt x="5503881" y="6636077"/>
                </a:cubicBezTo>
                <a:cubicBezTo>
                  <a:pt x="5507352" y="6611481"/>
                  <a:pt x="5507352" y="6611481"/>
                  <a:pt x="5507352" y="6611481"/>
                </a:cubicBezTo>
                <a:cubicBezTo>
                  <a:pt x="5521236" y="6639591"/>
                  <a:pt x="5521236" y="6639591"/>
                  <a:pt x="5521236" y="6639591"/>
                </a:cubicBezTo>
                <a:cubicBezTo>
                  <a:pt x="5524707" y="6639591"/>
                  <a:pt x="5528178" y="6639591"/>
                  <a:pt x="5528178" y="6639591"/>
                </a:cubicBezTo>
                <a:cubicBezTo>
                  <a:pt x="5535119" y="6597425"/>
                  <a:pt x="5535119" y="6597425"/>
                  <a:pt x="5535119" y="6597425"/>
                </a:cubicBezTo>
                <a:cubicBezTo>
                  <a:pt x="5531648" y="6597425"/>
                  <a:pt x="5528178" y="6597425"/>
                  <a:pt x="5528178" y="6597425"/>
                </a:cubicBezTo>
                <a:cubicBezTo>
                  <a:pt x="5524707" y="6625536"/>
                  <a:pt x="5524707" y="6625536"/>
                  <a:pt x="5524707" y="6625536"/>
                </a:cubicBezTo>
                <a:cubicBezTo>
                  <a:pt x="5510824" y="6593911"/>
                  <a:pt x="5510824" y="6593911"/>
                  <a:pt x="5510824" y="6593911"/>
                </a:cubicBezTo>
                <a:cubicBezTo>
                  <a:pt x="5507352" y="6593911"/>
                  <a:pt x="5507352" y="6593911"/>
                  <a:pt x="5503881" y="6593911"/>
                </a:cubicBezTo>
                <a:close/>
                <a:moveTo>
                  <a:pt x="5613044" y="6589881"/>
                </a:moveTo>
                <a:cubicBezTo>
                  <a:pt x="5599071" y="6593432"/>
                  <a:pt x="5588592" y="6596982"/>
                  <a:pt x="5578112" y="6596982"/>
                </a:cubicBezTo>
                <a:cubicBezTo>
                  <a:pt x="5578112" y="6604084"/>
                  <a:pt x="5578112" y="6604084"/>
                  <a:pt x="5578112" y="6604084"/>
                </a:cubicBezTo>
                <a:cubicBezTo>
                  <a:pt x="5585098" y="6604084"/>
                  <a:pt x="5588592" y="6604084"/>
                  <a:pt x="5592084" y="6604084"/>
                </a:cubicBezTo>
                <a:cubicBezTo>
                  <a:pt x="5599071" y="6639592"/>
                  <a:pt x="5599071" y="6639592"/>
                  <a:pt x="5599071" y="6639592"/>
                </a:cubicBezTo>
                <a:cubicBezTo>
                  <a:pt x="5606057" y="6636041"/>
                  <a:pt x="5606057" y="6636041"/>
                  <a:pt x="5606057" y="6636041"/>
                </a:cubicBezTo>
                <a:cubicBezTo>
                  <a:pt x="5599071" y="6600533"/>
                  <a:pt x="5599071" y="6600533"/>
                  <a:pt x="5599071" y="6600533"/>
                </a:cubicBezTo>
                <a:cubicBezTo>
                  <a:pt x="5606057" y="6600533"/>
                  <a:pt x="5609551" y="6600533"/>
                  <a:pt x="5613044" y="6596982"/>
                </a:cubicBezTo>
                <a:close/>
                <a:moveTo>
                  <a:pt x="5468748" y="6589881"/>
                </a:moveTo>
                <a:cubicBezTo>
                  <a:pt x="5468748" y="6589881"/>
                  <a:pt x="5468748" y="6589881"/>
                  <a:pt x="5479228" y="6593240"/>
                </a:cubicBezTo>
                <a:cubicBezTo>
                  <a:pt x="5482720" y="6593240"/>
                  <a:pt x="5482720" y="6596599"/>
                  <a:pt x="5482720" y="6596599"/>
                </a:cubicBezTo>
                <a:cubicBezTo>
                  <a:pt x="5482720" y="6596599"/>
                  <a:pt x="5482720" y="6599957"/>
                  <a:pt x="5482720" y="6599957"/>
                </a:cubicBezTo>
                <a:cubicBezTo>
                  <a:pt x="5482720" y="6599957"/>
                  <a:pt x="5479228" y="6603316"/>
                  <a:pt x="5475734" y="6603316"/>
                </a:cubicBezTo>
                <a:cubicBezTo>
                  <a:pt x="5475734" y="6603316"/>
                  <a:pt x="5475734" y="6603316"/>
                  <a:pt x="5465254" y="6599957"/>
                </a:cubicBezTo>
                <a:cubicBezTo>
                  <a:pt x="5465254" y="6599957"/>
                  <a:pt x="5465254" y="6599957"/>
                  <a:pt x="5468748" y="6596599"/>
                </a:cubicBezTo>
                <a:cubicBezTo>
                  <a:pt x="5468748" y="6596599"/>
                  <a:pt x="5468748" y="6596599"/>
                  <a:pt x="5468748" y="6589881"/>
                </a:cubicBezTo>
                <a:close/>
                <a:moveTo>
                  <a:pt x="4918562" y="6587995"/>
                </a:moveTo>
                <a:lnTo>
                  <a:pt x="4918562" y="6601689"/>
                </a:lnTo>
                <a:lnTo>
                  <a:pt x="4930851" y="6601689"/>
                </a:lnTo>
                <a:lnTo>
                  <a:pt x="4930851" y="6587995"/>
                </a:lnTo>
                <a:close/>
                <a:moveTo>
                  <a:pt x="5619762" y="6585849"/>
                </a:moveTo>
                <a:cubicBezTo>
                  <a:pt x="5633582" y="6628843"/>
                  <a:pt x="5633582" y="6628843"/>
                  <a:pt x="5633582" y="6628843"/>
                </a:cubicBezTo>
                <a:cubicBezTo>
                  <a:pt x="5637036" y="6625260"/>
                  <a:pt x="5640491" y="6625260"/>
                  <a:pt x="5643946" y="6625260"/>
                </a:cubicBezTo>
                <a:cubicBezTo>
                  <a:pt x="5630127" y="6585849"/>
                  <a:pt x="5630127" y="6585849"/>
                  <a:pt x="5630127" y="6585849"/>
                </a:cubicBezTo>
                <a:cubicBezTo>
                  <a:pt x="5626671" y="6585849"/>
                  <a:pt x="5623217" y="6585849"/>
                  <a:pt x="5619762" y="6585849"/>
                </a:cubicBezTo>
                <a:close/>
                <a:moveTo>
                  <a:pt x="4250688" y="6585849"/>
                </a:moveTo>
                <a:lnTo>
                  <a:pt x="4250688" y="6716173"/>
                </a:lnTo>
                <a:lnTo>
                  <a:pt x="4265467" y="6716173"/>
                </a:lnTo>
                <a:lnTo>
                  <a:pt x="4265467" y="6657057"/>
                </a:lnTo>
                <a:lnTo>
                  <a:pt x="4311148" y="6657057"/>
                </a:lnTo>
                <a:lnTo>
                  <a:pt x="4311148" y="6646309"/>
                </a:lnTo>
                <a:lnTo>
                  <a:pt x="4265467" y="6646309"/>
                </a:lnTo>
                <a:lnTo>
                  <a:pt x="4265467" y="6596597"/>
                </a:lnTo>
                <a:lnTo>
                  <a:pt x="4313835" y="6596597"/>
                </a:lnTo>
                <a:lnTo>
                  <a:pt x="4313835" y="6585849"/>
                </a:lnTo>
                <a:close/>
                <a:moveTo>
                  <a:pt x="5465143" y="6579132"/>
                </a:moveTo>
                <a:cubicBezTo>
                  <a:pt x="5465143" y="6579132"/>
                  <a:pt x="5465143" y="6579132"/>
                  <a:pt x="5458200" y="6596599"/>
                </a:cubicBezTo>
                <a:cubicBezTo>
                  <a:pt x="5458200" y="6596599"/>
                  <a:pt x="5458200" y="6596599"/>
                  <a:pt x="5458200" y="6600091"/>
                </a:cubicBezTo>
                <a:cubicBezTo>
                  <a:pt x="5458200" y="6600091"/>
                  <a:pt x="5458200" y="6600091"/>
                  <a:pt x="5447788" y="6617558"/>
                </a:cubicBezTo>
                <a:cubicBezTo>
                  <a:pt x="5451259" y="6621051"/>
                  <a:pt x="5454730" y="6621051"/>
                  <a:pt x="5458200" y="6621051"/>
                </a:cubicBezTo>
                <a:cubicBezTo>
                  <a:pt x="5458200" y="6621051"/>
                  <a:pt x="5458200" y="6621051"/>
                  <a:pt x="5461671" y="6607078"/>
                </a:cubicBezTo>
                <a:cubicBezTo>
                  <a:pt x="5461671" y="6607078"/>
                  <a:pt x="5461671" y="6607078"/>
                  <a:pt x="5472084" y="6610572"/>
                </a:cubicBezTo>
                <a:cubicBezTo>
                  <a:pt x="5472084" y="6610572"/>
                  <a:pt x="5472084" y="6610572"/>
                  <a:pt x="5472084" y="6628037"/>
                </a:cubicBezTo>
                <a:cubicBezTo>
                  <a:pt x="5475555" y="6628037"/>
                  <a:pt x="5479026" y="6631531"/>
                  <a:pt x="5482497" y="6631531"/>
                </a:cubicBezTo>
                <a:cubicBezTo>
                  <a:pt x="5482497" y="6631531"/>
                  <a:pt x="5482497" y="6631531"/>
                  <a:pt x="5479026" y="6610572"/>
                </a:cubicBezTo>
                <a:cubicBezTo>
                  <a:pt x="5485968" y="6610572"/>
                  <a:pt x="5489438" y="6603585"/>
                  <a:pt x="5489438" y="6600091"/>
                </a:cubicBezTo>
                <a:cubicBezTo>
                  <a:pt x="5489438" y="6600091"/>
                  <a:pt x="5489438" y="6596599"/>
                  <a:pt x="5489438" y="6596599"/>
                </a:cubicBezTo>
                <a:cubicBezTo>
                  <a:pt x="5489438" y="6593105"/>
                  <a:pt x="5489438" y="6589612"/>
                  <a:pt x="5482497" y="6586119"/>
                </a:cubicBezTo>
                <a:cubicBezTo>
                  <a:pt x="5482497" y="6586119"/>
                  <a:pt x="5482497" y="6586119"/>
                  <a:pt x="5465143" y="6579132"/>
                </a:cubicBezTo>
                <a:close/>
                <a:moveTo>
                  <a:pt x="5670241" y="6576425"/>
                </a:moveTo>
                <a:cubicBezTo>
                  <a:pt x="5673696" y="6576866"/>
                  <a:pt x="5677151" y="6578629"/>
                  <a:pt x="5678878" y="6582156"/>
                </a:cubicBezTo>
                <a:cubicBezTo>
                  <a:pt x="5678878" y="6585683"/>
                  <a:pt x="5678878" y="6589209"/>
                  <a:pt x="5678878" y="6589209"/>
                </a:cubicBezTo>
                <a:cubicBezTo>
                  <a:pt x="5678878" y="6592736"/>
                  <a:pt x="5678878" y="6596264"/>
                  <a:pt x="5675423" y="6599790"/>
                </a:cubicBezTo>
                <a:cubicBezTo>
                  <a:pt x="5675423" y="6599790"/>
                  <a:pt x="5675423" y="6599790"/>
                  <a:pt x="5671968" y="6603317"/>
                </a:cubicBezTo>
                <a:cubicBezTo>
                  <a:pt x="5668514" y="6603317"/>
                  <a:pt x="5661604" y="6603317"/>
                  <a:pt x="5658149" y="6599790"/>
                </a:cubicBezTo>
                <a:cubicBezTo>
                  <a:pt x="5654694" y="6599790"/>
                  <a:pt x="5654694" y="6596264"/>
                  <a:pt x="5654694" y="6596264"/>
                </a:cubicBezTo>
                <a:cubicBezTo>
                  <a:pt x="5654694" y="6596264"/>
                  <a:pt x="5654694" y="6592736"/>
                  <a:pt x="5654694" y="6589209"/>
                </a:cubicBezTo>
                <a:cubicBezTo>
                  <a:pt x="5654694" y="6585683"/>
                  <a:pt x="5654694" y="6582156"/>
                  <a:pt x="5661604" y="6578629"/>
                </a:cubicBezTo>
                <a:cubicBezTo>
                  <a:pt x="5663332" y="6576866"/>
                  <a:pt x="5666786" y="6575984"/>
                  <a:pt x="5670241" y="6576425"/>
                </a:cubicBezTo>
                <a:close/>
                <a:moveTo>
                  <a:pt x="4714738" y="6575100"/>
                </a:moveTo>
                <a:cubicBezTo>
                  <a:pt x="4714738" y="6575100"/>
                  <a:pt x="4714738" y="6575100"/>
                  <a:pt x="4714738" y="6638804"/>
                </a:cubicBezTo>
                <a:cubicBezTo>
                  <a:pt x="4714738" y="6631726"/>
                  <a:pt x="4704048" y="6621108"/>
                  <a:pt x="4686231" y="6621108"/>
                </a:cubicBezTo>
                <a:cubicBezTo>
                  <a:pt x="4657724" y="6621108"/>
                  <a:pt x="4647034" y="6642343"/>
                  <a:pt x="4647034" y="6670656"/>
                </a:cubicBezTo>
                <a:cubicBezTo>
                  <a:pt x="4647034" y="6698969"/>
                  <a:pt x="4657724" y="6720203"/>
                  <a:pt x="4686231" y="6720203"/>
                </a:cubicBezTo>
                <a:cubicBezTo>
                  <a:pt x="4700484" y="6720203"/>
                  <a:pt x="4707611" y="6716664"/>
                  <a:pt x="4714738" y="6702507"/>
                </a:cubicBezTo>
                <a:cubicBezTo>
                  <a:pt x="4714738" y="6702507"/>
                  <a:pt x="4714738" y="6702507"/>
                  <a:pt x="4714738" y="6716664"/>
                </a:cubicBezTo>
                <a:cubicBezTo>
                  <a:pt x="4714738" y="6716664"/>
                  <a:pt x="4714738" y="6716664"/>
                  <a:pt x="4728991" y="6716664"/>
                </a:cubicBezTo>
                <a:lnTo>
                  <a:pt x="4728991" y="6575100"/>
                </a:lnTo>
                <a:cubicBezTo>
                  <a:pt x="4728991" y="6575100"/>
                  <a:pt x="4728991" y="6575100"/>
                  <a:pt x="4714738" y="6575100"/>
                </a:cubicBezTo>
                <a:close/>
                <a:moveTo>
                  <a:pt x="5672161" y="6569584"/>
                </a:moveTo>
                <a:cubicBezTo>
                  <a:pt x="5666338" y="6568289"/>
                  <a:pt x="5660068" y="6569152"/>
                  <a:pt x="5654694" y="6572607"/>
                </a:cubicBezTo>
                <a:cubicBezTo>
                  <a:pt x="5647528" y="6576062"/>
                  <a:pt x="5643946" y="6582972"/>
                  <a:pt x="5643946" y="6589881"/>
                </a:cubicBezTo>
                <a:cubicBezTo>
                  <a:pt x="5643946" y="6593336"/>
                  <a:pt x="5647528" y="6596791"/>
                  <a:pt x="5647528" y="6600246"/>
                </a:cubicBezTo>
                <a:cubicBezTo>
                  <a:pt x="5654694" y="6610611"/>
                  <a:pt x="5669025" y="6614065"/>
                  <a:pt x="5676191" y="6607156"/>
                </a:cubicBezTo>
                <a:cubicBezTo>
                  <a:pt x="5683357" y="6607156"/>
                  <a:pt x="5683357" y="6603701"/>
                  <a:pt x="5686939" y="6600246"/>
                </a:cubicBezTo>
                <a:cubicBezTo>
                  <a:pt x="5686939" y="6596791"/>
                  <a:pt x="5686939" y="6593336"/>
                  <a:pt x="5686939" y="6589881"/>
                </a:cubicBezTo>
                <a:cubicBezTo>
                  <a:pt x="5686939" y="6586427"/>
                  <a:pt x="5686939" y="6582972"/>
                  <a:pt x="5686939" y="6579517"/>
                </a:cubicBezTo>
                <a:cubicBezTo>
                  <a:pt x="5683357" y="6574334"/>
                  <a:pt x="5677982" y="6570880"/>
                  <a:pt x="5672161" y="6569584"/>
                </a:cubicBezTo>
                <a:close/>
                <a:moveTo>
                  <a:pt x="5429909" y="6561666"/>
                </a:moveTo>
                <a:cubicBezTo>
                  <a:pt x="5408825" y="6596598"/>
                  <a:pt x="5408825" y="6596598"/>
                  <a:pt x="5408825" y="6596598"/>
                </a:cubicBezTo>
                <a:cubicBezTo>
                  <a:pt x="5415853" y="6603584"/>
                  <a:pt x="5422881" y="6607078"/>
                  <a:pt x="5433423" y="6614064"/>
                </a:cubicBezTo>
                <a:cubicBezTo>
                  <a:pt x="5436937" y="6607078"/>
                  <a:pt x="5436937" y="6607078"/>
                  <a:pt x="5436937" y="6607078"/>
                </a:cubicBezTo>
                <a:cubicBezTo>
                  <a:pt x="5419367" y="6596598"/>
                  <a:pt x="5419367" y="6596598"/>
                  <a:pt x="5419367" y="6596598"/>
                </a:cubicBezTo>
                <a:cubicBezTo>
                  <a:pt x="5426395" y="6586119"/>
                  <a:pt x="5426395" y="6586119"/>
                  <a:pt x="5426395" y="6586119"/>
                </a:cubicBezTo>
                <a:cubicBezTo>
                  <a:pt x="5436937" y="6593105"/>
                  <a:pt x="5436937" y="6593105"/>
                  <a:pt x="5436937" y="6593105"/>
                </a:cubicBezTo>
                <a:cubicBezTo>
                  <a:pt x="5440450" y="6586119"/>
                  <a:pt x="5440450" y="6586119"/>
                  <a:pt x="5440450" y="6586119"/>
                </a:cubicBezTo>
                <a:cubicBezTo>
                  <a:pt x="5436937" y="6586119"/>
                  <a:pt x="5433423" y="6582625"/>
                  <a:pt x="5429909" y="6579132"/>
                </a:cubicBezTo>
                <a:lnTo>
                  <a:pt x="5433423" y="6572146"/>
                </a:lnTo>
                <a:cubicBezTo>
                  <a:pt x="5440450" y="6575638"/>
                  <a:pt x="5443964" y="6579132"/>
                  <a:pt x="5450992" y="6582625"/>
                </a:cubicBezTo>
                <a:cubicBezTo>
                  <a:pt x="5454506" y="6575638"/>
                  <a:pt x="5454506" y="6575638"/>
                  <a:pt x="5454506" y="6575638"/>
                </a:cubicBezTo>
                <a:cubicBezTo>
                  <a:pt x="5447478" y="6572146"/>
                  <a:pt x="5436937" y="6565159"/>
                  <a:pt x="5429909" y="6561666"/>
                </a:cubicBezTo>
                <a:close/>
                <a:moveTo>
                  <a:pt x="5707361" y="6533452"/>
                </a:moveTo>
                <a:cubicBezTo>
                  <a:pt x="5703868" y="6536978"/>
                  <a:pt x="5703868" y="6536978"/>
                  <a:pt x="5700375" y="6540505"/>
                </a:cubicBezTo>
                <a:cubicBezTo>
                  <a:pt x="5717840" y="6558139"/>
                  <a:pt x="5717840" y="6558139"/>
                  <a:pt x="5717840" y="6558139"/>
                </a:cubicBezTo>
                <a:cubicBezTo>
                  <a:pt x="5689895" y="6551086"/>
                  <a:pt x="5689895" y="6551086"/>
                  <a:pt x="5689895" y="6551086"/>
                </a:cubicBezTo>
                <a:cubicBezTo>
                  <a:pt x="5686402" y="6551086"/>
                  <a:pt x="5686402" y="6554612"/>
                  <a:pt x="5682908" y="6554612"/>
                </a:cubicBezTo>
                <a:cubicBezTo>
                  <a:pt x="5707361" y="6589881"/>
                  <a:pt x="5707361" y="6589881"/>
                  <a:pt x="5707361" y="6589881"/>
                </a:cubicBezTo>
                <a:cubicBezTo>
                  <a:pt x="5710854" y="6586354"/>
                  <a:pt x="5710854" y="6586354"/>
                  <a:pt x="5714348" y="6582827"/>
                </a:cubicBezTo>
                <a:cubicBezTo>
                  <a:pt x="5700375" y="6561666"/>
                  <a:pt x="5700375" y="6561666"/>
                  <a:pt x="5700375" y="6561666"/>
                </a:cubicBezTo>
                <a:cubicBezTo>
                  <a:pt x="5728320" y="6572246"/>
                  <a:pt x="5728320" y="6572246"/>
                  <a:pt x="5728320" y="6572246"/>
                </a:cubicBezTo>
                <a:cubicBezTo>
                  <a:pt x="5731814" y="6568720"/>
                  <a:pt x="5731814" y="6568720"/>
                  <a:pt x="5735307" y="6565193"/>
                </a:cubicBezTo>
                <a:cubicBezTo>
                  <a:pt x="5707361" y="6533452"/>
                  <a:pt x="5707361" y="6533452"/>
                  <a:pt x="5707361" y="6533452"/>
                </a:cubicBezTo>
                <a:close/>
                <a:moveTo>
                  <a:pt x="5399008" y="6533452"/>
                </a:moveTo>
                <a:cubicBezTo>
                  <a:pt x="5399008" y="6533452"/>
                  <a:pt x="5399008" y="6533452"/>
                  <a:pt x="5391980" y="6536965"/>
                </a:cubicBezTo>
                <a:cubicBezTo>
                  <a:pt x="5395494" y="6540479"/>
                  <a:pt x="5399008" y="6543993"/>
                  <a:pt x="5402522" y="6547507"/>
                </a:cubicBezTo>
                <a:cubicBezTo>
                  <a:pt x="5402522" y="6547507"/>
                  <a:pt x="5402522" y="6547507"/>
                  <a:pt x="5377924" y="6572104"/>
                </a:cubicBezTo>
                <a:cubicBezTo>
                  <a:pt x="5377924" y="6572104"/>
                  <a:pt x="5377924" y="6572104"/>
                  <a:pt x="5384952" y="6579132"/>
                </a:cubicBezTo>
                <a:cubicBezTo>
                  <a:pt x="5384952" y="6579132"/>
                  <a:pt x="5384952" y="6579132"/>
                  <a:pt x="5409548" y="6554535"/>
                </a:cubicBezTo>
                <a:cubicBezTo>
                  <a:pt x="5413062" y="6554535"/>
                  <a:pt x="5416576" y="6558048"/>
                  <a:pt x="5420090" y="6561562"/>
                </a:cubicBezTo>
                <a:cubicBezTo>
                  <a:pt x="5420090" y="6561562"/>
                  <a:pt x="5420090" y="6561562"/>
                  <a:pt x="5423604" y="6554535"/>
                </a:cubicBezTo>
                <a:cubicBezTo>
                  <a:pt x="5413062" y="6547507"/>
                  <a:pt x="5406036" y="6540479"/>
                  <a:pt x="5399008" y="6533452"/>
                </a:cubicBezTo>
                <a:close/>
                <a:moveTo>
                  <a:pt x="5728589" y="6522703"/>
                </a:moveTo>
                <a:lnTo>
                  <a:pt x="5746055" y="6529421"/>
                </a:lnTo>
                <a:lnTo>
                  <a:pt x="5746055" y="6533452"/>
                </a:lnTo>
                <a:lnTo>
                  <a:pt x="5739337" y="6540170"/>
                </a:lnTo>
                <a:lnTo>
                  <a:pt x="5735307" y="6533452"/>
                </a:lnTo>
                <a:close/>
                <a:moveTo>
                  <a:pt x="5724942" y="6515985"/>
                </a:moveTo>
                <a:lnTo>
                  <a:pt x="5717840" y="6522927"/>
                </a:lnTo>
                <a:cubicBezTo>
                  <a:pt x="5717840" y="6522927"/>
                  <a:pt x="5717840" y="6522927"/>
                  <a:pt x="5724942" y="6533339"/>
                </a:cubicBezTo>
                <a:cubicBezTo>
                  <a:pt x="5724942" y="6533339"/>
                  <a:pt x="5724942" y="6533339"/>
                  <a:pt x="5742696" y="6557635"/>
                </a:cubicBezTo>
                <a:cubicBezTo>
                  <a:pt x="5742696" y="6557635"/>
                  <a:pt x="5746247" y="6554165"/>
                  <a:pt x="5746247" y="6554165"/>
                </a:cubicBezTo>
                <a:cubicBezTo>
                  <a:pt x="5746247" y="6554165"/>
                  <a:pt x="5746247" y="6554165"/>
                  <a:pt x="5742696" y="6547223"/>
                </a:cubicBezTo>
                <a:cubicBezTo>
                  <a:pt x="5742696" y="6547223"/>
                  <a:pt x="5742696" y="6547223"/>
                  <a:pt x="5753349" y="6533339"/>
                </a:cubicBezTo>
                <a:cubicBezTo>
                  <a:pt x="5753349" y="6533339"/>
                  <a:pt x="5753349" y="6533339"/>
                  <a:pt x="5760450" y="6533339"/>
                </a:cubicBezTo>
                <a:cubicBezTo>
                  <a:pt x="5764002" y="6533339"/>
                  <a:pt x="5764002" y="6533339"/>
                  <a:pt x="5764002" y="6533339"/>
                </a:cubicBezTo>
                <a:cubicBezTo>
                  <a:pt x="5764002" y="6529868"/>
                  <a:pt x="5767552" y="6529868"/>
                  <a:pt x="5767552" y="6526397"/>
                </a:cubicBezTo>
                <a:cubicBezTo>
                  <a:pt x="5767552" y="6526397"/>
                  <a:pt x="5767552" y="6526397"/>
                  <a:pt x="5724942" y="6515985"/>
                </a:cubicBezTo>
                <a:close/>
                <a:moveTo>
                  <a:pt x="5370198" y="6501206"/>
                </a:moveTo>
                <a:cubicBezTo>
                  <a:pt x="5334930" y="6526286"/>
                  <a:pt x="5334930" y="6526286"/>
                  <a:pt x="5334930" y="6526286"/>
                </a:cubicBezTo>
                <a:cubicBezTo>
                  <a:pt x="5338457" y="6529869"/>
                  <a:pt x="5338457" y="6529869"/>
                  <a:pt x="5341984" y="6533452"/>
                </a:cubicBezTo>
                <a:cubicBezTo>
                  <a:pt x="5363145" y="6519121"/>
                  <a:pt x="5363145" y="6519121"/>
                  <a:pt x="5363145" y="6519121"/>
                </a:cubicBezTo>
                <a:cubicBezTo>
                  <a:pt x="5352564" y="6547782"/>
                  <a:pt x="5352564" y="6547782"/>
                  <a:pt x="5352564" y="6547782"/>
                </a:cubicBezTo>
                <a:cubicBezTo>
                  <a:pt x="5356091" y="6551366"/>
                  <a:pt x="5356091" y="6551366"/>
                  <a:pt x="5359618" y="6554948"/>
                </a:cubicBezTo>
                <a:cubicBezTo>
                  <a:pt x="5391359" y="6526286"/>
                  <a:pt x="5391359" y="6526286"/>
                  <a:pt x="5391359" y="6526286"/>
                </a:cubicBezTo>
                <a:cubicBezTo>
                  <a:pt x="5391359" y="6522703"/>
                  <a:pt x="5387833" y="6522703"/>
                  <a:pt x="5387833" y="6519121"/>
                </a:cubicBezTo>
                <a:cubicBezTo>
                  <a:pt x="5366672" y="6537034"/>
                  <a:pt x="5366672" y="6537034"/>
                  <a:pt x="5366672" y="6537034"/>
                </a:cubicBezTo>
                <a:cubicBezTo>
                  <a:pt x="5377252" y="6508372"/>
                  <a:pt x="5377252" y="6508372"/>
                  <a:pt x="5377252" y="6508372"/>
                </a:cubicBezTo>
                <a:cubicBezTo>
                  <a:pt x="5373725" y="6504789"/>
                  <a:pt x="5373725" y="6504789"/>
                  <a:pt x="5370198" y="6501206"/>
                </a:cubicBezTo>
                <a:close/>
                <a:moveTo>
                  <a:pt x="5739338" y="6490458"/>
                </a:moveTo>
                <a:lnTo>
                  <a:pt x="5735307" y="6498519"/>
                </a:lnTo>
                <a:lnTo>
                  <a:pt x="5774270" y="6518673"/>
                </a:lnTo>
                <a:lnTo>
                  <a:pt x="5787706" y="6494489"/>
                </a:lnTo>
                <a:lnTo>
                  <a:pt x="5780988" y="6490458"/>
                </a:lnTo>
                <a:lnTo>
                  <a:pt x="5770239" y="6509268"/>
                </a:lnTo>
                <a:close/>
                <a:moveTo>
                  <a:pt x="5363634" y="6487771"/>
                </a:moveTo>
                <a:cubicBezTo>
                  <a:pt x="5328212" y="6508933"/>
                  <a:pt x="5328212" y="6508933"/>
                  <a:pt x="5328212" y="6508933"/>
                </a:cubicBezTo>
                <a:cubicBezTo>
                  <a:pt x="5328212" y="6508933"/>
                  <a:pt x="5328212" y="6512459"/>
                  <a:pt x="5331754" y="6515986"/>
                </a:cubicBezTo>
                <a:cubicBezTo>
                  <a:pt x="5367176" y="6494825"/>
                  <a:pt x="5367176" y="6494825"/>
                  <a:pt x="5367176" y="6494825"/>
                </a:cubicBezTo>
                <a:cubicBezTo>
                  <a:pt x="5367176" y="6491298"/>
                  <a:pt x="5363634" y="6491298"/>
                  <a:pt x="5363634" y="6487771"/>
                </a:cubicBezTo>
                <a:close/>
                <a:moveTo>
                  <a:pt x="5354927" y="6454161"/>
                </a:moveTo>
                <a:cubicBezTo>
                  <a:pt x="5356683" y="6454602"/>
                  <a:pt x="5358437" y="6456365"/>
                  <a:pt x="5360192" y="6459892"/>
                </a:cubicBezTo>
                <a:cubicBezTo>
                  <a:pt x="5391785" y="6537483"/>
                  <a:pt x="5465500" y="6590385"/>
                  <a:pt x="5553257" y="6590385"/>
                </a:cubicBezTo>
                <a:cubicBezTo>
                  <a:pt x="5641012" y="6590385"/>
                  <a:pt x="5714728" y="6537483"/>
                  <a:pt x="5746320" y="6459892"/>
                </a:cubicBezTo>
                <a:cubicBezTo>
                  <a:pt x="5748075" y="6456365"/>
                  <a:pt x="5749831" y="6454602"/>
                  <a:pt x="5751586" y="6454161"/>
                </a:cubicBezTo>
                <a:cubicBezTo>
                  <a:pt x="5753340" y="6453721"/>
                  <a:pt x="5755096" y="6454602"/>
                  <a:pt x="5756851" y="6456365"/>
                </a:cubicBezTo>
                <a:cubicBezTo>
                  <a:pt x="5756851" y="6456365"/>
                  <a:pt x="5756851" y="6456365"/>
                  <a:pt x="5795464" y="6466946"/>
                </a:cubicBezTo>
                <a:cubicBezTo>
                  <a:pt x="5798974" y="6470473"/>
                  <a:pt x="5802484" y="6473999"/>
                  <a:pt x="5802484" y="6477526"/>
                </a:cubicBezTo>
                <a:cubicBezTo>
                  <a:pt x="5763871" y="6579804"/>
                  <a:pt x="5665585" y="6650341"/>
                  <a:pt x="5553257" y="6650341"/>
                </a:cubicBezTo>
                <a:cubicBezTo>
                  <a:pt x="5440929" y="6650341"/>
                  <a:pt x="5342641" y="6579804"/>
                  <a:pt x="5304028" y="6481054"/>
                </a:cubicBezTo>
                <a:cubicBezTo>
                  <a:pt x="5304028" y="6473999"/>
                  <a:pt x="5304028" y="6470473"/>
                  <a:pt x="5311049" y="6466946"/>
                </a:cubicBezTo>
                <a:cubicBezTo>
                  <a:pt x="5311049" y="6466946"/>
                  <a:pt x="5311049" y="6466946"/>
                  <a:pt x="5349662" y="6456365"/>
                </a:cubicBezTo>
                <a:cubicBezTo>
                  <a:pt x="5351417" y="6454602"/>
                  <a:pt x="5353172" y="6453721"/>
                  <a:pt x="5354927" y="6454161"/>
                </a:cubicBezTo>
                <a:close/>
                <a:moveTo>
                  <a:pt x="5507442" y="6448323"/>
                </a:moveTo>
                <a:cubicBezTo>
                  <a:pt x="5510935" y="6444777"/>
                  <a:pt x="5514428" y="6444777"/>
                  <a:pt x="5517922" y="6448323"/>
                </a:cubicBezTo>
                <a:cubicBezTo>
                  <a:pt x="5517922" y="6448323"/>
                  <a:pt x="5521414" y="6451869"/>
                  <a:pt x="5521414" y="6455414"/>
                </a:cubicBezTo>
                <a:cubicBezTo>
                  <a:pt x="5521414" y="6455414"/>
                  <a:pt x="5528401" y="6558233"/>
                  <a:pt x="5528401" y="6558233"/>
                </a:cubicBezTo>
                <a:cubicBezTo>
                  <a:pt x="5528401" y="6565324"/>
                  <a:pt x="5528401" y="6568870"/>
                  <a:pt x="5524908" y="6568870"/>
                </a:cubicBezTo>
                <a:cubicBezTo>
                  <a:pt x="5524908" y="6572415"/>
                  <a:pt x="5521414" y="6572415"/>
                  <a:pt x="5517922" y="6568870"/>
                </a:cubicBezTo>
                <a:cubicBezTo>
                  <a:pt x="5472509" y="6558233"/>
                  <a:pt x="5441070" y="6540506"/>
                  <a:pt x="5409632" y="6505050"/>
                </a:cubicBezTo>
                <a:cubicBezTo>
                  <a:pt x="5406138" y="6505050"/>
                  <a:pt x="5406138" y="6501505"/>
                  <a:pt x="5406138" y="6501505"/>
                </a:cubicBezTo>
                <a:cubicBezTo>
                  <a:pt x="5406138" y="6497960"/>
                  <a:pt x="5406138" y="6497960"/>
                  <a:pt x="5406138" y="6497960"/>
                </a:cubicBezTo>
                <a:cubicBezTo>
                  <a:pt x="5406138" y="6494415"/>
                  <a:pt x="5409632" y="6494415"/>
                  <a:pt x="5413124" y="6494415"/>
                </a:cubicBezTo>
                <a:cubicBezTo>
                  <a:pt x="5413124" y="6494415"/>
                  <a:pt x="5413124" y="6494415"/>
                  <a:pt x="5507442" y="6448323"/>
                </a:cubicBezTo>
                <a:close/>
                <a:moveTo>
                  <a:pt x="5592084" y="6444777"/>
                </a:moveTo>
                <a:cubicBezTo>
                  <a:pt x="5595578" y="6444777"/>
                  <a:pt x="5599071" y="6444777"/>
                  <a:pt x="5602565" y="6444777"/>
                </a:cubicBezTo>
                <a:cubicBezTo>
                  <a:pt x="5602565" y="6444777"/>
                  <a:pt x="5602565" y="6444777"/>
                  <a:pt x="5693388" y="6490688"/>
                </a:cubicBezTo>
                <a:cubicBezTo>
                  <a:pt x="5696882" y="6494220"/>
                  <a:pt x="5700375" y="6494220"/>
                  <a:pt x="5700375" y="6497752"/>
                </a:cubicBezTo>
                <a:cubicBezTo>
                  <a:pt x="5700375" y="6501283"/>
                  <a:pt x="5700375" y="6501283"/>
                  <a:pt x="5696882" y="6504815"/>
                </a:cubicBezTo>
                <a:cubicBezTo>
                  <a:pt x="5665442" y="6540131"/>
                  <a:pt x="5634003" y="6557789"/>
                  <a:pt x="5588592" y="6568384"/>
                </a:cubicBezTo>
                <a:cubicBezTo>
                  <a:pt x="5585098" y="6568384"/>
                  <a:pt x="5581605" y="6568384"/>
                  <a:pt x="5581605" y="6568384"/>
                </a:cubicBezTo>
                <a:cubicBezTo>
                  <a:pt x="5578112" y="6564852"/>
                  <a:pt x="5578112" y="6561320"/>
                  <a:pt x="5578112" y="6557789"/>
                </a:cubicBezTo>
                <a:cubicBezTo>
                  <a:pt x="5578112" y="6557789"/>
                  <a:pt x="5578112" y="6557789"/>
                  <a:pt x="5588592" y="6455373"/>
                </a:cubicBezTo>
                <a:cubicBezTo>
                  <a:pt x="5588592" y="6451841"/>
                  <a:pt x="5588592" y="6448309"/>
                  <a:pt x="5592084" y="6444777"/>
                </a:cubicBezTo>
                <a:close/>
                <a:moveTo>
                  <a:pt x="4714283" y="6405813"/>
                </a:moveTo>
                <a:lnTo>
                  <a:pt x="4755862" y="6405813"/>
                </a:lnTo>
                <a:cubicBezTo>
                  <a:pt x="4755862" y="6405813"/>
                  <a:pt x="4755862" y="6405813"/>
                  <a:pt x="4755862" y="6448423"/>
                </a:cubicBezTo>
                <a:cubicBezTo>
                  <a:pt x="4755862" y="6448423"/>
                  <a:pt x="4728142" y="6455525"/>
                  <a:pt x="4707353" y="6455525"/>
                </a:cubicBezTo>
                <a:cubicBezTo>
                  <a:pt x="4690028" y="6455525"/>
                  <a:pt x="4690028" y="6441322"/>
                  <a:pt x="4690028" y="6430669"/>
                </a:cubicBezTo>
                <a:cubicBezTo>
                  <a:pt x="4690028" y="6416466"/>
                  <a:pt x="4696958" y="6409364"/>
                  <a:pt x="4714283" y="6405813"/>
                </a:cubicBezTo>
                <a:close/>
                <a:moveTo>
                  <a:pt x="4398479" y="6335948"/>
                </a:moveTo>
                <a:cubicBezTo>
                  <a:pt x="4429716" y="6335948"/>
                  <a:pt x="4440128" y="6350016"/>
                  <a:pt x="4440128" y="6392220"/>
                </a:cubicBezTo>
                <a:cubicBezTo>
                  <a:pt x="4440128" y="6430905"/>
                  <a:pt x="4433187" y="6455524"/>
                  <a:pt x="4398479" y="6455524"/>
                </a:cubicBezTo>
                <a:cubicBezTo>
                  <a:pt x="4363770" y="6455524"/>
                  <a:pt x="4356829" y="6434423"/>
                  <a:pt x="4356829" y="6392220"/>
                </a:cubicBezTo>
                <a:cubicBezTo>
                  <a:pt x="4356829" y="6350016"/>
                  <a:pt x="4367241" y="6335948"/>
                  <a:pt x="4398479" y="6335948"/>
                </a:cubicBezTo>
                <a:close/>
                <a:moveTo>
                  <a:pt x="5543005" y="6331919"/>
                </a:moveTo>
                <a:cubicBezTo>
                  <a:pt x="5543005" y="6331919"/>
                  <a:pt x="5543005" y="6331919"/>
                  <a:pt x="5564034" y="6331919"/>
                </a:cubicBezTo>
                <a:cubicBezTo>
                  <a:pt x="5564034" y="6331919"/>
                  <a:pt x="5564034" y="6339012"/>
                  <a:pt x="5564034" y="6342559"/>
                </a:cubicBezTo>
                <a:cubicBezTo>
                  <a:pt x="5581559" y="6346106"/>
                  <a:pt x="5595578" y="6363841"/>
                  <a:pt x="5595578" y="6381576"/>
                </a:cubicBezTo>
                <a:cubicBezTo>
                  <a:pt x="5595578" y="6402858"/>
                  <a:pt x="5574549" y="6420593"/>
                  <a:pt x="5553519" y="6420593"/>
                </a:cubicBezTo>
                <a:cubicBezTo>
                  <a:pt x="5532490" y="6420593"/>
                  <a:pt x="5514966" y="6402858"/>
                  <a:pt x="5514966" y="6381576"/>
                </a:cubicBezTo>
                <a:cubicBezTo>
                  <a:pt x="5514966" y="6363841"/>
                  <a:pt x="5525480" y="6346106"/>
                  <a:pt x="5543005" y="6342559"/>
                </a:cubicBezTo>
                <a:cubicBezTo>
                  <a:pt x="5543005" y="6342559"/>
                  <a:pt x="5543005" y="6331919"/>
                  <a:pt x="5543005" y="6331919"/>
                </a:cubicBezTo>
                <a:close/>
                <a:moveTo>
                  <a:pt x="5553257" y="6321170"/>
                </a:moveTo>
                <a:cubicBezTo>
                  <a:pt x="5520236" y="6321170"/>
                  <a:pt x="5493469" y="6348239"/>
                  <a:pt x="5493469" y="6381630"/>
                </a:cubicBezTo>
                <a:cubicBezTo>
                  <a:pt x="5493469" y="6415021"/>
                  <a:pt x="5520236" y="6442090"/>
                  <a:pt x="5553257" y="6442090"/>
                </a:cubicBezTo>
                <a:cubicBezTo>
                  <a:pt x="5586277" y="6442090"/>
                  <a:pt x="5613045" y="6415021"/>
                  <a:pt x="5613045" y="6381630"/>
                </a:cubicBezTo>
                <a:cubicBezTo>
                  <a:pt x="5613045" y="6348239"/>
                  <a:pt x="5586277" y="6321170"/>
                  <a:pt x="5553257" y="6321170"/>
                </a:cubicBezTo>
                <a:close/>
                <a:moveTo>
                  <a:pt x="5553257" y="6314453"/>
                </a:moveTo>
                <a:cubicBezTo>
                  <a:pt x="5589987" y="6314453"/>
                  <a:pt x="5619763" y="6344529"/>
                  <a:pt x="5619763" y="6381630"/>
                </a:cubicBezTo>
                <a:cubicBezTo>
                  <a:pt x="5619763" y="6418732"/>
                  <a:pt x="5589987" y="6448808"/>
                  <a:pt x="5553257" y="6448808"/>
                </a:cubicBezTo>
                <a:cubicBezTo>
                  <a:pt x="5516526" y="6448808"/>
                  <a:pt x="5486751" y="6418732"/>
                  <a:pt x="5486751" y="6381630"/>
                </a:cubicBezTo>
                <a:cubicBezTo>
                  <a:pt x="5486751" y="6344529"/>
                  <a:pt x="5516526" y="6314453"/>
                  <a:pt x="5553257" y="6314453"/>
                </a:cubicBezTo>
                <a:close/>
                <a:moveTo>
                  <a:pt x="5728549" y="6311766"/>
                </a:moveTo>
                <a:cubicBezTo>
                  <a:pt x="5732050" y="6311766"/>
                  <a:pt x="5732050" y="6315292"/>
                  <a:pt x="5732050" y="6318819"/>
                </a:cubicBezTo>
                <a:cubicBezTo>
                  <a:pt x="5746055" y="6361141"/>
                  <a:pt x="5746055" y="6399936"/>
                  <a:pt x="5732050" y="6442258"/>
                </a:cubicBezTo>
                <a:cubicBezTo>
                  <a:pt x="5732050" y="6449312"/>
                  <a:pt x="5732050" y="6449312"/>
                  <a:pt x="5728549" y="6449312"/>
                </a:cubicBezTo>
                <a:cubicBezTo>
                  <a:pt x="5725047" y="6452839"/>
                  <a:pt x="5721546" y="6449312"/>
                  <a:pt x="5721546" y="6449312"/>
                </a:cubicBezTo>
                <a:lnTo>
                  <a:pt x="5634012" y="6389356"/>
                </a:lnTo>
                <a:cubicBezTo>
                  <a:pt x="5630510" y="6385829"/>
                  <a:pt x="5630510" y="6382302"/>
                  <a:pt x="5630510" y="6382302"/>
                </a:cubicBezTo>
                <a:cubicBezTo>
                  <a:pt x="5630510" y="6378776"/>
                  <a:pt x="5630510" y="6375249"/>
                  <a:pt x="5634012" y="6371721"/>
                </a:cubicBezTo>
                <a:cubicBezTo>
                  <a:pt x="5634012" y="6371721"/>
                  <a:pt x="5634012" y="6371721"/>
                  <a:pt x="5718044" y="6315292"/>
                </a:cubicBezTo>
                <a:cubicBezTo>
                  <a:pt x="5725047" y="6311766"/>
                  <a:pt x="5728549" y="6311766"/>
                  <a:pt x="5728549" y="6311766"/>
                </a:cubicBezTo>
                <a:close/>
                <a:moveTo>
                  <a:pt x="5377964" y="6311766"/>
                </a:moveTo>
                <a:cubicBezTo>
                  <a:pt x="5381466" y="6311766"/>
                  <a:pt x="5384967" y="6311766"/>
                  <a:pt x="5384967" y="6315292"/>
                </a:cubicBezTo>
                <a:lnTo>
                  <a:pt x="5472501" y="6371721"/>
                </a:lnTo>
                <a:cubicBezTo>
                  <a:pt x="5476002" y="6375249"/>
                  <a:pt x="5476002" y="6378776"/>
                  <a:pt x="5476002" y="6382302"/>
                </a:cubicBezTo>
                <a:cubicBezTo>
                  <a:pt x="5476002" y="6385829"/>
                  <a:pt x="5476002" y="6389356"/>
                  <a:pt x="5472501" y="6389356"/>
                </a:cubicBezTo>
                <a:cubicBezTo>
                  <a:pt x="5472501" y="6389356"/>
                  <a:pt x="5472501" y="6389356"/>
                  <a:pt x="5384967" y="6449312"/>
                </a:cubicBezTo>
                <a:cubicBezTo>
                  <a:pt x="5381466" y="6449312"/>
                  <a:pt x="5377964" y="6452839"/>
                  <a:pt x="5377964" y="6449312"/>
                </a:cubicBezTo>
                <a:cubicBezTo>
                  <a:pt x="5374463" y="6449312"/>
                  <a:pt x="5374463" y="6445785"/>
                  <a:pt x="5370961" y="6445785"/>
                </a:cubicBezTo>
                <a:cubicBezTo>
                  <a:pt x="5360457" y="6399936"/>
                  <a:pt x="5360457" y="6361141"/>
                  <a:pt x="5370961" y="6318819"/>
                </a:cubicBezTo>
                <a:cubicBezTo>
                  <a:pt x="5374463" y="6315292"/>
                  <a:pt x="5374463" y="6311766"/>
                  <a:pt x="5377964" y="6311766"/>
                </a:cubicBezTo>
                <a:close/>
                <a:moveTo>
                  <a:pt x="4974316" y="6301017"/>
                </a:moveTo>
                <a:cubicBezTo>
                  <a:pt x="4974316" y="6304543"/>
                  <a:pt x="4970828" y="6304543"/>
                  <a:pt x="4974316" y="6308070"/>
                </a:cubicBezTo>
                <a:cubicBezTo>
                  <a:pt x="5016166" y="6470304"/>
                  <a:pt x="5016166" y="6470304"/>
                  <a:pt x="5016166" y="6470304"/>
                </a:cubicBezTo>
                <a:cubicBezTo>
                  <a:pt x="5016166" y="6477358"/>
                  <a:pt x="5023141" y="6491465"/>
                  <a:pt x="5037091" y="6491465"/>
                </a:cubicBezTo>
                <a:cubicBezTo>
                  <a:pt x="5047554" y="6491465"/>
                  <a:pt x="5047554" y="6491465"/>
                  <a:pt x="5047554" y="6491465"/>
                </a:cubicBezTo>
                <a:cubicBezTo>
                  <a:pt x="5044066" y="6494992"/>
                  <a:pt x="5044066" y="6494992"/>
                  <a:pt x="5044066" y="6498518"/>
                </a:cubicBezTo>
                <a:cubicBezTo>
                  <a:pt x="5040578" y="6509098"/>
                  <a:pt x="5037091" y="6519679"/>
                  <a:pt x="5016166" y="6519679"/>
                </a:cubicBezTo>
                <a:cubicBezTo>
                  <a:pt x="4981291" y="6516153"/>
                  <a:pt x="4981291" y="6516153"/>
                  <a:pt x="4981291" y="6516153"/>
                </a:cubicBezTo>
                <a:cubicBezTo>
                  <a:pt x="4981291" y="6516153"/>
                  <a:pt x="4977804" y="6516153"/>
                  <a:pt x="4977804" y="6519679"/>
                </a:cubicBezTo>
                <a:cubicBezTo>
                  <a:pt x="4974316" y="6519679"/>
                  <a:pt x="4974316" y="6523206"/>
                  <a:pt x="4974316" y="6523206"/>
                </a:cubicBezTo>
                <a:cubicBezTo>
                  <a:pt x="4974316" y="6544367"/>
                  <a:pt x="4974316" y="6544367"/>
                  <a:pt x="4974316" y="6544367"/>
                </a:cubicBezTo>
                <a:cubicBezTo>
                  <a:pt x="4974316" y="6547894"/>
                  <a:pt x="4977804" y="6547894"/>
                  <a:pt x="4981291" y="6551421"/>
                </a:cubicBezTo>
                <a:cubicBezTo>
                  <a:pt x="4991754" y="6551421"/>
                  <a:pt x="5012678" y="6554947"/>
                  <a:pt x="5026628" y="6554947"/>
                </a:cubicBezTo>
                <a:cubicBezTo>
                  <a:pt x="5030116" y="6554947"/>
                  <a:pt x="5030116" y="6554947"/>
                  <a:pt x="5030116" y="6554947"/>
                </a:cubicBezTo>
                <a:cubicBezTo>
                  <a:pt x="5058016" y="6554947"/>
                  <a:pt x="5075453" y="6537313"/>
                  <a:pt x="5085916" y="6502045"/>
                </a:cubicBezTo>
                <a:cubicBezTo>
                  <a:pt x="5096378" y="6463250"/>
                  <a:pt x="5110329" y="6410348"/>
                  <a:pt x="5117303" y="6371553"/>
                </a:cubicBezTo>
                <a:cubicBezTo>
                  <a:pt x="5124279" y="6353919"/>
                  <a:pt x="5127766" y="6339811"/>
                  <a:pt x="5131253" y="6329231"/>
                </a:cubicBezTo>
                <a:cubicBezTo>
                  <a:pt x="5134741" y="6308070"/>
                  <a:pt x="5134741" y="6308070"/>
                  <a:pt x="5134741" y="6308070"/>
                </a:cubicBezTo>
                <a:cubicBezTo>
                  <a:pt x="5134741" y="6304543"/>
                  <a:pt x="5134741" y="6304543"/>
                  <a:pt x="5134741" y="6301017"/>
                </a:cubicBezTo>
                <a:cubicBezTo>
                  <a:pt x="5131253" y="6301017"/>
                  <a:pt x="5131253" y="6301017"/>
                  <a:pt x="5127766" y="6301017"/>
                </a:cubicBezTo>
                <a:cubicBezTo>
                  <a:pt x="5099866" y="6301017"/>
                  <a:pt x="5099866" y="6301017"/>
                  <a:pt x="5099866" y="6301017"/>
                </a:cubicBezTo>
                <a:cubicBezTo>
                  <a:pt x="5096378" y="6301017"/>
                  <a:pt x="5092891" y="6301017"/>
                  <a:pt x="5092891" y="6304543"/>
                </a:cubicBezTo>
                <a:cubicBezTo>
                  <a:pt x="5054528" y="6449143"/>
                  <a:pt x="5054528" y="6449143"/>
                  <a:pt x="5054528" y="6449143"/>
                </a:cubicBezTo>
                <a:cubicBezTo>
                  <a:pt x="5051041" y="6449143"/>
                  <a:pt x="5051041" y="6449143"/>
                  <a:pt x="5051041" y="6449143"/>
                </a:cubicBezTo>
                <a:cubicBezTo>
                  <a:pt x="5016166" y="6304543"/>
                  <a:pt x="5016166" y="6304543"/>
                  <a:pt x="5016166" y="6304543"/>
                </a:cubicBezTo>
                <a:cubicBezTo>
                  <a:pt x="5012678" y="6301017"/>
                  <a:pt x="5012678" y="6301017"/>
                  <a:pt x="5009191" y="6301017"/>
                </a:cubicBezTo>
                <a:cubicBezTo>
                  <a:pt x="4981291" y="6301017"/>
                  <a:pt x="4981291" y="6301017"/>
                  <a:pt x="4981291" y="6301017"/>
                </a:cubicBezTo>
                <a:cubicBezTo>
                  <a:pt x="4977804" y="6301017"/>
                  <a:pt x="4974316" y="6301017"/>
                  <a:pt x="4974316" y="6301017"/>
                </a:cubicBezTo>
                <a:close/>
                <a:moveTo>
                  <a:pt x="4942289" y="6296986"/>
                </a:moveTo>
                <a:cubicBezTo>
                  <a:pt x="4921163" y="6296986"/>
                  <a:pt x="4903559" y="6311057"/>
                  <a:pt x="4889474" y="6318092"/>
                </a:cubicBezTo>
                <a:cubicBezTo>
                  <a:pt x="4889474" y="6307539"/>
                  <a:pt x="4889474" y="6307539"/>
                  <a:pt x="4889474" y="6307539"/>
                </a:cubicBezTo>
                <a:cubicBezTo>
                  <a:pt x="4889474" y="6300504"/>
                  <a:pt x="4885954" y="6300504"/>
                  <a:pt x="4882433" y="6300504"/>
                </a:cubicBezTo>
                <a:cubicBezTo>
                  <a:pt x="4854264" y="6300504"/>
                  <a:pt x="4854264" y="6300504"/>
                  <a:pt x="4854264" y="6300504"/>
                </a:cubicBezTo>
                <a:cubicBezTo>
                  <a:pt x="4850743" y="6300504"/>
                  <a:pt x="4847222" y="6300504"/>
                  <a:pt x="4847222" y="6307539"/>
                </a:cubicBezTo>
                <a:cubicBezTo>
                  <a:pt x="4847222" y="6483422"/>
                  <a:pt x="4847222" y="6483422"/>
                  <a:pt x="4847222" y="6483422"/>
                </a:cubicBezTo>
                <a:cubicBezTo>
                  <a:pt x="4847222" y="6486940"/>
                  <a:pt x="4850743" y="6490457"/>
                  <a:pt x="4854264" y="6490457"/>
                </a:cubicBezTo>
                <a:cubicBezTo>
                  <a:pt x="4882433" y="6490457"/>
                  <a:pt x="4882433" y="6490457"/>
                  <a:pt x="4882433" y="6490457"/>
                </a:cubicBezTo>
                <a:cubicBezTo>
                  <a:pt x="4885954" y="6490457"/>
                  <a:pt x="4889474" y="6486940"/>
                  <a:pt x="4889474" y="6483422"/>
                </a:cubicBezTo>
                <a:cubicBezTo>
                  <a:pt x="4889474" y="6360304"/>
                  <a:pt x="4889474" y="6360304"/>
                  <a:pt x="4889474" y="6360304"/>
                </a:cubicBezTo>
                <a:cubicBezTo>
                  <a:pt x="4896517" y="6356786"/>
                  <a:pt x="4917643" y="6339198"/>
                  <a:pt x="4942289" y="6339198"/>
                </a:cubicBezTo>
                <a:cubicBezTo>
                  <a:pt x="4945811" y="6335680"/>
                  <a:pt x="4949332" y="6335680"/>
                  <a:pt x="4949332" y="6332163"/>
                </a:cubicBezTo>
                <a:cubicBezTo>
                  <a:pt x="4949332" y="6304022"/>
                  <a:pt x="4949332" y="6304022"/>
                  <a:pt x="4949332" y="6304022"/>
                </a:cubicBezTo>
                <a:cubicBezTo>
                  <a:pt x="4949332" y="6304022"/>
                  <a:pt x="4949332" y="6300504"/>
                  <a:pt x="4945811" y="6300504"/>
                </a:cubicBezTo>
                <a:cubicBezTo>
                  <a:pt x="4945811" y="6296986"/>
                  <a:pt x="4942289" y="6296986"/>
                  <a:pt x="4942289" y="6296986"/>
                </a:cubicBezTo>
                <a:close/>
                <a:moveTo>
                  <a:pt x="4735647" y="6292955"/>
                </a:moveTo>
                <a:cubicBezTo>
                  <a:pt x="4714578" y="6292955"/>
                  <a:pt x="4679463" y="6300026"/>
                  <a:pt x="4665417" y="6300026"/>
                </a:cubicBezTo>
                <a:cubicBezTo>
                  <a:pt x="4661905" y="6300026"/>
                  <a:pt x="4658394" y="6303562"/>
                  <a:pt x="4658394" y="6307098"/>
                </a:cubicBezTo>
                <a:cubicBezTo>
                  <a:pt x="4658394" y="6307098"/>
                  <a:pt x="4658394" y="6307098"/>
                  <a:pt x="4658394" y="6331847"/>
                </a:cubicBezTo>
                <a:cubicBezTo>
                  <a:pt x="4658394" y="6335383"/>
                  <a:pt x="4658394" y="6335383"/>
                  <a:pt x="4661905" y="6338919"/>
                </a:cubicBezTo>
                <a:cubicBezTo>
                  <a:pt x="4661905" y="6338919"/>
                  <a:pt x="4665417" y="6338919"/>
                  <a:pt x="4665417" y="6338919"/>
                </a:cubicBezTo>
                <a:cubicBezTo>
                  <a:pt x="4682974" y="6338919"/>
                  <a:pt x="4711067" y="6335383"/>
                  <a:pt x="4732136" y="6335383"/>
                </a:cubicBezTo>
                <a:cubicBezTo>
                  <a:pt x="4746182" y="6335383"/>
                  <a:pt x="4756717" y="6345990"/>
                  <a:pt x="4756717" y="6360133"/>
                </a:cubicBezTo>
                <a:cubicBezTo>
                  <a:pt x="4756717" y="6360133"/>
                  <a:pt x="4756717" y="6360133"/>
                  <a:pt x="4756717" y="6370740"/>
                </a:cubicBezTo>
                <a:cubicBezTo>
                  <a:pt x="4756717" y="6370740"/>
                  <a:pt x="4756717" y="6370740"/>
                  <a:pt x="4707555" y="6374276"/>
                </a:cubicBezTo>
                <a:cubicBezTo>
                  <a:pt x="4665417" y="6377811"/>
                  <a:pt x="4644347" y="6395489"/>
                  <a:pt x="4644347" y="6434381"/>
                </a:cubicBezTo>
                <a:cubicBezTo>
                  <a:pt x="4644347" y="6473273"/>
                  <a:pt x="4665417" y="6494487"/>
                  <a:pt x="4700532" y="6494487"/>
                </a:cubicBezTo>
                <a:cubicBezTo>
                  <a:pt x="4728625" y="6494487"/>
                  <a:pt x="4763740" y="6480344"/>
                  <a:pt x="4763740" y="6480344"/>
                </a:cubicBezTo>
                <a:cubicBezTo>
                  <a:pt x="4770763" y="6487416"/>
                  <a:pt x="4777786" y="6490951"/>
                  <a:pt x="4791833" y="6494487"/>
                </a:cubicBezTo>
                <a:cubicBezTo>
                  <a:pt x="4795344" y="6494487"/>
                  <a:pt x="4795344" y="6494487"/>
                  <a:pt x="4798855" y="6490951"/>
                </a:cubicBezTo>
                <a:cubicBezTo>
                  <a:pt x="4798855" y="6490951"/>
                  <a:pt x="4798855" y="6487416"/>
                  <a:pt x="4798855" y="6487416"/>
                </a:cubicBezTo>
                <a:cubicBezTo>
                  <a:pt x="4798855" y="6487416"/>
                  <a:pt x="4798855" y="6487416"/>
                  <a:pt x="4798855" y="6360133"/>
                </a:cubicBezTo>
                <a:cubicBezTo>
                  <a:pt x="4798855" y="6314169"/>
                  <a:pt x="4777786" y="6292955"/>
                  <a:pt x="4735647" y="6292955"/>
                </a:cubicBezTo>
                <a:close/>
                <a:moveTo>
                  <a:pt x="4399822" y="6292954"/>
                </a:moveTo>
                <a:cubicBezTo>
                  <a:pt x="4352333" y="6292954"/>
                  <a:pt x="4313835" y="6338069"/>
                  <a:pt x="4313835" y="6393721"/>
                </a:cubicBezTo>
                <a:cubicBezTo>
                  <a:pt x="4313835" y="6449373"/>
                  <a:pt x="4352333" y="6494487"/>
                  <a:pt x="4399822" y="6494487"/>
                </a:cubicBezTo>
                <a:cubicBezTo>
                  <a:pt x="4447311" y="6494487"/>
                  <a:pt x="4485809" y="6449373"/>
                  <a:pt x="4485809" y="6393721"/>
                </a:cubicBezTo>
                <a:cubicBezTo>
                  <a:pt x="4485809" y="6338069"/>
                  <a:pt x="4447311" y="6292954"/>
                  <a:pt x="4399822" y="6292954"/>
                </a:cubicBezTo>
                <a:close/>
                <a:moveTo>
                  <a:pt x="4145892" y="6268771"/>
                </a:moveTo>
                <a:cubicBezTo>
                  <a:pt x="4152859" y="6268771"/>
                  <a:pt x="4159825" y="6268771"/>
                  <a:pt x="4177241" y="6268771"/>
                </a:cubicBezTo>
                <a:cubicBezTo>
                  <a:pt x="4177241" y="6268771"/>
                  <a:pt x="4177241" y="6268771"/>
                  <a:pt x="4194657" y="6268771"/>
                </a:cubicBezTo>
                <a:cubicBezTo>
                  <a:pt x="4226007" y="6268771"/>
                  <a:pt x="4239940" y="6290024"/>
                  <a:pt x="4239940" y="6307735"/>
                </a:cubicBezTo>
                <a:cubicBezTo>
                  <a:pt x="4239940" y="6332529"/>
                  <a:pt x="4222523" y="6346697"/>
                  <a:pt x="4191174" y="6346697"/>
                </a:cubicBezTo>
                <a:cubicBezTo>
                  <a:pt x="4170274" y="6346697"/>
                  <a:pt x="4152859" y="6346697"/>
                  <a:pt x="4145892" y="6346697"/>
                </a:cubicBezTo>
                <a:cubicBezTo>
                  <a:pt x="4145892" y="6346697"/>
                  <a:pt x="4145892" y="6346697"/>
                  <a:pt x="4145892" y="6268771"/>
                </a:cubicBezTo>
                <a:close/>
                <a:moveTo>
                  <a:pt x="4563063" y="6255336"/>
                </a:moveTo>
                <a:cubicBezTo>
                  <a:pt x="4563063" y="6255336"/>
                  <a:pt x="4563063" y="6255336"/>
                  <a:pt x="4531410" y="6262370"/>
                </a:cubicBezTo>
                <a:cubicBezTo>
                  <a:pt x="4527893" y="6262370"/>
                  <a:pt x="4527893" y="6265887"/>
                  <a:pt x="4527893" y="6269404"/>
                </a:cubicBezTo>
                <a:cubicBezTo>
                  <a:pt x="4527893" y="6269404"/>
                  <a:pt x="4527893" y="6269404"/>
                  <a:pt x="4527893" y="6301056"/>
                </a:cubicBezTo>
                <a:cubicBezTo>
                  <a:pt x="4527893" y="6301056"/>
                  <a:pt x="4527893" y="6301056"/>
                  <a:pt x="4510308" y="6301056"/>
                </a:cubicBezTo>
                <a:cubicBezTo>
                  <a:pt x="4506792" y="6301056"/>
                  <a:pt x="4503275" y="6301056"/>
                  <a:pt x="4503275" y="6308090"/>
                </a:cubicBezTo>
                <a:cubicBezTo>
                  <a:pt x="4503275" y="6308090"/>
                  <a:pt x="4503275" y="6308090"/>
                  <a:pt x="4503275" y="6332708"/>
                </a:cubicBezTo>
                <a:cubicBezTo>
                  <a:pt x="4503275" y="6336226"/>
                  <a:pt x="4506792" y="6339742"/>
                  <a:pt x="4510308" y="6339742"/>
                </a:cubicBezTo>
                <a:cubicBezTo>
                  <a:pt x="4510308" y="6339742"/>
                  <a:pt x="4510308" y="6339742"/>
                  <a:pt x="4527893" y="6339742"/>
                </a:cubicBezTo>
                <a:cubicBezTo>
                  <a:pt x="4527893" y="6339742"/>
                  <a:pt x="4527893" y="6339742"/>
                  <a:pt x="4527893" y="6424149"/>
                </a:cubicBezTo>
                <a:cubicBezTo>
                  <a:pt x="4527893" y="6476902"/>
                  <a:pt x="4541961" y="6494487"/>
                  <a:pt x="4584164" y="6494487"/>
                </a:cubicBezTo>
                <a:cubicBezTo>
                  <a:pt x="4594715" y="6494487"/>
                  <a:pt x="4605266" y="6490971"/>
                  <a:pt x="4615817" y="6490971"/>
                </a:cubicBezTo>
                <a:cubicBezTo>
                  <a:pt x="4619334" y="6490971"/>
                  <a:pt x="4622851" y="6487454"/>
                  <a:pt x="4622851" y="6483936"/>
                </a:cubicBezTo>
                <a:cubicBezTo>
                  <a:pt x="4622851" y="6483936"/>
                  <a:pt x="4622851" y="6483936"/>
                  <a:pt x="4622851" y="6459318"/>
                </a:cubicBezTo>
                <a:cubicBezTo>
                  <a:pt x="4622851" y="6455801"/>
                  <a:pt x="4619334" y="6452284"/>
                  <a:pt x="4615817" y="6452284"/>
                </a:cubicBezTo>
                <a:cubicBezTo>
                  <a:pt x="4608783" y="6452284"/>
                  <a:pt x="4598232" y="6452284"/>
                  <a:pt x="4591198" y="6452284"/>
                </a:cubicBezTo>
                <a:cubicBezTo>
                  <a:pt x="4570096" y="6452284"/>
                  <a:pt x="4570096" y="6445250"/>
                  <a:pt x="4570096" y="6417115"/>
                </a:cubicBezTo>
                <a:cubicBezTo>
                  <a:pt x="4570096" y="6417115"/>
                  <a:pt x="4570096" y="6417115"/>
                  <a:pt x="4570096" y="6339742"/>
                </a:cubicBezTo>
                <a:cubicBezTo>
                  <a:pt x="4570096" y="6339742"/>
                  <a:pt x="4570096" y="6339742"/>
                  <a:pt x="4615817" y="6339742"/>
                </a:cubicBezTo>
                <a:cubicBezTo>
                  <a:pt x="4619334" y="6339742"/>
                  <a:pt x="4622851" y="6336226"/>
                  <a:pt x="4622851" y="6332708"/>
                </a:cubicBezTo>
                <a:cubicBezTo>
                  <a:pt x="4622851" y="6332708"/>
                  <a:pt x="4622851" y="6332708"/>
                  <a:pt x="4622851" y="6308090"/>
                </a:cubicBezTo>
                <a:cubicBezTo>
                  <a:pt x="4622851" y="6301056"/>
                  <a:pt x="4619334" y="6301056"/>
                  <a:pt x="4615817" y="6301056"/>
                </a:cubicBezTo>
                <a:cubicBezTo>
                  <a:pt x="4615817" y="6301056"/>
                  <a:pt x="4615817" y="6301056"/>
                  <a:pt x="4570096" y="6301056"/>
                </a:cubicBezTo>
                <a:cubicBezTo>
                  <a:pt x="4570096" y="6301056"/>
                  <a:pt x="4570096" y="6301056"/>
                  <a:pt x="4570096" y="6262370"/>
                </a:cubicBezTo>
                <a:cubicBezTo>
                  <a:pt x="4570096" y="6258853"/>
                  <a:pt x="4570096" y="6258853"/>
                  <a:pt x="4566580" y="6255336"/>
                </a:cubicBezTo>
                <a:cubicBezTo>
                  <a:pt x="4566580" y="6255336"/>
                  <a:pt x="4563063" y="6255336"/>
                  <a:pt x="4563063" y="6255336"/>
                </a:cubicBezTo>
                <a:close/>
                <a:moveTo>
                  <a:pt x="4187668" y="6227122"/>
                </a:moveTo>
                <a:cubicBezTo>
                  <a:pt x="4177174" y="6227122"/>
                  <a:pt x="4145689" y="6227122"/>
                  <a:pt x="4107208" y="6230633"/>
                </a:cubicBezTo>
                <a:cubicBezTo>
                  <a:pt x="4103710" y="6230633"/>
                  <a:pt x="4100211" y="6234144"/>
                  <a:pt x="4100211" y="6237655"/>
                </a:cubicBezTo>
                <a:cubicBezTo>
                  <a:pt x="4100211" y="6237655"/>
                  <a:pt x="4100211" y="6237655"/>
                  <a:pt x="4100211" y="6483435"/>
                </a:cubicBezTo>
                <a:cubicBezTo>
                  <a:pt x="4100211" y="6486946"/>
                  <a:pt x="4103710" y="6490457"/>
                  <a:pt x="4107208" y="6490457"/>
                </a:cubicBezTo>
                <a:cubicBezTo>
                  <a:pt x="4107208" y="6490457"/>
                  <a:pt x="4107208" y="6490457"/>
                  <a:pt x="4138693" y="6490457"/>
                </a:cubicBezTo>
                <a:cubicBezTo>
                  <a:pt x="4142191" y="6490457"/>
                  <a:pt x="4145689" y="6486946"/>
                  <a:pt x="4145689" y="6483435"/>
                </a:cubicBezTo>
                <a:cubicBezTo>
                  <a:pt x="4145689" y="6483435"/>
                  <a:pt x="4145689" y="6483435"/>
                  <a:pt x="4145689" y="6385123"/>
                </a:cubicBezTo>
                <a:cubicBezTo>
                  <a:pt x="4156184" y="6388634"/>
                  <a:pt x="4173675" y="6388634"/>
                  <a:pt x="4194665" y="6388634"/>
                </a:cubicBezTo>
                <a:cubicBezTo>
                  <a:pt x="4194665" y="6388634"/>
                  <a:pt x="4194665" y="6388634"/>
                  <a:pt x="4240143" y="6486946"/>
                </a:cubicBezTo>
                <a:cubicBezTo>
                  <a:pt x="4240143" y="6486946"/>
                  <a:pt x="4243641" y="6490457"/>
                  <a:pt x="4247139" y="6490457"/>
                </a:cubicBezTo>
                <a:cubicBezTo>
                  <a:pt x="4247139" y="6490457"/>
                  <a:pt x="4247139" y="6490457"/>
                  <a:pt x="4278624" y="6490457"/>
                </a:cubicBezTo>
                <a:cubicBezTo>
                  <a:pt x="4282122" y="6490457"/>
                  <a:pt x="4285620" y="6486946"/>
                  <a:pt x="4285620" y="6486946"/>
                </a:cubicBezTo>
                <a:cubicBezTo>
                  <a:pt x="4285620" y="6483435"/>
                  <a:pt x="4285620" y="6483435"/>
                  <a:pt x="4285620" y="6479924"/>
                </a:cubicBezTo>
                <a:lnTo>
                  <a:pt x="4240143" y="6374590"/>
                </a:lnTo>
                <a:cubicBezTo>
                  <a:pt x="4271627" y="6360545"/>
                  <a:pt x="4285620" y="6339478"/>
                  <a:pt x="4285620" y="6307878"/>
                </a:cubicBezTo>
                <a:cubicBezTo>
                  <a:pt x="4285620" y="6269255"/>
                  <a:pt x="4268129" y="6227122"/>
                  <a:pt x="4194665" y="6227122"/>
                </a:cubicBezTo>
                <a:cubicBezTo>
                  <a:pt x="4194665" y="6227122"/>
                  <a:pt x="4191167" y="6227122"/>
                  <a:pt x="4187668" y="6227122"/>
                </a:cubicBezTo>
                <a:close/>
                <a:moveTo>
                  <a:pt x="5743186" y="6196200"/>
                </a:moveTo>
                <a:cubicBezTo>
                  <a:pt x="5745365" y="6196641"/>
                  <a:pt x="5747980" y="6198404"/>
                  <a:pt x="5749722" y="6201931"/>
                </a:cubicBezTo>
                <a:cubicBezTo>
                  <a:pt x="5805498" y="6258361"/>
                  <a:pt x="5833385" y="6350058"/>
                  <a:pt x="5812470" y="6441755"/>
                </a:cubicBezTo>
                <a:cubicBezTo>
                  <a:pt x="5812470" y="6445282"/>
                  <a:pt x="5808984" y="6448808"/>
                  <a:pt x="5802012" y="6445282"/>
                </a:cubicBezTo>
                <a:cubicBezTo>
                  <a:pt x="5802012" y="6445282"/>
                  <a:pt x="5802012" y="6445282"/>
                  <a:pt x="5763666" y="6434701"/>
                </a:cubicBezTo>
                <a:cubicBezTo>
                  <a:pt x="5760180" y="6434701"/>
                  <a:pt x="5756694" y="6431174"/>
                  <a:pt x="5756694" y="6424121"/>
                </a:cubicBezTo>
                <a:cubicBezTo>
                  <a:pt x="5770638" y="6350058"/>
                  <a:pt x="5753208" y="6290101"/>
                  <a:pt x="5711377" y="6244253"/>
                </a:cubicBezTo>
                <a:cubicBezTo>
                  <a:pt x="5704405" y="6240727"/>
                  <a:pt x="5704405" y="6233672"/>
                  <a:pt x="5711377" y="6230146"/>
                </a:cubicBezTo>
                <a:cubicBezTo>
                  <a:pt x="5711377" y="6230146"/>
                  <a:pt x="5711377" y="6230146"/>
                  <a:pt x="5739264" y="6198404"/>
                </a:cubicBezTo>
                <a:cubicBezTo>
                  <a:pt x="5739264" y="6196641"/>
                  <a:pt x="5741008" y="6195759"/>
                  <a:pt x="5743186" y="6196200"/>
                </a:cubicBezTo>
                <a:close/>
                <a:moveTo>
                  <a:pt x="5362923" y="6196200"/>
                </a:moveTo>
                <a:cubicBezTo>
                  <a:pt x="5365124" y="6195759"/>
                  <a:pt x="5366885" y="6196641"/>
                  <a:pt x="5366885" y="6198404"/>
                </a:cubicBezTo>
                <a:cubicBezTo>
                  <a:pt x="5366885" y="6198404"/>
                  <a:pt x="5366885" y="6198404"/>
                  <a:pt x="5398585" y="6230146"/>
                </a:cubicBezTo>
                <a:cubicBezTo>
                  <a:pt x="5402108" y="6233672"/>
                  <a:pt x="5402108" y="6240727"/>
                  <a:pt x="5395063" y="6244253"/>
                </a:cubicBezTo>
                <a:cubicBezTo>
                  <a:pt x="5352796" y="6290101"/>
                  <a:pt x="5335184" y="6350058"/>
                  <a:pt x="5349274" y="6424121"/>
                </a:cubicBezTo>
                <a:cubicBezTo>
                  <a:pt x="5349274" y="6431174"/>
                  <a:pt x="5345752" y="6434701"/>
                  <a:pt x="5342229" y="6434701"/>
                </a:cubicBezTo>
                <a:cubicBezTo>
                  <a:pt x="5342229" y="6434701"/>
                  <a:pt x="5342229" y="6434701"/>
                  <a:pt x="5303484" y="6445282"/>
                </a:cubicBezTo>
                <a:cubicBezTo>
                  <a:pt x="5296439" y="6448808"/>
                  <a:pt x="5292917" y="6445282"/>
                  <a:pt x="5292917" y="6441755"/>
                </a:cubicBezTo>
                <a:cubicBezTo>
                  <a:pt x="5271783" y="6350058"/>
                  <a:pt x="5299962" y="6258361"/>
                  <a:pt x="5356318" y="6201931"/>
                </a:cubicBezTo>
                <a:cubicBezTo>
                  <a:pt x="5358079" y="6198404"/>
                  <a:pt x="5360721" y="6196641"/>
                  <a:pt x="5362923" y="6196200"/>
                </a:cubicBezTo>
                <a:close/>
                <a:moveTo>
                  <a:pt x="5581605" y="6190846"/>
                </a:moveTo>
                <a:cubicBezTo>
                  <a:pt x="5585098" y="6190846"/>
                  <a:pt x="5585098" y="6190846"/>
                  <a:pt x="5588592" y="6190846"/>
                </a:cubicBezTo>
                <a:cubicBezTo>
                  <a:pt x="5634003" y="6201442"/>
                  <a:pt x="5665442" y="6219099"/>
                  <a:pt x="5696882" y="6254415"/>
                </a:cubicBezTo>
                <a:cubicBezTo>
                  <a:pt x="5700375" y="6257947"/>
                  <a:pt x="5700375" y="6257947"/>
                  <a:pt x="5700375" y="6261479"/>
                </a:cubicBezTo>
                <a:cubicBezTo>
                  <a:pt x="5700375" y="6265010"/>
                  <a:pt x="5696882" y="6265010"/>
                  <a:pt x="5693388" y="6268542"/>
                </a:cubicBezTo>
                <a:cubicBezTo>
                  <a:pt x="5693388" y="6268542"/>
                  <a:pt x="5693388" y="6268542"/>
                  <a:pt x="5602565" y="6314453"/>
                </a:cubicBezTo>
                <a:cubicBezTo>
                  <a:pt x="5599071" y="6314453"/>
                  <a:pt x="5595578" y="6314453"/>
                  <a:pt x="5592084" y="6314453"/>
                </a:cubicBezTo>
                <a:cubicBezTo>
                  <a:pt x="5588592" y="6310921"/>
                  <a:pt x="5588592" y="6307389"/>
                  <a:pt x="5585098" y="6303858"/>
                </a:cubicBezTo>
                <a:cubicBezTo>
                  <a:pt x="5585098" y="6303858"/>
                  <a:pt x="5585098" y="6303858"/>
                  <a:pt x="5578112" y="6201442"/>
                </a:cubicBezTo>
                <a:cubicBezTo>
                  <a:pt x="5578112" y="6197910"/>
                  <a:pt x="5578112" y="6194378"/>
                  <a:pt x="5581605" y="6190846"/>
                </a:cubicBezTo>
                <a:close/>
                <a:moveTo>
                  <a:pt x="5517922" y="6190846"/>
                </a:moveTo>
                <a:cubicBezTo>
                  <a:pt x="5521414" y="6190846"/>
                  <a:pt x="5521414" y="6190846"/>
                  <a:pt x="5524908" y="6190846"/>
                </a:cubicBezTo>
                <a:cubicBezTo>
                  <a:pt x="5524908" y="6194378"/>
                  <a:pt x="5528401" y="6197910"/>
                  <a:pt x="5528401" y="6201442"/>
                </a:cubicBezTo>
                <a:cubicBezTo>
                  <a:pt x="5528401" y="6201442"/>
                  <a:pt x="5528401" y="6201442"/>
                  <a:pt x="5517922" y="6307389"/>
                </a:cubicBezTo>
                <a:cubicBezTo>
                  <a:pt x="5517922" y="6310921"/>
                  <a:pt x="5517922" y="6314453"/>
                  <a:pt x="5514428" y="6314453"/>
                </a:cubicBezTo>
                <a:cubicBezTo>
                  <a:pt x="5510935" y="6314453"/>
                  <a:pt x="5507442" y="6314453"/>
                  <a:pt x="5503949" y="6314453"/>
                </a:cubicBezTo>
                <a:cubicBezTo>
                  <a:pt x="5503949" y="6314453"/>
                  <a:pt x="5503949" y="6314453"/>
                  <a:pt x="5413124" y="6268542"/>
                </a:cubicBezTo>
                <a:cubicBezTo>
                  <a:pt x="5409632" y="6268542"/>
                  <a:pt x="5406138" y="6265010"/>
                  <a:pt x="5406138" y="6261479"/>
                </a:cubicBezTo>
                <a:cubicBezTo>
                  <a:pt x="5406138" y="6261479"/>
                  <a:pt x="5406138" y="6257947"/>
                  <a:pt x="5409632" y="6254415"/>
                </a:cubicBezTo>
                <a:cubicBezTo>
                  <a:pt x="5441070" y="6222631"/>
                  <a:pt x="5472509" y="6201442"/>
                  <a:pt x="5517922" y="6190846"/>
                </a:cubicBezTo>
                <a:close/>
                <a:moveTo>
                  <a:pt x="5436772" y="6155914"/>
                </a:moveTo>
                <a:cubicBezTo>
                  <a:pt x="5440265" y="6155914"/>
                  <a:pt x="5443758" y="6159609"/>
                  <a:pt x="5443758" y="6163304"/>
                </a:cubicBezTo>
                <a:cubicBezTo>
                  <a:pt x="5443758" y="6166999"/>
                  <a:pt x="5443758" y="6166999"/>
                  <a:pt x="5440265" y="6166999"/>
                </a:cubicBezTo>
                <a:cubicBezTo>
                  <a:pt x="5440265" y="6166999"/>
                  <a:pt x="5440265" y="6166999"/>
                  <a:pt x="5433278" y="6170694"/>
                </a:cubicBezTo>
                <a:cubicBezTo>
                  <a:pt x="5433278" y="6170694"/>
                  <a:pt x="5433278" y="6170694"/>
                  <a:pt x="5429785" y="6163304"/>
                </a:cubicBezTo>
                <a:cubicBezTo>
                  <a:pt x="5429785" y="6163304"/>
                  <a:pt x="5429785" y="6163304"/>
                  <a:pt x="5426292" y="6163304"/>
                </a:cubicBezTo>
                <a:cubicBezTo>
                  <a:pt x="5429785" y="6159609"/>
                  <a:pt x="5433278" y="6159609"/>
                  <a:pt x="5436772" y="6155914"/>
                </a:cubicBezTo>
                <a:close/>
                <a:moveTo>
                  <a:pt x="5433297" y="6148717"/>
                </a:moveTo>
                <a:cubicBezTo>
                  <a:pt x="5429746" y="6152267"/>
                  <a:pt x="5422645" y="6155819"/>
                  <a:pt x="5415543" y="6159369"/>
                </a:cubicBezTo>
                <a:cubicBezTo>
                  <a:pt x="5415543" y="6159369"/>
                  <a:pt x="5415543" y="6159369"/>
                  <a:pt x="5419094" y="6162920"/>
                </a:cubicBezTo>
                <a:lnTo>
                  <a:pt x="5436848" y="6194878"/>
                </a:lnTo>
                <a:cubicBezTo>
                  <a:pt x="5440399" y="6194878"/>
                  <a:pt x="5440399" y="6191326"/>
                  <a:pt x="5443950" y="6191326"/>
                </a:cubicBezTo>
                <a:cubicBezTo>
                  <a:pt x="5443950" y="6191326"/>
                  <a:pt x="5443950" y="6191326"/>
                  <a:pt x="5436848" y="6177123"/>
                </a:cubicBezTo>
                <a:cubicBezTo>
                  <a:pt x="5436848" y="6177123"/>
                  <a:pt x="5436848" y="6177123"/>
                  <a:pt x="5443950" y="6173573"/>
                </a:cubicBezTo>
                <a:cubicBezTo>
                  <a:pt x="5443950" y="6173573"/>
                  <a:pt x="5443950" y="6173573"/>
                  <a:pt x="5458153" y="6184225"/>
                </a:cubicBezTo>
                <a:cubicBezTo>
                  <a:pt x="5461704" y="6180674"/>
                  <a:pt x="5461704" y="6180674"/>
                  <a:pt x="5465255" y="6180674"/>
                </a:cubicBezTo>
                <a:cubicBezTo>
                  <a:pt x="5465255" y="6180674"/>
                  <a:pt x="5465255" y="6180674"/>
                  <a:pt x="5451052" y="6166471"/>
                </a:cubicBezTo>
                <a:cubicBezTo>
                  <a:pt x="5451052" y="6166471"/>
                  <a:pt x="5451052" y="6166471"/>
                  <a:pt x="5451052" y="6162920"/>
                </a:cubicBezTo>
                <a:cubicBezTo>
                  <a:pt x="5454602" y="6155819"/>
                  <a:pt x="5443950" y="6145166"/>
                  <a:pt x="5433297" y="6148717"/>
                </a:cubicBezTo>
                <a:close/>
                <a:moveTo>
                  <a:pt x="5654205" y="6142479"/>
                </a:moveTo>
                <a:cubicBezTo>
                  <a:pt x="5657748" y="6166663"/>
                  <a:pt x="5657748" y="6166663"/>
                  <a:pt x="5657748" y="6166663"/>
                </a:cubicBezTo>
                <a:cubicBezTo>
                  <a:pt x="5650663" y="6183937"/>
                  <a:pt x="5650663" y="6183937"/>
                  <a:pt x="5650663" y="6183937"/>
                </a:cubicBezTo>
                <a:lnTo>
                  <a:pt x="5657748" y="6190846"/>
                </a:lnTo>
                <a:cubicBezTo>
                  <a:pt x="5664832" y="6173572"/>
                  <a:pt x="5664832" y="6173572"/>
                  <a:pt x="5664832" y="6173572"/>
                </a:cubicBezTo>
                <a:cubicBezTo>
                  <a:pt x="5689626" y="6159753"/>
                  <a:pt x="5689626" y="6159753"/>
                  <a:pt x="5689626" y="6159753"/>
                </a:cubicBezTo>
                <a:cubicBezTo>
                  <a:pt x="5689626" y="6159753"/>
                  <a:pt x="5686084" y="6156298"/>
                  <a:pt x="5682543" y="6156298"/>
                </a:cubicBezTo>
                <a:cubicBezTo>
                  <a:pt x="5664832" y="6163208"/>
                  <a:pt x="5664832" y="6163208"/>
                  <a:pt x="5664832" y="6163208"/>
                </a:cubicBezTo>
                <a:cubicBezTo>
                  <a:pt x="5661290" y="6145933"/>
                  <a:pt x="5661290" y="6145933"/>
                  <a:pt x="5661290" y="6145933"/>
                </a:cubicBezTo>
                <a:cubicBezTo>
                  <a:pt x="5657748" y="6142479"/>
                  <a:pt x="5657748" y="6142479"/>
                  <a:pt x="5654205" y="6142479"/>
                </a:cubicBezTo>
                <a:close/>
                <a:moveTo>
                  <a:pt x="5619224" y="6138449"/>
                </a:moveTo>
                <a:cubicBezTo>
                  <a:pt x="5622717" y="6138449"/>
                  <a:pt x="5626211" y="6138449"/>
                  <a:pt x="5629705" y="6141808"/>
                </a:cubicBezTo>
                <a:cubicBezTo>
                  <a:pt x="5629705" y="6141808"/>
                  <a:pt x="5633197" y="6141808"/>
                  <a:pt x="5633197" y="6145167"/>
                </a:cubicBezTo>
                <a:cubicBezTo>
                  <a:pt x="5633197" y="6148525"/>
                  <a:pt x="5629705" y="6151884"/>
                  <a:pt x="5626211" y="6151884"/>
                </a:cubicBezTo>
                <a:cubicBezTo>
                  <a:pt x="5626211" y="6151884"/>
                  <a:pt x="5626211" y="6151884"/>
                  <a:pt x="5615731" y="6148525"/>
                </a:cubicBezTo>
                <a:lnTo>
                  <a:pt x="5615731" y="6145167"/>
                </a:lnTo>
                <a:cubicBezTo>
                  <a:pt x="5615731" y="6145167"/>
                  <a:pt x="5615731" y="6145167"/>
                  <a:pt x="5619224" y="6138449"/>
                </a:cubicBezTo>
                <a:close/>
                <a:moveTo>
                  <a:pt x="5486079" y="6137944"/>
                </a:moveTo>
                <a:cubicBezTo>
                  <a:pt x="5493134" y="6134417"/>
                  <a:pt x="5500187" y="6141472"/>
                  <a:pt x="5500187" y="6148525"/>
                </a:cubicBezTo>
                <a:cubicBezTo>
                  <a:pt x="5500187" y="6155579"/>
                  <a:pt x="5493134" y="6162632"/>
                  <a:pt x="5486079" y="6162632"/>
                </a:cubicBezTo>
                <a:cubicBezTo>
                  <a:pt x="5479026" y="6162632"/>
                  <a:pt x="5471972" y="6159106"/>
                  <a:pt x="5471972" y="6152052"/>
                </a:cubicBezTo>
                <a:cubicBezTo>
                  <a:pt x="5471972" y="6152052"/>
                  <a:pt x="5471972" y="6152052"/>
                  <a:pt x="5471972" y="6148525"/>
                </a:cubicBezTo>
                <a:cubicBezTo>
                  <a:pt x="5471972" y="6141472"/>
                  <a:pt x="5479026" y="6137944"/>
                  <a:pt x="5486079" y="6137944"/>
                </a:cubicBezTo>
                <a:close/>
                <a:moveTo>
                  <a:pt x="5574081" y="6131730"/>
                </a:moveTo>
                <a:cubicBezTo>
                  <a:pt x="5574081" y="6131730"/>
                  <a:pt x="5574081" y="6131730"/>
                  <a:pt x="5577440" y="6142210"/>
                </a:cubicBezTo>
                <a:cubicBezTo>
                  <a:pt x="5577440" y="6142210"/>
                  <a:pt x="5577440" y="6142210"/>
                  <a:pt x="5580799" y="6149197"/>
                </a:cubicBezTo>
                <a:cubicBezTo>
                  <a:pt x="5577440" y="6149197"/>
                  <a:pt x="5570722" y="6149197"/>
                  <a:pt x="5567363" y="6149197"/>
                </a:cubicBezTo>
                <a:lnTo>
                  <a:pt x="5570722" y="6142210"/>
                </a:lnTo>
                <a:cubicBezTo>
                  <a:pt x="5570722" y="6142210"/>
                  <a:pt x="5570722" y="6142210"/>
                  <a:pt x="5574081" y="6131730"/>
                </a:cubicBezTo>
                <a:close/>
                <a:moveTo>
                  <a:pt x="5482609" y="6131214"/>
                </a:moveTo>
                <a:cubicBezTo>
                  <a:pt x="5472195" y="6131214"/>
                  <a:pt x="5465254" y="6138242"/>
                  <a:pt x="5465254" y="6148784"/>
                </a:cubicBezTo>
                <a:cubicBezTo>
                  <a:pt x="5465254" y="6152297"/>
                  <a:pt x="5465254" y="6152297"/>
                  <a:pt x="5465254" y="6152297"/>
                </a:cubicBezTo>
                <a:cubicBezTo>
                  <a:pt x="5465254" y="6162839"/>
                  <a:pt x="5475666" y="6173381"/>
                  <a:pt x="5486079" y="6169867"/>
                </a:cubicBezTo>
                <a:cubicBezTo>
                  <a:pt x="5499963" y="6169867"/>
                  <a:pt x="5506904" y="6162839"/>
                  <a:pt x="5506904" y="6148784"/>
                </a:cubicBezTo>
                <a:cubicBezTo>
                  <a:pt x="5506904" y="6138242"/>
                  <a:pt x="5496492" y="6127700"/>
                  <a:pt x="5482609" y="6131214"/>
                </a:cubicBezTo>
                <a:close/>
                <a:moveTo>
                  <a:pt x="5612922" y="6127700"/>
                </a:moveTo>
                <a:cubicBezTo>
                  <a:pt x="5612922" y="6127700"/>
                  <a:pt x="5612922" y="6127700"/>
                  <a:pt x="5609380" y="6145454"/>
                </a:cubicBezTo>
                <a:cubicBezTo>
                  <a:pt x="5609380" y="6145454"/>
                  <a:pt x="5609380" y="6145454"/>
                  <a:pt x="5602296" y="6166759"/>
                </a:cubicBezTo>
                <a:cubicBezTo>
                  <a:pt x="5605837" y="6170310"/>
                  <a:pt x="5609380" y="6170310"/>
                  <a:pt x="5612922" y="6170310"/>
                </a:cubicBezTo>
                <a:lnTo>
                  <a:pt x="5616464" y="6156107"/>
                </a:lnTo>
                <a:cubicBezTo>
                  <a:pt x="5616464" y="6156107"/>
                  <a:pt x="5616464" y="6156107"/>
                  <a:pt x="5623548" y="6156107"/>
                </a:cubicBezTo>
                <a:cubicBezTo>
                  <a:pt x="5623548" y="6156107"/>
                  <a:pt x="5623548" y="6156107"/>
                  <a:pt x="5627090" y="6173861"/>
                </a:cubicBezTo>
                <a:cubicBezTo>
                  <a:pt x="5630632" y="6177412"/>
                  <a:pt x="5630632" y="6177412"/>
                  <a:pt x="5634175" y="6177412"/>
                </a:cubicBezTo>
                <a:cubicBezTo>
                  <a:pt x="5634175" y="6177412"/>
                  <a:pt x="5634175" y="6177412"/>
                  <a:pt x="5630632" y="6159658"/>
                </a:cubicBezTo>
                <a:cubicBezTo>
                  <a:pt x="5637717" y="6156107"/>
                  <a:pt x="5641259" y="6149005"/>
                  <a:pt x="5641259" y="6145454"/>
                </a:cubicBezTo>
                <a:cubicBezTo>
                  <a:pt x="5641259" y="6138353"/>
                  <a:pt x="5637717" y="6134802"/>
                  <a:pt x="5634175" y="6134802"/>
                </a:cubicBezTo>
                <a:cubicBezTo>
                  <a:pt x="5627090" y="6131251"/>
                  <a:pt x="5620006" y="6127700"/>
                  <a:pt x="5612922" y="6127700"/>
                </a:cubicBezTo>
                <a:close/>
                <a:moveTo>
                  <a:pt x="5570295" y="6120982"/>
                </a:moveTo>
                <a:cubicBezTo>
                  <a:pt x="5570295" y="6120982"/>
                  <a:pt x="5570295" y="6120982"/>
                  <a:pt x="5563211" y="6142066"/>
                </a:cubicBezTo>
                <a:cubicBezTo>
                  <a:pt x="5563211" y="6142066"/>
                  <a:pt x="5563211" y="6142066"/>
                  <a:pt x="5552585" y="6163149"/>
                </a:cubicBezTo>
                <a:cubicBezTo>
                  <a:pt x="5556127" y="6163149"/>
                  <a:pt x="5556127" y="6163149"/>
                  <a:pt x="5559669" y="6163149"/>
                </a:cubicBezTo>
                <a:lnTo>
                  <a:pt x="5563211" y="6156121"/>
                </a:lnTo>
                <a:cubicBezTo>
                  <a:pt x="5570295" y="6156121"/>
                  <a:pt x="5573838" y="6156121"/>
                  <a:pt x="5580922" y="6156121"/>
                </a:cubicBezTo>
                <a:cubicBezTo>
                  <a:pt x="5580922" y="6156121"/>
                  <a:pt x="5580922" y="6156121"/>
                  <a:pt x="5584464" y="6163149"/>
                </a:cubicBezTo>
                <a:cubicBezTo>
                  <a:pt x="5588006" y="6163149"/>
                  <a:pt x="5588006" y="6166663"/>
                  <a:pt x="5591548" y="6166663"/>
                </a:cubicBezTo>
                <a:cubicBezTo>
                  <a:pt x="5591548" y="6166663"/>
                  <a:pt x="5591548" y="6166663"/>
                  <a:pt x="5584464" y="6142066"/>
                </a:cubicBezTo>
                <a:cubicBezTo>
                  <a:pt x="5584464" y="6142066"/>
                  <a:pt x="5584464" y="6142066"/>
                  <a:pt x="5580922" y="6120982"/>
                </a:cubicBezTo>
                <a:cubicBezTo>
                  <a:pt x="5580922" y="6120982"/>
                  <a:pt x="5580922" y="6120982"/>
                  <a:pt x="5570295" y="6120982"/>
                </a:cubicBezTo>
                <a:close/>
                <a:moveTo>
                  <a:pt x="5549898" y="6120982"/>
                </a:moveTo>
                <a:cubicBezTo>
                  <a:pt x="5532187" y="6120982"/>
                  <a:pt x="5525103" y="6120982"/>
                  <a:pt x="5510934" y="6124453"/>
                </a:cubicBezTo>
                <a:cubicBezTo>
                  <a:pt x="5510934" y="6131394"/>
                  <a:pt x="5510934" y="6131394"/>
                  <a:pt x="5510934" y="6131394"/>
                </a:cubicBezTo>
                <a:lnTo>
                  <a:pt x="5525103" y="6127924"/>
                </a:lnTo>
                <a:cubicBezTo>
                  <a:pt x="5528645" y="6162632"/>
                  <a:pt x="5528645" y="6162632"/>
                  <a:pt x="5528645" y="6162632"/>
                </a:cubicBezTo>
                <a:cubicBezTo>
                  <a:pt x="5539271" y="6162632"/>
                  <a:pt x="5539271" y="6162632"/>
                  <a:pt x="5539271" y="6162632"/>
                </a:cubicBezTo>
                <a:cubicBezTo>
                  <a:pt x="5535729" y="6127924"/>
                  <a:pt x="5535729" y="6127924"/>
                  <a:pt x="5535729" y="6127924"/>
                </a:cubicBezTo>
                <a:cubicBezTo>
                  <a:pt x="5549898" y="6127924"/>
                  <a:pt x="5549898" y="6127924"/>
                  <a:pt x="5549898" y="6127924"/>
                </a:cubicBezTo>
                <a:cubicBezTo>
                  <a:pt x="5549898" y="6120982"/>
                  <a:pt x="5549898" y="6120982"/>
                  <a:pt x="5549898" y="6120982"/>
                </a:cubicBezTo>
                <a:close/>
                <a:moveTo>
                  <a:pt x="5100257" y="6120981"/>
                </a:moveTo>
                <a:cubicBezTo>
                  <a:pt x="5118171" y="6120981"/>
                  <a:pt x="5125336" y="6138448"/>
                  <a:pt x="5125336" y="6155913"/>
                </a:cubicBezTo>
                <a:lnTo>
                  <a:pt x="5071595" y="6155913"/>
                </a:lnTo>
                <a:cubicBezTo>
                  <a:pt x="5071595" y="6138448"/>
                  <a:pt x="5082343" y="6120981"/>
                  <a:pt x="5100257" y="6120981"/>
                </a:cubicBezTo>
                <a:close/>
                <a:moveTo>
                  <a:pt x="5552585" y="6114265"/>
                </a:moveTo>
                <a:cubicBezTo>
                  <a:pt x="5615759" y="6114265"/>
                  <a:pt x="5671914" y="6135224"/>
                  <a:pt x="5717539" y="6170156"/>
                </a:cubicBezTo>
                <a:cubicBezTo>
                  <a:pt x="5724558" y="6177143"/>
                  <a:pt x="5724558" y="6180636"/>
                  <a:pt x="5721049" y="6184129"/>
                </a:cubicBezTo>
                <a:cubicBezTo>
                  <a:pt x="5721049" y="6184129"/>
                  <a:pt x="5721049" y="6184129"/>
                  <a:pt x="5692972" y="6215569"/>
                </a:cubicBezTo>
                <a:cubicBezTo>
                  <a:pt x="5689462" y="6219061"/>
                  <a:pt x="5685952" y="6219061"/>
                  <a:pt x="5678933" y="6215569"/>
                </a:cubicBezTo>
                <a:cubicBezTo>
                  <a:pt x="5643837" y="6187623"/>
                  <a:pt x="5598210" y="6170156"/>
                  <a:pt x="5552585" y="6170156"/>
                </a:cubicBezTo>
                <a:cubicBezTo>
                  <a:pt x="5503450" y="6170156"/>
                  <a:pt x="5461334" y="6187623"/>
                  <a:pt x="5426236" y="6215569"/>
                </a:cubicBezTo>
                <a:cubicBezTo>
                  <a:pt x="5419217" y="6219061"/>
                  <a:pt x="5415708" y="6219061"/>
                  <a:pt x="5412198" y="6215569"/>
                </a:cubicBezTo>
                <a:cubicBezTo>
                  <a:pt x="5412198" y="6215569"/>
                  <a:pt x="5412198" y="6215569"/>
                  <a:pt x="5384121" y="6184129"/>
                </a:cubicBezTo>
                <a:cubicBezTo>
                  <a:pt x="5380611" y="6180636"/>
                  <a:pt x="5380611" y="6177143"/>
                  <a:pt x="5387630" y="6170156"/>
                </a:cubicBezTo>
                <a:cubicBezTo>
                  <a:pt x="5433256" y="6135224"/>
                  <a:pt x="5489411" y="6114265"/>
                  <a:pt x="5552585" y="6114265"/>
                </a:cubicBezTo>
                <a:close/>
                <a:moveTo>
                  <a:pt x="5100481" y="6114264"/>
                </a:moveTo>
                <a:cubicBezTo>
                  <a:pt x="5076113" y="6114264"/>
                  <a:pt x="5062189" y="6131778"/>
                  <a:pt x="5062189" y="6163304"/>
                </a:cubicBezTo>
                <a:cubicBezTo>
                  <a:pt x="5062189" y="6191326"/>
                  <a:pt x="5072632" y="6212343"/>
                  <a:pt x="5103962" y="6212343"/>
                </a:cubicBezTo>
                <a:cubicBezTo>
                  <a:pt x="5110924" y="6212343"/>
                  <a:pt x="5124848" y="6208840"/>
                  <a:pt x="5131810" y="6205337"/>
                </a:cubicBezTo>
                <a:lnTo>
                  <a:pt x="5131810" y="6194829"/>
                </a:lnTo>
                <a:cubicBezTo>
                  <a:pt x="5124848" y="6198332"/>
                  <a:pt x="5114404" y="6201834"/>
                  <a:pt x="5103962" y="6201834"/>
                </a:cubicBezTo>
                <a:cubicBezTo>
                  <a:pt x="5083076" y="6201834"/>
                  <a:pt x="5072632" y="6184320"/>
                  <a:pt x="5072632" y="6166807"/>
                </a:cubicBezTo>
                <a:cubicBezTo>
                  <a:pt x="5072632" y="6166807"/>
                  <a:pt x="5072632" y="6166807"/>
                  <a:pt x="5138772" y="6166807"/>
                </a:cubicBezTo>
                <a:cubicBezTo>
                  <a:pt x="5138772" y="6166807"/>
                  <a:pt x="5138772" y="6166807"/>
                  <a:pt x="5138772" y="6159801"/>
                </a:cubicBezTo>
                <a:cubicBezTo>
                  <a:pt x="5138772" y="6135281"/>
                  <a:pt x="5128329" y="6114264"/>
                  <a:pt x="5100481" y="6114264"/>
                </a:cubicBezTo>
                <a:close/>
                <a:moveTo>
                  <a:pt x="4851253" y="6077988"/>
                </a:moveTo>
                <a:lnTo>
                  <a:pt x="4851253" y="6088736"/>
                </a:lnTo>
                <a:lnTo>
                  <a:pt x="4890216" y="6088736"/>
                </a:lnTo>
                <a:lnTo>
                  <a:pt x="4890216" y="6208312"/>
                </a:lnTo>
                <a:lnTo>
                  <a:pt x="4903652" y="6208312"/>
                </a:lnTo>
                <a:lnTo>
                  <a:pt x="4903652" y="6088736"/>
                </a:lnTo>
                <a:lnTo>
                  <a:pt x="4942614" y="6088736"/>
                </a:lnTo>
                <a:lnTo>
                  <a:pt x="4942614" y="6077988"/>
                </a:lnTo>
                <a:close/>
                <a:moveTo>
                  <a:pt x="4964111" y="6067239"/>
                </a:moveTo>
                <a:lnTo>
                  <a:pt x="4964111" y="6208312"/>
                </a:lnTo>
                <a:cubicBezTo>
                  <a:pt x="4964111" y="6208312"/>
                  <a:pt x="4964111" y="6208312"/>
                  <a:pt x="4974476" y="6208312"/>
                </a:cubicBezTo>
                <a:cubicBezTo>
                  <a:pt x="4974476" y="6208312"/>
                  <a:pt x="4974476" y="6208312"/>
                  <a:pt x="4974476" y="6158936"/>
                </a:cubicBezTo>
                <a:cubicBezTo>
                  <a:pt x="4974476" y="6141302"/>
                  <a:pt x="4981385" y="6120142"/>
                  <a:pt x="5002115" y="6120142"/>
                </a:cubicBezTo>
                <a:cubicBezTo>
                  <a:pt x="5022844" y="6120142"/>
                  <a:pt x="5022844" y="6134249"/>
                  <a:pt x="5022844" y="6151883"/>
                </a:cubicBezTo>
                <a:cubicBezTo>
                  <a:pt x="5022844" y="6151883"/>
                  <a:pt x="5022844" y="6151883"/>
                  <a:pt x="5022844" y="6208312"/>
                </a:cubicBezTo>
                <a:cubicBezTo>
                  <a:pt x="5022844" y="6208312"/>
                  <a:pt x="5022844" y="6208312"/>
                  <a:pt x="5036662" y="6208312"/>
                </a:cubicBezTo>
                <a:cubicBezTo>
                  <a:pt x="5036662" y="6208312"/>
                  <a:pt x="5036662" y="6208312"/>
                  <a:pt x="5036662" y="6151883"/>
                </a:cubicBezTo>
                <a:cubicBezTo>
                  <a:pt x="5036662" y="6127195"/>
                  <a:pt x="5029753" y="6113088"/>
                  <a:pt x="5005569" y="6113088"/>
                </a:cubicBezTo>
                <a:cubicBezTo>
                  <a:pt x="4991750" y="6113088"/>
                  <a:pt x="4981385" y="6120142"/>
                  <a:pt x="4974476" y="6130722"/>
                </a:cubicBezTo>
                <a:cubicBezTo>
                  <a:pt x="4974476" y="6130722"/>
                  <a:pt x="4974476" y="6130722"/>
                  <a:pt x="4974476" y="6067239"/>
                </a:cubicBezTo>
                <a:cubicBezTo>
                  <a:pt x="4974476" y="6067239"/>
                  <a:pt x="4974476" y="6067239"/>
                  <a:pt x="4964111" y="6067239"/>
                </a:cubicBezTo>
                <a:close/>
                <a:moveTo>
                  <a:pt x="5542739" y="6043056"/>
                </a:moveTo>
                <a:cubicBezTo>
                  <a:pt x="5532222" y="6060677"/>
                  <a:pt x="5528716" y="6078298"/>
                  <a:pt x="5528716" y="6095919"/>
                </a:cubicBezTo>
                <a:cubicBezTo>
                  <a:pt x="5525210" y="6095919"/>
                  <a:pt x="5507681" y="6099443"/>
                  <a:pt x="5504176" y="6099443"/>
                </a:cubicBezTo>
                <a:cubicBezTo>
                  <a:pt x="5500669" y="6081822"/>
                  <a:pt x="5490152" y="6064201"/>
                  <a:pt x="5479635" y="6053629"/>
                </a:cubicBezTo>
                <a:cubicBezTo>
                  <a:pt x="5479635" y="6053629"/>
                  <a:pt x="5479635" y="6053629"/>
                  <a:pt x="5476129" y="6053629"/>
                </a:cubicBezTo>
                <a:cubicBezTo>
                  <a:pt x="5469117" y="6053629"/>
                  <a:pt x="5462106" y="6057153"/>
                  <a:pt x="5455094" y="6057153"/>
                </a:cubicBezTo>
                <a:cubicBezTo>
                  <a:pt x="5455094" y="6057153"/>
                  <a:pt x="5455094" y="6057153"/>
                  <a:pt x="5455094" y="6060677"/>
                </a:cubicBezTo>
                <a:cubicBezTo>
                  <a:pt x="5451588" y="6067726"/>
                  <a:pt x="5451588" y="6074774"/>
                  <a:pt x="5451588" y="6085346"/>
                </a:cubicBezTo>
                <a:cubicBezTo>
                  <a:pt x="5451588" y="6095919"/>
                  <a:pt x="5451588" y="6102967"/>
                  <a:pt x="5455094" y="6113540"/>
                </a:cubicBezTo>
                <a:cubicBezTo>
                  <a:pt x="5451588" y="6113540"/>
                  <a:pt x="5434059" y="6120588"/>
                  <a:pt x="5434059" y="6120588"/>
                </a:cubicBezTo>
                <a:cubicBezTo>
                  <a:pt x="5423542" y="6106491"/>
                  <a:pt x="5409518" y="6092395"/>
                  <a:pt x="5395495" y="6085346"/>
                </a:cubicBezTo>
                <a:cubicBezTo>
                  <a:pt x="5388484" y="6085346"/>
                  <a:pt x="5381472" y="6092395"/>
                  <a:pt x="5374460" y="6095919"/>
                </a:cubicBezTo>
                <a:cubicBezTo>
                  <a:pt x="5374460" y="6113540"/>
                  <a:pt x="5377966" y="6131161"/>
                  <a:pt x="5388484" y="6148781"/>
                </a:cubicBezTo>
                <a:cubicBezTo>
                  <a:pt x="5384978" y="6148781"/>
                  <a:pt x="5374460" y="6159354"/>
                  <a:pt x="5370954" y="6159354"/>
                </a:cubicBezTo>
                <a:cubicBezTo>
                  <a:pt x="5360437" y="6148781"/>
                  <a:pt x="5342908" y="6138209"/>
                  <a:pt x="5325379" y="6134685"/>
                </a:cubicBezTo>
                <a:cubicBezTo>
                  <a:pt x="5318367" y="6138209"/>
                  <a:pt x="5311356" y="6145257"/>
                  <a:pt x="5307850" y="6148781"/>
                </a:cubicBezTo>
                <a:cubicBezTo>
                  <a:pt x="5307850" y="6148781"/>
                  <a:pt x="5307850" y="6148781"/>
                  <a:pt x="5307850" y="6152305"/>
                </a:cubicBezTo>
                <a:cubicBezTo>
                  <a:pt x="5311356" y="6166403"/>
                  <a:pt x="5321873" y="6184023"/>
                  <a:pt x="5335896" y="6198120"/>
                </a:cubicBezTo>
                <a:cubicBezTo>
                  <a:pt x="5332390" y="6198120"/>
                  <a:pt x="5321873" y="6215741"/>
                  <a:pt x="5321873" y="6215741"/>
                </a:cubicBezTo>
                <a:cubicBezTo>
                  <a:pt x="5304344" y="6208692"/>
                  <a:pt x="5286815" y="6201644"/>
                  <a:pt x="5269286" y="6201644"/>
                </a:cubicBezTo>
                <a:cubicBezTo>
                  <a:pt x="5265780" y="6208692"/>
                  <a:pt x="5258768" y="6215741"/>
                  <a:pt x="5258768" y="6222789"/>
                </a:cubicBezTo>
                <a:cubicBezTo>
                  <a:pt x="5265780" y="6236886"/>
                  <a:pt x="5279803" y="6250982"/>
                  <a:pt x="5293827" y="6261556"/>
                </a:cubicBezTo>
                <a:cubicBezTo>
                  <a:pt x="5293827" y="6265080"/>
                  <a:pt x="5286815" y="6279176"/>
                  <a:pt x="5286815" y="6282700"/>
                </a:cubicBezTo>
                <a:cubicBezTo>
                  <a:pt x="5269286" y="6275652"/>
                  <a:pt x="5248251" y="6275652"/>
                  <a:pt x="5234228" y="6282700"/>
                </a:cubicBezTo>
                <a:cubicBezTo>
                  <a:pt x="5230722" y="6289749"/>
                  <a:pt x="5227216" y="6296797"/>
                  <a:pt x="5227216" y="6303845"/>
                </a:cubicBezTo>
                <a:cubicBezTo>
                  <a:pt x="5237733" y="6317942"/>
                  <a:pt x="5255262" y="6324990"/>
                  <a:pt x="5272791" y="6332039"/>
                </a:cubicBezTo>
                <a:cubicBezTo>
                  <a:pt x="5272791" y="6335563"/>
                  <a:pt x="5269286" y="6349659"/>
                  <a:pt x="5269286" y="6353183"/>
                </a:cubicBezTo>
                <a:cubicBezTo>
                  <a:pt x="5251757" y="6353183"/>
                  <a:pt x="5234228" y="6360232"/>
                  <a:pt x="5220205" y="6367281"/>
                </a:cubicBezTo>
                <a:cubicBezTo>
                  <a:pt x="5220205" y="6367281"/>
                  <a:pt x="5220205" y="6367281"/>
                  <a:pt x="5216698" y="6367281"/>
                </a:cubicBezTo>
                <a:cubicBezTo>
                  <a:pt x="5216698" y="6370805"/>
                  <a:pt x="5216698" y="6374329"/>
                  <a:pt x="5216698" y="6381377"/>
                </a:cubicBezTo>
                <a:cubicBezTo>
                  <a:pt x="5216698" y="6384901"/>
                  <a:pt x="5216698" y="6388425"/>
                  <a:pt x="5216698" y="6391950"/>
                </a:cubicBezTo>
                <a:cubicBezTo>
                  <a:pt x="5216698" y="6391950"/>
                  <a:pt x="5216698" y="6391950"/>
                  <a:pt x="5220205" y="6391950"/>
                </a:cubicBezTo>
                <a:cubicBezTo>
                  <a:pt x="5234228" y="6402523"/>
                  <a:pt x="5251757" y="6406047"/>
                  <a:pt x="5269286" y="6406047"/>
                </a:cubicBezTo>
                <a:cubicBezTo>
                  <a:pt x="5269286" y="6409571"/>
                  <a:pt x="5272791" y="6427192"/>
                  <a:pt x="5272791" y="6427192"/>
                </a:cubicBezTo>
                <a:cubicBezTo>
                  <a:pt x="5255262" y="6434240"/>
                  <a:pt x="5237733" y="6444812"/>
                  <a:pt x="5227216" y="6455385"/>
                </a:cubicBezTo>
                <a:cubicBezTo>
                  <a:pt x="5227216" y="6455385"/>
                  <a:pt x="5227216" y="6455385"/>
                  <a:pt x="5227216" y="6458909"/>
                </a:cubicBezTo>
                <a:cubicBezTo>
                  <a:pt x="5227216" y="6462434"/>
                  <a:pt x="5230722" y="6473006"/>
                  <a:pt x="5234228" y="6480054"/>
                </a:cubicBezTo>
                <a:cubicBezTo>
                  <a:pt x="5251757" y="6483578"/>
                  <a:pt x="5269286" y="6483578"/>
                  <a:pt x="5286815" y="6480054"/>
                </a:cubicBezTo>
                <a:cubicBezTo>
                  <a:pt x="5286815" y="6480054"/>
                  <a:pt x="5293827" y="6497675"/>
                  <a:pt x="5297332" y="6501200"/>
                </a:cubicBezTo>
                <a:cubicBezTo>
                  <a:pt x="5279803" y="6508248"/>
                  <a:pt x="5265780" y="6522344"/>
                  <a:pt x="5258768" y="6536441"/>
                </a:cubicBezTo>
                <a:cubicBezTo>
                  <a:pt x="5258768" y="6536441"/>
                  <a:pt x="5258768" y="6536441"/>
                  <a:pt x="5258768" y="6539965"/>
                </a:cubicBezTo>
                <a:cubicBezTo>
                  <a:pt x="5262274" y="6543489"/>
                  <a:pt x="5265780" y="6554062"/>
                  <a:pt x="5269286" y="6557586"/>
                </a:cubicBezTo>
                <a:cubicBezTo>
                  <a:pt x="5286815" y="6557586"/>
                  <a:pt x="5304344" y="6554062"/>
                  <a:pt x="5321873" y="6543489"/>
                </a:cubicBezTo>
                <a:cubicBezTo>
                  <a:pt x="5321873" y="6547014"/>
                  <a:pt x="5332390" y="6561110"/>
                  <a:pt x="5335896" y="6564635"/>
                </a:cubicBezTo>
                <a:cubicBezTo>
                  <a:pt x="5321873" y="6575207"/>
                  <a:pt x="5314861" y="6592827"/>
                  <a:pt x="5307850" y="6610449"/>
                </a:cubicBezTo>
                <a:cubicBezTo>
                  <a:pt x="5314861" y="6613973"/>
                  <a:pt x="5318367" y="6621021"/>
                  <a:pt x="5325379" y="6624545"/>
                </a:cubicBezTo>
                <a:cubicBezTo>
                  <a:pt x="5342908" y="6621021"/>
                  <a:pt x="5360437" y="6613973"/>
                  <a:pt x="5370954" y="6599877"/>
                </a:cubicBezTo>
                <a:cubicBezTo>
                  <a:pt x="5374460" y="6599877"/>
                  <a:pt x="5388484" y="6613973"/>
                  <a:pt x="5388484" y="6613973"/>
                </a:cubicBezTo>
                <a:cubicBezTo>
                  <a:pt x="5381472" y="6628069"/>
                  <a:pt x="5377966" y="6649215"/>
                  <a:pt x="5377966" y="6663311"/>
                </a:cubicBezTo>
                <a:cubicBezTo>
                  <a:pt x="5377966" y="6663311"/>
                  <a:pt x="5377966" y="6666836"/>
                  <a:pt x="5377966" y="6666836"/>
                </a:cubicBezTo>
                <a:cubicBezTo>
                  <a:pt x="5381472" y="6670360"/>
                  <a:pt x="5388484" y="6673884"/>
                  <a:pt x="5395495" y="6677408"/>
                </a:cubicBezTo>
                <a:cubicBezTo>
                  <a:pt x="5395495" y="6677408"/>
                  <a:pt x="5395495" y="6677408"/>
                  <a:pt x="5399001" y="6677408"/>
                </a:cubicBezTo>
                <a:cubicBezTo>
                  <a:pt x="5413024" y="6670360"/>
                  <a:pt x="5427047" y="6656263"/>
                  <a:pt x="5434059" y="6638642"/>
                </a:cubicBezTo>
                <a:cubicBezTo>
                  <a:pt x="5437564" y="6642166"/>
                  <a:pt x="5451588" y="6645691"/>
                  <a:pt x="5455094" y="6649215"/>
                </a:cubicBezTo>
                <a:cubicBezTo>
                  <a:pt x="5451588" y="6656263"/>
                  <a:pt x="5451588" y="6666836"/>
                  <a:pt x="5451588" y="6673884"/>
                </a:cubicBezTo>
                <a:cubicBezTo>
                  <a:pt x="5451588" y="6684456"/>
                  <a:pt x="5451588" y="6691505"/>
                  <a:pt x="5455094" y="6702078"/>
                </a:cubicBezTo>
                <a:cubicBezTo>
                  <a:pt x="5462106" y="6705602"/>
                  <a:pt x="5469117" y="6705602"/>
                  <a:pt x="5476129" y="6709126"/>
                </a:cubicBezTo>
                <a:cubicBezTo>
                  <a:pt x="5476129" y="6709126"/>
                  <a:pt x="5476129" y="6709126"/>
                  <a:pt x="5479635" y="6709126"/>
                </a:cubicBezTo>
                <a:cubicBezTo>
                  <a:pt x="5490152" y="6695029"/>
                  <a:pt x="5500669" y="6677408"/>
                  <a:pt x="5504176" y="6663311"/>
                </a:cubicBezTo>
                <a:cubicBezTo>
                  <a:pt x="5507681" y="6663311"/>
                  <a:pt x="5525210" y="6663311"/>
                  <a:pt x="5528716" y="6663311"/>
                </a:cubicBezTo>
                <a:cubicBezTo>
                  <a:pt x="5528716" y="6684456"/>
                  <a:pt x="5532222" y="6702078"/>
                  <a:pt x="5542739" y="6716174"/>
                </a:cubicBezTo>
                <a:cubicBezTo>
                  <a:pt x="5549751" y="6716174"/>
                  <a:pt x="5560268" y="6716174"/>
                  <a:pt x="5563774" y="6716174"/>
                </a:cubicBezTo>
                <a:cubicBezTo>
                  <a:pt x="5563774" y="6716174"/>
                  <a:pt x="5563774" y="6716174"/>
                  <a:pt x="5567280" y="6716174"/>
                </a:cubicBezTo>
                <a:cubicBezTo>
                  <a:pt x="5574291" y="6702078"/>
                  <a:pt x="5581303" y="6684456"/>
                  <a:pt x="5581303" y="6663311"/>
                </a:cubicBezTo>
                <a:cubicBezTo>
                  <a:pt x="5581303" y="6663311"/>
                  <a:pt x="5598832" y="6663311"/>
                  <a:pt x="5602339" y="6663311"/>
                </a:cubicBezTo>
                <a:cubicBezTo>
                  <a:pt x="5605844" y="6677408"/>
                  <a:pt x="5616361" y="6695029"/>
                  <a:pt x="5626879" y="6709126"/>
                </a:cubicBezTo>
                <a:cubicBezTo>
                  <a:pt x="5626879" y="6709126"/>
                  <a:pt x="5626879" y="6709126"/>
                  <a:pt x="5630385" y="6709126"/>
                </a:cubicBezTo>
                <a:cubicBezTo>
                  <a:pt x="5637396" y="6705602"/>
                  <a:pt x="5644408" y="6705602"/>
                  <a:pt x="5651420" y="6702078"/>
                </a:cubicBezTo>
                <a:cubicBezTo>
                  <a:pt x="5654925" y="6691505"/>
                  <a:pt x="5654925" y="6684456"/>
                  <a:pt x="5654925" y="6673884"/>
                </a:cubicBezTo>
                <a:cubicBezTo>
                  <a:pt x="5654925" y="6666836"/>
                  <a:pt x="5654925" y="6656263"/>
                  <a:pt x="5651420" y="6649215"/>
                </a:cubicBezTo>
                <a:cubicBezTo>
                  <a:pt x="5654925" y="6645691"/>
                  <a:pt x="5668949" y="6638642"/>
                  <a:pt x="5672454" y="6638642"/>
                </a:cubicBezTo>
                <a:cubicBezTo>
                  <a:pt x="5682972" y="6656263"/>
                  <a:pt x="5693490" y="6666836"/>
                  <a:pt x="5711019" y="6677408"/>
                </a:cubicBezTo>
                <a:cubicBezTo>
                  <a:pt x="5718030" y="6673884"/>
                  <a:pt x="5725042" y="6670360"/>
                  <a:pt x="5728547" y="6666836"/>
                </a:cubicBezTo>
                <a:cubicBezTo>
                  <a:pt x="5728547" y="6666836"/>
                  <a:pt x="5728547" y="6666836"/>
                  <a:pt x="5732054" y="6666836"/>
                </a:cubicBezTo>
                <a:cubicBezTo>
                  <a:pt x="5732054" y="6666836"/>
                  <a:pt x="5732054" y="6663311"/>
                  <a:pt x="5732054" y="6663311"/>
                </a:cubicBezTo>
                <a:cubicBezTo>
                  <a:pt x="5732054" y="6645691"/>
                  <a:pt x="5725042" y="6628069"/>
                  <a:pt x="5718030" y="6613973"/>
                </a:cubicBezTo>
                <a:cubicBezTo>
                  <a:pt x="5718030" y="6610449"/>
                  <a:pt x="5732054" y="6599877"/>
                  <a:pt x="5735559" y="6599877"/>
                </a:cubicBezTo>
                <a:cubicBezTo>
                  <a:pt x="5746076" y="6610449"/>
                  <a:pt x="5763606" y="6621021"/>
                  <a:pt x="5781135" y="6624545"/>
                </a:cubicBezTo>
                <a:cubicBezTo>
                  <a:pt x="5788146" y="6621021"/>
                  <a:pt x="5795158" y="6613973"/>
                  <a:pt x="5798664" y="6610449"/>
                </a:cubicBezTo>
                <a:cubicBezTo>
                  <a:pt x="5798664" y="6610449"/>
                  <a:pt x="5798664" y="6610449"/>
                  <a:pt x="5798664" y="6606925"/>
                </a:cubicBezTo>
                <a:cubicBezTo>
                  <a:pt x="5795158" y="6592827"/>
                  <a:pt x="5784641" y="6575207"/>
                  <a:pt x="5770617" y="6561110"/>
                </a:cubicBezTo>
                <a:cubicBezTo>
                  <a:pt x="5774123" y="6561110"/>
                  <a:pt x="5784641" y="6547014"/>
                  <a:pt x="5784641" y="6543489"/>
                </a:cubicBezTo>
                <a:cubicBezTo>
                  <a:pt x="5802170" y="6554062"/>
                  <a:pt x="5819699" y="6557586"/>
                  <a:pt x="5837228" y="6557586"/>
                </a:cubicBezTo>
                <a:cubicBezTo>
                  <a:pt x="5840734" y="6550538"/>
                  <a:pt x="5844239" y="6543489"/>
                  <a:pt x="5847746" y="6539965"/>
                </a:cubicBezTo>
                <a:cubicBezTo>
                  <a:pt x="5847746" y="6539965"/>
                  <a:pt x="5847746" y="6539965"/>
                  <a:pt x="5847746" y="6536441"/>
                </a:cubicBezTo>
                <a:cubicBezTo>
                  <a:pt x="5840734" y="6522344"/>
                  <a:pt x="5826710" y="6508248"/>
                  <a:pt x="5812688" y="6497675"/>
                </a:cubicBezTo>
                <a:cubicBezTo>
                  <a:pt x="5812688" y="6497675"/>
                  <a:pt x="5819699" y="6480054"/>
                  <a:pt x="5819699" y="6480054"/>
                </a:cubicBezTo>
                <a:cubicBezTo>
                  <a:pt x="5837228" y="6483578"/>
                  <a:pt x="5854757" y="6483578"/>
                  <a:pt x="5872286" y="6480054"/>
                </a:cubicBezTo>
                <a:cubicBezTo>
                  <a:pt x="5872286" y="6480054"/>
                  <a:pt x="5872286" y="6480054"/>
                  <a:pt x="5872286" y="6476530"/>
                </a:cubicBezTo>
                <a:cubicBezTo>
                  <a:pt x="5875792" y="6473006"/>
                  <a:pt x="5879298" y="6462434"/>
                  <a:pt x="5879298" y="6455385"/>
                </a:cubicBezTo>
                <a:cubicBezTo>
                  <a:pt x="5865275" y="6441288"/>
                  <a:pt x="5851251" y="6434240"/>
                  <a:pt x="5833722" y="6427192"/>
                </a:cubicBezTo>
                <a:cubicBezTo>
                  <a:pt x="5833722" y="6427192"/>
                  <a:pt x="5833722" y="6409571"/>
                  <a:pt x="5837228" y="6406047"/>
                </a:cubicBezTo>
                <a:cubicBezTo>
                  <a:pt x="5854757" y="6406047"/>
                  <a:pt x="5872286" y="6402523"/>
                  <a:pt x="5886310" y="6391950"/>
                </a:cubicBezTo>
                <a:cubicBezTo>
                  <a:pt x="5889815" y="6388425"/>
                  <a:pt x="5889815" y="6384901"/>
                  <a:pt x="5889815" y="6381377"/>
                </a:cubicBezTo>
                <a:cubicBezTo>
                  <a:pt x="5889815" y="6377853"/>
                  <a:pt x="5889815" y="6374329"/>
                  <a:pt x="5886310" y="6370805"/>
                </a:cubicBezTo>
                <a:cubicBezTo>
                  <a:pt x="5886310" y="6370805"/>
                  <a:pt x="5886310" y="6370805"/>
                  <a:pt x="5886310" y="6367281"/>
                </a:cubicBezTo>
                <a:cubicBezTo>
                  <a:pt x="5872286" y="6360232"/>
                  <a:pt x="5854757" y="6353183"/>
                  <a:pt x="5837228" y="6353183"/>
                </a:cubicBezTo>
                <a:cubicBezTo>
                  <a:pt x="5837228" y="6353183"/>
                  <a:pt x="5833722" y="6335563"/>
                  <a:pt x="5833722" y="6332039"/>
                </a:cubicBezTo>
                <a:cubicBezTo>
                  <a:pt x="5851251" y="6328515"/>
                  <a:pt x="5868780" y="6317942"/>
                  <a:pt x="5879298" y="6307370"/>
                </a:cubicBezTo>
                <a:cubicBezTo>
                  <a:pt x="5879298" y="6307370"/>
                  <a:pt x="5879298" y="6307370"/>
                  <a:pt x="5879298" y="6303845"/>
                </a:cubicBezTo>
                <a:cubicBezTo>
                  <a:pt x="5879298" y="6296797"/>
                  <a:pt x="5875792" y="6289749"/>
                  <a:pt x="5872286" y="6282700"/>
                </a:cubicBezTo>
                <a:cubicBezTo>
                  <a:pt x="5854757" y="6279176"/>
                  <a:pt x="5837228" y="6279176"/>
                  <a:pt x="5819699" y="6282700"/>
                </a:cubicBezTo>
                <a:cubicBezTo>
                  <a:pt x="5819699" y="6279176"/>
                  <a:pt x="5812688" y="6265080"/>
                  <a:pt x="5812688" y="6261556"/>
                </a:cubicBezTo>
                <a:cubicBezTo>
                  <a:pt x="5826710" y="6250982"/>
                  <a:pt x="5840734" y="6240410"/>
                  <a:pt x="5847746" y="6222789"/>
                </a:cubicBezTo>
                <a:cubicBezTo>
                  <a:pt x="5847746" y="6215741"/>
                  <a:pt x="5840734" y="6208692"/>
                  <a:pt x="5837228" y="6205168"/>
                </a:cubicBezTo>
                <a:cubicBezTo>
                  <a:pt x="5837228" y="6205168"/>
                  <a:pt x="5837228" y="6205168"/>
                  <a:pt x="5837228" y="6201644"/>
                </a:cubicBezTo>
                <a:cubicBezTo>
                  <a:pt x="5819699" y="6201644"/>
                  <a:pt x="5802170" y="6208692"/>
                  <a:pt x="5784641" y="6215741"/>
                </a:cubicBezTo>
                <a:cubicBezTo>
                  <a:pt x="5784641" y="6215741"/>
                  <a:pt x="5774123" y="6201644"/>
                  <a:pt x="5770617" y="6198120"/>
                </a:cubicBezTo>
                <a:cubicBezTo>
                  <a:pt x="5784641" y="6184023"/>
                  <a:pt x="5795158" y="6169927"/>
                  <a:pt x="5798664" y="6152305"/>
                </a:cubicBezTo>
                <a:cubicBezTo>
                  <a:pt x="5795158" y="6145257"/>
                  <a:pt x="5788146" y="6138209"/>
                  <a:pt x="5781135" y="6134685"/>
                </a:cubicBezTo>
                <a:cubicBezTo>
                  <a:pt x="5763606" y="6138209"/>
                  <a:pt x="5749583" y="6148781"/>
                  <a:pt x="5735559" y="6162879"/>
                </a:cubicBezTo>
                <a:cubicBezTo>
                  <a:pt x="5732054" y="6159354"/>
                  <a:pt x="5718030" y="6148781"/>
                  <a:pt x="5718030" y="6148781"/>
                </a:cubicBezTo>
                <a:cubicBezTo>
                  <a:pt x="5725042" y="6131161"/>
                  <a:pt x="5732054" y="6113540"/>
                  <a:pt x="5732054" y="6095919"/>
                </a:cubicBezTo>
                <a:cubicBezTo>
                  <a:pt x="5725042" y="6092395"/>
                  <a:pt x="5718030" y="6085346"/>
                  <a:pt x="5711019" y="6085346"/>
                </a:cubicBezTo>
                <a:cubicBezTo>
                  <a:pt x="5696995" y="6092395"/>
                  <a:pt x="5682972" y="6106491"/>
                  <a:pt x="5672454" y="6120588"/>
                </a:cubicBezTo>
                <a:cubicBezTo>
                  <a:pt x="5668949" y="6120588"/>
                  <a:pt x="5654925" y="6113540"/>
                  <a:pt x="5651420" y="6113540"/>
                </a:cubicBezTo>
                <a:cubicBezTo>
                  <a:pt x="5654925" y="6102967"/>
                  <a:pt x="5654925" y="6095919"/>
                  <a:pt x="5654925" y="6085346"/>
                </a:cubicBezTo>
                <a:cubicBezTo>
                  <a:pt x="5654925" y="6074774"/>
                  <a:pt x="5654925" y="6067726"/>
                  <a:pt x="5651420" y="6060677"/>
                </a:cubicBezTo>
                <a:cubicBezTo>
                  <a:pt x="5651420" y="6060677"/>
                  <a:pt x="5651420" y="6060677"/>
                  <a:pt x="5651420" y="6057153"/>
                </a:cubicBezTo>
                <a:cubicBezTo>
                  <a:pt x="5644408" y="6057153"/>
                  <a:pt x="5637396" y="6053629"/>
                  <a:pt x="5630385" y="6053629"/>
                </a:cubicBezTo>
                <a:cubicBezTo>
                  <a:pt x="5630385" y="6053629"/>
                  <a:pt x="5630385" y="6053629"/>
                  <a:pt x="5626879" y="6053629"/>
                </a:cubicBezTo>
                <a:cubicBezTo>
                  <a:pt x="5616361" y="6064201"/>
                  <a:pt x="5605844" y="6081822"/>
                  <a:pt x="5602339" y="6099443"/>
                </a:cubicBezTo>
                <a:cubicBezTo>
                  <a:pt x="5598832" y="6099443"/>
                  <a:pt x="5581303" y="6095919"/>
                  <a:pt x="5577798" y="6095919"/>
                </a:cubicBezTo>
                <a:cubicBezTo>
                  <a:pt x="5577798" y="6078298"/>
                  <a:pt x="5574291" y="6060677"/>
                  <a:pt x="5563774" y="6043056"/>
                </a:cubicBezTo>
                <a:cubicBezTo>
                  <a:pt x="5556763" y="6043056"/>
                  <a:pt x="5549751" y="6043056"/>
                  <a:pt x="5542739" y="6043056"/>
                </a:cubicBezTo>
                <a:close/>
                <a:moveTo>
                  <a:pt x="0" y="0"/>
                </a:moveTo>
                <a:lnTo>
                  <a:pt x="6096000" y="0"/>
                </a:lnTo>
                <a:lnTo>
                  <a:pt x="6096000" y="6858000"/>
                </a:lnTo>
                <a:lnTo>
                  <a:pt x="0" y="6858000"/>
                </a:lnTo>
                <a:close/>
              </a:path>
            </a:pathLst>
          </a:custGeom>
          <a:solidFill>
            <a:srgbClr val="01B4E7">
              <a:alpha val="60000"/>
            </a:srgbClr>
          </a:solidFill>
        </p:spPr>
        <p:txBody>
          <a:bodyPr vert="horz" wrap="square" lIns="91440" tIns="45720" rIns="91440" bIns="45720" rtlCol="0" anchor="b">
            <a:noAutofit/>
          </a:bodyPr>
          <a:lstStyle>
            <a:lvl1pPr>
              <a:defRPr lang="en-US" dirty="0">
                <a:solidFill>
                  <a:schemeClr val="tx1">
                    <a:alpha val="0"/>
                  </a:schemeClr>
                </a:solidFill>
              </a:defRPr>
            </a:lvl1pPr>
          </a:lstStyle>
          <a:p>
            <a:pPr marL="0" lvl="0" indent="0" algn="r">
              <a:buNone/>
            </a:pPr>
            <a:r>
              <a:rPr lang="en-US" dirty="0"/>
              <a:t> </a:t>
            </a:r>
          </a:p>
        </p:txBody>
      </p:sp>
      <p:sp>
        <p:nvSpPr>
          <p:cNvPr id="7" name="Text Placeholder 11">
            <a:extLst>
              <a:ext uri="{FF2B5EF4-FFF2-40B4-BE49-F238E27FC236}">
                <a16:creationId xmlns:a16="http://schemas.microsoft.com/office/drawing/2014/main" id="{1E089F70-69C6-4742-888F-F432A72B657B}"/>
              </a:ext>
            </a:extLst>
          </p:cNvPr>
          <p:cNvSpPr>
            <a:spLocks noGrp="1"/>
          </p:cNvSpPr>
          <p:nvPr>
            <p:ph type="body" sz="quarter" idx="14" hasCustomPrompt="1"/>
          </p:nvPr>
        </p:nvSpPr>
        <p:spPr>
          <a:xfrm>
            <a:off x="6879771"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4400" b="1" cap="all" baseline="0">
                <a:solidFill>
                  <a:schemeClr val="bg1"/>
                </a:solidFill>
                <a:latin typeface="+mj-lt"/>
              </a:defRPr>
            </a:lvl1pPr>
            <a:lvl2pPr marL="0" indent="0">
              <a:buNone/>
              <a:defRPr sz="2000">
                <a:solidFill>
                  <a:schemeClr val="bg1"/>
                </a:solidFill>
              </a:defRPr>
            </a:lvl2pPr>
            <a:lvl3pPr>
              <a:defRPr sz="1800"/>
            </a:lvl3pPr>
            <a:lvl4pPr>
              <a:defRPr sz="1600"/>
            </a:lvl4pPr>
            <a:lvl5pPr>
              <a:defRPr sz="1600"/>
            </a:lvl5pPr>
          </a:lstStyle>
          <a:p>
            <a:pPr lvl="0"/>
            <a:r>
              <a:rPr lang="en-US" dirty="0"/>
              <a:t>Title</a:t>
            </a:r>
          </a:p>
        </p:txBody>
      </p:sp>
      <p:sp>
        <p:nvSpPr>
          <p:cNvPr id="20" name="Subtitle 2">
            <a:extLst>
              <a:ext uri="{FF2B5EF4-FFF2-40B4-BE49-F238E27FC236}">
                <a16:creationId xmlns:a16="http://schemas.microsoft.com/office/drawing/2014/main" id="{3A65FA18-26F9-4DF9-BC04-CBF7083ECA8E}"/>
              </a:ext>
            </a:extLst>
          </p:cNvPr>
          <p:cNvSpPr>
            <a:spLocks noGrp="1"/>
          </p:cNvSpPr>
          <p:nvPr>
            <p:ph type="subTitle" idx="1"/>
          </p:nvPr>
        </p:nvSpPr>
        <p:spPr>
          <a:xfrm>
            <a:off x="6871304" y="3383632"/>
            <a:ext cx="4986867" cy="1975764"/>
          </a:xfrm>
        </p:spPr>
        <p:txBody>
          <a:bodyPr>
            <a:normAutofit/>
          </a:bodyPr>
          <a:lstStyle>
            <a:lvl1pPr marL="0" indent="0" algn="l">
              <a:buNone/>
              <a:defRPr sz="22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Slide Number Placeholder 5">
            <a:extLst>
              <a:ext uri="{FF2B5EF4-FFF2-40B4-BE49-F238E27FC236}">
                <a16:creationId xmlns:a16="http://schemas.microsoft.com/office/drawing/2014/main" id="{86011E95-A43E-42BE-BADC-044BB6274510}"/>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24374371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FD90A5B-A048-4B19-8F52-8094F1D3050B}"/>
              </a:ext>
            </a:extLst>
          </p:cNvPr>
          <p:cNvSpPr>
            <a:spLocks noGrp="1"/>
          </p:cNvSpPr>
          <p:nvPr>
            <p:ph type="pic" sz="quarter" idx="13"/>
          </p:nvPr>
        </p:nvSpPr>
        <p:spPr>
          <a:xfrm>
            <a:off x="0" y="0"/>
            <a:ext cx="6096001" cy="6858000"/>
          </a:xfrm>
          <a:custGeom>
            <a:avLst/>
            <a:gdLst>
              <a:gd name="connsiteX0" fmla="*/ 1 w 6096001"/>
              <a:gd name="connsiteY0" fmla="*/ 0 h 6858000"/>
              <a:gd name="connsiteX1" fmla="*/ 6096001 w 6096001"/>
              <a:gd name="connsiteY1" fmla="*/ 0 h 6858000"/>
              <a:gd name="connsiteX2" fmla="*/ 6096001 w 6096001"/>
              <a:gd name="connsiteY2" fmla="*/ 6858000 h 6858000"/>
              <a:gd name="connsiteX3" fmla="*/ 4539049 w 6096001"/>
              <a:gd name="connsiteY3" fmla="*/ 6858000 h 6858000"/>
              <a:gd name="connsiteX4" fmla="*/ 1 w 6096001"/>
              <a:gd name="connsiteY4" fmla="*/ 6858000 h 6858000"/>
              <a:gd name="connsiteX5" fmla="*/ 0 w 6096001"/>
              <a:gd name="connsiteY5" fmla="*/ 6858000 h 6858000"/>
              <a:gd name="connsiteX6" fmla="*/ 0 w 6096001"/>
              <a:gd name="connsiteY6" fmla="*/ 6273113 h 6858000"/>
              <a:gd name="connsiteX7" fmla="*/ 1 w 6096001"/>
              <a:gd name="connsiteY7"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1" h="6858000">
                <a:moveTo>
                  <a:pt x="1" y="0"/>
                </a:moveTo>
                <a:lnTo>
                  <a:pt x="6096001" y="0"/>
                </a:lnTo>
                <a:lnTo>
                  <a:pt x="6096001" y="6858000"/>
                </a:lnTo>
                <a:lnTo>
                  <a:pt x="4539049" y="6858000"/>
                </a:lnTo>
                <a:lnTo>
                  <a:pt x="1" y="6858000"/>
                </a:lnTo>
                <a:lnTo>
                  <a:pt x="0" y="6858000"/>
                </a:lnTo>
                <a:lnTo>
                  <a:pt x="0" y="6273113"/>
                </a:lnTo>
                <a:lnTo>
                  <a:pt x="1" y="6273113"/>
                </a:lnTo>
                <a:close/>
              </a:path>
            </a:pathLst>
          </a:custGeom>
        </p:spPr>
        <p:txBody>
          <a:bodyPr wrap="square">
            <a:noAutofit/>
          </a:bodyPr>
          <a:lstStyle/>
          <a:p>
            <a:endParaRPr lang="en-US" dirty="0"/>
          </a:p>
        </p:txBody>
      </p:sp>
      <p:sp>
        <p:nvSpPr>
          <p:cNvPr id="19" name="Text Placeholder 18">
            <a:extLst>
              <a:ext uri="{FF2B5EF4-FFF2-40B4-BE49-F238E27FC236}">
                <a16:creationId xmlns:a16="http://schemas.microsoft.com/office/drawing/2014/main" id="{7E3D8B2A-F4E2-4C5C-8C97-DF59F5F89A17}"/>
              </a:ext>
            </a:extLst>
          </p:cNvPr>
          <p:cNvSpPr>
            <a:spLocks noGrp="1"/>
          </p:cNvSpPr>
          <p:nvPr>
            <p:ph type="body" sz="quarter" idx="16" hasCustomPrompt="1"/>
          </p:nvPr>
        </p:nvSpPr>
        <p:spPr>
          <a:xfrm>
            <a:off x="6096001" y="0"/>
            <a:ext cx="6096000" cy="6858000"/>
          </a:xfrm>
          <a:solidFill>
            <a:srgbClr val="48595D"/>
          </a:solidFill>
        </p:spPr>
        <p:txBody>
          <a:bodyPr anchor="b"/>
          <a:lstStyle>
            <a:lvl1pPr marL="0" indent="0" algn="r">
              <a:buNone/>
              <a:defRPr>
                <a:solidFill>
                  <a:schemeClr val="tx1">
                    <a:alpha val="0"/>
                  </a:schemeClr>
                </a:solidFill>
              </a:defRPr>
            </a:lvl1pPr>
          </a:lstStyle>
          <a:p>
            <a:pPr lvl="0"/>
            <a:r>
              <a:rPr lang="en-US" dirty="0"/>
              <a:t>c</a:t>
            </a:r>
          </a:p>
        </p:txBody>
      </p:sp>
      <p:sp>
        <p:nvSpPr>
          <p:cNvPr id="7" name="Text Placeholder 11">
            <a:extLst>
              <a:ext uri="{FF2B5EF4-FFF2-40B4-BE49-F238E27FC236}">
                <a16:creationId xmlns:a16="http://schemas.microsoft.com/office/drawing/2014/main" id="{1E089F70-69C6-4742-888F-F432A72B657B}"/>
              </a:ext>
            </a:extLst>
          </p:cNvPr>
          <p:cNvSpPr>
            <a:spLocks noGrp="1"/>
          </p:cNvSpPr>
          <p:nvPr>
            <p:ph type="body" sz="quarter" idx="14" hasCustomPrompt="1"/>
          </p:nvPr>
        </p:nvSpPr>
        <p:spPr>
          <a:xfrm>
            <a:off x="6879771"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4400" b="1" cap="all" baseline="0">
                <a:solidFill>
                  <a:schemeClr val="bg1"/>
                </a:solidFill>
                <a:latin typeface="+mj-lt"/>
              </a:defRPr>
            </a:lvl1pPr>
            <a:lvl2pPr marL="0" indent="0">
              <a:buNone/>
              <a:defRPr sz="2000">
                <a:solidFill>
                  <a:schemeClr val="bg1"/>
                </a:solidFill>
              </a:defRPr>
            </a:lvl2pPr>
            <a:lvl3pPr>
              <a:defRPr sz="1800"/>
            </a:lvl3pPr>
            <a:lvl4pPr>
              <a:defRPr sz="1600"/>
            </a:lvl4pPr>
            <a:lvl5pPr>
              <a:defRPr sz="1600"/>
            </a:lvl5pPr>
          </a:lstStyle>
          <a:p>
            <a:pPr lvl="0"/>
            <a:r>
              <a:rPr lang="en-US" dirty="0"/>
              <a:t>Title</a:t>
            </a:r>
          </a:p>
        </p:txBody>
      </p:sp>
      <p:sp>
        <p:nvSpPr>
          <p:cNvPr id="20" name="Subtitle 2">
            <a:extLst>
              <a:ext uri="{FF2B5EF4-FFF2-40B4-BE49-F238E27FC236}">
                <a16:creationId xmlns:a16="http://schemas.microsoft.com/office/drawing/2014/main" id="{3A65FA18-26F9-4DF9-BC04-CBF7083ECA8E}"/>
              </a:ext>
            </a:extLst>
          </p:cNvPr>
          <p:cNvSpPr>
            <a:spLocks noGrp="1"/>
          </p:cNvSpPr>
          <p:nvPr>
            <p:ph type="subTitle" idx="1"/>
          </p:nvPr>
        </p:nvSpPr>
        <p:spPr>
          <a:xfrm>
            <a:off x="6871304" y="3383632"/>
            <a:ext cx="4986867" cy="1975764"/>
          </a:xfrm>
        </p:spPr>
        <p:txBody>
          <a:bodyPr>
            <a:normAutofit/>
          </a:bodyPr>
          <a:lstStyle>
            <a:lvl1pPr marL="0" indent="0" algn="l">
              <a:buNone/>
              <a:defRPr sz="22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Slide Number Placeholder 5">
            <a:extLst>
              <a:ext uri="{FF2B5EF4-FFF2-40B4-BE49-F238E27FC236}">
                <a16:creationId xmlns:a16="http://schemas.microsoft.com/office/drawing/2014/main" id="{2C81BA61-2441-45F0-AE3C-5DEA9583002B}"/>
              </a:ext>
            </a:extLst>
          </p:cNvPr>
          <p:cNvSpPr>
            <a:spLocks noGrp="1"/>
          </p:cNvSpPr>
          <p:nvPr>
            <p:ph type="sldNum" sz="quarter" idx="12"/>
          </p:nvPr>
        </p:nvSpPr>
        <p:spPr>
          <a:xfrm>
            <a:off x="11650133" y="115570"/>
            <a:ext cx="423334" cy="365125"/>
          </a:xfrm>
        </p:spPr>
        <p:txBody>
          <a:bodyPr/>
          <a:lstStyle>
            <a:lvl1pPr>
              <a:defRPr>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33164242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548FCEE-38AC-4178-A11A-C2643EE521B7}"/>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10" name="Text Placeholder 9">
            <a:extLst>
              <a:ext uri="{FF2B5EF4-FFF2-40B4-BE49-F238E27FC236}">
                <a16:creationId xmlns:a16="http://schemas.microsoft.com/office/drawing/2014/main" id="{EB123902-70AC-406B-AE88-41EE8766BD74}"/>
              </a:ext>
            </a:extLst>
          </p:cNvPr>
          <p:cNvSpPr>
            <a:spLocks noGrp="1"/>
          </p:cNvSpPr>
          <p:nvPr>
            <p:ph type="body" sz="quarter" idx="16"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rgbClr val="48595D">
              <a:alpha val="70000"/>
            </a:srgbClr>
          </a:solidFill>
        </p:spPr>
        <p:txBody>
          <a:bodyPr wrap="square" lIns="0" tIns="0" rIns="0" bIns="0" anchor="ctr" anchorCtr="0">
            <a:noAutofit/>
          </a:bodyPr>
          <a:lstStyle>
            <a:lvl1pPr marL="457200" indent="0" algn="ctr">
              <a:buNone/>
              <a:defRPr sz="6600" b="1" cap="all" baseline="0">
                <a:solidFill>
                  <a:schemeClr val="bg1"/>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829733" y="4330700"/>
            <a:ext cx="10532534" cy="465667"/>
          </a:xfrm>
        </p:spPr>
        <p:txBody>
          <a:bodyPr tIns="91440">
            <a:noAutofit/>
          </a:bodyPr>
          <a:lstStyle>
            <a:lvl1pPr marL="0" indent="0" algn="ctr">
              <a:buNone/>
              <a:defRPr sz="33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Slide Number Placeholder 5">
            <a:extLst>
              <a:ext uri="{FF2B5EF4-FFF2-40B4-BE49-F238E27FC236}">
                <a16:creationId xmlns:a16="http://schemas.microsoft.com/office/drawing/2014/main" id="{92889AC8-2B3C-43E0-AD73-A0F149AC2FFF}"/>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387170906"/>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C7DB56AF-4B87-40BA-AACA-91EF23DAEF6B}"/>
              </a:ext>
            </a:extLst>
          </p:cNvPr>
          <p:cNvSpPr/>
          <p:nvPr userDrawn="1"/>
        </p:nvSpPr>
        <p:spPr>
          <a:xfrm>
            <a:off x="0" y="1540042"/>
            <a:ext cx="12192000" cy="5317958"/>
          </a:xfrm>
          <a:custGeom>
            <a:avLst/>
            <a:gdLst>
              <a:gd name="connsiteX0" fmla="*/ 0 w 12192000"/>
              <a:gd name="connsiteY0" fmla="*/ 0 h 5317958"/>
              <a:gd name="connsiteX1" fmla="*/ 12192000 w 12192000"/>
              <a:gd name="connsiteY1" fmla="*/ 0 h 5317958"/>
              <a:gd name="connsiteX2" fmla="*/ 12192000 w 12192000"/>
              <a:gd name="connsiteY2" fmla="*/ 5317958 h 5317958"/>
              <a:gd name="connsiteX3" fmla="*/ 4539049 w 12192000"/>
              <a:gd name="connsiteY3" fmla="*/ 5317958 h 5317958"/>
              <a:gd name="connsiteX4" fmla="*/ 0 w 12192000"/>
              <a:gd name="connsiteY4" fmla="*/ 5317958 h 5317958"/>
              <a:gd name="connsiteX5" fmla="*/ 0 w 12192000"/>
              <a:gd name="connsiteY5" fmla="*/ 4733071 h 531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317958">
                <a:moveTo>
                  <a:pt x="0" y="0"/>
                </a:moveTo>
                <a:lnTo>
                  <a:pt x="12192000" y="0"/>
                </a:lnTo>
                <a:lnTo>
                  <a:pt x="12192000" y="5317958"/>
                </a:lnTo>
                <a:lnTo>
                  <a:pt x="4539049" y="5317958"/>
                </a:lnTo>
                <a:lnTo>
                  <a:pt x="0" y="5317958"/>
                </a:lnTo>
                <a:lnTo>
                  <a:pt x="0" y="4733071"/>
                </a:lnTo>
                <a:close/>
              </a:path>
            </a:pathLst>
          </a:cu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1CB3414E-C904-4B15-A237-DF3734E0E7F1}"/>
              </a:ext>
            </a:extLst>
          </p:cNvPr>
          <p:cNvSpPr>
            <a:spLocks noGrp="1"/>
          </p:cNvSpPr>
          <p:nvPr>
            <p:ph idx="1"/>
          </p:nvPr>
        </p:nvSpPr>
        <p:spPr>
          <a:xfrm>
            <a:off x="380999" y="2142067"/>
            <a:ext cx="11506199" cy="4034896"/>
          </a:xfrm>
        </p:spPr>
        <p:txBody>
          <a:bodyPr>
            <a:normAutofit/>
          </a:bodyPr>
          <a:lstStyle>
            <a:lvl1pPr>
              <a:defRPr sz="2400">
                <a:solidFill>
                  <a:schemeClr val="bg1"/>
                </a:solidFill>
              </a:defRPr>
            </a:lvl1pPr>
            <a:lvl2pPr marL="457200" indent="-228600">
              <a:defRPr sz="2000">
                <a:solidFill>
                  <a:schemeClr val="bg1"/>
                </a:solidFill>
              </a:defRPr>
            </a:lvl2pPr>
            <a:lvl3pPr marL="685800" indent="-228600">
              <a:defRPr sz="1800">
                <a:solidFill>
                  <a:schemeClr val="bg1"/>
                </a:solidFill>
              </a:defRPr>
            </a:lvl3pPr>
            <a:lvl4pPr marL="914400" indent="-228600">
              <a:defRPr sz="1600">
                <a:solidFill>
                  <a:schemeClr val="bg1"/>
                </a:solidFill>
              </a:defRPr>
            </a:lvl4pPr>
            <a:lvl5pPr marL="1143000" indent="-2286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a:extLst>
              <a:ext uri="{FF2B5EF4-FFF2-40B4-BE49-F238E27FC236}">
                <a16:creationId xmlns:a16="http://schemas.microsoft.com/office/drawing/2014/main" id="{AA8D5CE7-BEF2-4FE4-B11E-5B9925320D00}"/>
              </a:ext>
            </a:extLst>
          </p:cNvPr>
          <p:cNvSpPr>
            <a:spLocks noGrp="1"/>
          </p:cNvSpPr>
          <p:nvPr>
            <p:ph type="title"/>
          </p:nvPr>
        </p:nvSpPr>
        <p:spPr>
          <a:xfrm>
            <a:off x="381000" y="1"/>
            <a:ext cx="11506200" cy="1540042"/>
          </a:xfrm>
        </p:spPr>
        <p:txBody>
          <a:bodyPr tIns="0" bIns="91440" anchor="b"/>
          <a:lstStyle>
            <a:lvl1pPr>
              <a:defRPr cap="all" baseline="0">
                <a:solidFill>
                  <a:srgbClr val="48595D"/>
                </a:solidFill>
              </a:defRPr>
            </a:lvl1pPr>
          </a:lstStyle>
          <a:p>
            <a:r>
              <a:rPr lang="en-US" dirty="0"/>
              <a:t>Click to edit Master title style</a:t>
            </a:r>
          </a:p>
        </p:txBody>
      </p:sp>
      <p:sp>
        <p:nvSpPr>
          <p:cNvPr id="6" name="TextBox 5" hidden="1">
            <a:extLst>
              <a:ext uri="{FF2B5EF4-FFF2-40B4-BE49-F238E27FC236}">
                <a16:creationId xmlns:a16="http://schemas.microsoft.com/office/drawing/2014/main" id="{F881E11F-8C40-406B-8C33-2D779A9666EE}"/>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8" name="Slide Number Placeholder 5">
            <a:extLst>
              <a:ext uri="{FF2B5EF4-FFF2-40B4-BE49-F238E27FC236}">
                <a16:creationId xmlns:a16="http://schemas.microsoft.com/office/drawing/2014/main" id="{2AEE185A-70FF-4A55-93AA-EBBF90E6E524}"/>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a:t>
            </a:fld>
            <a:endParaRPr lang="en-US" dirty="0"/>
          </a:p>
        </p:txBody>
      </p:sp>
      <p:sp>
        <p:nvSpPr>
          <p:cNvPr id="11" name="Rectangle 10" hidden="1">
            <a:extLst>
              <a:ext uri="{FF2B5EF4-FFF2-40B4-BE49-F238E27FC236}">
                <a16:creationId xmlns:a16="http://schemas.microsoft.com/office/drawing/2014/main" id="{E89C1C0D-FEFF-4DBE-B7EB-C7C2E923BA77}"/>
              </a:ext>
            </a:extLst>
          </p:cNvPr>
          <p:cNvSpPr/>
          <p:nvPr userDrawn="1"/>
        </p:nvSpPr>
        <p:spPr>
          <a:xfrm>
            <a:off x="0" y="6273113"/>
            <a:ext cx="4539049" cy="5848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96747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A776E0-39A8-48D5-80F8-035E16384242}"/>
              </a:ext>
            </a:extLst>
          </p:cNvPr>
          <p:cNvSpPr/>
          <p:nvPr userDrawn="1"/>
        </p:nvSpPr>
        <p:spPr>
          <a:xfrm>
            <a:off x="0" y="0"/>
            <a:ext cx="12192000" cy="6858000"/>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1CB3414E-C904-4B15-A237-DF3734E0E7F1}"/>
              </a:ext>
            </a:extLst>
          </p:cNvPr>
          <p:cNvSpPr>
            <a:spLocks noGrp="1"/>
          </p:cNvSpPr>
          <p:nvPr>
            <p:ph idx="1"/>
          </p:nvPr>
        </p:nvSpPr>
        <p:spPr>
          <a:xfrm>
            <a:off x="380999" y="2142067"/>
            <a:ext cx="11506199" cy="4034896"/>
          </a:xfrm>
        </p:spPr>
        <p:txBody>
          <a:bodyPr>
            <a:normAutofit/>
          </a:bodyPr>
          <a:lstStyle>
            <a:lvl1pPr>
              <a:defRPr sz="2400">
                <a:solidFill>
                  <a:schemeClr val="bg1"/>
                </a:solidFill>
              </a:defRPr>
            </a:lvl1pPr>
            <a:lvl2pPr marL="457200" indent="-228600">
              <a:defRPr sz="2000">
                <a:solidFill>
                  <a:schemeClr val="bg1"/>
                </a:solidFill>
              </a:defRPr>
            </a:lvl2pPr>
            <a:lvl3pPr marL="685800" indent="-228600">
              <a:defRPr sz="1800">
                <a:solidFill>
                  <a:schemeClr val="bg1"/>
                </a:solidFill>
              </a:defRPr>
            </a:lvl3pPr>
            <a:lvl4pPr marL="914400" indent="-228600">
              <a:defRPr sz="1600">
                <a:solidFill>
                  <a:schemeClr val="bg1"/>
                </a:solidFill>
              </a:defRPr>
            </a:lvl4pPr>
            <a:lvl5pPr marL="1143000" indent="-2286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AEE19C2C-CAF3-4741-8F52-00E4422A13F8}"/>
              </a:ext>
            </a:extLst>
          </p:cNvPr>
          <p:cNvSpPr>
            <a:spLocks noGrp="1"/>
          </p:cNvSpPr>
          <p:nvPr>
            <p:ph type="title" hasCustomPrompt="1"/>
          </p:nvPr>
        </p:nvSpPr>
        <p:spPr>
          <a:xfrm>
            <a:off x="0" y="1"/>
            <a:ext cx="12192000" cy="939799"/>
          </a:xfrm>
          <a:noFill/>
        </p:spPr>
        <p:txBody>
          <a:bodyPr tIns="274320" bIns="91440" anchor="t">
            <a:normAutofit/>
          </a:bodyPr>
          <a:lstStyle>
            <a:lvl1pPr marL="398463" indent="0">
              <a:defRPr sz="4400" cap="all" baseline="0">
                <a:solidFill>
                  <a:srgbClr val="01B4E7"/>
                </a:solidFill>
              </a:defRPr>
            </a:lvl1pPr>
          </a:lstStyle>
          <a:p>
            <a:r>
              <a:rPr lang="en-US" dirty="0"/>
              <a:t>PHOTO HEADER WITH TEXT Subhead</a:t>
            </a:r>
          </a:p>
        </p:txBody>
      </p:sp>
      <p:sp>
        <p:nvSpPr>
          <p:cNvPr id="10" name="Subtitle 2">
            <a:extLst>
              <a:ext uri="{FF2B5EF4-FFF2-40B4-BE49-F238E27FC236}">
                <a16:creationId xmlns:a16="http://schemas.microsoft.com/office/drawing/2014/main" id="{3B73BEBA-ADDE-40D0-AC62-4FF8FDDBEAA5}"/>
              </a:ext>
            </a:extLst>
          </p:cNvPr>
          <p:cNvSpPr>
            <a:spLocks noGrp="1"/>
          </p:cNvSpPr>
          <p:nvPr>
            <p:ph type="subTitle" idx="13"/>
          </p:nvPr>
        </p:nvSpPr>
        <p:spPr>
          <a:xfrm>
            <a:off x="380999" y="1012898"/>
            <a:ext cx="11365894" cy="600002"/>
          </a:xfrm>
        </p:spPr>
        <p:txBody>
          <a:bodyPr>
            <a:normAutofit/>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hidden="1">
            <a:extLst>
              <a:ext uri="{FF2B5EF4-FFF2-40B4-BE49-F238E27FC236}">
                <a16:creationId xmlns:a16="http://schemas.microsoft.com/office/drawing/2014/main" id="{C74794E8-6A05-4ADA-8C35-21FE1E2A9FCB}"/>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12" name="Slide Number Placeholder 5">
            <a:extLst>
              <a:ext uri="{FF2B5EF4-FFF2-40B4-BE49-F238E27FC236}">
                <a16:creationId xmlns:a16="http://schemas.microsoft.com/office/drawing/2014/main" id="{E616CDF5-DE71-477B-89CA-ABAF0CD39BE6}"/>
              </a:ext>
            </a:extLst>
          </p:cNvPr>
          <p:cNvSpPr>
            <a:spLocks noGrp="1"/>
          </p:cNvSpPr>
          <p:nvPr>
            <p:ph type="sldNum" sz="quarter" idx="12"/>
          </p:nvPr>
        </p:nvSpPr>
        <p:spPr>
          <a:xfrm>
            <a:off x="11650133" y="115570"/>
            <a:ext cx="423334" cy="365125"/>
          </a:xfrm>
        </p:spPr>
        <p:txBody>
          <a:bodyPr/>
          <a:lstStyle>
            <a:lvl1pPr>
              <a:defRPr>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29363660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AD84134-AF73-4C60-A1A9-43F1411D04B1}"/>
              </a:ext>
            </a:extLst>
          </p:cNvPr>
          <p:cNvSpPr>
            <a:spLocks noGrp="1"/>
          </p:cNvSpPr>
          <p:nvPr>
            <p:ph type="pic" sz="quarter" idx="13"/>
          </p:nvPr>
        </p:nvSpPr>
        <p:spPr>
          <a:xfrm>
            <a:off x="1" y="1"/>
            <a:ext cx="12192000" cy="2403334"/>
          </a:xfrm>
        </p:spPr>
        <p:txBody>
          <a:bodyPr/>
          <a:lstStyle/>
          <a:p>
            <a:endParaRPr lang="en-US" dirty="0"/>
          </a:p>
        </p:txBody>
      </p:sp>
      <p:sp>
        <p:nvSpPr>
          <p:cNvPr id="7" name="Rectangle 6">
            <a:extLst>
              <a:ext uri="{FF2B5EF4-FFF2-40B4-BE49-F238E27FC236}">
                <a16:creationId xmlns:a16="http://schemas.microsoft.com/office/drawing/2014/main" id="{88A776E0-39A8-48D5-80F8-035E16384242}"/>
              </a:ext>
            </a:extLst>
          </p:cNvPr>
          <p:cNvSpPr/>
          <p:nvPr userDrawn="1"/>
        </p:nvSpPr>
        <p:spPr>
          <a:xfrm>
            <a:off x="0" y="2403335"/>
            <a:ext cx="12192000" cy="4454664"/>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 name="Content Placeholder 2">
            <a:extLst>
              <a:ext uri="{FF2B5EF4-FFF2-40B4-BE49-F238E27FC236}">
                <a16:creationId xmlns:a16="http://schemas.microsoft.com/office/drawing/2014/main" id="{1CB3414E-C904-4B15-A237-DF3734E0E7F1}"/>
              </a:ext>
            </a:extLst>
          </p:cNvPr>
          <p:cNvSpPr>
            <a:spLocks noGrp="1"/>
          </p:cNvSpPr>
          <p:nvPr>
            <p:ph idx="1"/>
          </p:nvPr>
        </p:nvSpPr>
        <p:spPr>
          <a:xfrm>
            <a:off x="380999" y="2667653"/>
            <a:ext cx="11506199" cy="3773628"/>
          </a:xfrm>
        </p:spPr>
        <p:txBody>
          <a:bodyPr>
            <a:normAutofit/>
          </a:bodyPr>
          <a:lstStyle>
            <a:lvl1pPr>
              <a:defRPr sz="2400">
                <a:solidFill>
                  <a:schemeClr val="bg1"/>
                </a:solidFill>
              </a:defRPr>
            </a:lvl1pPr>
            <a:lvl2pPr marL="457200" indent="-228600">
              <a:defRPr sz="2000">
                <a:solidFill>
                  <a:schemeClr val="bg1"/>
                </a:solidFill>
              </a:defRPr>
            </a:lvl2pPr>
            <a:lvl3pPr marL="685800" indent="-228600">
              <a:defRPr sz="1800">
                <a:solidFill>
                  <a:schemeClr val="bg1"/>
                </a:solidFill>
              </a:defRPr>
            </a:lvl3pPr>
            <a:lvl4pPr marL="914400" indent="-228600">
              <a:defRPr sz="1600">
                <a:solidFill>
                  <a:schemeClr val="bg1"/>
                </a:solidFill>
              </a:defRPr>
            </a:lvl4pPr>
            <a:lvl5pPr marL="1143000" indent="-2286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a:extLst>
              <a:ext uri="{FF2B5EF4-FFF2-40B4-BE49-F238E27FC236}">
                <a16:creationId xmlns:a16="http://schemas.microsoft.com/office/drawing/2014/main" id="{7A3F1B4D-9E1F-465D-AFF7-028507FC44F4}"/>
              </a:ext>
            </a:extLst>
          </p:cNvPr>
          <p:cNvSpPr>
            <a:spLocks noGrp="1"/>
          </p:cNvSpPr>
          <p:nvPr>
            <p:ph type="body" sz="quarter" idx="14"/>
          </p:nvPr>
        </p:nvSpPr>
        <p:spPr>
          <a:xfrm>
            <a:off x="0" y="0"/>
            <a:ext cx="12192000" cy="2419070"/>
          </a:xfrm>
          <a:solidFill>
            <a:srgbClr val="48595D">
              <a:alpha val="70000"/>
            </a:srgbClr>
          </a:solidFill>
        </p:spPr>
        <p:txBody>
          <a:bodyPr lIns="822960" tIns="457200">
            <a:normAutofit/>
          </a:bodyPr>
          <a:lstStyle>
            <a:lvl1pPr marL="0" indent="0">
              <a:buNone/>
              <a:defRPr sz="4400" b="1">
                <a:solidFill>
                  <a:schemeClr val="bg1"/>
                </a:solidFill>
                <a:latin typeface="+mj-lt"/>
              </a:defRPr>
            </a:lvl1pPr>
          </a:lstStyle>
          <a:p>
            <a:pPr lvl="0"/>
            <a:r>
              <a:rPr lang="en-US" dirty="0"/>
              <a:t>Click to edit Master text styles</a:t>
            </a:r>
          </a:p>
        </p:txBody>
      </p:sp>
      <p:sp>
        <p:nvSpPr>
          <p:cNvPr id="8" name="TextBox 7" hidden="1">
            <a:extLst>
              <a:ext uri="{FF2B5EF4-FFF2-40B4-BE49-F238E27FC236}">
                <a16:creationId xmlns:a16="http://schemas.microsoft.com/office/drawing/2014/main" id="{E86D5449-CD56-4478-BDD4-BC492E69988A}"/>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9" name="Slide Number Placeholder 5">
            <a:extLst>
              <a:ext uri="{FF2B5EF4-FFF2-40B4-BE49-F238E27FC236}">
                <a16:creationId xmlns:a16="http://schemas.microsoft.com/office/drawing/2014/main" id="{3720C02A-46A0-4BE0-B1BF-F34465AC270B}"/>
              </a:ext>
            </a:extLst>
          </p:cNvPr>
          <p:cNvSpPr>
            <a:spLocks noGrp="1"/>
          </p:cNvSpPr>
          <p:nvPr>
            <p:ph type="sldNum" sz="quarter" idx="12"/>
          </p:nvPr>
        </p:nvSpPr>
        <p:spPr>
          <a:xfrm>
            <a:off x="11650133" y="115570"/>
            <a:ext cx="423334" cy="365125"/>
          </a:xfrm>
        </p:spPr>
        <p:txBody>
          <a:bodyPr/>
          <a:lstStyle>
            <a:lvl1pPr>
              <a:defRPr>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4180491935"/>
      </p:ext>
    </p:extLst>
  </p:cSld>
  <p:clrMapOvr>
    <a:masterClrMapping/>
  </p:clrMapOvr>
  <p:extLst>
    <p:ext uri="{DCECCB84-F9BA-43D5-87BE-67443E8EF086}">
      <p15:sldGuideLst xmlns:p15="http://schemas.microsoft.com/office/powerpoint/2012/main">
        <p15:guide id="1" pos="552">
          <p15:clr>
            <a:srgbClr val="FBAE40"/>
          </p15:clr>
        </p15:guide>
        <p15:guide id="2" orient="horz" pos="57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5B3319E-CCFF-4817-B0EF-3F9D7B80EF80}"/>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9" name="Text Placeholder 8">
            <a:extLst>
              <a:ext uri="{FF2B5EF4-FFF2-40B4-BE49-F238E27FC236}">
                <a16:creationId xmlns:a16="http://schemas.microsoft.com/office/drawing/2014/main" id="{51F7105B-D603-475E-A6BE-3F63773D70D4}"/>
              </a:ext>
            </a:extLst>
          </p:cNvPr>
          <p:cNvSpPr>
            <a:spLocks noGrp="1"/>
          </p:cNvSpPr>
          <p:nvPr>
            <p:ph type="body" sz="quarter" idx="16"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rgbClr val="48595D">
              <a:alpha val="70000"/>
            </a:srgbClr>
          </a:solidFill>
        </p:spPr>
        <p:txBody>
          <a:bodyPr wrap="square" tIns="0" bIns="1371600" anchor="b">
            <a:noAutofit/>
          </a:bodyPr>
          <a:lstStyle>
            <a:lvl1pPr marL="457200" indent="0" algn="l">
              <a:buNone/>
              <a:defRPr sz="6600" b="1" cap="all" baseline="0">
                <a:solidFill>
                  <a:schemeClr val="bg1">
                    <a:alpha val="0"/>
                  </a:schemeClr>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 </a:t>
            </a:r>
          </a:p>
        </p:txBody>
      </p:sp>
      <p:sp>
        <p:nvSpPr>
          <p:cNvPr id="8" name="Text Placeholder 7">
            <a:extLst>
              <a:ext uri="{FF2B5EF4-FFF2-40B4-BE49-F238E27FC236}">
                <a16:creationId xmlns:a16="http://schemas.microsoft.com/office/drawing/2014/main" id="{E5AC0397-2DA6-4540-8C1F-56B2F3337EE9}"/>
              </a:ext>
            </a:extLst>
          </p:cNvPr>
          <p:cNvSpPr>
            <a:spLocks noGrp="1"/>
          </p:cNvSpPr>
          <p:nvPr>
            <p:ph type="body" sz="quarter" idx="14"/>
          </p:nvPr>
        </p:nvSpPr>
        <p:spPr>
          <a:xfrm>
            <a:off x="719138" y="1358900"/>
            <a:ext cx="3860800" cy="2434167"/>
          </a:xfrm>
          <a:noFill/>
          <a:ln w="50800">
            <a:solidFill>
              <a:schemeClr val="bg1"/>
            </a:solidFill>
          </a:ln>
        </p:spPr>
        <p:txBody>
          <a:bodyPr anchor="ctr">
            <a:normAutofit/>
          </a:bodyPr>
          <a:lstStyle>
            <a:lvl1pPr marL="0" indent="0">
              <a:buNone/>
              <a:defRPr sz="3300">
                <a:solidFill>
                  <a:schemeClr val="bg1"/>
                </a:solidFill>
                <a:latin typeface="+mn-lt"/>
              </a:defRPr>
            </a:lvl1pPr>
            <a:lvl2pPr marL="457200" indent="0">
              <a:buFont typeface="Arial" panose="020B0604020202020204" pitchFamily="34" charset="0"/>
              <a:buNone/>
              <a:defRPr sz="3300">
                <a:solidFill>
                  <a:schemeClr val="bg1"/>
                </a:solidFill>
                <a:latin typeface="+mn-lt"/>
              </a:defRPr>
            </a:lvl2pPr>
          </a:lstStyle>
          <a:p>
            <a:pPr lvl="0"/>
            <a:r>
              <a:rPr lang="en-US" dirty="0"/>
              <a:t>Click to edit Master text styles</a:t>
            </a:r>
          </a:p>
          <a:p>
            <a:pPr lvl="1"/>
            <a:endParaRPr lang="en-US" dirty="0"/>
          </a:p>
        </p:txBody>
      </p:sp>
      <p:sp>
        <p:nvSpPr>
          <p:cNvPr id="10" name="Text Placeholder 7">
            <a:extLst>
              <a:ext uri="{FF2B5EF4-FFF2-40B4-BE49-F238E27FC236}">
                <a16:creationId xmlns:a16="http://schemas.microsoft.com/office/drawing/2014/main" id="{CB44E7F6-F31E-4A39-A72C-52DF93197E75}"/>
              </a:ext>
            </a:extLst>
          </p:cNvPr>
          <p:cNvSpPr>
            <a:spLocks noGrp="1"/>
          </p:cNvSpPr>
          <p:nvPr>
            <p:ph type="body" sz="quarter" idx="15"/>
          </p:nvPr>
        </p:nvSpPr>
        <p:spPr>
          <a:xfrm>
            <a:off x="719138" y="3793068"/>
            <a:ext cx="3860800" cy="651932"/>
          </a:xfrm>
          <a:noFill/>
          <a:ln w="50800">
            <a:solidFill>
              <a:schemeClr val="bg1"/>
            </a:solidFill>
          </a:ln>
        </p:spPr>
        <p:txBody>
          <a:bodyPr tIns="0" bIns="0" anchor="ctr">
            <a:noAutofit/>
          </a:bodyPr>
          <a:lstStyle>
            <a:lvl1pPr marL="0" indent="0">
              <a:buNone/>
              <a:defRPr sz="3300">
                <a:solidFill>
                  <a:schemeClr val="bg1"/>
                </a:solidFill>
                <a:latin typeface="+mn-lt"/>
              </a:defRPr>
            </a:lvl1pPr>
            <a:lvl2pPr marL="457200" indent="0">
              <a:buFont typeface="Arial" panose="020B0604020202020204" pitchFamily="34" charset="0"/>
              <a:buNone/>
              <a:defRPr sz="3300">
                <a:solidFill>
                  <a:schemeClr val="bg1"/>
                </a:solidFill>
                <a:latin typeface="+mn-lt"/>
              </a:defRPr>
            </a:lvl2pPr>
          </a:lstStyle>
          <a:p>
            <a:pPr lvl="0"/>
            <a:r>
              <a:rPr lang="en-US" dirty="0"/>
              <a:t>Click to edit Master</a:t>
            </a:r>
          </a:p>
        </p:txBody>
      </p:sp>
      <p:sp>
        <p:nvSpPr>
          <p:cNvPr id="14" name="Slide Number Placeholder 5">
            <a:extLst>
              <a:ext uri="{FF2B5EF4-FFF2-40B4-BE49-F238E27FC236}">
                <a16:creationId xmlns:a16="http://schemas.microsoft.com/office/drawing/2014/main" id="{2A7DCC2E-35BA-4F5F-A36B-1B0E622326EF}"/>
              </a:ext>
            </a:extLst>
          </p:cNvPr>
          <p:cNvSpPr>
            <a:spLocks noGrp="1"/>
          </p:cNvSpPr>
          <p:nvPr>
            <p:ph type="sldNum" sz="quarter" idx="12"/>
          </p:nvPr>
        </p:nvSpPr>
        <p:spPr>
          <a:xfrm>
            <a:off x="11650133" y="115570"/>
            <a:ext cx="423334" cy="365125"/>
          </a:xfrm>
        </p:spPr>
        <p:txBody>
          <a:bodyPr/>
          <a:lstStyle>
            <a:lvl1pPr>
              <a:defRPr>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9884401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6FF9887C-D76D-4774-9588-585207980050}"/>
              </a:ext>
            </a:extLst>
          </p:cNvPr>
          <p:cNvSpPr>
            <a:spLocks noGrp="1"/>
          </p:cNvSpPr>
          <p:nvPr>
            <p:ph type="pic" sz="quarter" idx="16"/>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9" name="Text Placeholder 8">
            <a:extLst>
              <a:ext uri="{FF2B5EF4-FFF2-40B4-BE49-F238E27FC236}">
                <a16:creationId xmlns:a16="http://schemas.microsoft.com/office/drawing/2014/main" id="{50E2BBE3-EB51-42FB-8A2D-CDD7837EED5A}"/>
              </a:ext>
            </a:extLst>
          </p:cNvPr>
          <p:cNvSpPr>
            <a:spLocks noGrp="1"/>
          </p:cNvSpPr>
          <p:nvPr>
            <p:ph type="body" sz="quarter" idx="17"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rgbClr val="48595D">
              <a:alpha val="70000"/>
            </a:srgbClr>
          </a:solidFill>
        </p:spPr>
        <p:txBody>
          <a:bodyPr wrap="square" tIns="0" bIns="1371600" anchor="b">
            <a:noAutofit/>
          </a:bodyPr>
          <a:lstStyle>
            <a:lvl1pPr marL="457200" indent="0" algn="l">
              <a:buNone/>
              <a:defRPr sz="6600" b="1" cap="all" baseline="0">
                <a:solidFill>
                  <a:schemeClr val="bg1">
                    <a:alpha val="0"/>
                  </a:schemeClr>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 </a:t>
            </a:r>
          </a:p>
        </p:txBody>
      </p:sp>
      <p:sp>
        <p:nvSpPr>
          <p:cNvPr id="20" name="Subtitle 2">
            <a:extLst>
              <a:ext uri="{FF2B5EF4-FFF2-40B4-BE49-F238E27FC236}">
                <a16:creationId xmlns:a16="http://schemas.microsoft.com/office/drawing/2014/main" id="{3A65FA18-26F9-4DF9-BC04-CBF7083ECA8E}"/>
              </a:ext>
            </a:extLst>
          </p:cNvPr>
          <p:cNvSpPr>
            <a:spLocks noGrp="1"/>
          </p:cNvSpPr>
          <p:nvPr>
            <p:ph type="subTitle" idx="1"/>
          </p:nvPr>
        </p:nvSpPr>
        <p:spPr>
          <a:xfrm>
            <a:off x="296333" y="3345532"/>
            <a:ext cx="4986867" cy="1975764"/>
          </a:xfrm>
        </p:spPr>
        <p:txBody>
          <a:bodyPr>
            <a:normAutofit/>
          </a:bodyPr>
          <a:lstStyle>
            <a:lvl1pPr marL="0" indent="0" algn="l">
              <a:buNone/>
              <a:defRPr sz="33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Text Placeholder 11">
            <a:extLst>
              <a:ext uri="{FF2B5EF4-FFF2-40B4-BE49-F238E27FC236}">
                <a16:creationId xmlns:a16="http://schemas.microsoft.com/office/drawing/2014/main" id="{920966B7-D1BD-4B62-9DEB-FE17AF3EED72}"/>
              </a:ext>
            </a:extLst>
          </p:cNvPr>
          <p:cNvSpPr>
            <a:spLocks noGrp="1"/>
          </p:cNvSpPr>
          <p:nvPr>
            <p:ph type="body" sz="quarter" idx="14" hasCustomPrompt="1"/>
          </p:nvPr>
        </p:nvSpPr>
        <p:spPr>
          <a:xfrm>
            <a:off x="296332" y="2141538"/>
            <a:ext cx="5906347"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4400" b="1" cap="all" baseline="0">
                <a:solidFill>
                  <a:schemeClr val="bg1"/>
                </a:solidFill>
                <a:latin typeface="+mj-lt"/>
              </a:defRPr>
            </a:lvl1pPr>
            <a:lvl2pPr marL="0" indent="0">
              <a:buNone/>
              <a:defRPr sz="2000">
                <a:solidFill>
                  <a:schemeClr val="bg1"/>
                </a:solidFill>
              </a:defRPr>
            </a:lvl2pPr>
            <a:lvl3pPr>
              <a:defRPr sz="1800"/>
            </a:lvl3pPr>
            <a:lvl4pPr>
              <a:defRPr sz="1600"/>
            </a:lvl4pPr>
            <a:lvl5pPr>
              <a:defRPr sz="1600"/>
            </a:lvl5pPr>
          </a:lstStyle>
          <a:p>
            <a:pPr lvl="0"/>
            <a:r>
              <a:rPr lang="en-US" dirty="0"/>
              <a:t>Title</a:t>
            </a:r>
          </a:p>
        </p:txBody>
      </p:sp>
      <p:sp>
        <p:nvSpPr>
          <p:cNvPr id="14" name="Slide Number Placeholder 5">
            <a:extLst>
              <a:ext uri="{FF2B5EF4-FFF2-40B4-BE49-F238E27FC236}">
                <a16:creationId xmlns:a16="http://schemas.microsoft.com/office/drawing/2014/main" id="{63EA0955-37FE-447B-A91D-F8B3D5534973}"/>
              </a:ext>
            </a:extLst>
          </p:cNvPr>
          <p:cNvSpPr>
            <a:spLocks noGrp="1"/>
          </p:cNvSpPr>
          <p:nvPr>
            <p:ph type="sldNum" sz="quarter" idx="12"/>
          </p:nvPr>
        </p:nvSpPr>
        <p:spPr>
          <a:xfrm>
            <a:off x="11650133" y="115570"/>
            <a:ext cx="423334" cy="365125"/>
          </a:xfrm>
        </p:spPr>
        <p:txBody>
          <a:bodyPr/>
          <a:lstStyle>
            <a:lvl1pPr>
              <a:defRPr>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7739209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chemeClr val="accent1"/>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2000">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97428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rgbClr val="005DAA"/>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2000">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06844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chemeClr val="tx2"/>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2000">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0084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chemeClr val="accent3"/>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2000">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12485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chemeClr val="accent6"/>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2000">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6544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AA1EDD-93C7-48F2-8DDA-421DB956EEC1}"/>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7" name="Text Placeholder 6">
            <a:extLst>
              <a:ext uri="{FF2B5EF4-FFF2-40B4-BE49-F238E27FC236}">
                <a16:creationId xmlns:a16="http://schemas.microsoft.com/office/drawing/2014/main" id="{4140AC3B-1D51-45C0-9372-440D01C2C3A7}"/>
              </a:ext>
            </a:extLst>
          </p:cNvPr>
          <p:cNvSpPr>
            <a:spLocks noGrp="1"/>
          </p:cNvSpPr>
          <p:nvPr>
            <p:ph type="body" sz="quarter" idx="15"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rgbClr val="48595D">
              <a:alpha val="70000"/>
            </a:srgbClr>
          </a:solidFill>
        </p:spPr>
        <p:txBody>
          <a:bodyPr wrap="square" tIns="0" bIns="1371600" anchor="b">
            <a:noAutofit/>
          </a:bodyPr>
          <a:lstStyle>
            <a:lvl1pPr marL="457200" indent="0" algn="l">
              <a:buNone/>
              <a:defRPr sz="6600" b="1" cap="all" baseline="0">
                <a:solidFill>
                  <a:schemeClr val="bg1"/>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Title</a:t>
            </a:r>
          </a:p>
        </p:txBody>
      </p:sp>
      <p:sp>
        <p:nvSpPr>
          <p:cNvPr id="11" name="Slide Number Placeholder 5">
            <a:extLst>
              <a:ext uri="{FF2B5EF4-FFF2-40B4-BE49-F238E27FC236}">
                <a16:creationId xmlns:a16="http://schemas.microsoft.com/office/drawing/2014/main" id="{C8830E89-B3DC-4845-B9D6-57EEF767FDEC}"/>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899127638"/>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1"/>
          <p:cNvSpPr>
            <a:spLocks noGrp="1"/>
          </p:cNvSpPr>
          <p:nvPr>
            <p:ph type="title"/>
          </p:nvPr>
        </p:nvSpPr>
        <p:spPr>
          <a:xfrm>
            <a:off x="508000" y="228600"/>
            <a:ext cx="11684000" cy="533400"/>
          </a:xfrm>
          <a:prstGeom prst="rect">
            <a:avLst/>
          </a:prstGeom>
        </p:spPr>
        <p:txBody>
          <a:bodyPr lIns="0" tIns="0" rIns="0" bIns="0" anchor="ctr" anchorCtr="0"/>
          <a:lstStyle>
            <a:lvl1pPr algn="l">
              <a:defRPr sz="1800">
                <a:solidFill>
                  <a:schemeClr val="bg1">
                    <a:lumMod val="85000"/>
                  </a:schemeClr>
                </a:solidFill>
                <a:latin typeface="Arial Narrow"/>
                <a:cs typeface="Arial Narrow"/>
              </a:defRPr>
            </a:lvl1pPr>
          </a:lstStyle>
          <a:p>
            <a:r>
              <a:rPr lang="en-US"/>
              <a:t>Click to edit Master title style</a:t>
            </a:r>
            <a:endParaRPr lang="en-US" dirty="0"/>
          </a:p>
        </p:txBody>
      </p:sp>
    </p:spTree>
    <p:extLst>
      <p:ext uri="{BB962C8B-B14F-4D97-AF65-F5344CB8AC3E}">
        <p14:creationId xmlns:p14="http://schemas.microsoft.com/office/powerpoint/2010/main" val="1143135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0" i="0" cap="all">
                <a:latin typeface="Arial Narrow"/>
                <a:cs typeface="Arial Narrow"/>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latin typeface="Georgia"/>
                <a:cs typeface="Georgia"/>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5285728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sz="3600">
                <a:latin typeface="Arial Narrow"/>
                <a:cs typeface="Arial Narrow"/>
              </a:defRPr>
            </a:lvl1pPr>
          </a:lstStyle>
          <a:p>
            <a:r>
              <a:rPr lang="en-US"/>
              <a:t>Click to edit Master title style</a:t>
            </a:r>
            <a:endParaRPr lang="en-US" dirty="0"/>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atin typeface="Georgia"/>
                <a:cs typeface="Georgia"/>
              </a:defRPr>
            </a:lvl1pPr>
            <a:lvl2pPr>
              <a:defRPr sz="2400">
                <a:latin typeface="Georgia"/>
                <a:cs typeface="Georgia"/>
              </a:defRPr>
            </a:lvl2pPr>
            <a:lvl3pPr>
              <a:defRPr sz="2000">
                <a:latin typeface="Georgia"/>
                <a:cs typeface="Georgia"/>
              </a:defRPr>
            </a:lvl3pPr>
            <a:lvl4pPr>
              <a:defRPr sz="1800">
                <a:latin typeface="Georgia"/>
                <a:cs typeface="Georgia"/>
              </a:defRPr>
            </a:lvl4pPr>
            <a:lvl5pPr>
              <a:defRPr sz="1800">
                <a:latin typeface="Georgia"/>
                <a:cs typeface="Georgia"/>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atin typeface="Georgia"/>
                <a:cs typeface="Georgia"/>
              </a:defRPr>
            </a:lvl1pPr>
            <a:lvl2pPr>
              <a:defRPr sz="2400">
                <a:latin typeface="Georgia"/>
                <a:cs typeface="Georgia"/>
              </a:defRPr>
            </a:lvl2pPr>
            <a:lvl3pPr>
              <a:defRPr sz="2000">
                <a:latin typeface="Georgia"/>
                <a:cs typeface="Georgia"/>
              </a:defRPr>
            </a:lvl3pPr>
            <a:lvl4pPr>
              <a:defRPr sz="1800">
                <a:latin typeface="Georgia"/>
                <a:cs typeface="Georgia"/>
              </a:defRPr>
            </a:lvl4pPr>
            <a:lvl5pPr>
              <a:defRPr sz="1800">
                <a:latin typeface="Georgia"/>
                <a:cs typeface="Georgia"/>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52864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sz="3600">
                <a:latin typeface="Arial Narrow"/>
                <a:cs typeface="Arial Narrow"/>
              </a:defRPr>
            </a:lvl1pPr>
          </a:lstStyle>
          <a:p>
            <a:r>
              <a:rPr lang="en-US"/>
              <a:t>Click to edit Master title style</a:t>
            </a:r>
            <a:endParaRPr lang="en-US" dirty="0"/>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atin typeface="Arial Narrow"/>
                <a:cs typeface="Arial Narrow"/>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atin typeface="Georgia"/>
                <a:cs typeface="Georgia"/>
              </a:defRPr>
            </a:lvl1pPr>
            <a:lvl2pPr>
              <a:defRPr sz="2000">
                <a:latin typeface="Georgia"/>
                <a:cs typeface="Georgia"/>
              </a:defRPr>
            </a:lvl2pPr>
            <a:lvl3pPr>
              <a:defRPr sz="1800">
                <a:latin typeface="Georgia"/>
                <a:cs typeface="Georgia"/>
              </a:defRPr>
            </a:lvl3pPr>
            <a:lvl4pPr>
              <a:defRPr sz="1600">
                <a:latin typeface="Georgia"/>
                <a:cs typeface="Georgia"/>
              </a:defRPr>
            </a:lvl4pPr>
            <a:lvl5pPr>
              <a:defRPr sz="1600">
                <a:latin typeface="Georgia"/>
                <a:cs typeface="Georgia"/>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atin typeface="Arial Narrow"/>
                <a:cs typeface="Arial Narrow"/>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atin typeface="Georgia"/>
                <a:cs typeface="Georgia"/>
              </a:defRPr>
            </a:lvl1pPr>
            <a:lvl2pPr>
              <a:defRPr sz="2000">
                <a:latin typeface="Georgia"/>
                <a:cs typeface="Georgia"/>
              </a:defRPr>
            </a:lvl2pPr>
            <a:lvl3pPr>
              <a:defRPr sz="1800">
                <a:latin typeface="Georgia"/>
                <a:cs typeface="Georgia"/>
              </a:defRPr>
            </a:lvl3pPr>
            <a:lvl4pPr>
              <a:defRPr sz="1600">
                <a:latin typeface="Georgia"/>
                <a:cs typeface="Georgia"/>
              </a:defRPr>
            </a:lvl4pPr>
            <a:lvl5pPr>
              <a:defRPr sz="1600">
                <a:latin typeface="Georgia"/>
                <a:cs typeface="Georgia"/>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92203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sz="3600">
                <a:latin typeface="Arial Narrow"/>
                <a:cs typeface="Arial Narrow"/>
              </a:defRPr>
            </a:lvl1pPr>
          </a:lstStyle>
          <a:p>
            <a:r>
              <a:rPr lang="en-US"/>
              <a:t>Click to edit Master title style</a:t>
            </a:r>
            <a:endParaRPr lang="en-US" dirty="0"/>
          </a:p>
        </p:txBody>
      </p:sp>
    </p:spTree>
    <p:extLst>
      <p:ext uri="{BB962C8B-B14F-4D97-AF65-F5344CB8AC3E}">
        <p14:creationId xmlns:p14="http://schemas.microsoft.com/office/powerpoint/2010/main" val="4178099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93828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atin typeface="Arial Narrow"/>
                <a:cs typeface="Arial Narrow"/>
              </a:defRPr>
            </a:lvl1pPr>
          </a:lstStyle>
          <a:p>
            <a:r>
              <a:rPr lang="en-US" dirty="0"/>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atin typeface="Georgia"/>
                <a:cs typeface="Georgia"/>
              </a:defRPr>
            </a:lvl1pPr>
            <a:lvl2pPr>
              <a:defRPr sz="2800">
                <a:latin typeface="Georgia"/>
                <a:cs typeface="Georgia"/>
              </a:defRPr>
            </a:lvl2pPr>
            <a:lvl3pPr>
              <a:defRPr sz="2400">
                <a:latin typeface="Georgia"/>
                <a:cs typeface="Georgia"/>
              </a:defRPr>
            </a:lvl3pPr>
            <a:lvl4pPr>
              <a:defRPr sz="2000">
                <a:latin typeface="Georgia"/>
                <a:cs typeface="Georgia"/>
              </a:defRPr>
            </a:lvl4pPr>
            <a:lvl5pPr>
              <a:defRPr sz="2000">
                <a:latin typeface="Georgia"/>
                <a:cs typeface="Georgia"/>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atin typeface="Georgia"/>
                <a:cs typeface="Georgi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16868221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atin typeface="Arial Narrow"/>
                <a:cs typeface="Arial Narrow"/>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atin typeface="Georgia"/>
                <a:cs typeface="Georgia"/>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4217007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813543"/>
      </p:ext>
    </p:extLst>
  </p:cSld>
  <p:clrMapOvr>
    <a:masterClrMapping/>
  </p:clrMapOvr>
  <p:transition spd="slow"/>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graphicFrame>
        <p:nvGraphicFramePr>
          <p:cNvPr id="2" name="Object 4" hidden="1"/>
          <p:cNvGraphicFramePr>
            <a:graphicFrameLocks noChangeAspect="1"/>
          </p:cNvGraphicFramePr>
          <p:nvPr>
            <p:custDataLst>
              <p:tags r:id="rId1"/>
            </p:custDataLst>
          </p:nvPr>
        </p:nvGraphicFramePr>
        <p:xfrm>
          <a:off x="1962" y="1600"/>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2" y="1600"/>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6" descr="GPEI inside pag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p:txBody>
          <a:bodyPr/>
          <a:lstStyle>
            <a:lvl1pPr defTabSz="633062">
              <a:defRPr b="1"/>
            </a:lvl1pPr>
          </a:lstStyle>
          <a:p>
            <a:fld id="{FEBE0D76-F5C1-436D-BF51-F1C17203366A}" type="slidenum">
              <a:rPr lang="en-US" smtClean="0"/>
              <a:t>‹#›</a:t>
            </a:fld>
            <a:endParaRPr lang="en-US" dirty="0"/>
          </a:p>
        </p:txBody>
      </p:sp>
      <p:sp>
        <p:nvSpPr>
          <p:cNvPr id="5" name="Title Placeholder 1"/>
          <p:cNvSpPr>
            <a:spLocks noGrp="1"/>
          </p:cNvSpPr>
          <p:nvPr>
            <p:ph type="title"/>
          </p:nvPr>
        </p:nvSpPr>
        <p:spPr>
          <a:xfrm>
            <a:off x="838207" y="365137"/>
            <a:ext cx="10515600" cy="615603"/>
          </a:xfrm>
          <a:prstGeom prst="rect">
            <a:avLst/>
          </a:prstGeom>
        </p:spPr>
        <p:txBody>
          <a:bodyPr vert="horz" lIns="91440" tIns="45720" rIns="91440" bIns="45720" rtlCol="0" anchor="t">
            <a:normAutofit/>
          </a:bodyPr>
          <a:lstStyle>
            <a:lvl1pPr>
              <a:defRPr lang="en-US" sz="1800" b="1" kern="1200" dirty="0" smtClean="0">
                <a:solidFill>
                  <a:schemeClr val="accent1"/>
                </a:solidFill>
                <a:latin typeface="+mj-lt"/>
                <a:ea typeface="+mj-ea"/>
                <a:cs typeface="+mj-cs"/>
              </a:defRPr>
            </a:lvl1pPr>
          </a:lstStyle>
          <a:p>
            <a:r>
              <a:rPr lang="en-US"/>
              <a:t>Click to edit Master title style</a:t>
            </a:r>
          </a:p>
        </p:txBody>
      </p:sp>
      <p:sp>
        <p:nvSpPr>
          <p:cNvPr id="8" name="Text Placeholder 7"/>
          <p:cNvSpPr>
            <a:spLocks noGrp="1"/>
          </p:cNvSpPr>
          <p:nvPr>
            <p:ph type="body" sz="quarter" idx="11"/>
          </p:nvPr>
        </p:nvSpPr>
        <p:spPr>
          <a:xfrm>
            <a:off x="838207" y="1341438"/>
            <a:ext cx="10515600" cy="5040312"/>
          </a:xfrm>
          <a:prstGeom prst="rect">
            <a:avLst/>
          </a:prstGeom>
        </p:spPr>
        <p:txBody>
          <a:bodyPr/>
          <a:lstStyle>
            <a:lvl2pPr>
              <a:buClr>
                <a:schemeClr val="accent1"/>
              </a:buClr>
              <a:defRPr/>
            </a:lvl2pPr>
            <a:lvl3pPr>
              <a:buClr>
                <a:schemeClr val="accent1"/>
              </a:buCl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59896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5F67721-056F-4D91-9D51-C6EB2514F371}"/>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9" name="Freeform: Shape 8">
            <a:extLst>
              <a:ext uri="{FF2B5EF4-FFF2-40B4-BE49-F238E27FC236}">
                <a16:creationId xmlns:a16="http://schemas.microsoft.com/office/drawing/2014/main" id="{1F764B23-B9E5-4F2C-80F8-DAE022449872}"/>
              </a:ext>
            </a:extLst>
          </p:cNvPr>
          <p:cNvSpPr/>
          <p:nvPr userDrawn="1"/>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274320" rtlCol="0" anchor="b">
            <a:noAutofit/>
          </a:bodyPr>
          <a:lstStyle/>
          <a:p>
            <a:pPr algn="l"/>
            <a:r>
              <a:rPr lang="en-US" dirty="0">
                <a:solidFill>
                  <a:schemeClr val="lt1">
                    <a:alpha val="0"/>
                  </a:schemeClr>
                </a:solidFill>
              </a:rPr>
              <a:t>z</a:t>
            </a:r>
          </a:p>
        </p:txBody>
      </p:sp>
      <p:sp>
        <p:nvSpPr>
          <p:cNvPr id="7" name="Text Placeholder 11">
            <a:extLst>
              <a:ext uri="{FF2B5EF4-FFF2-40B4-BE49-F238E27FC236}">
                <a16:creationId xmlns:a16="http://schemas.microsoft.com/office/drawing/2014/main" id="{1E089F70-69C6-4742-888F-F432A72B657B}"/>
              </a:ext>
            </a:extLst>
          </p:cNvPr>
          <p:cNvSpPr>
            <a:spLocks noGrp="1"/>
          </p:cNvSpPr>
          <p:nvPr>
            <p:ph type="body" sz="quarter" idx="14" hasCustomPrompt="1"/>
          </p:nvPr>
        </p:nvSpPr>
        <p:spPr>
          <a:xfrm>
            <a:off x="829733" y="3429000"/>
            <a:ext cx="10532534" cy="1135062"/>
          </a:xfrm>
        </p:spPr>
        <p:txBody>
          <a:bodyPr>
            <a:normAutofit/>
          </a:bodyPr>
          <a:lstStyle>
            <a:lvl1pPr marL="0" indent="0" algn="ctr">
              <a:buNone/>
              <a:defRPr sz="4400" b="1" cap="all" baseline="0">
                <a:solidFill>
                  <a:schemeClr val="bg1"/>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Title</a:t>
            </a:r>
          </a:p>
          <a:p>
            <a:pPr lvl="1"/>
            <a:r>
              <a:rPr lang="en-US" dirty="0"/>
              <a:t>Second level</a:t>
            </a:r>
          </a:p>
        </p:txBody>
      </p:sp>
      <p:sp>
        <p:nvSpPr>
          <p:cNvPr id="13" name="Slide Number Placeholder 5">
            <a:extLst>
              <a:ext uri="{FF2B5EF4-FFF2-40B4-BE49-F238E27FC236}">
                <a16:creationId xmlns:a16="http://schemas.microsoft.com/office/drawing/2014/main" id="{167D3182-E237-4027-9277-305E020D6F3C}"/>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29010557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32513997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38338043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7170175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28794033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606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41360980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10281390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17137078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20891420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4258566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BB0E19E-2EC7-475B-9B28-093E8638E481}"/>
              </a:ext>
            </a:extLst>
          </p:cNvPr>
          <p:cNvSpPr/>
          <p:nvPr userDrawn="1"/>
        </p:nvSpPr>
        <p:spPr>
          <a:xfrm>
            <a:off x="-12084" y="-4763"/>
            <a:ext cx="12216168" cy="2408098"/>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Picture Placeholder 14">
            <a:extLst>
              <a:ext uri="{FF2B5EF4-FFF2-40B4-BE49-F238E27FC236}">
                <a16:creationId xmlns:a16="http://schemas.microsoft.com/office/drawing/2014/main" id="{3623201C-EF3A-4012-8E2F-9E768AB41F7D}"/>
              </a:ext>
            </a:extLst>
          </p:cNvPr>
          <p:cNvSpPr>
            <a:spLocks noGrp="1"/>
          </p:cNvSpPr>
          <p:nvPr>
            <p:ph type="pic" sz="quarter" idx="13"/>
          </p:nvPr>
        </p:nvSpPr>
        <p:spPr>
          <a:xfrm>
            <a:off x="0" y="2403336"/>
            <a:ext cx="12192000" cy="4454665"/>
          </a:xfrm>
          <a:custGeom>
            <a:avLst/>
            <a:gdLst>
              <a:gd name="connsiteX0" fmla="*/ 11946675 w 12192000"/>
              <a:gd name="connsiteY0" fmla="*/ 4274240 h 4454665"/>
              <a:gd name="connsiteX1" fmla="*/ 11952788 w 12192000"/>
              <a:gd name="connsiteY1" fmla="*/ 4274240 h 4454665"/>
              <a:gd name="connsiteX2" fmla="*/ 11958183 w 12192000"/>
              <a:gd name="connsiteY2" fmla="*/ 4274815 h 4454665"/>
              <a:gd name="connsiteX3" fmla="*/ 11960461 w 12192000"/>
              <a:gd name="connsiteY3" fmla="*/ 4276558 h 4454665"/>
              <a:gd name="connsiteX4" fmla="*/ 11961281 w 12192000"/>
              <a:gd name="connsiteY4" fmla="*/ 4279205 h 4454665"/>
              <a:gd name="connsiteX5" fmla="*/ 11959578 w 12192000"/>
              <a:gd name="connsiteY5" fmla="*/ 4282897 h 4454665"/>
              <a:gd name="connsiteX6" fmla="*/ 11953198 w 12192000"/>
              <a:gd name="connsiteY6" fmla="*/ 4284292 h 4454665"/>
              <a:gd name="connsiteX7" fmla="*/ 11946675 w 12192000"/>
              <a:gd name="connsiteY7" fmla="*/ 4284292 h 4454665"/>
              <a:gd name="connsiteX8" fmla="*/ 11941300 w 12192000"/>
              <a:gd name="connsiteY8" fmla="*/ 4269728 h 4454665"/>
              <a:gd name="connsiteX9" fmla="*/ 11941300 w 12192000"/>
              <a:gd name="connsiteY9" fmla="*/ 4303042 h 4454665"/>
              <a:gd name="connsiteX10" fmla="*/ 11946675 w 12192000"/>
              <a:gd name="connsiteY10" fmla="*/ 4303042 h 4454665"/>
              <a:gd name="connsiteX11" fmla="*/ 11946675 w 12192000"/>
              <a:gd name="connsiteY11" fmla="*/ 4288888 h 4454665"/>
              <a:gd name="connsiteX12" fmla="*/ 11949834 w 12192000"/>
              <a:gd name="connsiteY12" fmla="*/ 4288888 h 4454665"/>
              <a:gd name="connsiteX13" fmla="*/ 11954142 w 12192000"/>
              <a:gd name="connsiteY13" fmla="*/ 4290036 h 4454665"/>
              <a:gd name="connsiteX14" fmla="*/ 11959762 w 12192000"/>
              <a:gd name="connsiteY14" fmla="*/ 4297790 h 4454665"/>
              <a:gd name="connsiteX15" fmla="*/ 11962717 w 12192000"/>
              <a:gd name="connsiteY15" fmla="*/ 4303042 h 4454665"/>
              <a:gd name="connsiteX16" fmla="*/ 11969281 w 12192000"/>
              <a:gd name="connsiteY16" fmla="*/ 4303042 h 4454665"/>
              <a:gd name="connsiteX17" fmla="*/ 11965220 w 12192000"/>
              <a:gd name="connsiteY17" fmla="*/ 4296518 h 4454665"/>
              <a:gd name="connsiteX18" fmla="*/ 11960296 w 12192000"/>
              <a:gd name="connsiteY18" fmla="*/ 4289913 h 4454665"/>
              <a:gd name="connsiteX19" fmla="*/ 11957466 w 12192000"/>
              <a:gd name="connsiteY19" fmla="*/ 4288149 h 4454665"/>
              <a:gd name="connsiteX20" fmla="*/ 11964378 w 12192000"/>
              <a:gd name="connsiteY20" fmla="*/ 4285113 h 4454665"/>
              <a:gd name="connsiteX21" fmla="*/ 11966983 w 12192000"/>
              <a:gd name="connsiteY21" fmla="*/ 4278754 h 4454665"/>
              <a:gd name="connsiteX22" fmla="*/ 11965424 w 12192000"/>
              <a:gd name="connsiteY22" fmla="*/ 4273871 h 4454665"/>
              <a:gd name="connsiteX23" fmla="*/ 11961239 w 12192000"/>
              <a:gd name="connsiteY23" fmla="*/ 4270651 h 4454665"/>
              <a:gd name="connsiteX24" fmla="*/ 11952747 w 12192000"/>
              <a:gd name="connsiteY24" fmla="*/ 4269728 h 4454665"/>
              <a:gd name="connsiteX25" fmla="*/ 10902089 w 12192000"/>
              <a:gd name="connsiteY25" fmla="*/ 4267157 h 4454665"/>
              <a:gd name="connsiteX26" fmla="*/ 10905603 w 12192000"/>
              <a:gd name="connsiteY26" fmla="*/ 4267157 h 4454665"/>
              <a:gd name="connsiteX27" fmla="*/ 10905603 w 12192000"/>
              <a:gd name="connsiteY27" fmla="*/ 4270698 h 4454665"/>
              <a:gd name="connsiteX28" fmla="*/ 10877492 w 12192000"/>
              <a:gd name="connsiteY28" fmla="*/ 4306120 h 4454665"/>
              <a:gd name="connsiteX29" fmla="*/ 10859922 w 12192000"/>
              <a:gd name="connsiteY29" fmla="*/ 4288410 h 4454665"/>
              <a:gd name="connsiteX30" fmla="*/ 10902089 w 12192000"/>
              <a:gd name="connsiteY30" fmla="*/ 4267157 h 4454665"/>
              <a:gd name="connsiteX31" fmla="*/ 11954881 w 12192000"/>
              <a:gd name="connsiteY31" fmla="*/ 4260086 h 4454665"/>
              <a:gd name="connsiteX32" fmla="*/ 11967558 w 12192000"/>
              <a:gd name="connsiteY32" fmla="*/ 4263430 h 4454665"/>
              <a:gd name="connsiteX33" fmla="*/ 11977220 w 12192000"/>
              <a:gd name="connsiteY33" fmla="*/ 4272989 h 4454665"/>
              <a:gd name="connsiteX34" fmla="*/ 11980687 w 12192000"/>
              <a:gd name="connsiteY34" fmla="*/ 4285933 h 4454665"/>
              <a:gd name="connsiteX35" fmla="*/ 11977282 w 12192000"/>
              <a:gd name="connsiteY35" fmla="*/ 4298754 h 4454665"/>
              <a:gd name="connsiteX36" fmla="*/ 11967722 w 12192000"/>
              <a:gd name="connsiteY36" fmla="*/ 4308314 h 4454665"/>
              <a:gd name="connsiteX37" fmla="*/ 11954881 w 12192000"/>
              <a:gd name="connsiteY37" fmla="*/ 4311740 h 4454665"/>
              <a:gd name="connsiteX38" fmla="*/ 11942039 w 12192000"/>
              <a:gd name="connsiteY38" fmla="*/ 4308314 h 4454665"/>
              <a:gd name="connsiteX39" fmla="*/ 11932459 w 12192000"/>
              <a:gd name="connsiteY39" fmla="*/ 4298754 h 4454665"/>
              <a:gd name="connsiteX40" fmla="*/ 11929033 w 12192000"/>
              <a:gd name="connsiteY40" fmla="*/ 4285933 h 4454665"/>
              <a:gd name="connsiteX41" fmla="*/ 11932521 w 12192000"/>
              <a:gd name="connsiteY41" fmla="*/ 4272989 h 4454665"/>
              <a:gd name="connsiteX42" fmla="*/ 11942183 w 12192000"/>
              <a:gd name="connsiteY42" fmla="*/ 4263430 h 4454665"/>
              <a:gd name="connsiteX43" fmla="*/ 11954881 w 12192000"/>
              <a:gd name="connsiteY43" fmla="*/ 4260086 h 4454665"/>
              <a:gd name="connsiteX44" fmla="*/ 11954881 w 12192000"/>
              <a:gd name="connsiteY44" fmla="*/ 4254958 h 4454665"/>
              <a:gd name="connsiteX45" fmla="*/ 11939660 w 12192000"/>
              <a:gd name="connsiteY45" fmla="*/ 4258958 h 4454665"/>
              <a:gd name="connsiteX46" fmla="*/ 11928069 w 12192000"/>
              <a:gd name="connsiteY46" fmla="*/ 4270405 h 4454665"/>
              <a:gd name="connsiteX47" fmla="*/ 11923904 w 12192000"/>
              <a:gd name="connsiteY47" fmla="*/ 4285933 h 4454665"/>
              <a:gd name="connsiteX48" fmla="*/ 11928007 w 12192000"/>
              <a:gd name="connsiteY48" fmla="*/ 4301319 h 4454665"/>
              <a:gd name="connsiteX49" fmla="*/ 11939474 w 12192000"/>
              <a:gd name="connsiteY49" fmla="*/ 4312786 h 4454665"/>
              <a:gd name="connsiteX50" fmla="*/ 11954881 w 12192000"/>
              <a:gd name="connsiteY50" fmla="*/ 4316868 h 4454665"/>
              <a:gd name="connsiteX51" fmla="*/ 11970287 w 12192000"/>
              <a:gd name="connsiteY51" fmla="*/ 4312786 h 4454665"/>
              <a:gd name="connsiteX52" fmla="*/ 11981733 w 12192000"/>
              <a:gd name="connsiteY52" fmla="*/ 4301319 h 4454665"/>
              <a:gd name="connsiteX53" fmla="*/ 11985815 w 12192000"/>
              <a:gd name="connsiteY53" fmla="*/ 4285933 h 4454665"/>
              <a:gd name="connsiteX54" fmla="*/ 11981671 w 12192000"/>
              <a:gd name="connsiteY54" fmla="*/ 4270405 h 4454665"/>
              <a:gd name="connsiteX55" fmla="*/ 11970101 w 12192000"/>
              <a:gd name="connsiteY55" fmla="*/ 4258958 h 4454665"/>
              <a:gd name="connsiteX56" fmla="*/ 11954881 w 12192000"/>
              <a:gd name="connsiteY56" fmla="*/ 4254958 h 4454665"/>
              <a:gd name="connsiteX57" fmla="*/ 11091685 w 12192000"/>
              <a:gd name="connsiteY57" fmla="*/ 4225506 h 4454665"/>
              <a:gd name="connsiteX58" fmla="*/ 11123259 w 12192000"/>
              <a:gd name="connsiteY58" fmla="*/ 4265813 h 4454665"/>
              <a:gd name="connsiteX59" fmla="*/ 11091685 w 12192000"/>
              <a:gd name="connsiteY59" fmla="*/ 4306119 h 4454665"/>
              <a:gd name="connsiteX60" fmla="*/ 11060111 w 12192000"/>
              <a:gd name="connsiteY60" fmla="*/ 4265813 h 4454665"/>
              <a:gd name="connsiteX61" fmla="*/ 11091685 w 12192000"/>
              <a:gd name="connsiteY61" fmla="*/ 4225506 h 4454665"/>
              <a:gd name="connsiteX62" fmla="*/ 10781998 w 12192000"/>
              <a:gd name="connsiteY62" fmla="*/ 4225506 h 4454665"/>
              <a:gd name="connsiteX63" fmla="*/ 10810212 w 12192000"/>
              <a:gd name="connsiteY63" fmla="*/ 4265813 h 4454665"/>
              <a:gd name="connsiteX64" fmla="*/ 10781998 w 12192000"/>
              <a:gd name="connsiteY64" fmla="*/ 4306119 h 4454665"/>
              <a:gd name="connsiteX65" fmla="*/ 10753783 w 12192000"/>
              <a:gd name="connsiteY65" fmla="*/ 4265813 h 4454665"/>
              <a:gd name="connsiteX66" fmla="*/ 10781998 w 12192000"/>
              <a:gd name="connsiteY66" fmla="*/ 4225506 h 4454665"/>
              <a:gd name="connsiteX67" fmla="*/ 10469622 w 12192000"/>
              <a:gd name="connsiteY67" fmla="*/ 4225506 h 4454665"/>
              <a:gd name="connsiteX68" fmla="*/ 10501196 w 12192000"/>
              <a:gd name="connsiteY68" fmla="*/ 4265813 h 4454665"/>
              <a:gd name="connsiteX69" fmla="*/ 10469622 w 12192000"/>
              <a:gd name="connsiteY69" fmla="*/ 4306119 h 4454665"/>
              <a:gd name="connsiteX70" fmla="*/ 10438048 w 12192000"/>
              <a:gd name="connsiteY70" fmla="*/ 4265813 h 4454665"/>
              <a:gd name="connsiteX71" fmla="*/ 10469622 w 12192000"/>
              <a:gd name="connsiteY71" fmla="*/ 4225506 h 4454665"/>
              <a:gd name="connsiteX72" fmla="*/ 11014562 w 12192000"/>
              <a:gd name="connsiteY72" fmla="*/ 4220259 h 4454665"/>
              <a:gd name="connsiteX73" fmla="*/ 11014562 w 12192000"/>
              <a:gd name="connsiteY73" fmla="*/ 4316219 h 4454665"/>
              <a:gd name="connsiteX74" fmla="*/ 11026851 w 12192000"/>
              <a:gd name="connsiteY74" fmla="*/ 4316219 h 4454665"/>
              <a:gd name="connsiteX75" fmla="*/ 11026851 w 12192000"/>
              <a:gd name="connsiteY75" fmla="*/ 4220259 h 4454665"/>
              <a:gd name="connsiteX76" fmla="*/ 11158189 w 12192000"/>
              <a:gd name="connsiteY76" fmla="*/ 4218789 h 4454665"/>
              <a:gd name="connsiteX77" fmla="*/ 11158189 w 12192000"/>
              <a:gd name="connsiteY77" fmla="*/ 4243172 h 4454665"/>
              <a:gd name="connsiteX78" fmla="*/ 11158189 w 12192000"/>
              <a:gd name="connsiteY78" fmla="*/ 4312837 h 4454665"/>
              <a:gd name="connsiteX79" fmla="*/ 11172009 w 12192000"/>
              <a:gd name="connsiteY79" fmla="*/ 4312837 h 4454665"/>
              <a:gd name="connsiteX80" fmla="*/ 11172009 w 12192000"/>
              <a:gd name="connsiteY80" fmla="*/ 4260588 h 4454665"/>
              <a:gd name="connsiteX81" fmla="*/ 11199648 w 12192000"/>
              <a:gd name="connsiteY81" fmla="*/ 4225755 h 4454665"/>
              <a:gd name="connsiteX82" fmla="*/ 11220377 w 12192000"/>
              <a:gd name="connsiteY82" fmla="*/ 4257105 h 4454665"/>
              <a:gd name="connsiteX83" fmla="*/ 11220377 w 12192000"/>
              <a:gd name="connsiteY83" fmla="*/ 4312837 h 4454665"/>
              <a:gd name="connsiteX84" fmla="*/ 11230741 w 12192000"/>
              <a:gd name="connsiteY84" fmla="*/ 4312837 h 4454665"/>
              <a:gd name="connsiteX85" fmla="*/ 11230741 w 12192000"/>
              <a:gd name="connsiteY85" fmla="*/ 4253621 h 4454665"/>
              <a:gd name="connsiteX86" fmla="*/ 11199648 w 12192000"/>
              <a:gd name="connsiteY86" fmla="*/ 4218789 h 4454665"/>
              <a:gd name="connsiteX87" fmla="*/ 11168554 w 12192000"/>
              <a:gd name="connsiteY87" fmla="*/ 4236205 h 4454665"/>
              <a:gd name="connsiteX88" fmla="*/ 11168554 w 12192000"/>
              <a:gd name="connsiteY88" fmla="*/ 4218789 h 4454665"/>
              <a:gd name="connsiteX89" fmla="*/ 11158189 w 12192000"/>
              <a:gd name="connsiteY89" fmla="*/ 4218789 h 4454665"/>
              <a:gd name="connsiteX90" fmla="*/ 11088997 w 12192000"/>
              <a:gd name="connsiteY90" fmla="*/ 4218789 h 4454665"/>
              <a:gd name="connsiteX91" fmla="*/ 11045332 w 12192000"/>
              <a:gd name="connsiteY91" fmla="*/ 4267829 h 4454665"/>
              <a:gd name="connsiteX92" fmla="*/ 11088997 w 12192000"/>
              <a:gd name="connsiteY92" fmla="*/ 4316868 h 4454665"/>
              <a:gd name="connsiteX93" fmla="*/ 11132662 w 12192000"/>
              <a:gd name="connsiteY93" fmla="*/ 4267829 h 4454665"/>
              <a:gd name="connsiteX94" fmla="*/ 11088997 w 12192000"/>
              <a:gd name="connsiteY94" fmla="*/ 4218789 h 4454665"/>
              <a:gd name="connsiteX95" fmla="*/ 10883851 w 12192000"/>
              <a:gd name="connsiteY95" fmla="*/ 4218789 h 4454665"/>
              <a:gd name="connsiteX96" fmla="*/ 10855700 w 12192000"/>
              <a:gd name="connsiteY96" fmla="*/ 4222292 h 4454665"/>
              <a:gd name="connsiteX97" fmla="*/ 10855700 w 12192000"/>
              <a:gd name="connsiteY97" fmla="*/ 4236303 h 4454665"/>
              <a:gd name="connsiteX98" fmla="*/ 10883851 w 12192000"/>
              <a:gd name="connsiteY98" fmla="*/ 4225795 h 4454665"/>
              <a:gd name="connsiteX99" fmla="*/ 10904964 w 12192000"/>
              <a:gd name="connsiteY99" fmla="*/ 4250315 h 4454665"/>
              <a:gd name="connsiteX100" fmla="*/ 10904964 w 12192000"/>
              <a:gd name="connsiteY100" fmla="*/ 4257320 h 4454665"/>
              <a:gd name="connsiteX101" fmla="*/ 10845144 w 12192000"/>
              <a:gd name="connsiteY101" fmla="*/ 4288845 h 4454665"/>
              <a:gd name="connsiteX102" fmla="*/ 10876813 w 12192000"/>
              <a:gd name="connsiteY102" fmla="*/ 4316868 h 4454665"/>
              <a:gd name="connsiteX103" fmla="*/ 10904964 w 12192000"/>
              <a:gd name="connsiteY103" fmla="*/ 4299354 h 4454665"/>
              <a:gd name="connsiteX104" fmla="*/ 10908483 w 12192000"/>
              <a:gd name="connsiteY104" fmla="*/ 4299354 h 4454665"/>
              <a:gd name="connsiteX105" fmla="*/ 10908483 w 12192000"/>
              <a:gd name="connsiteY105" fmla="*/ 4313365 h 4454665"/>
              <a:gd name="connsiteX106" fmla="*/ 10919039 w 12192000"/>
              <a:gd name="connsiteY106" fmla="*/ 4313365 h 4454665"/>
              <a:gd name="connsiteX107" fmla="*/ 10919039 w 12192000"/>
              <a:gd name="connsiteY107" fmla="*/ 4295851 h 4454665"/>
              <a:gd name="connsiteX108" fmla="*/ 10919039 w 12192000"/>
              <a:gd name="connsiteY108" fmla="*/ 4253818 h 4454665"/>
              <a:gd name="connsiteX109" fmla="*/ 10883851 w 12192000"/>
              <a:gd name="connsiteY109" fmla="*/ 4218789 h 4454665"/>
              <a:gd name="connsiteX110" fmla="*/ 10642268 w 12192000"/>
              <a:gd name="connsiteY110" fmla="*/ 4218789 h 4454665"/>
              <a:gd name="connsiteX111" fmla="*/ 10642268 w 12192000"/>
              <a:gd name="connsiteY111" fmla="*/ 4243172 h 4454665"/>
              <a:gd name="connsiteX112" fmla="*/ 10642268 w 12192000"/>
              <a:gd name="connsiteY112" fmla="*/ 4312837 h 4454665"/>
              <a:gd name="connsiteX113" fmla="*/ 10656343 w 12192000"/>
              <a:gd name="connsiteY113" fmla="*/ 4312837 h 4454665"/>
              <a:gd name="connsiteX114" fmla="*/ 10656343 w 12192000"/>
              <a:gd name="connsiteY114" fmla="*/ 4260588 h 4454665"/>
              <a:gd name="connsiteX115" fmla="*/ 10684494 w 12192000"/>
              <a:gd name="connsiteY115" fmla="*/ 4225755 h 4454665"/>
              <a:gd name="connsiteX116" fmla="*/ 10705607 w 12192000"/>
              <a:gd name="connsiteY116" fmla="*/ 4257105 h 4454665"/>
              <a:gd name="connsiteX117" fmla="*/ 10705607 w 12192000"/>
              <a:gd name="connsiteY117" fmla="*/ 4312837 h 4454665"/>
              <a:gd name="connsiteX118" fmla="*/ 10716163 w 12192000"/>
              <a:gd name="connsiteY118" fmla="*/ 4312837 h 4454665"/>
              <a:gd name="connsiteX119" fmla="*/ 10716163 w 12192000"/>
              <a:gd name="connsiteY119" fmla="*/ 4253621 h 4454665"/>
              <a:gd name="connsiteX120" fmla="*/ 10684494 w 12192000"/>
              <a:gd name="connsiteY120" fmla="*/ 4218789 h 4454665"/>
              <a:gd name="connsiteX121" fmla="*/ 10652824 w 12192000"/>
              <a:gd name="connsiteY121" fmla="*/ 4236205 h 4454665"/>
              <a:gd name="connsiteX122" fmla="*/ 10652824 w 12192000"/>
              <a:gd name="connsiteY122" fmla="*/ 4218789 h 4454665"/>
              <a:gd name="connsiteX123" fmla="*/ 10642268 w 12192000"/>
              <a:gd name="connsiteY123" fmla="*/ 4218789 h 4454665"/>
              <a:gd name="connsiteX124" fmla="*/ 10540159 w 12192000"/>
              <a:gd name="connsiteY124" fmla="*/ 4218789 h 4454665"/>
              <a:gd name="connsiteX125" fmla="*/ 10540159 w 12192000"/>
              <a:gd name="connsiteY125" fmla="*/ 4281839 h 4454665"/>
              <a:gd name="connsiteX126" fmla="*/ 10571828 w 12192000"/>
              <a:gd name="connsiteY126" fmla="*/ 4316868 h 4454665"/>
              <a:gd name="connsiteX127" fmla="*/ 10603498 w 12192000"/>
              <a:gd name="connsiteY127" fmla="*/ 4299354 h 4454665"/>
              <a:gd name="connsiteX128" fmla="*/ 10603498 w 12192000"/>
              <a:gd name="connsiteY128" fmla="*/ 4313365 h 4454665"/>
              <a:gd name="connsiteX129" fmla="*/ 10614054 w 12192000"/>
              <a:gd name="connsiteY129" fmla="*/ 4313365 h 4454665"/>
              <a:gd name="connsiteX130" fmla="*/ 10614054 w 12192000"/>
              <a:gd name="connsiteY130" fmla="*/ 4292348 h 4454665"/>
              <a:gd name="connsiteX131" fmla="*/ 10614054 w 12192000"/>
              <a:gd name="connsiteY131" fmla="*/ 4218789 h 4454665"/>
              <a:gd name="connsiteX132" fmla="*/ 10599979 w 12192000"/>
              <a:gd name="connsiteY132" fmla="*/ 4218789 h 4454665"/>
              <a:gd name="connsiteX133" fmla="*/ 10599979 w 12192000"/>
              <a:gd name="connsiteY133" fmla="*/ 4271331 h 4454665"/>
              <a:gd name="connsiteX134" fmla="*/ 10571828 w 12192000"/>
              <a:gd name="connsiteY134" fmla="*/ 4306359 h 4454665"/>
              <a:gd name="connsiteX135" fmla="*/ 10550715 w 12192000"/>
              <a:gd name="connsiteY135" fmla="*/ 4278337 h 4454665"/>
              <a:gd name="connsiteX136" fmla="*/ 10550715 w 12192000"/>
              <a:gd name="connsiteY136" fmla="*/ 4218789 h 4454665"/>
              <a:gd name="connsiteX137" fmla="*/ 10540159 w 12192000"/>
              <a:gd name="connsiteY137" fmla="*/ 4218789 h 4454665"/>
              <a:gd name="connsiteX138" fmla="*/ 10471637 w 12192000"/>
              <a:gd name="connsiteY138" fmla="*/ 4218789 h 4454665"/>
              <a:gd name="connsiteX139" fmla="*/ 10427300 w 12192000"/>
              <a:gd name="connsiteY139" fmla="*/ 4267829 h 4454665"/>
              <a:gd name="connsiteX140" fmla="*/ 10471637 w 12192000"/>
              <a:gd name="connsiteY140" fmla="*/ 4316868 h 4454665"/>
              <a:gd name="connsiteX141" fmla="*/ 10515975 w 12192000"/>
              <a:gd name="connsiteY141" fmla="*/ 4267829 h 4454665"/>
              <a:gd name="connsiteX142" fmla="*/ 10471637 w 12192000"/>
              <a:gd name="connsiteY142" fmla="*/ 4218789 h 4454665"/>
              <a:gd name="connsiteX143" fmla="*/ 11655303 w 12192000"/>
              <a:gd name="connsiteY143" fmla="*/ 4204010 h 4454665"/>
              <a:gd name="connsiteX144" fmla="*/ 11659333 w 12192000"/>
              <a:gd name="connsiteY144" fmla="*/ 4214759 h 4454665"/>
              <a:gd name="connsiteX145" fmla="*/ 11663364 w 12192000"/>
              <a:gd name="connsiteY145" fmla="*/ 4221477 h 4454665"/>
              <a:gd name="connsiteX146" fmla="*/ 11648585 w 12192000"/>
              <a:gd name="connsiteY146" fmla="*/ 4221477 h 4454665"/>
              <a:gd name="connsiteX147" fmla="*/ 11652616 w 12192000"/>
              <a:gd name="connsiteY147" fmla="*/ 4214759 h 4454665"/>
              <a:gd name="connsiteX148" fmla="*/ 11659446 w 12192000"/>
              <a:gd name="connsiteY148" fmla="*/ 4193262 h 4454665"/>
              <a:gd name="connsiteX149" fmla="*/ 11649032 w 12192000"/>
              <a:gd name="connsiteY149" fmla="*/ 4196776 h 4454665"/>
              <a:gd name="connsiteX150" fmla="*/ 11645562 w 12192000"/>
              <a:gd name="connsiteY150" fmla="*/ 4214346 h 4454665"/>
              <a:gd name="connsiteX151" fmla="*/ 11635149 w 12192000"/>
              <a:gd name="connsiteY151" fmla="*/ 4235428 h 4454665"/>
              <a:gd name="connsiteX152" fmla="*/ 11645562 w 12192000"/>
              <a:gd name="connsiteY152" fmla="*/ 4238942 h 4454665"/>
              <a:gd name="connsiteX153" fmla="*/ 11645562 w 12192000"/>
              <a:gd name="connsiteY153" fmla="*/ 4228401 h 4454665"/>
              <a:gd name="connsiteX154" fmla="*/ 11666387 w 12192000"/>
              <a:gd name="connsiteY154" fmla="*/ 4228401 h 4454665"/>
              <a:gd name="connsiteX155" fmla="*/ 11666387 w 12192000"/>
              <a:gd name="connsiteY155" fmla="*/ 4235428 h 4454665"/>
              <a:gd name="connsiteX156" fmla="*/ 11676800 w 12192000"/>
              <a:gd name="connsiteY156" fmla="*/ 4235428 h 4454665"/>
              <a:gd name="connsiteX157" fmla="*/ 11666387 w 12192000"/>
              <a:gd name="connsiteY157" fmla="*/ 4214346 h 4454665"/>
              <a:gd name="connsiteX158" fmla="*/ 11659446 w 12192000"/>
              <a:gd name="connsiteY158" fmla="*/ 4196776 h 4454665"/>
              <a:gd name="connsiteX159" fmla="*/ 11659446 w 12192000"/>
              <a:gd name="connsiteY159" fmla="*/ 4193262 h 4454665"/>
              <a:gd name="connsiteX160" fmla="*/ 10964451 w 12192000"/>
              <a:gd name="connsiteY160" fmla="*/ 4193261 h 4454665"/>
              <a:gd name="connsiteX161" fmla="*/ 10953971 w 12192000"/>
              <a:gd name="connsiteY161" fmla="*/ 4196793 h 4454665"/>
              <a:gd name="connsiteX162" fmla="*/ 10953971 w 12192000"/>
              <a:gd name="connsiteY162" fmla="*/ 4217982 h 4454665"/>
              <a:gd name="connsiteX163" fmla="*/ 10936505 w 12192000"/>
              <a:gd name="connsiteY163" fmla="*/ 4217982 h 4454665"/>
              <a:gd name="connsiteX164" fmla="*/ 10936505 w 12192000"/>
              <a:gd name="connsiteY164" fmla="*/ 4228577 h 4454665"/>
              <a:gd name="connsiteX165" fmla="*/ 10953971 w 12192000"/>
              <a:gd name="connsiteY165" fmla="*/ 4228577 h 4454665"/>
              <a:gd name="connsiteX166" fmla="*/ 10953971 w 12192000"/>
              <a:gd name="connsiteY166" fmla="*/ 4285083 h 4454665"/>
              <a:gd name="connsiteX167" fmla="*/ 10974931 w 12192000"/>
              <a:gd name="connsiteY167" fmla="*/ 4316867 h 4454665"/>
              <a:gd name="connsiteX168" fmla="*/ 10988904 w 12192000"/>
              <a:gd name="connsiteY168" fmla="*/ 4313336 h 4454665"/>
              <a:gd name="connsiteX169" fmla="*/ 10988904 w 12192000"/>
              <a:gd name="connsiteY169" fmla="*/ 4302741 h 4454665"/>
              <a:gd name="connsiteX170" fmla="*/ 10978424 w 12192000"/>
              <a:gd name="connsiteY170" fmla="*/ 4306272 h 4454665"/>
              <a:gd name="connsiteX171" fmla="*/ 10964451 w 12192000"/>
              <a:gd name="connsiteY171" fmla="*/ 4292146 h 4454665"/>
              <a:gd name="connsiteX172" fmla="*/ 10964451 w 12192000"/>
              <a:gd name="connsiteY172" fmla="*/ 4228577 h 4454665"/>
              <a:gd name="connsiteX173" fmla="*/ 10985410 w 12192000"/>
              <a:gd name="connsiteY173" fmla="*/ 4228577 h 4454665"/>
              <a:gd name="connsiteX174" fmla="*/ 10985410 w 12192000"/>
              <a:gd name="connsiteY174" fmla="*/ 4217982 h 4454665"/>
              <a:gd name="connsiteX175" fmla="*/ 10964451 w 12192000"/>
              <a:gd name="connsiteY175" fmla="*/ 4217982 h 4454665"/>
              <a:gd name="connsiteX176" fmla="*/ 10964451 w 12192000"/>
              <a:gd name="connsiteY176" fmla="*/ 4193261 h 4454665"/>
              <a:gd name="connsiteX177" fmla="*/ 11599881 w 12192000"/>
              <a:gd name="connsiteY177" fmla="*/ 4190575 h 4454665"/>
              <a:gd name="connsiteX178" fmla="*/ 11589469 w 12192000"/>
              <a:gd name="connsiteY178" fmla="*/ 4232741 h 4454665"/>
              <a:gd name="connsiteX179" fmla="*/ 11599881 w 12192000"/>
              <a:gd name="connsiteY179" fmla="*/ 4232741 h 4454665"/>
              <a:gd name="connsiteX180" fmla="*/ 11603352 w 12192000"/>
              <a:gd name="connsiteY180" fmla="*/ 4208145 h 4454665"/>
              <a:gd name="connsiteX181" fmla="*/ 11617236 w 12192000"/>
              <a:gd name="connsiteY181" fmla="*/ 4236255 h 4454665"/>
              <a:gd name="connsiteX182" fmla="*/ 11624178 w 12192000"/>
              <a:gd name="connsiteY182" fmla="*/ 4236255 h 4454665"/>
              <a:gd name="connsiteX183" fmla="*/ 11631119 w 12192000"/>
              <a:gd name="connsiteY183" fmla="*/ 4194089 h 4454665"/>
              <a:gd name="connsiteX184" fmla="*/ 11624178 w 12192000"/>
              <a:gd name="connsiteY184" fmla="*/ 4194089 h 4454665"/>
              <a:gd name="connsiteX185" fmla="*/ 11620707 w 12192000"/>
              <a:gd name="connsiteY185" fmla="*/ 4222200 h 4454665"/>
              <a:gd name="connsiteX186" fmla="*/ 11606824 w 12192000"/>
              <a:gd name="connsiteY186" fmla="*/ 4190575 h 4454665"/>
              <a:gd name="connsiteX187" fmla="*/ 11599881 w 12192000"/>
              <a:gd name="connsiteY187" fmla="*/ 4190575 h 4454665"/>
              <a:gd name="connsiteX188" fmla="*/ 11709044 w 12192000"/>
              <a:gd name="connsiteY188" fmla="*/ 4186545 h 4454665"/>
              <a:gd name="connsiteX189" fmla="*/ 11674112 w 12192000"/>
              <a:gd name="connsiteY189" fmla="*/ 4193646 h 4454665"/>
              <a:gd name="connsiteX190" fmla="*/ 11674112 w 12192000"/>
              <a:gd name="connsiteY190" fmla="*/ 4200748 h 4454665"/>
              <a:gd name="connsiteX191" fmla="*/ 11688084 w 12192000"/>
              <a:gd name="connsiteY191" fmla="*/ 4200748 h 4454665"/>
              <a:gd name="connsiteX192" fmla="*/ 11695071 w 12192000"/>
              <a:gd name="connsiteY192" fmla="*/ 4236256 h 4454665"/>
              <a:gd name="connsiteX193" fmla="*/ 11702057 w 12192000"/>
              <a:gd name="connsiteY193" fmla="*/ 4232705 h 4454665"/>
              <a:gd name="connsiteX194" fmla="*/ 11695071 w 12192000"/>
              <a:gd name="connsiteY194" fmla="*/ 4197197 h 4454665"/>
              <a:gd name="connsiteX195" fmla="*/ 11709044 w 12192000"/>
              <a:gd name="connsiteY195" fmla="*/ 4193646 h 4454665"/>
              <a:gd name="connsiteX196" fmla="*/ 11564748 w 12192000"/>
              <a:gd name="connsiteY196" fmla="*/ 4186545 h 4454665"/>
              <a:gd name="connsiteX197" fmla="*/ 11575228 w 12192000"/>
              <a:gd name="connsiteY197" fmla="*/ 4189904 h 4454665"/>
              <a:gd name="connsiteX198" fmla="*/ 11578720 w 12192000"/>
              <a:gd name="connsiteY198" fmla="*/ 4193263 h 4454665"/>
              <a:gd name="connsiteX199" fmla="*/ 11578720 w 12192000"/>
              <a:gd name="connsiteY199" fmla="*/ 4196621 h 4454665"/>
              <a:gd name="connsiteX200" fmla="*/ 11571734 w 12192000"/>
              <a:gd name="connsiteY200" fmla="*/ 4199980 h 4454665"/>
              <a:gd name="connsiteX201" fmla="*/ 11561254 w 12192000"/>
              <a:gd name="connsiteY201" fmla="*/ 4196621 h 4454665"/>
              <a:gd name="connsiteX202" fmla="*/ 11564748 w 12192000"/>
              <a:gd name="connsiteY202" fmla="*/ 4193263 h 4454665"/>
              <a:gd name="connsiteX203" fmla="*/ 11564748 w 12192000"/>
              <a:gd name="connsiteY203" fmla="*/ 4186545 h 4454665"/>
              <a:gd name="connsiteX204" fmla="*/ 11014562 w 12192000"/>
              <a:gd name="connsiteY204" fmla="*/ 4184659 h 4454665"/>
              <a:gd name="connsiteX205" fmla="*/ 11014562 w 12192000"/>
              <a:gd name="connsiteY205" fmla="*/ 4198353 h 4454665"/>
              <a:gd name="connsiteX206" fmla="*/ 11026851 w 12192000"/>
              <a:gd name="connsiteY206" fmla="*/ 4198353 h 4454665"/>
              <a:gd name="connsiteX207" fmla="*/ 11026851 w 12192000"/>
              <a:gd name="connsiteY207" fmla="*/ 4184659 h 4454665"/>
              <a:gd name="connsiteX208" fmla="*/ 11715762 w 12192000"/>
              <a:gd name="connsiteY208" fmla="*/ 4182513 h 4454665"/>
              <a:gd name="connsiteX209" fmla="*/ 11729582 w 12192000"/>
              <a:gd name="connsiteY209" fmla="*/ 4225507 h 4454665"/>
              <a:gd name="connsiteX210" fmla="*/ 11739946 w 12192000"/>
              <a:gd name="connsiteY210" fmla="*/ 4221924 h 4454665"/>
              <a:gd name="connsiteX211" fmla="*/ 11726127 w 12192000"/>
              <a:gd name="connsiteY211" fmla="*/ 4182513 h 4454665"/>
              <a:gd name="connsiteX212" fmla="*/ 11715762 w 12192000"/>
              <a:gd name="connsiteY212" fmla="*/ 4182513 h 4454665"/>
              <a:gd name="connsiteX213" fmla="*/ 10346688 w 12192000"/>
              <a:gd name="connsiteY213" fmla="*/ 4182513 h 4454665"/>
              <a:gd name="connsiteX214" fmla="*/ 10346688 w 12192000"/>
              <a:gd name="connsiteY214" fmla="*/ 4312837 h 4454665"/>
              <a:gd name="connsiteX215" fmla="*/ 10361467 w 12192000"/>
              <a:gd name="connsiteY215" fmla="*/ 4312837 h 4454665"/>
              <a:gd name="connsiteX216" fmla="*/ 10361467 w 12192000"/>
              <a:gd name="connsiteY216" fmla="*/ 4253721 h 4454665"/>
              <a:gd name="connsiteX217" fmla="*/ 10407148 w 12192000"/>
              <a:gd name="connsiteY217" fmla="*/ 4253721 h 4454665"/>
              <a:gd name="connsiteX218" fmla="*/ 10407148 w 12192000"/>
              <a:gd name="connsiteY218" fmla="*/ 4242973 h 4454665"/>
              <a:gd name="connsiteX219" fmla="*/ 10361467 w 12192000"/>
              <a:gd name="connsiteY219" fmla="*/ 4242973 h 4454665"/>
              <a:gd name="connsiteX220" fmla="*/ 10361467 w 12192000"/>
              <a:gd name="connsiteY220" fmla="*/ 4193261 h 4454665"/>
              <a:gd name="connsiteX221" fmla="*/ 10409835 w 12192000"/>
              <a:gd name="connsiteY221" fmla="*/ 4193261 h 4454665"/>
              <a:gd name="connsiteX222" fmla="*/ 10409835 w 12192000"/>
              <a:gd name="connsiteY222" fmla="*/ 4182513 h 4454665"/>
              <a:gd name="connsiteX223" fmla="*/ 11561143 w 12192000"/>
              <a:gd name="connsiteY223" fmla="*/ 4175796 h 4454665"/>
              <a:gd name="connsiteX224" fmla="*/ 11554200 w 12192000"/>
              <a:gd name="connsiteY224" fmla="*/ 4193263 h 4454665"/>
              <a:gd name="connsiteX225" fmla="*/ 11554200 w 12192000"/>
              <a:gd name="connsiteY225" fmla="*/ 4196755 h 4454665"/>
              <a:gd name="connsiteX226" fmla="*/ 11543788 w 12192000"/>
              <a:gd name="connsiteY226" fmla="*/ 4214222 h 4454665"/>
              <a:gd name="connsiteX227" fmla="*/ 11554200 w 12192000"/>
              <a:gd name="connsiteY227" fmla="*/ 4217715 h 4454665"/>
              <a:gd name="connsiteX228" fmla="*/ 11557671 w 12192000"/>
              <a:gd name="connsiteY228" fmla="*/ 4203742 h 4454665"/>
              <a:gd name="connsiteX229" fmla="*/ 11568084 w 12192000"/>
              <a:gd name="connsiteY229" fmla="*/ 4207236 h 4454665"/>
              <a:gd name="connsiteX230" fmla="*/ 11568084 w 12192000"/>
              <a:gd name="connsiteY230" fmla="*/ 4224701 h 4454665"/>
              <a:gd name="connsiteX231" fmla="*/ 11578497 w 12192000"/>
              <a:gd name="connsiteY231" fmla="*/ 4228195 h 4454665"/>
              <a:gd name="connsiteX232" fmla="*/ 11575026 w 12192000"/>
              <a:gd name="connsiteY232" fmla="*/ 4207236 h 4454665"/>
              <a:gd name="connsiteX233" fmla="*/ 11585438 w 12192000"/>
              <a:gd name="connsiteY233" fmla="*/ 4196755 h 4454665"/>
              <a:gd name="connsiteX234" fmla="*/ 11585438 w 12192000"/>
              <a:gd name="connsiteY234" fmla="*/ 4193263 h 4454665"/>
              <a:gd name="connsiteX235" fmla="*/ 11578497 w 12192000"/>
              <a:gd name="connsiteY235" fmla="*/ 4182783 h 4454665"/>
              <a:gd name="connsiteX236" fmla="*/ 11561143 w 12192000"/>
              <a:gd name="connsiteY236" fmla="*/ 4175796 h 4454665"/>
              <a:gd name="connsiteX237" fmla="*/ 11766241 w 12192000"/>
              <a:gd name="connsiteY237" fmla="*/ 4173089 h 4454665"/>
              <a:gd name="connsiteX238" fmla="*/ 11774878 w 12192000"/>
              <a:gd name="connsiteY238" fmla="*/ 4178820 h 4454665"/>
              <a:gd name="connsiteX239" fmla="*/ 11774878 w 12192000"/>
              <a:gd name="connsiteY239" fmla="*/ 4185873 h 4454665"/>
              <a:gd name="connsiteX240" fmla="*/ 11771423 w 12192000"/>
              <a:gd name="connsiteY240" fmla="*/ 4196454 h 4454665"/>
              <a:gd name="connsiteX241" fmla="*/ 11767968 w 12192000"/>
              <a:gd name="connsiteY241" fmla="*/ 4199981 h 4454665"/>
              <a:gd name="connsiteX242" fmla="*/ 11754149 w 12192000"/>
              <a:gd name="connsiteY242" fmla="*/ 4196454 h 4454665"/>
              <a:gd name="connsiteX243" fmla="*/ 11750694 w 12192000"/>
              <a:gd name="connsiteY243" fmla="*/ 4192928 h 4454665"/>
              <a:gd name="connsiteX244" fmla="*/ 11750694 w 12192000"/>
              <a:gd name="connsiteY244" fmla="*/ 4185873 h 4454665"/>
              <a:gd name="connsiteX245" fmla="*/ 11757604 w 12192000"/>
              <a:gd name="connsiteY245" fmla="*/ 4175293 h 4454665"/>
              <a:gd name="connsiteX246" fmla="*/ 11766241 w 12192000"/>
              <a:gd name="connsiteY246" fmla="*/ 4173089 h 4454665"/>
              <a:gd name="connsiteX247" fmla="*/ 10810738 w 12192000"/>
              <a:gd name="connsiteY247" fmla="*/ 4171764 h 4454665"/>
              <a:gd name="connsiteX248" fmla="*/ 10810738 w 12192000"/>
              <a:gd name="connsiteY248" fmla="*/ 4235468 h 4454665"/>
              <a:gd name="connsiteX249" fmla="*/ 10782231 w 12192000"/>
              <a:gd name="connsiteY249" fmla="*/ 4217772 h 4454665"/>
              <a:gd name="connsiteX250" fmla="*/ 10743034 w 12192000"/>
              <a:gd name="connsiteY250" fmla="*/ 4267320 h 4454665"/>
              <a:gd name="connsiteX251" fmla="*/ 10782231 w 12192000"/>
              <a:gd name="connsiteY251" fmla="*/ 4316867 h 4454665"/>
              <a:gd name="connsiteX252" fmla="*/ 10810738 w 12192000"/>
              <a:gd name="connsiteY252" fmla="*/ 4299171 h 4454665"/>
              <a:gd name="connsiteX253" fmla="*/ 10810738 w 12192000"/>
              <a:gd name="connsiteY253" fmla="*/ 4313328 h 4454665"/>
              <a:gd name="connsiteX254" fmla="*/ 10824991 w 12192000"/>
              <a:gd name="connsiteY254" fmla="*/ 4313328 h 4454665"/>
              <a:gd name="connsiteX255" fmla="*/ 10824991 w 12192000"/>
              <a:gd name="connsiteY255" fmla="*/ 4171764 h 4454665"/>
              <a:gd name="connsiteX256" fmla="*/ 10810738 w 12192000"/>
              <a:gd name="connsiteY256" fmla="*/ 4171764 h 4454665"/>
              <a:gd name="connsiteX257" fmla="*/ 11768161 w 12192000"/>
              <a:gd name="connsiteY257" fmla="*/ 4166248 h 4454665"/>
              <a:gd name="connsiteX258" fmla="*/ 11750694 w 12192000"/>
              <a:gd name="connsiteY258" fmla="*/ 4169271 h 4454665"/>
              <a:gd name="connsiteX259" fmla="*/ 11739946 w 12192000"/>
              <a:gd name="connsiteY259" fmla="*/ 4186545 h 4454665"/>
              <a:gd name="connsiteX260" fmla="*/ 11743528 w 12192000"/>
              <a:gd name="connsiteY260" fmla="*/ 4196910 h 4454665"/>
              <a:gd name="connsiteX261" fmla="*/ 11772191 w 12192000"/>
              <a:gd name="connsiteY261" fmla="*/ 4203820 h 4454665"/>
              <a:gd name="connsiteX262" fmla="*/ 11782939 w 12192000"/>
              <a:gd name="connsiteY262" fmla="*/ 4196910 h 4454665"/>
              <a:gd name="connsiteX263" fmla="*/ 11782939 w 12192000"/>
              <a:gd name="connsiteY263" fmla="*/ 4186545 h 4454665"/>
              <a:gd name="connsiteX264" fmla="*/ 11782939 w 12192000"/>
              <a:gd name="connsiteY264" fmla="*/ 4176181 h 4454665"/>
              <a:gd name="connsiteX265" fmla="*/ 11768161 w 12192000"/>
              <a:gd name="connsiteY265" fmla="*/ 4166248 h 4454665"/>
              <a:gd name="connsiteX266" fmla="*/ 11525909 w 12192000"/>
              <a:gd name="connsiteY266" fmla="*/ 4158330 h 4454665"/>
              <a:gd name="connsiteX267" fmla="*/ 11504825 w 12192000"/>
              <a:gd name="connsiteY267" fmla="*/ 4193262 h 4454665"/>
              <a:gd name="connsiteX268" fmla="*/ 11529423 w 12192000"/>
              <a:gd name="connsiteY268" fmla="*/ 4210728 h 4454665"/>
              <a:gd name="connsiteX269" fmla="*/ 11532937 w 12192000"/>
              <a:gd name="connsiteY269" fmla="*/ 4203742 h 4454665"/>
              <a:gd name="connsiteX270" fmla="*/ 11515367 w 12192000"/>
              <a:gd name="connsiteY270" fmla="*/ 4193262 h 4454665"/>
              <a:gd name="connsiteX271" fmla="*/ 11522395 w 12192000"/>
              <a:gd name="connsiteY271" fmla="*/ 4182783 h 4454665"/>
              <a:gd name="connsiteX272" fmla="*/ 11532937 w 12192000"/>
              <a:gd name="connsiteY272" fmla="*/ 4189769 h 4454665"/>
              <a:gd name="connsiteX273" fmla="*/ 11536450 w 12192000"/>
              <a:gd name="connsiteY273" fmla="*/ 4182783 h 4454665"/>
              <a:gd name="connsiteX274" fmla="*/ 11525909 w 12192000"/>
              <a:gd name="connsiteY274" fmla="*/ 4175796 h 4454665"/>
              <a:gd name="connsiteX275" fmla="*/ 11529423 w 12192000"/>
              <a:gd name="connsiteY275" fmla="*/ 4168810 h 4454665"/>
              <a:gd name="connsiteX276" fmla="*/ 11546992 w 12192000"/>
              <a:gd name="connsiteY276" fmla="*/ 4179289 h 4454665"/>
              <a:gd name="connsiteX277" fmla="*/ 11550506 w 12192000"/>
              <a:gd name="connsiteY277" fmla="*/ 4172302 h 4454665"/>
              <a:gd name="connsiteX278" fmla="*/ 11525909 w 12192000"/>
              <a:gd name="connsiteY278" fmla="*/ 4158330 h 4454665"/>
              <a:gd name="connsiteX279" fmla="*/ 11803361 w 12192000"/>
              <a:gd name="connsiteY279" fmla="*/ 4130116 h 4454665"/>
              <a:gd name="connsiteX280" fmla="*/ 11796375 w 12192000"/>
              <a:gd name="connsiteY280" fmla="*/ 4137169 h 4454665"/>
              <a:gd name="connsiteX281" fmla="*/ 11813840 w 12192000"/>
              <a:gd name="connsiteY281" fmla="*/ 4154803 h 4454665"/>
              <a:gd name="connsiteX282" fmla="*/ 11785895 w 12192000"/>
              <a:gd name="connsiteY282" fmla="*/ 4147750 h 4454665"/>
              <a:gd name="connsiteX283" fmla="*/ 11778908 w 12192000"/>
              <a:gd name="connsiteY283" fmla="*/ 4151276 h 4454665"/>
              <a:gd name="connsiteX284" fmla="*/ 11803361 w 12192000"/>
              <a:gd name="connsiteY284" fmla="*/ 4186545 h 4454665"/>
              <a:gd name="connsiteX285" fmla="*/ 11810348 w 12192000"/>
              <a:gd name="connsiteY285" fmla="*/ 4179491 h 4454665"/>
              <a:gd name="connsiteX286" fmla="*/ 11796375 w 12192000"/>
              <a:gd name="connsiteY286" fmla="*/ 4158330 h 4454665"/>
              <a:gd name="connsiteX287" fmla="*/ 11824320 w 12192000"/>
              <a:gd name="connsiteY287" fmla="*/ 4168910 h 4454665"/>
              <a:gd name="connsiteX288" fmla="*/ 11831307 w 12192000"/>
              <a:gd name="connsiteY288" fmla="*/ 4161857 h 4454665"/>
              <a:gd name="connsiteX289" fmla="*/ 11803361 w 12192000"/>
              <a:gd name="connsiteY289" fmla="*/ 4130116 h 4454665"/>
              <a:gd name="connsiteX290" fmla="*/ 11495008 w 12192000"/>
              <a:gd name="connsiteY290" fmla="*/ 4130116 h 4454665"/>
              <a:gd name="connsiteX291" fmla="*/ 11487980 w 12192000"/>
              <a:gd name="connsiteY291" fmla="*/ 4133629 h 4454665"/>
              <a:gd name="connsiteX292" fmla="*/ 11498522 w 12192000"/>
              <a:gd name="connsiteY292" fmla="*/ 4144171 h 4454665"/>
              <a:gd name="connsiteX293" fmla="*/ 11473924 w 12192000"/>
              <a:gd name="connsiteY293" fmla="*/ 4168768 h 4454665"/>
              <a:gd name="connsiteX294" fmla="*/ 11480952 w 12192000"/>
              <a:gd name="connsiteY294" fmla="*/ 4175796 h 4454665"/>
              <a:gd name="connsiteX295" fmla="*/ 11505548 w 12192000"/>
              <a:gd name="connsiteY295" fmla="*/ 4151199 h 4454665"/>
              <a:gd name="connsiteX296" fmla="*/ 11516090 w 12192000"/>
              <a:gd name="connsiteY296" fmla="*/ 4158226 h 4454665"/>
              <a:gd name="connsiteX297" fmla="*/ 11519604 w 12192000"/>
              <a:gd name="connsiteY297" fmla="*/ 4151199 h 4454665"/>
              <a:gd name="connsiteX298" fmla="*/ 11495008 w 12192000"/>
              <a:gd name="connsiteY298" fmla="*/ 4130116 h 4454665"/>
              <a:gd name="connsiteX299" fmla="*/ 11824589 w 12192000"/>
              <a:gd name="connsiteY299" fmla="*/ 4119367 h 4454665"/>
              <a:gd name="connsiteX300" fmla="*/ 11842055 w 12192000"/>
              <a:gd name="connsiteY300" fmla="*/ 4126085 h 4454665"/>
              <a:gd name="connsiteX301" fmla="*/ 11842055 w 12192000"/>
              <a:gd name="connsiteY301" fmla="*/ 4130116 h 4454665"/>
              <a:gd name="connsiteX302" fmla="*/ 11835337 w 12192000"/>
              <a:gd name="connsiteY302" fmla="*/ 4136834 h 4454665"/>
              <a:gd name="connsiteX303" fmla="*/ 11831307 w 12192000"/>
              <a:gd name="connsiteY303" fmla="*/ 4130116 h 4454665"/>
              <a:gd name="connsiteX304" fmla="*/ 11820942 w 12192000"/>
              <a:gd name="connsiteY304" fmla="*/ 4112649 h 4454665"/>
              <a:gd name="connsiteX305" fmla="*/ 11813840 w 12192000"/>
              <a:gd name="connsiteY305" fmla="*/ 4119591 h 4454665"/>
              <a:gd name="connsiteX306" fmla="*/ 11820942 w 12192000"/>
              <a:gd name="connsiteY306" fmla="*/ 4130003 h 4454665"/>
              <a:gd name="connsiteX307" fmla="*/ 11838696 w 12192000"/>
              <a:gd name="connsiteY307" fmla="*/ 4154299 h 4454665"/>
              <a:gd name="connsiteX308" fmla="*/ 11842247 w 12192000"/>
              <a:gd name="connsiteY308" fmla="*/ 4150829 h 4454665"/>
              <a:gd name="connsiteX309" fmla="*/ 11838696 w 12192000"/>
              <a:gd name="connsiteY309" fmla="*/ 4143887 h 4454665"/>
              <a:gd name="connsiteX310" fmla="*/ 11849349 w 12192000"/>
              <a:gd name="connsiteY310" fmla="*/ 4130003 h 4454665"/>
              <a:gd name="connsiteX311" fmla="*/ 11856450 w 12192000"/>
              <a:gd name="connsiteY311" fmla="*/ 4130003 h 4454665"/>
              <a:gd name="connsiteX312" fmla="*/ 11860002 w 12192000"/>
              <a:gd name="connsiteY312" fmla="*/ 4130003 h 4454665"/>
              <a:gd name="connsiteX313" fmla="*/ 11863552 w 12192000"/>
              <a:gd name="connsiteY313" fmla="*/ 4123061 h 4454665"/>
              <a:gd name="connsiteX314" fmla="*/ 11820942 w 12192000"/>
              <a:gd name="connsiteY314" fmla="*/ 4112649 h 4454665"/>
              <a:gd name="connsiteX315" fmla="*/ 11466198 w 12192000"/>
              <a:gd name="connsiteY315" fmla="*/ 4097870 h 4454665"/>
              <a:gd name="connsiteX316" fmla="*/ 11430930 w 12192000"/>
              <a:gd name="connsiteY316" fmla="*/ 4122950 h 4454665"/>
              <a:gd name="connsiteX317" fmla="*/ 11437984 w 12192000"/>
              <a:gd name="connsiteY317" fmla="*/ 4130116 h 4454665"/>
              <a:gd name="connsiteX318" fmla="*/ 11459145 w 12192000"/>
              <a:gd name="connsiteY318" fmla="*/ 4115785 h 4454665"/>
              <a:gd name="connsiteX319" fmla="*/ 11448564 w 12192000"/>
              <a:gd name="connsiteY319" fmla="*/ 4144446 h 4454665"/>
              <a:gd name="connsiteX320" fmla="*/ 11455618 w 12192000"/>
              <a:gd name="connsiteY320" fmla="*/ 4151612 h 4454665"/>
              <a:gd name="connsiteX321" fmla="*/ 11487359 w 12192000"/>
              <a:gd name="connsiteY321" fmla="*/ 4122950 h 4454665"/>
              <a:gd name="connsiteX322" fmla="*/ 11483833 w 12192000"/>
              <a:gd name="connsiteY322" fmla="*/ 4115785 h 4454665"/>
              <a:gd name="connsiteX323" fmla="*/ 11462672 w 12192000"/>
              <a:gd name="connsiteY323" fmla="*/ 4133698 h 4454665"/>
              <a:gd name="connsiteX324" fmla="*/ 11473252 w 12192000"/>
              <a:gd name="connsiteY324" fmla="*/ 4105036 h 4454665"/>
              <a:gd name="connsiteX325" fmla="*/ 11466198 w 12192000"/>
              <a:gd name="connsiteY325" fmla="*/ 4097870 h 4454665"/>
              <a:gd name="connsiteX326" fmla="*/ 11835338 w 12192000"/>
              <a:gd name="connsiteY326" fmla="*/ 4087122 h 4454665"/>
              <a:gd name="connsiteX327" fmla="*/ 11831307 w 12192000"/>
              <a:gd name="connsiteY327" fmla="*/ 4095183 h 4454665"/>
              <a:gd name="connsiteX328" fmla="*/ 11870270 w 12192000"/>
              <a:gd name="connsiteY328" fmla="*/ 4115337 h 4454665"/>
              <a:gd name="connsiteX329" fmla="*/ 11883706 w 12192000"/>
              <a:gd name="connsiteY329" fmla="*/ 4091153 h 4454665"/>
              <a:gd name="connsiteX330" fmla="*/ 11876988 w 12192000"/>
              <a:gd name="connsiteY330" fmla="*/ 4087122 h 4454665"/>
              <a:gd name="connsiteX331" fmla="*/ 11866239 w 12192000"/>
              <a:gd name="connsiteY331" fmla="*/ 4105932 h 4454665"/>
              <a:gd name="connsiteX332" fmla="*/ 11459634 w 12192000"/>
              <a:gd name="connsiteY332" fmla="*/ 4084435 h 4454665"/>
              <a:gd name="connsiteX333" fmla="*/ 11424212 w 12192000"/>
              <a:gd name="connsiteY333" fmla="*/ 4105597 h 4454665"/>
              <a:gd name="connsiteX334" fmla="*/ 11427754 w 12192000"/>
              <a:gd name="connsiteY334" fmla="*/ 4112650 h 4454665"/>
              <a:gd name="connsiteX335" fmla="*/ 11463176 w 12192000"/>
              <a:gd name="connsiteY335" fmla="*/ 4091489 h 4454665"/>
              <a:gd name="connsiteX336" fmla="*/ 11459634 w 12192000"/>
              <a:gd name="connsiteY336" fmla="*/ 4084435 h 4454665"/>
              <a:gd name="connsiteX337" fmla="*/ 11450927 w 12192000"/>
              <a:gd name="connsiteY337" fmla="*/ 4050825 h 4454665"/>
              <a:gd name="connsiteX338" fmla="*/ 11456192 w 12192000"/>
              <a:gd name="connsiteY338" fmla="*/ 4056556 h 4454665"/>
              <a:gd name="connsiteX339" fmla="*/ 11649257 w 12192000"/>
              <a:gd name="connsiteY339" fmla="*/ 4187049 h 4454665"/>
              <a:gd name="connsiteX340" fmla="*/ 11842320 w 12192000"/>
              <a:gd name="connsiteY340" fmla="*/ 4056556 h 4454665"/>
              <a:gd name="connsiteX341" fmla="*/ 11847586 w 12192000"/>
              <a:gd name="connsiteY341" fmla="*/ 4050825 h 4454665"/>
              <a:gd name="connsiteX342" fmla="*/ 11852851 w 12192000"/>
              <a:gd name="connsiteY342" fmla="*/ 4053029 h 4454665"/>
              <a:gd name="connsiteX343" fmla="*/ 11891464 w 12192000"/>
              <a:gd name="connsiteY343" fmla="*/ 4063610 h 4454665"/>
              <a:gd name="connsiteX344" fmla="*/ 11898484 w 12192000"/>
              <a:gd name="connsiteY344" fmla="*/ 4074190 h 4454665"/>
              <a:gd name="connsiteX345" fmla="*/ 11649257 w 12192000"/>
              <a:gd name="connsiteY345" fmla="*/ 4247005 h 4454665"/>
              <a:gd name="connsiteX346" fmla="*/ 11400028 w 12192000"/>
              <a:gd name="connsiteY346" fmla="*/ 4077718 h 4454665"/>
              <a:gd name="connsiteX347" fmla="*/ 11407049 w 12192000"/>
              <a:gd name="connsiteY347" fmla="*/ 4063610 h 4454665"/>
              <a:gd name="connsiteX348" fmla="*/ 11445662 w 12192000"/>
              <a:gd name="connsiteY348" fmla="*/ 4053029 h 4454665"/>
              <a:gd name="connsiteX349" fmla="*/ 11450927 w 12192000"/>
              <a:gd name="connsiteY349" fmla="*/ 4050825 h 4454665"/>
              <a:gd name="connsiteX350" fmla="*/ 11603442 w 12192000"/>
              <a:gd name="connsiteY350" fmla="*/ 4044987 h 4454665"/>
              <a:gd name="connsiteX351" fmla="*/ 11613922 w 12192000"/>
              <a:gd name="connsiteY351" fmla="*/ 4044987 h 4454665"/>
              <a:gd name="connsiteX352" fmla="*/ 11617414 w 12192000"/>
              <a:gd name="connsiteY352" fmla="*/ 4052078 h 4454665"/>
              <a:gd name="connsiteX353" fmla="*/ 11624401 w 12192000"/>
              <a:gd name="connsiteY353" fmla="*/ 4154897 h 4454665"/>
              <a:gd name="connsiteX354" fmla="*/ 11620908 w 12192000"/>
              <a:gd name="connsiteY354" fmla="*/ 4165534 h 4454665"/>
              <a:gd name="connsiteX355" fmla="*/ 11613922 w 12192000"/>
              <a:gd name="connsiteY355" fmla="*/ 4165534 h 4454665"/>
              <a:gd name="connsiteX356" fmla="*/ 11505632 w 12192000"/>
              <a:gd name="connsiteY356" fmla="*/ 4101714 h 4454665"/>
              <a:gd name="connsiteX357" fmla="*/ 11502138 w 12192000"/>
              <a:gd name="connsiteY357" fmla="*/ 4098169 h 4454665"/>
              <a:gd name="connsiteX358" fmla="*/ 11502138 w 12192000"/>
              <a:gd name="connsiteY358" fmla="*/ 4094624 h 4454665"/>
              <a:gd name="connsiteX359" fmla="*/ 11509124 w 12192000"/>
              <a:gd name="connsiteY359" fmla="*/ 4091079 h 4454665"/>
              <a:gd name="connsiteX360" fmla="*/ 11603442 w 12192000"/>
              <a:gd name="connsiteY360" fmla="*/ 4044987 h 4454665"/>
              <a:gd name="connsiteX361" fmla="*/ 11688084 w 12192000"/>
              <a:gd name="connsiteY361" fmla="*/ 4041441 h 4454665"/>
              <a:gd name="connsiteX362" fmla="*/ 11698565 w 12192000"/>
              <a:gd name="connsiteY362" fmla="*/ 4041441 h 4454665"/>
              <a:gd name="connsiteX363" fmla="*/ 11789388 w 12192000"/>
              <a:gd name="connsiteY363" fmla="*/ 4087352 h 4454665"/>
              <a:gd name="connsiteX364" fmla="*/ 11796375 w 12192000"/>
              <a:gd name="connsiteY364" fmla="*/ 4094416 h 4454665"/>
              <a:gd name="connsiteX365" fmla="*/ 11792882 w 12192000"/>
              <a:gd name="connsiteY365" fmla="*/ 4101479 h 4454665"/>
              <a:gd name="connsiteX366" fmla="*/ 11684592 w 12192000"/>
              <a:gd name="connsiteY366" fmla="*/ 4165048 h 4454665"/>
              <a:gd name="connsiteX367" fmla="*/ 11677605 w 12192000"/>
              <a:gd name="connsiteY367" fmla="*/ 4165048 h 4454665"/>
              <a:gd name="connsiteX368" fmla="*/ 11674112 w 12192000"/>
              <a:gd name="connsiteY368" fmla="*/ 4154453 h 4454665"/>
              <a:gd name="connsiteX369" fmla="*/ 11684592 w 12192000"/>
              <a:gd name="connsiteY369" fmla="*/ 4052037 h 4454665"/>
              <a:gd name="connsiteX370" fmla="*/ 11688084 w 12192000"/>
              <a:gd name="connsiteY370" fmla="*/ 4041441 h 4454665"/>
              <a:gd name="connsiteX371" fmla="*/ 10810283 w 12192000"/>
              <a:gd name="connsiteY371" fmla="*/ 4002477 h 4454665"/>
              <a:gd name="connsiteX372" fmla="*/ 10851862 w 12192000"/>
              <a:gd name="connsiteY372" fmla="*/ 4002477 h 4454665"/>
              <a:gd name="connsiteX373" fmla="*/ 10851862 w 12192000"/>
              <a:gd name="connsiteY373" fmla="*/ 4045087 h 4454665"/>
              <a:gd name="connsiteX374" fmla="*/ 10803353 w 12192000"/>
              <a:gd name="connsiteY374" fmla="*/ 4052189 h 4454665"/>
              <a:gd name="connsiteX375" fmla="*/ 10786028 w 12192000"/>
              <a:gd name="connsiteY375" fmla="*/ 4027333 h 4454665"/>
              <a:gd name="connsiteX376" fmla="*/ 10810283 w 12192000"/>
              <a:gd name="connsiteY376" fmla="*/ 4002477 h 4454665"/>
              <a:gd name="connsiteX377" fmla="*/ 10494479 w 12192000"/>
              <a:gd name="connsiteY377" fmla="*/ 3932612 h 4454665"/>
              <a:gd name="connsiteX378" fmla="*/ 10536128 w 12192000"/>
              <a:gd name="connsiteY378" fmla="*/ 3988884 h 4454665"/>
              <a:gd name="connsiteX379" fmla="*/ 10494479 w 12192000"/>
              <a:gd name="connsiteY379" fmla="*/ 4052188 h 4454665"/>
              <a:gd name="connsiteX380" fmla="*/ 10452829 w 12192000"/>
              <a:gd name="connsiteY380" fmla="*/ 3988884 h 4454665"/>
              <a:gd name="connsiteX381" fmla="*/ 10494479 w 12192000"/>
              <a:gd name="connsiteY381" fmla="*/ 3932612 h 4454665"/>
              <a:gd name="connsiteX382" fmla="*/ 11639005 w 12192000"/>
              <a:gd name="connsiteY382" fmla="*/ 3928583 h 4454665"/>
              <a:gd name="connsiteX383" fmla="*/ 11660034 w 12192000"/>
              <a:gd name="connsiteY383" fmla="*/ 3928583 h 4454665"/>
              <a:gd name="connsiteX384" fmla="*/ 11660034 w 12192000"/>
              <a:gd name="connsiteY384" fmla="*/ 3939223 h 4454665"/>
              <a:gd name="connsiteX385" fmla="*/ 11691578 w 12192000"/>
              <a:gd name="connsiteY385" fmla="*/ 3978240 h 4454665"/>
              <a:gd name="connsiteX386" fmla="*/ 11649519 w 12192000"/>
              <a:gd name="connsiteY386" fmla="*/ 4017257 h 4454665"/>
              <a:gd name="connsiteX387" fmla="*/ 11610966 w 12192000"/>
              <a:gd name="connsiteY387" fmla="*/ 3978240 h 4454665"/>
              <a:gd name="connsiteX388" fmla="*/ 11639005 w 12192000"/>
              <a:gd name="connsiteY388" fmla="*/ 3939223 h 4454665"/>
              <a:gd name="connsiteX389" fmla="*/ 11639005 w 12192000"/>
              <a:gd name="connsiteY389" fmla="*/ 3928583 h 4454665"/>
              <a:gd name="connsiteX390" fmla="*/ 11649257 w 12192000"/>
              <a:gd name="connsiteY390" fmla="*/ 3917834 h 4454665"/>
              <a:gd name="connsiteX391" fmla="*/ 11589469 w 12192000"/>
              <a:gd name="connsiteY391" fmla="*/ 3978294 h 4454665"/>
              <a:gd name="connsiteX392" fmla="*/ 11649257 w 12192000"/>
              <a:gd name="connsiteY392" fmla="*/ 4038754 h 4454665"/>
              <a:gd name="connsiteX393" fmla="*/ 11709045 w 12192000"/>
              <a:gd name="connsiteY393" fmla="*/ 3978294 h 4454665"/>
              <a:gd name="connsiteX394" fmla="*/ 11649257 w 12192000"/>
              <a:gd name="connsiteY394" fmla="*/ 3917834 h 4454665"/>
              <a:gd name="connsiteX395" fmla="*/ 11649257 w 12192000"/>
              <a:gd name="connsiteY395" fmla="*/ 3911117 h 4454665"/>
              <a:gd name="connsiteX396" fmla="*/ 11715763 w 12192000"/>
              <a:gd name="connsiteY396" fmla="*/ 3978294 h 4454665"/>
              <a:gd name="connsiteX397" fmla="*/ 11649257 w 12192000"/>
              <a:gd name="connsiteY397" fmla="*/ 4045472 h 4454665"/>
              <a:gd name="connsiteX398" fmla="*/ 11582751 w 12192000"/>
              <a:gd name="connsiteY398" fmla="*/ 3978294 h 4454665"/>
              <a:gd name="connsiteX399" fmla="*/ 11649257 w 12192000"/>
              <a:gd name="connsiteY399" fmla="*/ 3911117 h 4454665"/>
              <a:gd name="connsiteX400" fmla="*/ 11824549 w 12192000"/>
              <a:gd name="connsiteY400" fmla="*/ 3908430 h 4454665"/>
              <a:gd name="connsiteX401" fmla="*/ 11828050 w 12192000"/>
              <a:gd name="connsiteY401" fmla="*/ 3915483 h 4454665"/>
              <a:gd name="connsiteX402" fmla="*/ 11828050 w 12192000"/>
              <a:gd name="connsiteY402" fmla="*/ 4038922 h 4454665"/>
              <a:gd name="connsiteX403" fmla="*/ 11824549 w 12192000"/>
              <a:gd name="connsiteY403" fmla="*/ 4045976 h 4454665"/>
              <a:gd name="connsiteX404" fmla="*/ 11817546 w 12192000"/>
              <a:gd name="connsiteY404" fmla="*/ 4045976 h 4454665"/>
              <a:gd name="connsiteX405" fmla="*/ 11730012 w 12192000"/>
              <a:gd name="connsiteY405" fmla="*/ 3986020 h 4454665"/>
              <a:gd name="connsiteX406" fmla="*/ 11726510 w 12192000"/>
              <a:gd name="connsiteY406" fmla="*/ 3978966 h 4454665"/>
              <a:gd name="connsiteX407" fmla="*/ 11730012 w 12192000"/>
              <a:gd name="connsiteY407" fmla="*/ 3968385 h 4454665"/>
              <a:gd name="connsiteX408" fmla="*/ 11814044 w 12192000"/>
              <a:gd name="connsiteY408" fmla="*/ 3911956 h 4454665"/>
              <a:gd name="connsiteX409" fmla="*/ 11824549 w 12192000"/>
              <a:gd name="connsiteY409" fmla="*/ 3908430 h 4454665"/>
              <a:gd name="connsiteX410" fmla="*/ 11473964 w 12192000"/>
              <a:gd name="connsiteY410" fmla="*/ 3908430 h 4454665"/>
              <a:gd name="connsiteX411" fmla="*/ 11480967 w 12192000"/>
              <a:gd name="connsiteY411" fmla="*/ 3911956 h 4454665"/>
              <a:gd name="connsiteX412" fmla="*/ 11568501 w 12192000"/>
              <a:gd name="connsiteY412" fmla="*/ 3968385 h 4454665"/>
              <a:gd name="connsiteX413" fmla="*/ 11572002 w 12192000"/>
              <a:gd name="connsiteY413" fmla="*/ 3978966 h 4454665"/>
              <a:gd name="connsiteX414" fmla="*/ 11568501 w 12192000"/>
              <a:gd name="connsiteY414" fmla="*/ 3986020 h 4454665"/>
              <a:gd name="connsiteX415" fmla="*/ 11480967 w 12192000"/>
              <a:gd name="connsiteY415" fmla="*/ 4045976 h 4454665"/>
              <a:gd name="connsiteX416" fmla="*/ 11473964 w 12192000"/>
              <a:gd name="connsiteY416" fmla="*/ 4045976 h 4454665"/>
              <a:gd name="connsiteX417" fmla="*/ 11466961 w 12192000"/>
              <a:gd name="connsiteY417" fmla="*/ 4042449 h 4454665"/>
              <a:gd name="connsiteX418" fmla="*/ 11466961 w 12192000"/>
              <a:gd name="connsiteY418" fmla="*/ 3915483 h 4454665"/>
              <a:gd name="connsiteX419" fmla="*/ 11473964 w 12192000"/>
              <a:gd name="connsiteY419" fmla="*/ 3908430 h 4454665"/>
              <a:gd name="connsiteX420" fmla="*/ 11070316 w 12192000"/>
              <a:gd name="connsiteY420" fmla="*/ 3897681 h 4454665"/>
              <a:gd name="connsiteX421" fmla="*/ 11070316 w 12192000"/>
              <a:gd name="connsiteY421" fmla="*/ 3904734 h 4454665"/>
              <a:gd name="connsiteX422" fmla="*/ 11112166 w 12192000"/>
              <a:gd name="connsiteY422" fmla="*/ 4066968 h 4454665"/>
              <a:gd name="connsiteX423" fmla="*/ 11133091 w 12192000"/>
              <a:gd name="connsiteY423" fmla="*/ 4088129 h 4454665"/>
              <a:gd name="connsiteX424" fmla="*/ 11143554 w 12192000"/>
              <a:gd name="connsiteY424" fmla="*/ 4088129 h 4454665"/>
              <a:gd name="connsiteX425" fmla="*/ 11140066 w 12192000"/>
              <a:gd name="connsiteY425" fmla="*/ 4095182 h 4454665"/>
              <a:gd name="connsiteX426" fmla="*/ 11112166 w 12192000"/>
              <a:gd name="connsiteY426" fmla="*/ 4116343 h 4454665"/>
              <a:gd name="connsiteX427" fmla="*/ 11077291 w 12192000"/>
              <a:gd name="connsiteY427" fmla="*/ 4112817 h 4454665"/>
              <a:gd name="connsiteX428" fmla="*/ 11073804 w 12192000"/>
              <a:gd name="connsiteY428" fmla="*/ 4116343 h 4454665"/>
              <a:gd name="connsiteX429" fmla="*/ 11070316 w 12192000"/>
              <a:gd name="connsiteY429" fmla="*/ 4119870 h 4454665"/>
              <a:gd name="connsiteX430" fmla="*/ 11070316 w 12192000"/>
              <a:gd name="connsiteY430" fmla="*/ 4141031 h 4454665"/>
              <a:gd name="connsiteX431" fmla="*/ 11077291 w 12192000"/>
              <a:gd name="connsiteY431" fmla="*/ 4148085 h 4454665"/>
              <a:gd name="connsiteX432" fmla="*/ 11122628 w 12192000"/>
              <a:gd name="connsiteY432" fmla="*/ 4151611 h 4454665"/>
              <a:gd name="connsiteX433" fmla="*/ 11126116 w 12192000"/>
              <a:gd name="connsiteY433" fmla="*/ 4151611 h 4454665"/>
              <a:gd name="connsiteX434" fmla="*/ 11181916 w 12192000"/>
              <a:gd name="connsiteY434" fmla="*/ 4098709 h 4454665"/>
              <a:gd name="connsiteX435" fmla="*/ 11213303 w 12192000"/>
              <a:gd name="connsiteY435" fmla="*/ 3968217 h 4454665"/>
              <a:gd name="connsiteX436" fmla="*/ 11227253 w 12192000"/>
              <a:gd name="connsiteY436" fmla="*/ 3925895 h 4454665"/>
              <a:gd name="connsiteX437" fmla="*/ 11230741 w 12192000"/>
              <a:gd name="connsiteY437" fmla="*/ 3904734 h 4454665"/>
              <a:gd name="connsiteX438" fmla="*/ 11230741 w 12192000"/>
              <a:gd name="connsiteY438" fmla="*/ 3897681 h 4454665"/>
              <a:gd name="connsiteX439" fmla="*/ 11223766 w 12192000"/>
              <a:gd name="connsiteY439" fmla="*/ 3897681 h 4454665"/>
              <a:gd name="connsiteX440" fmla="*/ 11195866 w 12192000"/>
              <a:gd name="connsiteY440" fmla="*/ 3897681 h 4454665"/>
              <a:gd name="connsiteX441" fmla="*/ 11188891 w 12192000"/>
              <a:gd name="connsiteY441" fmla="*/ 3901207 h 4454665"/>
              <a:gd name="connsiteX442" fmla="*/ 11150528 w 12192000"/>
              <a:gd name="connsiteY442" fmla="*/ 4045807 h 4454665"/>
              <a:gd name="connsiteX443" fmla="*/ 11147041 w 12192000"/>
              <a:gd name="connsiteY443" fmla="*/ 4045807 h 4454665"/>
              <a:gd name="connsiteX444" fmla="*/ 11112166 w 12192000"/>
              <a:gd name="connsiteY444" fmla="*/ 3901207 h 4454665"/>
              <a:gd name="connsiteX445" fmla="*/ 11105191 w 12192000"/>
              <a:gd name="connsiteY445" fmla="*/ 3897681 h 4454665"/>
              <a:gd name="connsiteX446" fmla="*/ 11077291 w 12192000"/>
              <a:gd name="connsiteY446" fmla="*/ 3897681 h 4454665"/>
              <a:gd name="connsiteX447" fmla="*/ 11070316 w 12192000"/>
              <a:gd name="connsiteY447" fmla="*/ 3897681 h 4454665"/>
              <a:gd name="connsiteX448" fmla="*/ 11038289 w 12192000"/>
              <a:gd name="connsiteY448" fmla="*/ 3893650 h 4454665"/>
              <a:gd name="connsiteX449" fmla="*/ 10985474 w 12192000"/>
              <a:gd name="connsiteY449" fmla="*/ 3914756 h 4454665"/>
              <a:gd name="connsiteX450" fmla="*/ 10985474 w 12192000"/>
              <a:gd name="connsiteY450" fmla="*/ 3904203 h 4454665"/>
              <a:gd name="connsiteX451" fmla="*/ 10978433 w 12192000"/>
              <a:gd name="connsiteY451" fmla="*/ 3897168 h 4454665"/>
              <a:gd name="connsiteX452" fmla="*/ 10950264 w 12192000"/>
              <a:gd name="connsiteY452" fmla="*/ 3897168 h 4454665"/>
              <a:gd name="connsiteX453" fmla="*/ 10943222 w 12192000"/>
              <a:gd name="connsiteY453" fmla="*/ 3904203 h 4454665"/>
              <a:gd name="connsiteX454" fmla="*/ 10943222 w 12192000"/>
              <a:gd name="connsiteY454" fmla="*/ 4080086 h 4454665"/>
              <a:gd name="connsiteX455" fmla="*/ 10950264 w 12192000"/>
              <a:gd name="connsiteY455" fmla="*/ 4087121 h 4454665"/>
              <a:gd name="connsiteX456" fmla="*/ 10978433 w 12192000"/>
              <a:gd name="connsiteY456" fmla="*/ 4087121 h 4454665"/>
              <a:gd name="connsiteX457" fmla="*/ 10985474 w 12192000"/>
              <a:gd name="connsiteY457" fmla="*/ 4080086 h 4454665"/>
              <a:gd name="connsiteX458" fmla="*/ 10985474 w 12192000"/>
              <a:gd name="connsiteY458" fmla="*/ 3956968 h 4454665"/>
              <a:gd name="connsiteX459" fmla="*/ 11038289 w 12192000"/>
              <a:gd name="connsiteY459" fmla="*/ 3935862 h 4454665"/>
              <a:gd name="connsiteX460" fmla="*/ 11045332 w 12192000"/>
              <a:gd name="connsiteY460" fmla="*/ 3928827 h 4454665"/>
              <a:gd name="connsiteX461" fmla="*/ 11045332 w 12192000"/>
              <a:gd name="connsiteY461" fmla="*/ 3900686 h 4454665"/>
              <a:gd name="connsiteX462" fmla="*/ 11041811 w 12192000"/>
              <a:gd name="connsiteY462" fmla="*/ 3897168 h 4454665"/>
              <a:gd name="connsiteX463" fmla="*/ 11038289 w 12192000"/>
              <a:gd name="connsiteY463" fmla="*/ 3893650 h 4454665"/>
              <a:gd name="connsiteX464" fmla="*/ 10831647 w 12192000"/>
              <a:gd name="connsiteY464" fmla="*/ 3889619 h 4454665"/>
              <a:gd name="connsiteX465" fmla="*/ 10761417 w 12192000"/>
              <a:gd name="connsiteY465" fmla="*/ 3896690 h 4454665"/>
              <a:gd name="connsiteX466" fmla="*/ 10754394 w 12192000"/>
              <a:gd name="connsiteY466" fmla="*/ 3903762 h 4454665"/>
              <a:gd name="connsiteX467" fmla="*/ 10754394 w 12192000"/>
              <a:gd name="connsiteY467" fmla="*/ 3928511 h 4454665"/>
              <a:gd name="connsiteX468" fmla="*/ 10757905 w 12192000"/>
              <a:gd name="connsiteY468" fmla="*/ 3935583 h 4454665"/>
              <a:gd name="connsiteX469" fmla="*/ 10761417 w 12192000"/>
              <a:gd name="connsiteY469" fmla="*/ 3935583 h 4454665"/>
              <a:gd name="connsiteX470" fmla="*/ 10828136 w 12192000"/>
              <a:gd name="connsiteY470" fmla="*/ 3932047 h 4454665"/>
              <a:gd name="connsiteX471" fmla="*/ 10852717 w 12192000"/>
              <a:gd name="connsiteY471" fmla="*/ 3956797 h 4454665"/>
              <a:gd name="connsiteX472" fmla="*/ 10852717 w 12192000"/>
              <a:gd name="connsiteY472" fmla="*/ 3967404 h 4454665"/>
              <a:gd name="connsiteX473" fmla="*/ 10803555 w 12192000"/>
              <a:gd name="connsiteY473" fmla="*/ 3970940 h 4454665"/>
              <a:gd name="connsiteX474" fmla="*/ 10740347 w 12192000"/>
              <a:gd name="connsiteY474" fmla="*/ 4031045 h 4454665"/>
              <a:gd name="connsiteX475" fmla="*/ 10796532 w 12192000"/>
              <a:gd name="connsiteY475" fmla="*/ 4091151 h 4454665"/>
              <a:gd name="connsiteX476" fmla="*/ 10859740 w 12192000"/>
              <a:gd name="connsiteY476" fmla="*/ 4077008 h 4454665"/>
              <a:gd name="connsiteX477" fmla="*/ 10887833 w 12192000"/>
              <a:gd name="connsiteY477" fmla="*/ 4091151 h 4454665"/>
              <a:gd name="connsiteX478" fmla="*/ 10894855 w 12192000"/>
              <a:gd name="connsiteY478" fmla="*/ 4087615 h 4454665"/>
              <a:gd name="connsiteX479" fmla="*/ 10894855 w 12192000"/>
              <a:gd name="connsiteY479" fmla="*/ 4084080 h 4454665"/>
              <a:gd name="connsiteX480" fmla="*/ 10894855 w 12192000"/>
              <a:gd name="connsiteY480" fmla="*/ 3956797 h 4454665"/>
              <a:gd name="connsiteX481" fmla="*/ 10831647 w 12192000"/>
              <a:gd name="connsiteY481" fmla="*/ 3889619 h 4454665"/>
              <a:gd name="connsiteX482" fmla="*/ 10495822 w 12192000"/>
              <a:gd name="connsiteY482" fmla="*/ 3889618 h 4454665"/>
              <a:gd name="connsiteX483" fmla="*/ 10409835 w 12192000"/>
              <a:gd name="connsiteY483" fmla="*/ 3990385 h 4454665"/>
              <a:gd name="connsiteX484" fmla="*/ 10495822 w 12192000"/>
              <a:gd name="connsiteY484" fmla="*/ 4091151 h 4454665"/>
              <a:gd name="connsiteX485" fmla="*/ 10581809 w 12192000"/>
              <a:gd name="connsiteY485" fmla="*/ 3990385 h 4454665"/>
              <a:gd name="connsiteX486" fmla="*/ 10495822 w 12192000"/>
              <a:gd name="connsiteY486" fmla="*/ 3889618 h 4454665"/>
              <a:gd name="connsiteX487" fmla="*/ 10241892 w 12192000"/>
              <a:gd name="connsiteY487" fmla="*/ 3865435 h 4454665"/>
              <a:gd name="connsiteX488" fmla="*/ 10273241 w 12192000"/>
              <a:gd name="connsiteY488" fmla="*/ 3865435 h 4454665"/>
              <a:gd name="connsiteX489" fmla="*/ 10290657 w 12192000"/>
              <a:gd name="connsiteY489" fmla="*/ 3865435 h 4454665"/>
              <a:gd name="connsiteX490" fmla="*/ 10335940 w 12192000"/>
              <a:gd name="connsiteY490" fmla="*/ 3904399 h 4454665"/>
              <a:gd name="connsiteX491" fmla="*/ 10287174 w 12192000"/>
              <a:gd name="connsiteY491" fmla="*/ 3943361 h 4454665"/>
              <a:gd name="connsiteX492" fmla="*/ 10241892 w 12192000"/>
              <a:gd name="connsiteY492" fmla="*/ 3943361 h 4454665"/>
              <a:gd name="connsiteX493" fmla="*/ 10241892 w 12192000"/>
              <a:gd name="connsiteY493" fmla="*/ 3865435 h 4454665"/>
              <a:gd name="connsiteX494" fmla="*/ 10659063 w 12192000"/>
              <a:gd name="connsiteY494" fmla="*/ 3852000 h 4454665"/>
              <a:gd name="connsiteX495" fmla="*/ 10627410 w 12192000"/>
              <a:gd name="connsiteY495" fmla="*/ 3859034 h 4454665"/>
              <a:gd name="connsiteX496" fmla="*/ 10623893 w 12192000"/>
              <a:gd name="connsiteY496" fmla="*/ 3866068 h 4454665"/>
              <a:gd name="connsiteX497" fmla="*/ 10623893 w 12192000"/>
              <a:gd name="connsiteY497" fmla="*/ 3897720 h 4454665"/>
              <a:gd name="connsiteX498" fmla="*/ 10606308 w 12192000"/>
              <a:gd name="connsiteY498" fmla="*/ 3897720 h 4454665"/>
              <a:gd name="connsiteX499" fmla="*/ 10599275 w 12192000"/>
              <a:gd name="connsiteY499" fmla="*/ 3904754 h 4454665"/>
              <a:gd name="connsiteX500" fmla="*/ 10599275 w 12192000"/>
              <a:gd name="connsiteY500" fmla="*/ 3929372 h 4454665"/>
              <a:gd name="connsiteX501" fmla="*/ 10606308 w 12192000"/>
              <a:gd name="connsiteY501" fmla="*/ 3936406 h 4454665"/>
              <a:gd name="connsiteX502" fmla="*/ 10623893 w 12192000"/>
              <a:gd name="connsiteY502" fmla="*/ 3936406 h 4454665"/>
              <a:gd name="connsiteX503" fmla="*/ 10623893 w 12192000"/>
              <a:gd name="connsiteY503" fmla="*/ 4020813 h 4454665"/>
              <a:gd name="connsiteX504" fmla="*/ 10680164 w 12192000"/>
              <a:gd name="connsiteY504" fmla="*/ 4091151 h 4454665"/>
              <a:gd name="connsiteX505" fmla="*/ 10711817 w 12192000"/>
              <a:gd name="connsiteY505" fmla="*/ 4087635 h 4454665"/>
              <a:gd name="connsiteX506" fmla="*/ 10718851 w 12192000"/>
              <a:gd name="connsiteY506" fmla="*/ 4080600 h 4454665"/>
              <a:gd name="connsiteX507" fmla="*/ 10718851 w 12192000"/>
              <a:gd name="connsiteY507" fmla="*/ 4055982 h 4454665"/>
              <a:gd name="connsiteX508" fmla="*/ 10711817 w 12192000"/>
              <a:gd name="connsiteY508" fmla="*/ 4048948 h 4454665"/>
              <a:gd name="connsiteX509" fmla="*/ 10687198 w 12192000"/>
              <a:gd name="connsiteY509" fmla="*/ 4048948 h 4454665"/>
              <a:gd name="connsiteX510" fmla="*/ 10666096 w 12192000"/>
              <a:gd name="connsiteY510" fmla="*/ 4013779 h 4454665"/>
              <a:gd name="connsiteX511" fmla="*/ 10666096 w 12192000"/>
              <a:gd name="connsiteY511" fmla="*/ 3936406 h 4454665"/>
              <a:gd name="connsiteX512" fmla="*/ 10711817 w 12192000"/>
              <a:gd name="connsiteY512" fmla="*/ 3936406 h 4454665"/>
              <a:gd name="connsiteX513" fmla="*/ 10718851 w 12192000"/>
              <a:gd name="connsiteY513" fmla="*/ 3929372 h 4454665"/>
              <a:gd name="connsiteX514" fmla="*/ 10718851 w 12192000"/>
              <a:gd name="connsiteY514" fmla="*/ 3904754 h 4454665"/>
              <a:gd name="connsiteX515" fmla="*/ 10711817 w 12192000"/>
              <a:gd name="connsiteY515" fmla="*/ 3897720 h 4454665"/>
              <a:gd name="connsiteX516" fmla="*/ 10666096 w 12192000"/>
              <a:gd name="connsiteY516" fmla="*/ 3897720 h 4454665"/>
              <a:gd name="connsiteX517" fmla="*/ 10666096 w 12192000"/>
              <a:gd name="connsiteY517" fmla="*/ 3859034 h 4454665"/>
              <a:gd name="connsiteX518" fmla="*/ 10662580 w 12192000"/>
              <a:gd name="connsiteY518" fmla="*/ 3852000 h 4454665"/>
              <a:gd name="connsiteX519" fmla="*/ 10659063 w 12192000"/>
              <a:gd name="connsiteY519" fmla="*/ 3852000 h 4454665"/>
              <a:gd name="connsiteX520" fmla="*/ 10283668 w 12192000"/>
              <a:gd name="connsiteY520" fmla="*/ 3823786 h 4454665"/>
              <a:gd name="connsiteX521" fmla="*/ 10203208 w 12192000"/>
              <a:gd name="connsiteY521" fmla="*/ 3827297 h 4454665"/>
              <a:gd name="connsiteX522" fmla="*/ 10196211 w 12192000"/>
              <a:gd name="connsiteY522" fmla="*/ 3834319 h 4454665"/>
              <a:gd name="connsiteX523" fmla="*/ 10196211 w 12192000"/>
              <a:gd name="connsiteY523" fmla="*/ 4080099 h 4454665"/>
              <a:gd name="connsiteX524" fmla="*/ 10203208 w 12192000"/>
              <a:gd name="connsiteY524" fmla="*/ 4087121 h 4454665"/>
              <a:gd name="connsiteX525" fmla="*/ 10234693 w 12192000"/>
              <a:gd name="connsiteY525" fmla="*/ 4087121 h 4454665"/>
              <a:gd name="connsiteX526" fmla="*/ 10241689 w 12192000"/>
              <a:gd name="connsiteY526" fmla="*/ 4080099 h 4454665"/>
              <a:gd name="connsiteX527" fmla="*/ 10241689 w 12192000"/>
              <a:gd name="connsiteY527" fmla="*/ 3981787 h 4454665"/>
              <a:gd name="connsiteX528" fmla="*/ 10290665 w 12192000"/>
              <a:gd name="connsiteY528" fmla="*/ 3985298 h 4454665"/>
              <a:gd name="connsiteX529" fmla="*/ 10336143 w 12192000"/>
              <a:gd name="connsiteY529" fmla="*/ 4083610 h 4454665"/>
              <a:gd name="connsiteX530" fmla="*/ 10343139 w 12192000"/>
              <a:gd name="connsiteY530" fmla="*/ 4087121 h 4454665"/>
              <a:gd name="connsiteX531" fmla="*/ 10374624 w 12192000"/>
              <a:gd name="connsiteY531" fmla="*/ 4087121 h 4454665"/>
              <a:gd name="connsiteX532" fmla="*/ 10381620 w 12192000"/>
              <a:gd name="connsiteY532" fmla="*/ 4083610 h 4454665"/>
              <a:gd name="connsiteX533" fmla="*/ 10381620 w 12192000"/>
              <a:gd name="connsiteY533" fmla="*/ 4076588 h 4454665"/>
              <a:gd name="connsiteX534" fmla="*/ 10336143 w 12192000"/>
              <a:gd name="connsiteY534" fmla="*/ 3971254 h 4454665"/>
              <a:gd name="connsiteX535" fmla="*/ 10381620 w 12192000"/>
              <a:gd name="connsiteY535" fmla="*/ 3904542 h 4454665"/>
              <a:gd name="connsiteX536" fmla="*/ 10290665 w 12192000"/>
              <a:gd name="connsiteY536" fmla="*/ 3823786 h 4454665"/>
              <a:gd name="connsiteX537" fmla="*/ 10283668 w 12192000"/>
              <a:gd name="connsiteY537" fmla="*/ 3823786 h 4454665"/>
              <a:gd name="connsiteX538" fmla="*/ 11839186 w 12192000"/>
              <a:gd name="connsiteY538" fmla="*/ 3792864 h 4454665"/>
              <a:gd name="connsiteX539" fmla="*/ 11845722 w 12192000"/>
              <a:gd name="connsiteY539" fmla="*/ 3798595 h 4454665"/>
              <a:gd name="connsiteX540" fmla="*/ 11908470 w 12192000"/>
              <a:gd name="connsiteY540" fmla="*/ 4038419 h 4454665"/>
              <a:gd name="connsiteX541" fmla="*/ 11898012 w 12192000"/>
              <a:gd name="connsiteY541" fmla="*/ 4041946 h 4454665"/>
              <a:gd name="connsiteX542" fmla="*/ 11859666 w 12192000"/>
              <a:gd name="connsiteY542" fmla="*/ 4031365 h 4454665"/>
              <a:gd name="connsiteX543" fmla="*/ 11852694 w 12192000"/>
              <a:gd name="connsiteY543" fmla="*/ 4020785 h 4454665"/>
              <a:gd name="connsiteX544" fmla="*/ 11807377 w 12192000"/>
              <a:gd name="connsiteY544" fmla="*/ 3840917 h 4454665"/>
              <a:gd name="connsiteX545" fmla="*/ 11807377 w 12192000"/>
              <a:gd name="connsiteY545" fmla="*/ 3826810 h 4454665"/>
              <a:gd name="connsiteX546" fmla="*/ 11835264 w 12192000"/>
              <a:gd name="connsiteY546" fmla="*/ 3795068 h 4454665"/>
              <a:gd name="connsiteX547" fmla="*/ 11839186 w 12192000"/>
              <a:gd name="connsiteY547" fmla="*/ 3792864 h 4454665"/>
              <a:gd name="connsiteX548" fmla="*/ 11458923 w 12192000"/>
              <a:gd name="connsiteY548" fmla="*/ 3792864 h 4454665"/>
              <a:gd name="connsiteX549" fmla="*/ 11462885 w 12192000"/>
              <a:gd name="connsiteY549" fmla="*/ 3795068 h 4454665"/>
              <a:gd name="connsiteX550" fmla="*/ 11494585 w 12192000"/>
              <a:gd name="connsiteY550" fmla="*/ 3826810 h 4454665"/>
              <a:gd name="connsiteX551" fmla="*/ 11491063 w 12192000"/>
              <a:gd name="connsiteY551" fmla="*/ 3840917 h 4454665"/>
              <a:gd name="connsiteX552" fmla="*/ 11445274 w 12192000"/>
              <a:gd name="connsiteY552" fmla="*/ 4020785 h 4454665"/>
              <a:gd name="connsiteX553" fmla="*/ 11438229 w 12192000"/>
              <a:gd name="connsiteY553" fmla="*/ 4031365 h 4454665"/>
              <a:gd name="connsiteX554" fmla="*/ 11399484 w 12192000"/>
              <a:gd name="connsiteY554" fmla="*/ 4041946 h 4454665"/>
              <a:gd name="connsiteX555" fmla="*/ 11388917 w 12192000"/>
              <a:gd name="connsiteY555" fmla="*/ 4038419 h 4454665"/>
              <a:gd name="connsiteX556" fmla="*/ 11452318 w 12192000"/>
              <a:gd name="connsiteY556" fmla="*/ 3798595 h 4454665"/>
              <a:gd name="connsiteX557" fmla="*/ 11458923 w 12192000"/>
              <a:gd name="connsiteY557" fmla="*/ 3792864 h 4454665"/>
              <a:gd name="connsiteX558" fmla="*/ 11677605 w 12192000"/>
              <a:gd name="connsiteY558" fmla="*/ 3787510 h 4454665"/>
              <a:gd name="connsiteX559" fmla="*/ 11684592 w 12192000"/>
              <a:gd name="connsiteY559" fmla="*/ 3787510 h 4454665"/>
              <a:gd name="connsiteX560" fmla="*/ 11792882 w 12192000"/>
              <a:gd name="connsiteY560" fmla="*/ 3851079 h 4454665"/>
              <a:gd name="connsiteX561" fmla="*/ 11796375 w 12192000"/>
              <a:gd name="connsiteY561" fmla="*/ 3858143 h 4454665"/>
              <a:gd name="connsiteX562" fmla="*/ 11789388 w 12192000"/>
              <a:gd name="connsiteY562" fmla="*/ 3865206 h 4454665"/>
              <a:gd name="connsiteX563" fmla="*/ 11698565 w 12192000"/>
              <a:gd name="connsiteY563" fmla="*/ 3911117 h 4454665"/>
              <a:gd name="connsiteX564" fmla="*/ 11688084 w 12192000"/>
              <a:gd name="connsiteY564" fmla="*/ 3911117 h 4454665"/>
              <a:gd name="connsiteX565" fmla="*/ 11681098 w 12192000"/>
              <a:gd name="connsiteY565" fmla="*/ 3900522 h 4454665"/>
              <a:gd name="connsiteX566" fmla="*/ 11674112 w 12192000"/>
              <a:gd name="connsiteY566" fmla="*/ 3798106 h 4454665"/>
              <a:gd name="connsiteX567" fmla="*/ 11677605 w 12192000"/>
              <a:gd name="connsiteY567" fmla="*/ 3787510 h 4454665"/>
              <a:gd name="connsiteX568" fmla="*/ 11613922 w 12192000"/>
              <a:gd name="connsiteY568" fmla="*/ 3787510 h 4454665"/>
              <a:gd name="connsiteX569" fmla="*/ 11620908 w 12192000"/>
              <a:gd name="connsiteY569" fmla="*/ 3787510 h 4454665"/>
              <a:gd name="connsiteX570" fmla="*/ 11624401 w 12192000"/>
              <a:gd name="connsiteY570" fmla="*/ 3798106 h 4454665"/>
              <a:gd name="connsiteX571" fmla="*/ 11613922 w 12192000"/>
              <a:gd name="connsiteY571" fmla="*/ 3904053 h 4454665"/>
              <a:gd name="connsiteX572" fmla="*/ 11610428 w 12192000"/>
              <a:gd name="connsiteY572" fmla="*/ 3911117 h 4454665"/>
              <a:gd name="connsiteX573" fmla="*/ 11599949 w 12192000"/>
              <a:gd name="connsiteY573" fmla="*/ 3911117 h 4454665"/>
              <a:gd name="connsiteX574" fmla="*/ 11509124 w 12192000"/>
              <a:gd name="connsiteY574" fmla="*/ 3865206 h 4454665"/>
              <a:gd name="connsiteX575" fmla="*/ 11502138 w 12192000"/>
              <a:gd name="connsiteY575" fmla="*/ 3858143 h 4454665"/>
              <a:gd name="connsiteX576" fmla="*/ 11505632 w 12192000"/>
              <a:gd name="connsiteY576" fmla="*/ 3851079 h 4454665"/>
              <a:gd name="connsiteX577" fmla="*/ 11613922 w 12192000"/>
              <a:gd name="connsiteY577" fmla="*/ 3787510 h 4454665"/>
              <a:gd name="connsiteX578" fmla="*/ 11532772 w 12192000"/>
              <a:gd name="connsiteY578" fmla="*/ 3752578 h 4454665"/>
              <a:gd name="connsiteX579" fmla="*/ 11539758 w 12192000"/>
              <a:gd name="connsiteY579" fmla="*/ 3759968 h 4454665"/>
              <a:gd name="connsiteX580" fmla="*/ 11536265 w 12192000"/>
              <a:gd name="connsiteY580" fmla="*/ 3763663 h 4454665"/>
              <a:gd name="connsiteX581" fmla="*/ 11529278 w 12192000"/>
              <a:gd name="connsiteY581" fmla="*/ 3767358 h 4454665"/>
              <a:gd name="connsiteX582" fmla="*/ 11525785 w 12192000"/>
              <a:gd name="connsiteY582" fmla="*/ 3759968 h 4454665"/>
              <a:gd name="connsiteX583" fmla="*/ 11522292 w 12192000"/>
              <a:gd name="connsiteY583" fmla="*/ 3759968 h 4454665"/>
              <a:gd name="connsiteX584" fmla="*/ 11532772 w 12192000"/>
              <a:gd name="connsiteY584" fmla="*/ 3752578 h 4454665"/>
              <a:gd name="connsiteX585" fmla="*/ 11529297 w 12192000"/>
              <a:gd name="connsiteY585" fmla="*/ 3745381 h 4454665"/>
              <a:gd name="connsiteX586" fmla="*/ 11511543 w 12192000"/>
              <a:gd name="connsiteY586" fmla="*/ 3756033 h 4454665"/>
              <a:gd name="connsiteX587" fmla="*/ 11515094 w 12192000"/>
              <a:gd name="connsiteY587" fmla="*/ 3759584 h 4454665"/>
              <a:gd name="connsiteX588" fmla="*/ 11532848 w 12192000"/>
              <a:gd name="connsiteY588" fmla="*/ 3791542 h 4454665"/>
              <a:gd name="connsiteX589" fmla="*/ 11539950 w 12192000"/>
              <a:gd name="connsiteY589" fmla="*/ 3787990 h 4454665"/>
              <a:gd name="connsiteX590" fmla="*/ 11532848 w 12192000"/>
              <a:gd name="connsiteY590" fmla="*/ 3773787 h 4454665"/>
              <a:gd name="connsiteX591" fmla="*/ 11539950 w 12192000"/>
              <a:gd name="connsiteY591" fmla="*/ 3770237 h 4454665"/>
              <a:gd name="connsiteX592" fmla="*/ 11554153 w 12192000"/>
              <a:gd name="connsiteY592" fmla="*/ 3780889 h 4454665"/>
              <a:gd name="connsiteX593" fmla="*/ 11561255 w 12192000"/>
              <a:gd name="connsiteY593" fmla="*/ 3777338 h 4454665"/>
              <a:gd name="connsiteX594" fmla="*/ 11547052 w 12192000"/>
              <a:gd name="connsiteY594" fmla="*/ 3763135 h 4454665"/>
              <a:gd name="connsiteX595" fmla="*/ 11547052 w 12192000"/>
              <a:gd name="connsiteY595" fmla="*/ 3759584 h 4454665"/>
              <a:gd name="connsiteX596" fmla="*/ 11529297 w 12192000"/>
              <a:gd name="connsiteY596" fmla="*/ 3745381 h 4454665"/>
              <a:gd name="connsiteX597" fmla="*/ 11750205 w 12192000"/>
              <a:gd name="connsiteY597" fmla="*/ 3739143 h 4454665"/>
              <a:gd name="connsiteX598" fmla="*/ 11753748 w 12192000"/>
              <a:gd name="connsiteY598" fmla="*/ 3763327 h 4454665"/>
              <a:gd name="connsiteX599" fmla="*/ 11746663 w 12192000"/>
              <a:gd name="connsiteY599" fmla="*/ 3780601 h 4454665"/>
              <a:gd name="connsiteX600" fmla="*/ 11753748 w 12192000"/>
              <a:gd name="connsiteY600" fmla="*/ 3787510 h 4454665"/>
              <a:gd name="connsiteX601" fmla="*/ 11760832 w 12192000"/>
              <a:gd name="connsiteY601" fmla="*/ 3770236 h 4454665"/>
              <a:gd name="connsiteX602" fmla="*/ 11785626 w 12192000"/>
              <a:gd name="connsiteY602" fmla="*/ 3756417 h 4454665"/>
              <a:gd name="connsiteX603" fmla="*/ 11778543 w 12192000"/>
              <a:gd name="connsiteY603" fmla="*/ 3752962 h 4454665"/>
              <a:gd name="connsiteX604" fmla="*/ 11760832 w 12192000"/>
              <a:gd name="connsiteY604" fmla="*/ 3759872 h 4454665"/>
              <a:gd name="connsiteX605" fmla="*/ 11757290 w 12192000"/>
              <a:gd name="connsiteY605" fmla="*/ 3742597 h 4454665"/>
              <a:gd name="connsiteX606" fmla="*/ 11750205 w 12192000"/>
              <a:gd name="connsiteY606" fmla="*/ 3739143 h 4454665"/>
              <a:gd name="connsiteX607" fmla="*/ 11715224 w 12192000"/>
              <a:gd name="connsiteY607" fmla="*/ 3735113 h 4454665"/>
              <a:gd name="connsiteX608" fmla="*/ 11725705 w 12192000"/>
              <a:gd name="connsiteY608" fmla="*/ 3738472 h 4454665"/>
              <a:gd name="connsiteX609" fmla="*/ 11729197 w 12192000"/>
              <a:gd name="connsiteY609" fmla="*/ 3741831 h 4454665"/>
              <a:gd name="connsiteX610" fmla="*/ 11722211 w 12192000"/>
              <a:gd name="connsiteY610" fmla="*/ 3748548 h 4454665"/>
              <a:gd name="connsiteX611" fmla="*/ 11711731 w 12192000"/>
              <a:gd name="connsiteY611" fmla="*/ 3745189 h 4454665"/>
              <a:gd name="connsiteX612" fmla="*/ 11711731 w 12192000"/>
              <a:gd name="connsiteY612" fmla="*/ 3741831 h 4454665"/>
              <a:gd name="connsiteX613" fmla="*/ 11715224 w 12192000"/>
              <a:gd name="connsiteY613" fmla="*/ 3735113 h 4454665"/>
              <a:gd name="connsiteX614" fmla="*/ 11582079 w 12192000"/>
              <a:gd name="connsiteY614" fmla="*/ 3734608 h 4454665"/>
              <a:gd name="connsiteX615" fmla="*/ 11596187 w 12192000"/>
              <a:gd name="connsiteY615" fmla="*/ 3745189 h 4454665"/>
              <a:gd name="connsiteX616" fmla="*/ 11582079 w 12192000"/>
              <a:gd name="connsiteY616" fmla="*/ 3759296 h 4454665"/>
              <a:gd name="connsiteX617" fmla="*/ 11567972 w 12192000"/>
              <a:gd name="connsiteY617" fmla="*/ 3748716 h 4454665"/>
              <a:gd name="connsiteX618" fmla="*/ 11567972 w 12192000"/>
              <a:gd name="connsiteY618" fmla="*/ 3745189 h 4454665"/>
              <a:gd name="connsiteX619" fmla="*/ 11582079 w 12192000"/>
              <a:gd name="connsiteY619" fmla="*/ 3734608 h 4454665"/>
              <a:gd name="connsiteX620" fmla="*/ 11670081 w 12192000"/>
              <a:gd name="connsiteY620" fmla="*/ 3728394 h 4454665"/>
              <a:gd name="connsiteX621" fmla="*/ 11673440 w 12192000"/>
              <a:gd name="connsiteY621" fmla="*/ 3738874 h 4454665"/>
              <a:gd name="connsiteX622" fmla="*/ 11676799 w 12192000"/>
              <a:gd name="connsiteY622" fmla="*/ 3745861 h 4454665"/>
              <a:gd name="connsiteX623" fmla="*/ 11663363 w 12192000"/>
              <a:gd name="connsiteY623" fmla="*/ 3745861 h 4454665"/>
              <a:gd name="connsiteX624" fmla="*/ 11666722 w 12192000"/>
              <a:gd name="connsiteY624" fmla="*/ 3738874 h 4454665"/>
              <a:gd name="connsiteX625" fmla="*/ 11670081 w 12192000"/>
              <a:gd name="connsiteY625" fmla="*/ 3728394 h 4454665"/>
              <a:gd name="connsiteX626" fmla="*/ 11578609 w 12192000"/>
              <a:gd name="connsiteY626" fmla="*/ 3727878 h 4454665"/>
              <a:gd name="connsiteX627" fmla="*/ 11561254 w 12192000"/>
              <a:gd name="connsiteY627" fmla="*/ 3745448 h 4454665"/>
              <a:gd name="connsiteX628" fmla="*/ 11561254 w 12192000"/>
              <a:gd name="connsiteY628" fmla="*/ 3748961 h 4454665"/>
              <a:gd name="connsiteX629" fmla="*/ 11582079 w 12192000"/>
              <a:gd name="connsiteY629" fmla="*/ 3766531 h 4454665"/>
              <a:gd name="connsiteX630" fmla="*/ 11602904 w 12192000"/>
              <a:gd name="connsiteY630" fmla="*/ 3745448 h 4454665"/>
              <a:gd name="connsiteX631" fmla="*/ 11578609 w 12192000"/>
              <a:gd name="connsiteY631" fmla="*/ 3727878 h 4454665"/>
              <a:gd name="connsiteX632" fmla="*/ 11708922 w 12192000"/>
              <a:gd name="connsiteY632" fmla="*/ 3724364 h 4454665"/>
              <a:gd name="connsiteX633" fmla="*/ 11705380 w 12192000"/>
              <a:gd name="connsiteY633" fmla="*/ 3742118 h 4454665"/>
              <a:gd name="connsiteX634" fmla="*/ 11698296 w 12192000"/>
              <a:gd name="connsiteY634" fmla="*/ 3763423 h 4454665"/>
              <a:gd name="connsiteX635" fmla="*/ 11708922 w 12192000"/>
              <a:gd name="connsiteY635" fmla="*/ 3766974 h 4454665"/>
              <a:gd name="connsiteX636" fmla="*/ 11712464 w 12192000"/>
              <a:gd name="connsiteY636" fmla="*/ 3752771 h 4454665"/>
              <a:gd name="connsiteX637" fmla="*/ 11719548 w 12192000"/>
              <a:gd name="connsiteY637" fmla="*/ 3752771 h 4454665"/>
              <a:gd name="connsiteX638" fmla="*/ 11723090 w 12192000"/>
              <a:gd name="connsiteY638" fmla="*/ 3770525 h 4454665"/>
              <a:gd name="connsiteX639" fmla="*/ 11730175 w 12192000"/>
              <a:gd name="connsiteY639" fmla="*/ 3774076 h 4454665"/>
              <a:gd name="connsiteX640" fmla="*/ 11726632 w 12192000"/>
              <a:gd name="connsiteY640" fmla="*/ 3756322 h 4454665"/>
              <a:gd name="connsiteX641" fmla="*/ 11737259 w 12192000"/>
              <a:gd name="connsiteY641" fmla="*/ 3742118 h 4454665"/>
              <a:gd name="connsiteX642" fmla="*/ 11730175 w 12192000"/>
              <a:gd name="connsiteY642" fmla="*/ 3731466 h 4454665"/>
              <a:gd name="connsiteX643" fmla="*/ 11708922 w 12192000"/>
              <a:gd name="connsiteY643" fmla="*/ 3724364 h 4454665"/>
              <a:gd name="connsiteX644" fmla="*/ 11666295 w 12192000"/>
              <a:gd name="connsiteY644" fmla="*/ 3717646 h 4454665"/>
              <a:gd name="connsiteX645" fmla="*/ 11659211 w 12192000"/>
              <a:gd name="connsiteY645" fmla="*/ 3738730 h 4454665"/>
              <a:gd name="connsiteX646" fmla="*/ 11648585 w 12192000"/>
              <a:gd name="connsiteY646" fmla="*/ 3759813 h 4454665"/>
              <a:gd name="connsiteX647" fmla="*/ 11655669 w 12192000"/>
              <a:gd name="connsiteY647" fmla="*/ 3759813 h 4454665"/>
              <a:gd name="connsiteX648" fmla="*/ 11659211 w 12192000"/>
              <a:gd name="connsiteY648" fmla="*/ 3752785 h 4454665"/>
              <a:gd name="connsiteX649" fmla="*/ 11676922 w 12192000"/>
              <a:gd name="connsiteY649" fmla="*/ 3752785 h 4454665"/>
              <a:gd name="connsiteX650" fmla="*/ 11680464 w 12192000"/>
              <a:gd name="connsiteY650" fmla="*/ 3759813 h 4454665"/>
              <a:gd name="connsiteX651" fmla="*/ 11687548 w 12192000"/>
              <a:gd name="connsiteY651" fmla="*/ 3763327 h 4454665"/>
              <a:gd name="connsiteX652" fmla="*/ 11680464 w 12192000"/>
              <a:gd name="connsiteY652" fmla="*/ 3738730 h 4454665"/>
              <a:gd name="connsiteX653" fmla="*/ 11676922 w 12192000"/>
              <a:gd name="connsiteY653" fmla="*/ 3717646 h 4454665"/>
              <a:gd name="connsiteX654" fmla="*/ 11666295 w 12192000"/>
              <a:gd name="connsiteY654" fmla="*/ 3717646 h 4454665"/>
              <a:gd name="connsiteX655" fmla="*/ 11645898 w 12192000"/>
              <a:gd name="connsiteY655" fmla="*/ 3717646 h 4454665"/>
              <a:gd name="connsiteX656" fmla="*/ 11606934 w 12192000"/>
              <a:gd name="connsiteY656" fmla="*/ 3721117 h 4454665"/>
              <a:gd name="connsiteX657" fmla="*/ 11606934 w 12192000"/>
              <a:gd name="connsiteY657" fmla="*/ 3728058 h 4454665"/>
              <a:gd name="connsiteX658" fmla="*/ 11621103 w 12192000"/>
              <a:gd name="connsiteY658" fmla="*/ 3724588 h 4454665"/>
              <a:gd name="connsiteX659" fmla="*/ 11624645 w 12192000"/>
              <a:gd name="connsiteY659" fmla="*/ 3759296 h 4454665"/>
              <a:gd name="connsiteX660" fmla="*/ 11635271 w 12192000"/>
              <a:gd name="connsiteY660" fmla="*/ 3759296 h 4454665"/>
              <a:gd name="connsiteX661" fmla="*/ 11631729 w 12192000"/>
              <a:gd name="connsiteY661" fmla="*/ 3724588 h 4454665"/>
              <a:gd name="connsiteX662" fmla="*/ 11645898 w 12192000"/>
              <a:gd name="connsiteY662" fmla="*/ 3724588 h 4454665"/>
              <a:gd name="connsiteX663" fmla="*/ 11645898 w 12192000"/>
              <a:gd name="connsiteY663" fmla="*/ 3717646 h 4454665"/>
              <a:gd name="connsiteX664" fmla="*/ 11196257 w 12192000"/>
              <a:gd name="connsiteY664" fmla="*/ 3717645 h 4454665"/>
              <a:gd name="connsiteX665" fmla="*/ 11221336 w 12192000"/>
              <a:gd name="connsiteY665" fmla="*/ 3752577 h 4454665"/>
              <a:gd name="connsiteX666" fmla="*/ 11167595 w 12192000"/>
              <a:gd name="connsiteY666" fmla="*/ 3752577 h 4454665"/>
              <a:gd name="connsiteX667" fmla="*/ 11196257 w 12192000"/>
              <a:gd name="connsiteY667" fmla="*/ 3717645 h 4454665"/>
              <a:gd name="connsiteX668" fmla="*/ 11648585 w 12192000"/>
              <a:gd name="connsiteY668" fmla="*/ 3710929 h 4454665"/>
              <a:gd name="connsiteX669" fmla="*/ 11813539 w 12192000"/>
              <a:gd name="connsiteY669" fmla="*/ 3766820 h 4454665"/>
              <a:gd name="connsiteX670" fmla="*/ 11817049 w 12192000"/>
              <a:gd name="connsiteY670" fmla="*/ 3780793 h 4454665"/>
              <a:gd name="connsiteX671" fmla="*/ 11788972 w 12192000"/>
              <a:gd name="connsiteY671" fmla="*/ 3812233 h 4454665"/>
              <a:gd name="connsiteX672" fmla="*/ 11774933 w 12192000"/>
              <a:gd name="connsiteY672" fmla="*/ 3812233 h 4454665"/>
              <a:gd name="connsiteX673" fmla="*/ 11648585 w 12192000"/>
              <a:gd name="connsiteY673" fmla="*/ 3766820 h 4454665"/>
              <a:gd name="connsiteX674" fmla="*/ 11522236 w 12192000"/>
              <a:gd name="connsiteY674" fmla="*/ 3812233 h 4454665"/>
              <a:gd name="connsiteX675" fmla="*/ 11508198 w 12192000"/>
              <a:gd name="connsiteY675" fmla="*/ 3812233 h 4454665"/>
              <a:gd name="connsiteX676" fmla="*/ 11480121 w 12192000"/>
              <a:gd name="connsiteY676" fmla="*/ 3780793 h 4454665"/>
              <a:gd name="connsiteX677" fmla="*/ 11483630 w 12192000"/>
              <a:gd name="connsiteY677" fmla="*/ 3766820 h 4454665"/>
              <a:gd name="connsiteX678" fmla="*/ 11648585 w 12192000"/>
              <a:gd name="connsiteY678" fmla="*/ 3710929 h 4454665"/>
              <a:gd name="connsiteX679" fmla="*/ 11196481 w 12192000"/>
              <a:gd name="connsiteY679" fmla="*/ 3710928 h 4454665"/>
              <a:gd name="connsiteX680" fmla="*/ 11158189 w 12192000"/>
              <a:gd name="connsiteY680" fmla="*/ 3759968 h 4454665"/>
              <a:gd name="connsiteX681" fmla="*/ 11199962 w 12192000"/>
              <a:gd name="connsiteY681" fmla="*/ 3809007 h 4454665"/>
              <a:gd name="connsiteX682" fmla="*/ 11227810 w 12192000"/>
              <a:gd name="connsiteY682" fmla="*/ 3802001 h 4454665"/>
              <a:gd name="connsiteX683" fmla="*/ 11227810 w 12192000"/>
              <a:gd name="connsiteY683" fmla="*/ 3791493 h 4454665"/>
              <a:gd name="connsiteX684" fmla="*/ 11199962 w 12192000"/>
              <a:gd name="connsiteY684" fmla="*/ 3798498 h 4454665"/>
              <a:gd name="connsiteX685" fmla="*/ 11168632 w 12192000"/>
              <a:gd name="connsiteY685" fmla="*/ 3763471 h 4454665"/>
              <a:gd name="connsiteX686" fmla="*/ 11234772 w 12192000"/>
              <a:gd name="connsiteY686" fmla="*/ 3763471 h 4454665"/>
              <a:gd name="connsiteX687" fmla="*/ 11234772 w 12192000"/>
              <a:gd name="connsiteY687" fmla="*/ 3756465 h 4454665"/>
              <a:gd name="connsiteX688" fmla="*/ 11196481 w 12192000"/>
              <a:gd name="connsiteY688" fmla="*/ 3710928 h 4454665"/>
              <a:gd name="connsiteX689" fmla="*/ 10947253 w 12192000"/>
              <a:gd name="connsiteY689" fmla="*/ 3674652 h 4454665"/>
              <a:gd name="connsiteX690" fmla="*/ 10947253 w 12192000"/>
              <a:gd name="connsiteY690" fmla="*/ 3685400 h 4454665"/>
              <a:gd name="connsiteX691" fmla="*/ 10986216 w 12192000"/>
              <a:gd name="connsiteY691" fmla="*/ 3685400 h 4454665"/>
              <a:gd name="connsiteX692" fmla="*/ 10986216 w 12192000"/>
              <a:gd name="connsiteY692" fmla="*/ 3804976 h 4454665"/>
              <a:gd name="connsiteX693" fmla="*/ 10999652 w 12192000"/>
              <a:gd name="connsiteY693" fmla="*/ 3804976 h 4454665"/>
              <a:gd name="connsiteX694" fmla="*/ 10999652 w 12192000"/>
              <a:gd name="connsiteY694" fmla="*/ 3685400 h 4454665"/>
              <a:gd name="connsiteX695" fmla="*/ 11038614 w 12192000"/>
              <a:gd name="connsiteY695" fmla="*/ 3685400 h 4454665"/>
              <a:gd name="connsiteX696" fmla="*/ 11038614 w 12192000"/>
              <a:gd name="connsiteY696" fmla="*/ 3674652 h 4454665"/>
              <a:gd name="connsiteX697" fmla="*/ 11060111 w 12192000"/>
              <a:gd name="connsiteY697" fmla="*/ 3663903 h 4454665"/>
              <a:gd name="connsiteX698" fmla="*/ 11060111 w 12192000"/>
              <a:gd name="connsiteY698" fmla="*/ 3804976 h 4454665"/>
              <a:gd name="connsiteX699" fmla="*/ 11070476 w 12192000"/>
              <a:gd name="connsiteY699" fmla="*/ 3804976 h 4454665"/>
              <a:gd name="connsiteX700" fmla="*/ 11070476 w 12192000"/>
              <a:gd name="connsiteY700" fmla="*/ 3755600 h 4454665"/>
              <a:gd name="connsiteX701" fmla="*/ 11098115 w 12192000"/>
              <a:gd name="connsiteY701" fmla="*/ 3716806 h 4454665"/>
              <a:gd name="connsiteX702" fmla="*/ 11118844 w 12192000"/>
              <a:gd name="connsiteY702" fmla="*/ 3748547 h 4454665"/>
              <a:gd name="connsiteX703" fmla="*/ 11118844 w 12192000"/>
              <a:gd name="connsiteY703" fmla="*/ 3804976 h 4454665"/>
              <a:gd name="connsiteX704" fmla="*/ 11132662 w 12192000"/>
              <a:gd name="connsiteY704" fmla="*/ 3804976 h 4454665"/>
              <a:gd name="connsiteX705" fmla="*/ 11132662 w 12192000"/>
              <a:gd name="connsiteY705" fmla="*/ 3748547 h 4454665"/>
              <a:gd name="connsiteX706" fmla="*/ 11101569 w 12192000"/>
              <a:gd name="connsiteY706" fmla="*/ 3709752 h 4454665"/>
              <a:gd name="connsiteX707" fmla="*/ 11070476 w 12192000"/>
              <a:gd name="connsiteY707" fmla="*/ 3727386 h 4454665"/>
              <a:gd name="connsiteX708" fmla="*/ 11070476 w 12192000"/>
              <a:gd name="connsiteY708" fmla="*/ 3663903 h 4454665"/>
              <a:gd name="connsiteX709" fmla="*/ 11060111 w 12192000"/>
              <a:gd name="connsiteY709" fmla="*/ 3663903 h 4454665"/>
              <a:gd name="connsiteX710" fmla="*/ 11638739 w 12192000"/>
              <a:gd name="connsiteY710" fmla="*/ 3639720 h 4454665"/>
              <a:gd name="connsiteX711" fmla="*/ 11624716 w 12192000"/>
              <a:gd name="connsiteY711" fmla="*/ 3692583 h 4454665"/>
              <a:gd name="connsiteX712" fmla="*/ 11600176 w 12192000"/>
              <a:gd name="connsiteY712" fmla="*/ 3696107 h 4454665"/>
              <a:gd name="connsiteX713" fmla="*/ 11575635 w 12192000"/>
              <a:gd name="connsiteY713" fmla="*/ 3650293 h 4454665"/>
              <a:gd name="connsiteX714" fmla="*/ 11572129 w 12192000"/>
              <a:gd name="connsiteY714" fmla="*/ 3650293 h 4454665"/>
              <a:gd name="connsiteX715" fmla="*/ 11551094 w 12192000"/>
              <a:gd name="connsiteY715" fmla="*/ 3653817 h 4454665"/>
              <a:gd name="connsiteX716" fmla="*/ 11551094 w 12192000"/>
              <a:gd name="connsiteY716" fmla="*/ 3657341 h 4454665"/>
              <a:gd name="connsiteX717" fmla="*/ 11547588 w 12192000"/>
              <a:gd name="connsiteY717" fmla="*/ 3682010 h 4454665"/>
              <a:gd name="connsiteX718" fmla="*/ 11551094 w 12192000"/>
              <a:gd name="connsiteY718" fmla="*/ 3710204 h 4454665"/>
              <a:gd name="connsiteX719" fmla="*/ 11530059 w 12192000"/>
              <a:gd name="connsiteY719" fmla="*/ 3717252 h 4454665"/>
              <a:gd name="connsiteX720" fmla="*/ 11491495 w 12192000"/>
              <a:gd name="connsiteY720" fmla="*/ 3682010 h 4454665"/>
              <a:gd name="connsiteX721" fmla="*/ 11470460 w 12192000"/>
              <a:gd name="connsiteY721" fmla="*/ 3692583 h 4454665"/>
              <a:gd name="connsiteX722" fmla="*/ 11484484 w 12192000"/>
              <a:gd name="connsiteY722" fmla="*/ 3745445 h 4454665"/>
              <a:gd name="connsiteX723" fmla="*/ 11466954 w 12192000"/>
              <a:gd name="connsiteY723" fmla="*/ 3756018 h 4454665"/>
              <a:gd name="connsiteX724" fmla="*/ 11421379 w 12192000"/>
              <a:gd name="connsiteY724" fmla="*/ 3731349 h 4454665"/>
              <a:gd name="connsiteX725" fmla="*/ 11403850 w 12192000"/>
              <a:gd name="connsiteY725" fmla="*/ 3745445 h 4454665"/>
              <a:gd name="connsiteX726" fmla="*/ 11403850 w 12192000"/>
              <a:gd name="connsiteY726" fmla="*/ 3748969 h 4454665"/>
              <a:gd name="connsiteX727" fmla="*/ 11431896 w 12192000"/>
              <a:gd name="connsiteY727" fmla="*/ 3794784 h 4454665"/>
              <a:gd name="connsiteX728" fmla="*/ 11417873 w 12192000"/>
              <a:gd name="connsiteY728" fmla="*/ 3812405 h 4454665"/>
              <a:gd name="connsiteX729" fmla="*/ 11365286 w 12192000"/>
              <a:gd name="connsiteY729" fmla="*/ 3798308 h 4454665"/>
              <a:gd name="connsiteX730" fmla="*/ 11354768 w 12192000"/>
              <a:gd name="connsiteY730" fmla="*/ 3819453 h 4454665"/>
              <a:gd name="connsiteX731" fmla="*/ 11389827 w 12192000"/>
              <a:gd name="connsiteY731" fmla="*/ 3858220 h 4454665"/>
              <a:gd name="connsiteX732" fmla="*/ 11382815 w 12192000"/>
              <a:gd name="connsiteY732" fmla="*/ 3879364 h 4454665"/>
              <a:gd name="connsiteX733" fmla="*/ 11330228 w 12192000"/>
              <a:gd name="connsiteY733" fmla="*/ 3879364 h 4454665"/>
              <a:gd name="connsiteX734" fmla="*/ 11323216 w 12192000"/>
              <a:gd name="connsiteY734" fmla="*/ 3900509 h 4454665"/>
              <a:gd name="connsiteX735" fmla="*/ 11368791 w 12192000"/>
              <a:gd name="connsiteY735" fmla="*/ 3928703 h 4454665"/>
              <a:gd name="connsiteX736" fmla="*/ 11365286 w 12192000"/>
              <a:gd name="connsiteY736" fmla="*/ 3949847 h 4454665"/>
              <a:gd name="connsiteX737" fmla="*/ 11316205 w 12192000"/>
              <a:gd name="connsiteY737" fmla="*/ 3963945 h 4454665"/>
              <a:gd name="connsiteX738" fmla="*/ 11312698 w 12192000"/>
              <a:gd name="connsiteY738" fmla="*/ 3963945 h 4454665"/>
              <a:gd name="connsiteX739" fmla="*/ 11312698 w 12192000"/>
              <a:gd name="connsiteY739" fmla="*/ 3978041 h 4454665"/>
              <a:gd name="connsiteX740" fmla="*/ 11312698 w 12192000"/>
              <a:gd name="connsiteY740" fmla="*/ 3988614 h 4454665"/>
              <a:gd name="connsiteX741" fmla="*/ 11316205 w 12192000"/>
              <a:gd name="connsiteY741" fmla="*/ 3988614 h 4454665"/>
              <a:gd name="connsiteX742" fmla="*/ 11365286 w 12192000"/>
              <a:gd name="connsiteY742" fmla="*/ 4002711 h 4454665"/>
              <a:gd name="connsiteX743" fmla="*/ 11368791 w 12192000"/>
              <a:gd name="connsiteY743" fmla="*/ 4023856 h 4454665"/>
              <a:gd name="connsiteX744" fmla="*/ 11323216 w 12192000"/>
              <a:gd name="connsiteY744" fmla="*/ 4052049 h 4454665"/>
              <a:gd name="connsiteX745" fmla="*/ 11323216 w 12192000"/>
              <a:gd name="connsiteY745" fmla="*/ 4055573 h 4454665"/>
              <a:gd name="connsiteX746" fmla="*/ 11330228 w 12192000"/>
              <a:gd name="connsiteY746" fmla="*/ 4076718 h 4454665"/>
              <a:gd name="connsiteX747" fmla="*/ 11382815 w 12192000"/>
              <a:gd name="connsiteY747" fmla="*/ 4076718 h 4454665"/>
              <a:gd name="connsiteX748" fmla="*/ 11393332 w 12192000"/>
              <a:gd name="connsiteY748" fmla="*/ 4097864 h 4454665"/>
              <a:gd name="connsiteX749" fmla="*/ 11354768 w 12192000"/>
              <a:gd name="connsiteY749" fmla="*/ 4133105 h 4454665"/>
              <a:gd name="connsiteX750" fmla="*/ 11354768 w 12192000"/>
              <a:gd name="connsiteY750" fmla="*/ 4136629 h 4454665"/>
              <a:gd name="connsiteX751" fmla="*/ 11365286 w 12192000"/>
              <a:gd name="connsiteY751" fmla="*/ 4154250 h 4454665"/>
              <a:gd name="connsiteX752" fmla="*/ 11417873 w 12192000"/>
              <a:gd name="connsiteY752" fmla="*/ 4140153 h 4454665"/>
              <a:gd name="connsiteX753" fmla="*/ 11431896 w 12192000"/>
              <a:gd name="connsiteY753" fmla="*/ 4161299 h 4454665"/>
              <a:gd name="connsiteX754" fmla="*/ 11403850 w 12192000"/>
              <a:gd name="connsiteY754" fmla="*/ 4207113 h 4454665"/>
              <a:gd name="connsiteX755" fmla="*/ 11421379 w 12192000"/>
              <a:gd name="connsiteY755" fmla="*/ 4221209 h 4454665"/>
              <a:gd name="connsiteX756" fmla="*/ 11466954 w 12192000"/>
              <a:gd name="connsiteY756" fmla="*/ 4196541 h 4454665"/>
              <a:gd name="connsiteX757" fmla="*/ 11484484 w 12192000"/>
              <a:gd name="connsiteY757" fmla="*/ 4210637 h 4454665"/>
              <a:gd name="connsiteX758" fmla="*/ 11473966 w 12192000"/>
              <a:gd name="connsiteY758" fmla="*/ 4259975 h 4454665"/>
              <a:gd name="connsiteX759" fmla="*/ 11473966 w 12192000"/>
              <a:gd name="connsiteY759" fmla="*/ 4263500 h 4454665"/>
              <a:gd name="connsiteX760" fmla="*/ 11491495 w 12192000"/>
              <a:gd name="connsiteY760" fmla="*/ 4274072 h 4454665"/>
              <a:gd name="connsiteX761" fmla="*/ 11495001 w 12192000"/>
              <a:gd name="connsiteY761" fmla="*/ 4274072 h 4454665"/>
              <a:gd name="connsiteX762" fmla="*/ 11530059 w 12192000"/>
              <a:gd name="connsiteY762" fmla="*/ 4235306 h 4454665"/>
              <a:gd name="connsiteX763" fmla="*/ 11551094 w 12192000"/>
              <a:gd name="connsiteY763" fmla="*/ 4245879 h 4454665"/>
              <a:gd name="connsiteX764" fmla="*/ 11547588 w 12192000"/>
              <a:gd name="connsiteY764" fmla="*/ 4270548 h 4454665"/>
              <a:gd name="connsiteX765" fmla="*/ 11551094 w 12192000"/>
              <a:gd name="connsiteY765" fmla="*/ 4298742 h 4454665"/>
              <a:gd name="connsiteX766" fmla="*/ 11572129 w 12192000"/>
              <a:gd name="connsiteY766" fmla="*/ 4305790 h 4454665"/>
              <a:gd name="connsiteX767" fmla="*/ 11575635 w 12192000"/>
              <a:gd name="connsiteY767" fmla="*/ 4305790 h 4454665"/>
              <a:gd name="connsiteX768" fmla="*/ 11600176 w 12192000"/>
              <a:gd name="connsiteY768" fmla="*/ 4259975 h 4454665"/>
              <a:gd name="connsiteX769" fmla="*/ 11624716 w 12192000"/>
              <a:gd name="connsiteY769" fmla="*/ 4259975 h 4454665"/>
              <a:gd name="connsiteX770" fmla="*/ 11638739 w 12192000"/>
              <a:gd name="connsiteY770" fmla="*/ 4312838 h 4454665"/>
              <a:gd name="connsiteX771" fmla="*/ 11659774 w 12192000"/>
              <a:gd name="connsiteY771" fmla="*/ 4312838 h 4454665"/>
              <a:gd name="connsiteX772" fmla="*/ 11663280 w 12192000"/>
              <a:gd name="connsiteY772" fmla="*/ 4312838 h 4454665"/>
              <a:gd name="connsiteX773" fmla="*/ 11677303 w 12192000"/>
              <a:gd name="connsiteY773" fmla="*/ 4259975 h 4454665"/>
              <a:gd name="connsiteX774" fmla="*/ 11698339 w 12192000"/>
              <a:gd name="connsiteY774" fmla="*/ 4259975 h 4454665"/>
              <a:gd name="connsiteX775" fmla="*/ 11722879 w 12192000"/>
              <a:gd name="connsiteY775" fmla="*/ 4305790 h 4454665"/>
              <a:gd name="connsiteX776" fmla="*/ 11726385 w 12192000"/>
              <a:gd name="connsiteY776" fmla="*/ 4305790 h 4454665"/>
              <a:gd name="connsiteX777" fmla="*/ 11747420 w 12192000"/>
              <a:gd name="connsiteY777" fmla="*/ 4298742 h 4454665"/>
              <a:gd name="connsiteX778" fmla="*/ 11750925 w 12192000"/>
              <a:gd name="connsiteY778" fmla="*/ 4270548 h 4454665"/>
              <a:gd name="connsiteX779" fmla="*/ 11747420 w 12192000"/>
              <a:gd name="connsiteY779" fmla="*/ 4245879 h 4454665"/>
              <a:gd name="connsiteX780" fmla="*/ 11768454 w 12192000"/>
              <a:gd name="connsiteY780" fmla="*/ 4235306 h 4454665"/>
              <a:gd name="connsiteX781" fmla="*/ 11807019 w 12192000"/>
              <a:gd name="connsiteY781" fmla="*/ 4274072 h 4454665"/>
              <a:gd name="connsiteX782" fmla="*/ 11824547 w 12192000"/>
              <a:gd name="connsiteY782" fmla="*/ 4263500 h 4454665"/>
              <a:gd name="connsiteX783" fmla="*/ 11828054 w 12192000"/>
              <a:gd name="connsiteY783" fmla="*/ 4263500 h 4454665"/>
              <a:gd name="connsiteX784" fmla="*/ 11828054 w 12192000"/>
              <a:gd name="connsiteY784" fmla="*/ 4259975 h 4454665"/>
              <a:gd name="connsiteX785" fmla="*/ 11814030 w 12192000"/>
              <a:gd name="connsiteY785" fmla="*/ 4210637 h 4454665"/>
              <a:gd name="connsiteX786" fmla="*/ 11831559 w 12192000"/>
              <a:gd name="connsiteY786" fmla="*/ 4196541 h 4454665"/>
              <a:gd name="connsiteX787" fmla="*/ 11877135 w 12192000"/>
              <a:gd name="connsiteY787" fmla="*/ 4221209 h 4454665"/>
              <a:gd name="connsiteX788" fmla="*/ 11894664 w 12192000"/>
              <a:gd name="connsiteY788" fmla="*/ 4207113 h 4454665"/>
              <a:gd name="connsiteX789" fmla="*/ 11894664 w 12192000"/>
              <a:gd name="connsiteY789" fmla="*/ 4203589 h 4454665"/>
              <a:gd name="connsiteX790" fmla="*/ 11866617 w 12192000"/>
              <a:gd name="connsiteY790" fmla="*/ 4157774 h 4454665"/>
              <a:gd name="connsiteX791" fmla="*/ 11880641 w 12192000"/>
              <a:gd name="connsiteY791" fmla="*/ 4140153 h 4454665"/>
              <a:gd name="connsiteX792" fmla="*/ 11933228 w 12192000"/>
              <a:gd name="connsiteY792" fmla="*/ 4154250 h 4454665"/>
              <a:gd name="connsiteX793" fmla="*/ 11943746 w 12192000"/>
              <a:gd name="connsiteY793" fmla="*/ 4136629 h 4454665"/>
              <a:gd name="connsiteX794" fmla="*/ 11943746 w 12192000"/>
              <a:gd name="connsiteY794" fmla="*/ 4133105 h 4454665"/>
              <a:gd name="connsiteX795" fmla="*/ 11908688 w 12192000"/>
              <a:gd name="connsiteY795" fmla="*/ 4094339 h 4454665"/>
              <a:gd name="connsiteX796" fmla="*/ 11915699 w 12192000"/>
              <a:gd name="connsiteY796" fmla="*/ 4076718 h 4454665"/>
              <a:gd name="connsiteX797" fmla="*/ 11968286 w 12192000"/>
              <a:gd name="connsiteY797" fmla="*/ 4076718 h 4454665"/>
              <a:gd name="connsiteX798" fmla="*/ 11968286 w 12192000"/>
              <a:gd name="connsiteY798" fmla="*/ 4073194 h 4454665"/>
              <a:gd name="connsiteX799" fmla="*/ 11975298 w 12192000"/>
              <a:gd name="connsiteY799" fmla="*/ 4052049 h 4454665"/>
              <a:gd name="connsiteX800" fmla="*/ 11929722 w 12192000"/>
              <a:gd name="connsiteY800" fmla="*/ 4023856 h 4454665"/>
              <a:gd name="connsiteX801" fmla="*/ 11933228 w 12192000"/>
              <a:gd name="connsiteY801" fmla="*/ 4002711 h 4454665"/>
              <a:gd name="connsiteX802" fmla="*/ 11982310 w 12192000"/>
              <a:gd name="connsiteY802" fmla="*/ 3988614 h 4454665"/>
              <a:gd name="connsiteX803" fmla="*/ 11985815 w 12192000"/>
              <a:gd name="connsiteY803" fmla="*/ 3978041 h 4454665"/>
              <a:gd name="connsiteX804" fmla="*/ 11982310 w 12192000"/>
              <a:gd name="connsiteY804" fmla="*/ 3967469 h 4454665"/>
              <a:gd name="connsiteX805" fmla="*/ 11982310 w 12192000"/>
              <a:gd name="connsiteY805" fmla="*/ 3963945 h 4454665"/>
              <a:gd name="connsiteX806" fmla="*/ 11933228 w 12192000"/>
              <a:gd name="connsiteY806" fmla="*/ 3949847 h 4454665"/>
              <a:gd name="connsiteX807" fmla="*/ 11929722 w 12192000"/>
              <a:gd name="connsiteY807" fmla="*/ 3928703 h 4454665"/>
              <a:gd name="connsiteX808" fmla="*/ 11975298 w 12192000"/>
              <a:gd name="connsiteY808" fmla="*/ 3904034 h 4454665"/>
              <a:gd name="connsiteX809" fmla="*/ 11975298 w 12192000"/>
              <a:gd name="connsiteY809" fmla="*/ 3900509 h 4454665"/>
              <a:gd name="connsiteX810" fmla="*/ 11968286 w 12192000"/>
              <a:gd name="connsiteY810" fmla="*/ 3879364 h 4454665"/>
              <a:gd name="connsiteX811" fmla="*/ 11915699 w 12192000"/>
              <a:gd name="connsiteY811" fmla="*/ 3879364 h 4454665"/>
              <a:gd name="connsiteX812" fmla="*/ 11908688 w 12192000"/>
              <a:gd name="connsiteY812" fmla="*/ 3858220 h 4454665"/>
              <a:gd name="connsiteX813" fmla="*/ 11943746 w 12192000"/>
              <a:gd name="connsiteY813" fmla="*/ 3819453 h 4454665"/>
              <a:gd name="connsiteX814" fmla="*/ 11933228 w 12192000"/>
              <a:gd name="connsiteY814" fmla="*/ 3801832 h 4454665"/>
              <a:gd name="connsiteX815" fmla="*/ 11933228 w 12192000"/>
              <a:gd name="connsiteY815" fmla="*/ 3798308 h 4454665"/>
              <a:gd name="connsiteX816" fmla="*/ 11880641 w 12192000"/>
              <a:gd name="connsiteY816" fmla="*/ 3812405 h 4454665"/>
              <a:gd name="connsiteX817" fmla="*/ 11866617 w 12192000"/>
              <a:gd name="connsiteY817" fmla="*/ 3794784 h 4454665"/>
              <a:gd name="connsiteX818" fmla="*/ 11894664 w 12192000"/>
              <a:gd name="connsiteY818" fmla="*/ 3748969 h 4454665"/>
              <a:gd name="connsiteX819" fmla="*/ 11877135 w 12192000"/>
              <a:gd name="connsiteY819" fmla="*/ 3731349 h 4454665"/>
              <a:gd name="connsiteX820" fmla="*/ 11831559 w 12192000"/>
              <a:gd name="connsiteY820" fmla="*/ 3759543 h 4454665"/>
              <a:gd name="connsiteX821" fmla="*/ 11814030 w 12192000"/>
              <a:gd name="connsiteY821" fmla="*/ 3745445 h 4454665"/>
              <a:gd name="connsiteX822" fmla="*/ 11828054 w 12192000"/>
              <a:gd name="connsiteY822" fmla="*/ 3692583 h 4454665"/>
              <a:gd name="connsiteX823" fmla="*/ 11807019 w 12192000"/>
              <a:gd name="connsiteY823" fmla="*/ 3682010 h 4454665"/>
              <a:gd name="connsiteX824" fmla="*/ 11768454 w 12192000"/>
              <a:gd name="connsiteY824" fmla="*/ 3717252 h 4454665"/>
              <a:gd name="connsiteX825" fmla="*/ 11747420 w 12192000"/>
              <a:gd name="connsiteY825" fmla="*/ 3710204 h 4454665"/>
              <a:gd name="connsiteX826" fmla="*/ 11750925 w 12192000"/>
              <a:gd name="connsiteY826" fmla="*/ 3682010 h 4454665"/>
              <a:gd name="connsiteX827" fmla="*/ 11747420 w 12192000"/>
              <a:gd name="connsiteY827" fmla="*/ 3657341 h 4454665"/>
              <a:gd name="connsiteX828" fmla="*/ 11747420 w 12192000"/>
              <a:gd name="connsiteY828" fmla="*/ 3653817 h 4454665"/>
              <a:gd name="connsiteX829" fmla="*/ 11726385 w 12192000"/>
              <a:gd name="connsiteY829" fmla="*/ 3650293 h 4454665"/>
              <a:gd name="connsiteX830" fmla="*/ 11722879 w 12192000"/>
              <a:gd name="connsiteY830" fmla="*/ 3650293 h 4454665"/>
              <a:gd name="connsiteX831" fmla="*/ 11698339 w 12192000"/>
              <a:gd name="connsiteY831" fmla="*/ 3696107 h 4454665"/>
              <a:gd name="connsiteX832" fmla="*/ 11673798 w 12192000"/>
              <a:gd name="connsiteY832" fmla="*/ 3692583 h 4454665"/>
              <a:gd name="connsiteX833" fmla="*/ 11659774 w 12192000"/>
              <a:gd name="connsiteY833" fmla="*/ 3639720 h 4454665"/>
              <a:gd name="connsiteX834" fmla="*/ 11638739 w 12192000"/>
              <a:gd name="connsiteY834" fmla="*/ 3639720 h 4454665"/>
              <a:gd name="connsiteX835" fmla="*/ 0 w 12192000"/>
              <a:gd name="connsiteY835" fmla="*/ 0 h 4454665"/>
              <a:gd name="connsiteX836" fmla="*/ 12192000 w 12192000"/>
              <a:gd name="connsiteY836" fmla="*/ 0 h 4454665"/>
              <a:gd name="connsiteX837" fmla="*/ 12192000 w 12192000"/>
              <a:gd name="connsiteY837" fmla="*/ 4454665 h 4454665"/>
              <a:gd name="connsiteX838" fmla="*/ 0 w 12192000"/>
              <a:gd name="connsiteY838" fmla="*/ 4454665 h 44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4454665">
                <a:moveTo>
                  <a:pt x="11946675" y="4274240"/>
                </a:moveTo>
                <a:lnTo>
                  <a:pt x="11952788" y="4274240"/>
                </a:lnTo>
                <a:cubicBezTo>
                  <a:pt x="11955414" y="4274240"/>
                  <a:pt x="11957212" y="4274432"/>
                  <a:pt x="11958183" y="4274815"/>
                </a:cubicBezTo>
                <a:cubicBezTo>
                  <a:pt x="11959154" y="4275198"/>
                  <a:pt x="11959913" y="4275779"/>
                  <a:pt x="11960461" y="4276558"/>
                </a:cubicBezTo>
                <a:cubicBezTo>
                  <a:pt x="11961008" y="4277338"/>
                  <a:pt x="11961281" y="4278221"/>
                  <a:pt x="11961281" y="4279205"/>
                </a:cubicBezTo>
                <a:cubicBezTo>
                  <a:pt x="11961281" y="4280737"/>
                  <a:pt x="11960713" y="4281967"/>
                  <a:pt x="11959578" y="4282897"/>
                </a:cubicBezTo>
                <a:cubicBezTo>
                  <a:pt x="11958443" y="4283828"/>
                  <a:pt x="11956316" y="4284292"/>
                  <a:pt x="11953198" y="4284292"/>
                </a:cubicBezTo>
                <a:lnTo>
                  <a:pt x="11946675" y="4284292"/>
                </a:lnTo>
                <a:close/>
                <a:moveTo>
                  <a:pt x="11941300" y="4269728"/>
                </a:moveTo>
                <a:lnTo>
                  <a:pt x="11941300" y="4303042"/>
                </a:lnTo>
                <a:lnTo>
                  <a:pt x="11946675" y="4303042"/>
                </a:lnTo>
                <a:lnTo>
                  <a:pt x="11946675" y="4288888"/>
                </a:lnTo>
                <a:lnTo>
                  <a:pt x="11949834" y="4288888"/>
                </a:lnTo>
                <a:cubicBezTo>
                  <a:pt x="11951722" y="4288888"/>
                  <a:pt x="11953158" y="4289270"/>
                  <a:pt x="11954142" y="4290036"/>
                </a:cubicBezTo>
                <a:cubicBezTo>
                  <a:pt x="11955564" y="4291075"/>
                  <a:pt x="11957438" y="4293660"/>
                  <a:pt x="11959762" y="4297790"/>
                </a:cubicBezTo>
                <a:lnTo>
                  <a:pt x="11962717" y="4303042"/>
                </a:lnTo>
                <a:lnTo>
                  <a:pt x="11969281" y="4303042"/>
                </a:lnTo>
                <a:lnTo>
                  <a:pt x="11965220" y="4296518"/>
                </a:lnTo>
                <a:cubicBezTo>
                  <a:pt x="11963277" y="4293427"/>
                  <a:pt x="11961636" y="4291226"/>
                  <a:pt x="11960296" y="4289913"/>
                </a:cubicBezTo>
                <a:cubicBezTo>
                  <a:pt x="11959585" y="4289230"/>
                  <a:pt x="11958641" y="4288641"/>
                  <a:pt x="11957466" y="4288149"/>
                </a:cubicBezTo>
                <a:cubicBezTo>
                  <a:pt x="11960337" y="4287930"/>
                  <a:pt x="11962642" y="4286918"/>
                  <a:pt x="11964378" y="4285113"/>
                </a:cubicBezTo>
                <a:cubicBezTo>
                  <a:pt x="11966115" y="4283308"/>
                  <a:pt x="11966983" y="4281188"/>
                  <a:pt x="11966983" y="4278754"/>
                </a:cubicBezTo>
                <a:cubicBezTo>
                  <a:pt x="11966983" y="4277031"/>
                  <a:pt x="11966464" y="4275403"/>
                  <a:pt x="11965424" y="4273871"/>
                </a:cubicBezTo>
                <a:cubicBezTo>
                  <a:pt x="11964385" y="4272339"/>
                  <a:pt x="11962990" y="4271266"/>
                  <a:pt x="11961239" y="4270651"/>
                </a:cubicBezTo>
                <a:cubicBezTo>
                  <a:pt x="11959489" y="4270035"/>
                  <a:pt x="11956658" y="4269728"/>
                  <a:pt x="11952747" y="4269728"/>
                </a:cubicBezTo>
                <a:close/>
                <a:moveTo>
                  <a:pt x="10902089" y="4267157"/>
                </a:moveTo>
                <a:cubicBezTo>
                  <a:pt x="10902089" y="4267157"/>
                  <a:pt x="10902089" y="4267157"/>
                  <a:pt x="10905603" y="4267157"/>
                </a:cubicBezTo>
                <a:lnTo>
                  <a:pt x="10905603" y="4270698"/>
                </a:lnTo>
                <a:cubicBezTo>
                  <a:pt x="10905603" y="4281325"/>
                  <a:pt x="10905603" y="4306120"/>
                  <a:pt x="10877492" y="4306120"/>
                </a:cubicBezTo>
                <a:cubicBezTo>
                  <a:pt x="10866950" y="4306120"/>
                  <a:pt x="10859922" y="4302578"/>
                  <a:pt x="10859922" y="4288410"/>
                </a:cubicBezTo>
                <a:cubicBezTo>
                  <a:pt x="10859922" y="4267157"/>
                  <a:pt x="10884520" y="4267157"/>
                  <a:pt x="10902089" y="4267157"/>
                </a:cubicBezTo>
                <a:close/>
                <a:moveTo>
                  <a:pt x="11954881" y="4260086"/>
                </a:moveTo>
                <a:cubicBezTo>
                  <a:pt x="11959202" y="4260086"/>
                  <a:pt x="11963428" y="4261201"/>
                  <a:pt x="11967558" y="4263430"/>
                </a:cubicBezTo>
                <a:cubicBezTo>
                  <a:pt x="11971688" y="4265659"/>
                  <a:pt x="11974909" y="4268846"/>
                  <a:pt x="11977220" y="4272989"/>
                </a:cubicBezTo>
                <a:cubicBezTo>
                  <a:pt x="11979531" y="4277133"/>
                  <a:pt x="11980687" y="4281448"/>
                  <a:pt x="11980687" y="4285933"/>
                </a:cubicBezTo>
                <a:cubicBezTo>
                  <a:pt x="11980687" y="4290392"/>
                  <a:pt x="11979552" y="4294666"/>
                  <a:pt x="11977282" y="4298754"/>
                </a:cubicBezTo>
                <a:cubicBezTo>
                  <a:pt x="11975012" y="4302844"/>
                  <a:pt x="11971825" y="4306030"/>
                  <a:pt x="11967722" y="4308314"/>
                </a:cubicBezTo>
                <a:cubicBezTo>
                  <a:pt x="11963619" y="4310598"/>
                  <a:pt x="11959339" y="4311740"/>
                  <a:pt x="11954881" y="4311740"/>
                </a:cubicBezTo>
                <a:cubicBezTo>
                  <a:pt x="11950422" y="4311740"/>
                  <a:pt x="11946142" y="4310598"/>
                  <a:pt x="11942039" y="4308314"/>
                </a:cubicBezTo>
                <a:cubicBezTo>
                  <a:pt x="11937936" y="4306030"/>
                  <a:pt x="11934742" y="4302844"/>
                  <a:pt x="11932459" y="4298754"/>
                </a:cubicBezTo>
                <a:cubicBezTo>
                  <a:pt x="11930175" y="4294666"/>
                  <a:pt x="11929033" y="4290392"/>
                  <a:pt x="11929033" y="4285933"/>
                </a:cubicBezTo>
                <a:cubicBezTo>
                  <a:pt x="11929033" y="4281448"/>
                  <a:pt x="11930195" y="4277133"/>
                  <a:pt x="11932521" y="4272989"/>
                </a:cubicBezTo>
                <a:cubicBezTo>
                  <a:pt x="11934846" y="4268846"/>
                  <a:pt x="11938066" y="4265659"/>
                  <a:pt x="11942183" y="4263430"/>
                </a:cubicBezTo>
                <a:cubicBezTo>
                  <a:pt x="11946299" y="4261201"/>
                  <a:pt x="11950532" y="4260086"/>
                  <a:pt x="11954881" y="4260086"/>
                </a:cubicBezTo>
                <a:close/>
                <a:moveTo>
                  <a:pt x="11954881" y="4254958"/>
                </a:moveTo>
                <a:cubicBezTo>
                  <a:pt x="11949684" y="4254958"/>
                  <a:pt x="11944610" y="4256291"/>
                  <a:pt x="11939660" y="4258958"/>
                </a:cubicBezTo>
                <a:cubicBezTo>
                  <a:pt x="11934709" y="4261624"/>
                  <a:pt x="11930845" y="4265440"/>
                  <a:pt x="11928069" y="4270405"/>
                </a:cubicBezTo>
                <a:cubicBezTo>
                  <a:pt x="11925293" y="4275368"/>
                  <a:pt x="11923904" y="4280545"/>
                  <a:pt x="11923904" y="4285933"/>
                </a:cubicBezTo>
                <a:cubicBezTo>
                  <a:pt x="11923904" y="4291267"/>
                  <a:pt x="11925272" y="4296396"/>
                  <a:pt x="11928007" y="4301319"/>
                </a:cubicBezTo>
                <a:cubicBezTo>
                  <a:pt x="11930743" y="4306242"/>
                  <a:pt x="11934565" y="4310065"/>
                  <a:pt x="11939474" y="4312786"/>
                </a:cubicBezTo>
                <a:cubicBezTo>
                  <a:pt x="11944385" y="4315507"/>
                  <a:pt x="11949519" y="4316868"/>
                  <a:pt x="11954881" y="4316868"/>
                </a:cubicBezTo>
                <a:cubicBezTo>
                  <a:pt x="11960242" y="4316868"/>
                  <a:pt x="11965376" y="4315507"/>
                  <a:pt x="11970287" y="4312786"/>
                </a:cubicBezTo>
                <a:cubicBezTo>
                  <a:pt x="11975196" y="4310065"/>
                  <a:pt x="11979011" y="4306242"/>
                  <a:pt x="11981733" y="4301319"/>
                </a:cubicBezTo>
                <a:cubicBezTo>
                  <a:pt x="11984454" y="4296396"/>
                  <a:pt x="11985815" y="4291267"/>
                  <a:pt x="11985815" y="4285933"/>
                </a:cubicBezTo>
                <a:cubicBezTo>
                  <a:pt x="11985815" y="4280545"/>
                  <a:pt x="11984434" y="4275368"/>
                  <a:pt x="11981671" y="4270405"/>
                </a:cubicBezTo>
                <a:cubicBezTo>
                  <a:pt x="11978909" y="4265440"/>
                  <a:pt x="11975052" y="4261624"/>
                  <a:pt x="11970101" y="4258958"/>
                </a:cubicBezTo>
                <a:cubicBezTo>
                  <a:pt x="11965151" y="4256291"/>
                  <a:pt x="11960077" y="4254958"/>
                  <a:pt x="11954881" y="4254958"/>
                </a:cubicBezTo>
                <a:close/>
                <a:moveTo>
                  <a:pt x="11091685" y="4225506"/>
                </a:moveTo>
                <a:cubicBezTo>
                  <a:pt x="11109123" y="4225506"/>
                  <a:pt x="11123259" y="4243552"/>
                  <a:pt x="11123259" y="4265813"/>
                </a:cubicBezTo>
                <a:cubicBezTo>
                  <a:pt x="11123259" y="4288074"/>
                  <a:pt x="11109123" y="4306119"/>
                  <a:pt x="11091685" y="4306119"/>
                </a:cubicBezTo>
                <a:cubicBezTo>
                  <a:pt x="11074247" y="4306119"/>
                  <a:pt x="11060111" y="4288074"/>
                  <a:pt x="11060111" y="4265813"/>
                </a:cubicBezTo>
                <a:cubicBezTo>
                  <a:pt x="11060111" y="4243552"/>
                  <a:pt x="11074247" y="4225506"/>
                  <a:pt x="11091685" y="4225506"/>
                </a:cubicBezTo>
                <a:close/>
                <a:moveTo>
                  <a:pt x="10781998" y="4225506"/>
                </a:moveTo>
                <a:cubicBezTo>
                  <a:pt x="10797580" y="4225506"/>
                  <a:pt x="10810212" y="4243552"/>
                  <a:pt x="10810212" y="4265813"/>
                </a:cubicBezTo>
                <a:cubicBezTo>
                  <a:pt x="10810212" y="4288074"/>
                  <a:pt x="10797580" y="4306119"/>
                  <a:pt x="10781998" y="4306119"/>
                </a:cubicBezTo>
                <a:cubicBezTo>
                  <a:pt x="10766415" y="4306119"/>
                  <a:pt x="10753783" y="4288074"/>
                  <a:pt x="10753783" y="4265813"/>
                </a:cubicBezTo>
                <a:cubicBezTo>
                  <a:pt x="10753783" y="4243552"/>
                  <a:pt x="10766415" y="4225506"/>
                  <a:pt x="10781998" y="4225506"/>
                </a:cubicBezTo>
                <a:close/>
                <a:moveTo>
                  <a:pt x="10469622" y="4225506"/>
                </a:moveTo>
                <a:cubicBezTo>
                  <a:pt x="10487060" y="4225506"/>
                  <a:pt x="10501196" y="4243552"/>
                  <a:pt x="10501196" y="4265813"/>
                </a:cubicBezTo>
                <a:cubicBezTo>
                  <a:pt x="10501196" y="4288074"/>
                  <a:pt x="10487060" y="4306119"/>
                  <a:pt x="10469622" y="4306119"/>
                </a:cubicBezTo>
                <a:cubicBezTo>
                  <a:pt x="10452185" y="4306119"/>
                  <a:pt x="10438048" y="4288074"/>
                  <a:pt x="10438048" y="4265813"/>
                </a:cubicBezTo>
                <a:cubicBezTo>
                  <a:pt x="10438048" y="4243552"/>
                  <a:pt x="10452185" y="4225506"/>
                  <a:pt x="10469622" y="4225506"/>
                </a:cubicBezTo>
                <a:close/>
                <a:moveTo>
                  <a:pt x="11014562" y="4220259"/>
                </a:moveTo>
                <a:lnTo>
                  <a:pt x="11014562" y="4316219"/>
                </a:lnTo>
                <a:lnTo>
                  <a:pt x="11026851" y="4316219"/>
                </a:lnTo>
                <a:lnTo>
                  <a:pt x="11026851" y="4220259"/>
                </a:lnTo>
                <a:close/>
                <a:moveTo>
                  <a:pt x="11158189" y="4218789"/>
                </a:moveTo>
                <a:cubicBezTo>
                  <a:pt x="11158189" y="4225755"/>
                  <a:pt x="11158189" y="4236205"/>
                  <a:pt x="11158189" y="4243172"/>
                </a:cubicBezTo>
                <a:lnTo>
                  <a:pt x="11158189" y="4312837"/>
                </a:lnTo>
                <a:cubicBezTo>
                  <a:pt x="11158189" y="4312837"/>
                  <a:pt x="11158189" y="4312837"/>
                  <a:pt x="11172009" y="4312837"/>
                </a:cubicBezTo>
                <a:cubicBezTo>
                  <a:pt x="11172009" y="4312837"/>
                  <a:pt x="11172009" y="4312837"/>
                  <a:pt x="11172009" y="4260588"/>
                </a:cubicBezTo>
                <a:cubicBezTo>
                  <a:pt x="11172009" y="4246655"/>
                  <a:pt x="11178918" y="4225755"/>
                  <a:pt x="11199648" y="4225755"/>
                </a:cubicBezTo>
                <a:cubicBezTo>
                  <a:pt x="11213466" y="4225755"/>
                  <a:pt x="11220377" y="4239688"/>
                  <a:pt x="11220377" y="4257105"/>
                </a:cubicBezTo>
                <a:cubicBezTo>
                  <a:pt x="11220377" y="4257105"/>
                  <a:pt x="11220377" y="4257105"/>
                  <a:pt x="11220377" y="4312837"/>
                </a:cubicBezTo>
                <a:cubicBezTo>
                  <a:pt x="11220377" y="4312837"/>
                  <a:pt x="11220377" y="4312837"/>
                  <a:pt x="11230741" y="4312837"/>
                </a:cubicBezTo>
                <a:cubicBezTo>
                  <a:pt x="11230741" y="4312837"/>
                  <a:pt x="11230741" y="4312837"/>
                  <a:pt x="11230741" y="4253621"/>
                </a:cubicBezTo>
                <a:cubicBezTo>
                  <a:pt x="11230741" y="4232722"/>
                  <a:pt x="11223831" y="4218789"/>
                  <a:pt x="11199648" y="4218789"/>
                </a:cubicBezTo>
                <a:cubicBezTo>
                  <a:pt x="11182373" y="4218789"/>
                  <a:pt x="11175464" y="4229238"/>
                  <a:pt x="11168554" y="4236205"/>
                </a:cubicBezTo>
                <a:cubicBezTo>
                  <a:pt x="11168554" y="4236205"/>
                  <a:pt x="11168554" y="4236205"/>
                  <a:pt x="11168554" y="4218789"/>
                </a:cubicBezTo>
                <a:cubicBezTo>
                  <a:pt x="11168554" y="4218789"/>
                  <a:pt x="11168554" y="4218789"/>
                  <a:pt x="11158189" y="4218789"/>
                </a:cubicBezTo>
                <a:close/>
                <a:moveTo>
                  <a:pt x="11088997" y="4218789"/>
                </a:moveTo>
                <a:cubicBezTo>
                  <a:pt x="11064881" y="4218789"/>
                  <a:pt x="11045332" y="4240744"/>
                  <a:pt x="11045332" y="4267829"/>
                </a:cubicBezTo>
                <a:cubicBezTo>
                  <a:pt x="11045332" y="4294913"/>
                  <a:pt x="11064881" y="4316868"/>
                  <a:pt x="11088997" y="4316868"/>
                </a:cubicBezTo>
                <a:cubicBezTo>
                  <a:pt x="11113113" y="4316868"/>
                  <a:pt x="11132662" y="4294913"/>
                  <a:pt x="11132662" y="4267829"/>
                </a:cubicBezTo>
                <a:cubicBezTo>
                  <a:pt x="11132662" y="4240744"/>
                  <a:pt x="11113113" y="4218789"/>
                  <a:pt x="11088997" y="4218789"/>
                </a:cubicBezTo>
                <a:close/>
                <a:moveTo>
                  <a:pt x="10883851" y="4218789"/>
                </a:moveTo>
                <a:cubicBezTo>
                  <a:pt x="10876813" y="4218789"/>
                  <a:pt x="10862738" y="4218789"/>
                  <a:pt x="10855700" y="4222292"/>
                </a:cubicBezTo>
                <a:cubicBezTo>
                  <a:pt x="10855700" y="4222292"/>
                  <a:pt x="10855700" y="4222292"/>
                  <a:pt x="10855700" y="4236303"/>
                </a:cubicBezTo>
                <a:cubicBezTo>
                  <a:pt x="10866257" y="4229298"/>
                  <a:pt x="10873294" y="4225795"/>
                  <a:pt x="10883851" y="4225795"/>
                </a:cubicBezTo>
                <a:cubicBezTo>
                  <a:pt x="10901445" y="4225795"/>
                  <a:pt x="10904964" y="4236303"/>
                  <a:pt x="10904964" y="4250315"/>
                </a:cubicBezTo>
                <a:cubicBezTo>
                  <a:pt x="10904964" y="4250315"/>
                  <a:pt x="10904964" y="4250315"/>
                  <a:pt x="10904964" y="4257320"/>
                </a:cubicBezTo>
                <a:cubicBezTo>
                  <a:pt x="10880332" y="4257320"/>
                  <a:pt x="10845144" y="4257320"/>
                  <a:pt x="10845144" y="4288845"/>
                </a:cubicBezTo>
                <a:cubicBezTo>
                  <a:pt x="10845144" y="4299354"/>
                  <a:pt x="10848663" y="4316868"/>
                  <a:pt x="10876813" y="4316868"/>
                </a:cubicBezTo>
                <a:cubicBezTo>
                  <a:pt x="10887370" y="4316868"/>
                  <a:pt x="10901445" y="4309862"/>
                  <a:pt x="10904964" y="4299354"/>
                </a:cubicBezTo>
                <a:cubicBezTo>
                  <a:pt x="10904964" y="4299354"/>
                  <a:pt x="10904964" y="4299354"/>
                  <a:pt x="10908483" y="4299354"/>
                </a:cubicBezTo>
                <a:lnTo>
                  <a:pt x="10908483" y="4313365"/>
                </a:lnTo>
                <a:cubicBezTo>
                  <a:pt x="10908483" y="4313365"/>
                  <a:pt x="10908483" y="4313365"/>
                  <a:pt x="10919039" y="4313365"/>
                </a:cubicBezTo>
                <a:cubicBezTo>
                  <a:pt x="10919039" y="4309862"/>
                  <a:pt x="10919039" y="4302857"/>
                  <a:pt x="10919039" y="4295851"/>
                </a:cubicBezTo>
                <a:cubicBezTo>
                  <a:pt x="10919039" y="4295851"/>
                  <a:pt x="10919039" y="4295851"/>
                  <a:pt x="10919039" y="4253818"/>
                </a:cubicBezTo>
                <a:cubicBezTo>
                  <a:pt x="10919039" y="4229298"/>
                  <a:pt x="10908483" y="4218789"/>
                  <a:pt x="10883851" y="4218789"/>
                </a:cubicBezTo>
                <a:close/>
                <a:moveTo>
                  <a:pt x="10642268" y="4218789"/>
                </a:moveTo>
                <a:cubicBezTo>
                  <a:pt x="10642268" y="4225755"/>
                  <a:pt x="10642268" y="4236205"/>
                  <a:pt x="10642268" y="4243172"/>
                </a:cubicBezTo>
                <a:lnTo>
                  <a:pt x="10642268" y="4312837"/>
                </a:lnTo>
                <a:cubicBezTo>
                  <a:pt x="10642268" y="4312837"/>
                  <a:pt x="10642268" y="4312837"/>
                  <a:pt x="10656343" y="4312837"/>
                </a:cubicBezTo>
                <a:cubicBezTo>
                  <a:pt x="10656343" y="4312837"/>
                  <a:pt x="10656343" y="4312837"/>
                  <a:pt x="10656343" y="4260588"/>
                </a:cubicBezTo>
                <a:cubicBezTo>
                  <a:pt x="10656343" y="4246655"/>
                  <a:pt x="10663381" y="4225755"/>
                  <a:pt x="10684494" y="4225755"/>
                </a:cubicBezTo>
                <a:cubicBezTo>
                  <a:pt x="10698569" y="4225755"/>
                  <a:pt x="10705607" y="4239688"/>
                  <a:pt x="10705607" y="4257105"/>
                </a:cubicBezTo>
                <a:cubicBezTo>
                  <a:pt x="10705607" y="4257105"/>
                  <a:pt x="10705607" y="4257105"/>
                  <a:pt x="10705607" y="4312837"/>
                </a:cubicBezTo>
                <a:cubicBezTo>
                  <a:pt x="10705607" y="4312837"/>
                  <a:pt x="10705607" y="4312837"/>
                  <a:pt x="10716163" y="4312837"/>
                </a:cubicBezTo>
                <a:cubicBezTo>
                  <a:pt x="10716163" y="4312837"/>
                  <a:pt x="10716163" y="4312837"/>
                  <a:pt x="10716163" y="4253621"/>
                </a:cubicBezTo>
                <a:cubicBezTo>
                  <a:pt x="10716163" y="4232722"/>
                  <a:pt x="10709125" y="4218789"/>
                  <a:pt x="10684494" y="4218789"/>
                </a:cubicBezTo>
                <a:cubicBezTo>
                  <a:pt x="10666900" y="4218789"/>
                  <a:pt x="10659862" y="4229238"/>
                  <a:pt x="10652824" y="4236205"/>
                </a:cubicBezTo>
                <a:cubicBezTo>
                  <a:pt x="10652824" y="4236205"/>
                  <a:pt x="10652824" y="4236205"/>
                  <a:pt x="10652824" y="4218789"/>
                </a:cubicBezTo>
                <a:cubicBezTo>
                  <a:pt x="10652824" y="4218789"/>
                  <a:pt x="10652824" y="4218789"/>
                  <a:pt x="10642268" y="4218789"/>
                </a:cubicBezTo>
                <a:close/>
                <a:moveTo>
                  <a:pt x="10540159" y="4218789"/>
                </a:moveTo>
                <a:cubicBezTo>
                  <a:pt x="10540159" y="4218789"/>
                  <a:pt x="10540159" y="4218789"/>
                  <a:pt x="10540159" y="4281839"/>
                </a:cubicBezTo>
                <a:cubicBezTo>
                  <a:pt x="10540159" y="4302857"/>
                  <a:pt x="10547196" y="4316868"/>
                  <a:pt x="10571828" y="4316868"/>
                </a:cubicBezTo>
                <a:cubicBezTo>
                  <a:pt x="10589422" y="4316868"/>
                  <a:pt x="10596460" y="4306359"/>
                  <a:pt x="10603498" y="4299354"/>
                </a:cubicBezTo>
                <a:cubicBezTo>
                  <a:pt x="10603498" y="4299354"/>
                  <a:pt x="10603498" y="4299354"/>
                  <a:pt x="10603498" y="4313365"/>
                </a:cubicBezTo>
                <a:cubicBezTo>
                  <a:pt x="10603498" y="4313365"/>
                  <a:pt x="10603498" y="4313365"/>
                  <a:pt x="10614054" y="4313365"/>
                </a:cubicBezTo>
                <a:cubicBezTo>
                  <a:pt x="10614054" y="4306359"/>
                  <a:pt x="10614054" y="4299354"/>
                  <a:pt x="10614054" y="4292348"/>
                </a:cubicBezTo>
                <a:lnTo>
                  <a:pt x="10614054" y="4218789"/>
                </a:lnTo>
                <a:cubicBezTo>
                  <a:pt x="10614054" y="4218789"/>
                  <a:pt x="10614054" y="4218789"/>
                  <a:pt x="10599979" y="4218789"/>
                </a:cubicBezTo>
                <a:cubicBezTo>
                  <a:pt x="10599979" y="4218789"/>
                  <a:pt x="10599979" y="4218789"/>
                  <a:pt x="10599979" y="4271331"/>
                </a:cubicBezTo>
                <a:cubicBezTo>
                  <a:pt x="10599979" y="4288845"/>
                  <a:pt x="10592941" y="4306359"/>
                  <a:pt x="10571828" y="4306359"/>
                </a:cubicBezTo>
                <a:cubicBezTo>
                  <a:pt x="10557753" y="4306359"/>
                  <a:pt x="10550715" y="4295851"/>
                  <a:pt x="10550715" y="4278337"/>
                </a:cubicBezTo>
                <a:cubicBezTo>
                  <a:pt x="10550715" y="4278337"/>
                  <a:pt x="10550715" y="4278337"/>
                  <a:pt x="10550715" y="4218789"/>
                </a:cubicBezTo>
                <a:cubicBezTo>
                  <a:pt x="10550715" y="4218789"/>
                  <a:pt x="10550715" y="4218789"/>
                  <a:pt x="10540159" y="4218789"/>
                </a:cubicBezTo>
                <a:close/>
                <a:moveTo>
                  <a:pt x="10471637" y="4218789"/>
                </a:moveTo>
                <a:cubicBezTo>
                  <a:pt x="10447151" y="4218789"/>
                  <a:pt x="10427300" y="4240744"/>
                  <a:pt x="10427300" y="4267829"/>
                </a:cubicBezTo>
                <a:cubicBezTo>
                  <a:pt x="10427300" y="4294913"/>
                  <a:pt x="10447151" y="4316868"/>
                  <a:pt x="10471637" y="4316868"/>
                </a:cubicBezTo>
                <a:cubicBezTo>
                  <a:pt x="10496124" y="4316868"/>
                  <a:pt x="10515975" y="4294913"/>
                  <a:pt x="10515975" y="4267829"/>
                </a:cubicBezTo>
                <a:cubicBezTo>
                  <a:pt x="10515975" y="4240744"/>
                  <a:pt x="10496124" y="4218789"/>
                  <a:pt x="10471637" y="4218789"/>
                </a:cubicBezTo>
                <a:close/>
                <a:moveTo>
                  <a:pt x="11655303" y="4204010"/>
                </a:moveTo>
                <a:lnTo>
                  <a:pt x="11659333" y="4214759"/>
                </a:lnTo>
                <a:lnTo>
                  <a:pt x="11663364" y="4221477"/>
                </a:lnTo>
                <a:lnTo>
                  <a:pt x="11648585" y="4221477"/>
                </a:lnTo>
                <a:lnTo>
                  <a:pt x="11652616" y="4214759"/>
                </a:lnTo>
                <a:close/>
                <a:moveTo>
                  <a:pt x="11659446" y="4193262"/>
                </a:moveTo>
                <a:cubicBezTo>
                  <a:pt x="11659446" y="4193262"/>
                  <a:pt x="11659446" y="4193262"/>
                  <a:pt x="11649032" y="4196776"/>
                </a:cubicBezTo>
                <a:cubicBezTo>
                  <a:pt x="11649032" y="4196776"/>
                  <a:pt x="11649032" y="4196776"/>
                  <a:pt x="11645562" y="4214346"/>
                </a:cubicBezTo>
                <a:cubicBezTo>
                  <a:pt x="11645562" y="4214346"/>
                  <a:pt x="11645562" y="4214346"/>
                  <a:pt x="11635149" y="4235428"/>
                </a:cubicBezTo>
                <a:cubicBezTo>
                  <a:pt x="11638620" y="4235428"/>
                  <a:pt x="11642091" y="4235428"/>
                  <a:pt x="11645562" y="4238942"/>
                </a:cubicBezTo>
                <a:cubicBezTo>
                  <a:pt x="11645562" y="4238942"/>
                  <a:pt x="11645562" y="4238942"/>
                  <a:pt x="11645562" y="4228401"/>
                </a:cubicBezTo>
                <a:cubicBezTo>
                  <a:pt x="11645562" y="4228401"/>
                  <a:pt x="11645562" y="4228401"/>
                  <a:pt x="11666387" y="4228401"/>
                </a:cubicBezTo>
                <a:cubicBezTo>
                  <a:pt x="11666387" y="4228401"/>
                  <a:pt x="11666387" y="4228401"/>
                  <a:pt x="11666387" y="4235428"/>
                </a:cubicBezTo>
                <a:cubicBezTo>
                  <a:pt x="11669858" y="4235428"/>
                  <a:pt x="11673329" y="4235428"/>
                  <a:pt x="11676800" y="4235428"/>
                </a:cubicBezTo>
                <a:cubicBezTo>
                  <a:pt x="11676800" y="4235428"/>
                  <a:pt x="11676800" y="4235428"/>
                  <a:pt x="11666387" y="4214346"/>
                </a:cubicBezTo>
                <a:lnTo>
                  <a:pt x="11659446" y="4196776"/>
                </a:lnTo>
                <a:cubicBezTo>
                  <a:pt x="11659446" y="4196776"/>
                  <a:pt x="11659446" y="4196776"/>
                  <a:pt x="11659446" y="4193262"/>
                </a:cubicBezTo>
                <a:close/>
                <a:moveTo>
                  <a:pt x="10964451" y="4193261"/>
                </a:moveTo>
                <a:cubicBezTo>
                  <a:pt x="10964451" y="4193261"/>
                  <a:pt x="10964451" y="4193261"/>
                  <a:pt x="10953971" y="4196793"/>
                </a:cubicBezTo>
                <a:cubicBezTo>
                  <a:pt x="10953971" y="4196793"/>
                  <a:pt x="10953971" y="4196793"/>
                  <a:pt x="10953971" y="4217982"/>
                </a:cubicBezTo>
                <a:cubicBezTo>
                  <a:pt x="10953971" y="4217982"/>
                  <a:pt x="10953971" y="4217982"/>
                  <a:pt x="10936505" y="4217982"/>
                </a:cubicBezTo>
                <a:cubicBezTo>
                  <a:pt x="10936505" y="4217982"/>
                  <a:pt x="10936505" y="4217982"/>
                  <a:pt x="10936505" y="4228577"/>
                </a:cubicBezTo>
                <a:cubicBezTo>
                  <a:pt x="10936505" y="4228577"/>
                  <a:pt x="10936505" y="4228577"/>
                  <a:pt x="10953971" y="4228577"/>
                </a:cubicBezTo>
                <a:cubicBezTo>
                  <a:pt x="10953971" y="4228577"/>
                  <a:pt x="10953971" y="4228577"/>
                  <a:pt x="10953971" y="4285083"/>
                </a:cubicBezTo>
                <a:cubicBezTo>
                  <a:pt x="10953971" y="4302741"/>
                  <a:pt x="10953971" y="4316867"/>
                  <a:pt x="10974931" y="4316867"/>
                </a:cubicBezTo>
                <a:cubicBezTo>
                  <a:pt x="10981917" y="4316867"/>
                  <a:pt x="10985410" y="4316867"/>
                  <a:pt x="10988904" y="4313336"/>
                </a:cubicBezTo>
                <a:cubicBezTo>
                  <a:pt x="10988904" y="4313336"/>
                  <a:pt x="10988904" y="4313336"/>
                  <a:pt x="10988904" y="4302741"/>
                </a:cubicBezTo>
                <a:cubicBezTo>
                  <a:pt x="10985410" y="4306272"/>
                  <a:pt x="10981917" y="4306272"/>
                  <a:pt x="10978424" y="4306272"/>
                </a:cubicBezTo>
                <a:cubicBezTo>
                  <a:pt x="10967944" y="4306272"/>
                  <a:pt x="10964451" y="4299210"/>
                  <a:pt x="10964451" y="4292146"/>
                </a:cubicBezTo>
                <a:cubicBezTo>
                  <a:pt x="10964451" y="4292146"/>
                  <a:pt x="10964451" y="4292146"/>
                  <a:pt x="10964451" y="4228577"/>
                </a:cubicBezTo>
                <a:cubicBezTo>
                  <a:pt x="10964451" y="4228577"/>
                  <a:pt x="10964451" y="4228577"/>
                  <a:pt x="10985410" y="4228577"/>
                </a:cubicBezTo>
                <a:lnTo>
                  <a:pt x="10985410" y="4217982"/>
                </a:lnTo>
                <a:cubicBezTo>
                  <a:pt x="10985410" y="4217982"/>
                  <a:pt x="10985410" y="4217982"/>
                  <a:pt x="10964451" y="4217982"/>
                </a:cubicBezTo>
                <a:cubicBezTo>
                  <a:pt x="10964451" y="4217982"/>
                  <a:pt x="10964451" y="4217982"/>
                  <a:pt x="10964451" y="4193261"/>
                </a:cubicBezTo>
                <a:close/>
                <a:moveTo>
                  <a:pt x="11599881" y="4190575"/>
                </a:moveTo>
                <a:cubicBezTo>
                  <a:pt x="11589469" y="4232741"/>
                  <a:pt x="11589469" y="4232741"/>
                  <a:pt x="11589469" y="4232741"/>
                </a:cubicBezTo>
                <a:cubicBezTo>
                  <a:pt x="11592940" y="4232741"/>
                  <a:pt x="11596410" y="4232741"/>
                  <a:pt x="11599881" y="4232741"/>
                </a:cubicBezTo>
                <a:cubicBezTo>
                  <a:pt x="11603352" y="4208145"/>
                  <a:pt x="11603352" y="4208145"/>
                  <a:pt x="11603352" y="4208145"/>
                </a:cubicBezTo>
                <a:cubicBezTo>
                  <a:pt x="11617236" y="4236255"/>
                  <a:pt x="11617236" y="4236255"/>
                  <a:pt x="11617236" y="4236255"/>
                </a:cubicBezTo>
                <a:cubicBezTo>
                  <a:pt x="11620707" y="4236255"/>
                  <a:pt x="11624178" y="4236255"/>
                  <a:pt x="11624178" y="4236255"/>
                </a:cubicBezTo>
                <a:cubicBezTo>
                  <a:pt x="11631119" y="4194089"/>
                  <a:pt x="11631119" y="4194089"/>
                  <a:pt x="11631119" y="4194089"/>
                </a:cubicBezTo>
                <a:cubicBezTo>
                  <a:pt x="11627648" y="4194089"/>
                  <a:pt x="11624178" y="4194089"/>
                  <a:pt x="11624178" y="4194089"/>
                </a:cubicBezTo>
                <a:cubicBezTo>
                  <a:pt x="11620707" y="4222200"/>
                  <a:pt x="11620707" y="4222200"/>
                  <a:pt x="11620707" y="4222200"/>
                </a:cubicBezTo>
                <a:cubicBezTo>
                  <a:pt x="11606824" y="4190575"/>
                  <a:pt x="11606824" y="4190575"/>
                  <a:pt x="11606824" y="4190575"/>
                </a:cubicBezTo>
                <a:cubicBezTo>
                  <a:pt x="11603352" y="4190575"/>
                  <a:pt x="11603352" y="4190575"/>
                  <a:pt x="11599881" y="4190575"/>
                </a:cubicBezTo>
                <a:close/>
                <a:moveTo>
                  <a:pt x="11709044" y="4186545"/>
                </a:moveTo>
                <a:cubicBezTo>
                  <a:pt x="11695071" y="4190096"/>
                  <a:pt x="11684592" y="4193646"/>
                  <a:pt x="11674112" y="4193646"/>
                </a:cubicBezTo>
                <a:cubicBezTo>
                  <a:pt x="11674112" y="4200748"/>
                  <a:pt x="11674112" y="4200748"/>
                  <a:pt x="11674112" y="4200748"/>
                </a:cubicBezTo>
                <a:cubicBezTo>
                  <a:pt x="11681098" y="4200748"/>
                  <a:pt x="11684592" y="4200748"/>
                  <a:pt x="11688084" y="4200748"/>
                </a:cubicBezTo>
                <a:cubicBezTo>
                  <a:pt x="11695071" y="4236256"/>
                  <a:pt x="11695071" y="4236256"/>
                  <a:pt x="11695071" y="4236256"/>
                </a:cubicBezTo>
                <a:cubicBezTo>
                  <a:pt x="11702057" y="4232705"/>
                  <a:pt x="11702057" y="4232705"/>
                  <a:pt x="11702057" y="4232705"/>
                </a:cubicBezTo>
                <a:cubicBezTo>
                  <a:pt x="11695071" y="4197197"/>
                  <a:pt x="11695071" y="4197197"/>
                  <a:pt x="11695071" y="4197197"/>
                </a:cubicBezTo>
                <a:cubicBezTo>
                  <a:pt x="11702057" y="4197197"/>
                  <a:pt x="11705551" y="4197197"/>
                  <a:pt x="11709044" y="4193646"/>
                </a:cubicBezTo>
                <a:close/>
                <a:moveTo>
                  <a:pt x="11564748" y="4186545"/>
                </a:moveTo>
                <a:cubicBezTo>
                  <a:pt x="11564748" y="4186545"/>
                  <a:pt x="11564748" y="4186545"/>
                  <a:pt x="11575228" y="4189904"/>
                </a:cubicBezTo>
                <a:cubicBezTo>
                  <a:pt x="11578720" y="4189904"/>
                  <a:pt x="11578720" y="4193263"/>
                  <a:pt x="11578720" y="4193263"/>
                </a:cubicBezTo>
                <a:cubicBezTo>
                  <a:pt x="11578720" y="4193263"/>
                  <a:pt x="11578720" y="4196621"/>
                  <a:pt x="11578720" y="4196621"/>
                </a:cubicBezTo>
                <a:cubicBezTo>
                  <a:pt x="11578720" y="4196621"/>
                  <a:pt x="11575228" y="4199980"/>
                  <a:pt x="11571734" y="4199980"/>
                </a:cubicBezTo>
                <a:cubicBezTo>
                  <a:pt x="11571734" y="4199980"/>
                  <a:pt x="11571734" y="4199980"/>
                  <a:pt x="11561254" y="4196621"/>
                </a:cubicBezTo>
                <a:cubicBezTo>
                  <a:pt x="11561254" y="4196621"/>
                  <a:pt x="11561254" y="4196621"/>
                  <a:pt x="11564748" y="4193263"/>
                </a:cubicBezTo>
                <a:cubicBezTo>
                  <a:pt x="11564748" y="4193263"/>
                  <a:pt x="11564748" y="4193263"/>
                  <a:pt x="11564748" y="4186545"/>
                </a:cubicBezTo>
                <a:close/>
                <a:moveTo>
                  <a:pt x="11014562" y="4184659"/>
                </a:moveTo>
                <a:lnTo>
                  <a:pt x="11014562" y="4198353"/>
                </a:lnTo>
                <a:lnTo>
                  <a:pt x="11026851" y="4198353"/>
                </a:lnTo>
                <a:lnTo>
                  <a:pt x="11026851" y="4184659"/>
                </a:lnTo>
                <a:close/>
                <a:moveTo>
                  <a:pt x="11715762" y="4182513"/>
                </a:moveTo>
                <a:cubicBezTo>
                  <a:pt x="11729582" y="4225507"/>
                  <a:pt x="11729582" y="4225507"/>
                  <a:pt x="11729582" y="4225507"/>
                </a:cubicBezTo>
                <a:cubicBezTo>
                  <a:pt x="11733036" y="4221924"/>
                  <a:pt x="11736491" y="4221924"/>
                  <a:pt x="11739946" y="4221924"/>
                </a:cubicBezTo>
                <a:cubicBezTo>
                  <a:pt x="11726127" y="4182513"/>
                  <a:pt x="11726127" y="4182513"/>
                  <a:pt x="11726127" y="4182513"/>
                </a:cubicBezTo>
                <a:cubicBezTo>
                  <a:pt x="11722671" y="4182513"/>
                  <a:pt x="11719217" y="4182513"/>
                  <a:pt x="11715762" y="4182513"/>
                </a:cubicBezTo>
                <a:close/>
                <a:moveTo>
                  <a:pt x="10346688" y="4182513"/>
                </a:moveTo>
                <a:lnTo>
                  <a:pt x="10346688" y="4312837"/>
                </a:lnTo>
                <a:lnTo>
                  <a:pt x="10361467" y="4312837"/>
                </a:lnTo>
                <a:lnTo>
                  <a:pt x="10361467" y="4253721"/>
                </a:lnTo>
                <a:lnTo>
                  <a:pt x="10407148" y="4253721"/>
                </a:lnTo>
                <a:lnTo>
                  <a:pt x="10407148" y="4242973"/>
                </a:lnTo>
                <a:lnTo>
                  <a:pt x="10361467" y="4242973"/>
                </a:lnTo>
                <a:lnTo>
                  <a:pt x="10361467" y="4193261"/>
                </a:lnTo>
                <a:lnTo>
                  <a:pt x="10409835" y="4193261"/>
                </a:lnTo>
                <a:lnTo>
                  <a:pt x="10409835" y="4182513"/>
                </a:lnTo>
                <a:close/>
                <a:moveTo>
                  <a:pt x="11561143" y="4175796"/>
                </a:moveTo>
                <a:cubicBezTo>
                  <a:pt x="11561143" y="4175796"/>
                  <a:pt x="11561143" y="4175796"/>
                  <a:pt x="11554200" y="4193263"/>
                </a:cubicBezTo>
                <a:cubicBezTo>
                  <a:pt x="11554200" y="4193263"/>
                  <a:pt x="11554200" y="4193263"/>
                  <a:pt x="11554200" y="4196755"/>
                </a:cubicBezTo>
                <a:cubicBezTo>
                  <a:pt x="11554200" y="4196755"/>
                  <a:pt x="11554200" y="4196755"/>
                  <a:pt x="11543788" y="4214222"/>
                </a:cubicBezTo>
                <a:cubicBezTo>
                  <a:pt x="11547259" y="4217715"/>
                  <a:pt x="11550730" y="4217715"/>
                  <a:pt x="11554200" y="4217715"/>
                </a:cubicBezTo>
                <a:cubicBezTo>
                  <a:pt x="11554200" y="4217715"/>
                  <a:pt x="11554200" y="4217715"/>
                  <a:pt x="11557671" y="4203742"/>
                </a:cubicBezTo>
                <a:cubicBezTo>
                  <a:pt x="11557671" y="4203742"/>
                  <a:pt x="11557671" y="4203742"/>
                  <a:pt x="11568084" y="4207236"/>
                </a:cubicBezTo>
                <a:cubicBezTo>
                  <a:pt x="11568084" y="4207236"/>
                  <a:pt x="11568084" y="4207236"/>
                  <a:pt x="11568084" y="4224701"/>
                </a:cubicBezTo>
                <a:cubicBezTo>
                  <a:pt x="11571555" y="4224701"/>
                  <a:pt x="11575026" y="4228195"/>
                  <a:pt x="11578497" y="4228195"/>
                </a:cubicBezTo>
                <a:cubicBezTo>
                  <a:pt x="11578497" y="4228195"/>
                  <a:pt x="11578497" y="4228195"/>
                  <a:pt x="11575026" y="4207236"/>
                </a:cubicBezTo>
                <a:cubicBezTo>
                  <a:pt x="11581968" y="4207236"/>
                  <a:pt x="11585438" y="4200249"/>
                  <a:pt x="11585438" y="4196755"/>
                </a:cubicBezTo>
                <a:cubicBezTo>
                  <a:pt x="11585438" y="4196755"/>
                  <a:pt x="11585438" y="4193263"/>
                  <a:pt x="11585438" y="4193263"/>
                </a:cubicBezTo>
                <a:cubicBezTo>
                  <a:pt x="11585438" y="4189769"/>
                  <a:pt x="11585438" y="4186276"/>
                  <a:pt x="11578497" y="4182783"/>
                </a:cubicBezTo>
                <a:cubicBezTo>
                  <a:pt x="11578497" y="4182783"/>
                  <a:pt x="11578497" y="4182783"/>
                  <a:pt x="11561143" y="4175796"/>
                </a:cubicBezTo>
                <a:close/>
                <a:moveTo>
                  <a:pt x="11766241" y="4173089"/>
                </a:moveTo>
                <a:cubicBezTo>
                  <a:pt x="11769696" y="4173530"/>
                  <a:pt x="11773151" y="4175293"/>
                  <a:pt x="11774878" y="4178820"/>
                </a:cubicBezTo>
                <a:cubicBezTo>
                  <a:pt x="11774878" y="4182347"/>
                  <a:pt x="11774878" y="4185873"/>
                  <a:pt x="11774878" y="4185873"/>
                </a:cubicBezTo>
                <a:cubicBezTo>
                  <a:pt x="11774878" y="4189400"/>
                  <a:pt x="11774878" y="4192928"/>
                  <a:pt x="11771423" y="4196454"/>
                </a:cubicBezTo>
                <a:cubicBezTo>
                  <a:pt x="11771423" y="4196454"/>
                  <a:pt x="11771423" y="4196454"/>
                  <a:pt x="11767968" y="4199981"/>
                </a:cubicBezTo>
                <a:cubicBezTo>
                  <a:pt x="11764514" y="4199981"/>
                  <a:pt x="11757604" y="4199981"/>
                  <a:pt x="11754149" y="4196454"/>
                </a:cubicBezTo>
                <a:cubicBezTo>
                  <a:pt x="11750694" y="4196454"/>
                  <a:pt x="11750694" y="4192928"/>
                  <a:pt x="11750694" y="4192928"/>
                </a:cubicBezTo>
                <a:cubicBezTo>
                  <a:pt x="11750694" y="4192928"/>
                  <a:pt x="11750694" y="4189400"/>
                  <a:pt x="11750694" y="4185873"/>
                </a:cubicBezTo>
                <a:cubicBezTo>
                  <a:pt x="11750694" y="4182347"/>
                  <a:pt x="11750694" y="4178820"/>
                  <a:pt x="11757604" y="4175293"/>
                </a:cubicBezTo>
                <a:cubicBezTo>
                  <a:pt x="11759332" y="4173530"/>
                  <a:pt x="11762786" y="4172648"/>
                  <a:pt x="11766241" y="4173089"/>
                </a:cubicBezTo>
                <a:close/>
                <a:moveTo>
                  <a:pt x="10810738" y="4171764"/>
                </a:moveTo>
                <a:cubicBezTo>
                  <a:pt x="10810738" y="4171764"/>
                  <a:pt x="10810738" y="4171764"/>
                  <a:pt x="10810738" y="4235468"/>
                </a:cubicBezTo>
                <a:cubicBezTo>
                  <a:pt x="10810738" y="4228390"/>
                  <a:pt x="10800048" y="4217772"/>
                  <a:pt x="10782231" y="4217772"/>
                </a:cubicBezTo>
                <a:cubicBezTo>
                  <a:pt x="10753724" y="4217772"/>
                  <a:pt x="10743034" y="4239007"/>
                  <a:pt x="10743034" y="4267320"/>
                </a:cubicBezTo>
                <a:cubicBezTo>
                  <a:pt x="10743034" y="4295633"/>
                  <a:pt x="10753724" y="4316867"/>
                  <a:pt x="10782231" y="4316867"/>
                </a:cubicBezTo>
                <a:cubicBezTo>
                  <a:pt x="10796484" y="4316867"/>
                  <a:pt x="10803611" y="4313328"/>
                  <a:pt x="10810738" y="4299171"/>
                </a:cubicBezTo>
                <a:cubicBezTo>
                  <a:pt x="10810738" y="4299171"/>
                  <a:pt x="10810738" y="4299171"/>
                  <a:pt x="10810738" y="4313328"/>
                </a:cubicBezTo>
                <a:cubicBezTo>
                  <a:pt x="10810738" y="4313328"/>
                  <a:pt x="10810738" y="4313328"/>
                  <a:pt x="10824991" y="4313328"/>
                </a:cubicBezTo>
                <a:lnTo>
                  <a:pt x="10824991" y="4171764"/>
                </a:lnTo>
                <a:cubicBezTo>
                  <a:pt x="10824991" y="4171764"/>
                  <a:pt x="10824991" y="4171764"/>
                  <a:pt x="10810738" y="4171764"/>
                </a:cubicBezTo>
                <a:close/>
                <a:moveTo>
                  <a:pt x="11768161" y="4166248"/>
                </a:moveTo>
                <a:cubicBezTo>
                  <a:pt x="11762338" y="4164953"/>
                  <a:pt x="11756068" y="4165816"/>
                  <a:pt x="11750694" y="4169271"/>
                </a:cubicBezTo>
                <a:cubicBezTo>
                  <a:pt x="11743528" y="4172726"/>
                  <a:pt x="11739946" y="4179636"/>
                  <a:pt x="11739946" y="4186545"/>
                </a:cubicBezTo>
                <a:cubicBezTo>
                  <a:pt x="11739946" y="4190000"/>
                  <a:pt x="11743528" y="4193455"/>
                  <a:pt x="11743528" y="4196910"/>
                </a:cubicBezTo>
                <a:cubicBezTo>
                  <a:pt x="11750694" y="4207275"/>
                  <a:pt x="11765025" y="4210729"/>
                  <a:pt x="11772191" y="4203820"/>
                </a:cubicBezTo>
                <a:cubicBezTo>
                  <a:pt x="11779357" y="4203820"/>
                  <a:pt x="11779357" y="4200365"/>
                  <a:pt x="11782939" y="4196910"/>
                </a:cubicBezTo>
                <a:cubicBezTo>
                  <a:pt x="11782939" y="4193455"/>
                  <a:pt x="11782939" y="4190000"/>
                  <a:pt x="11782939" y="4186545"/>
                </a:cubicBezTo>
                <a:cubicBezTo>
                  <a:pt x="11782939" y="4183091"/>
                  <a:pt x="11782939" y="4179636"/>
                  <a:pt x="11782939" y="4176181"/>
                </a:cubicBezTo>
                <a:cubicBezTo>
                  <a:pt x="11779357" y="4170998"/>
                  <a:pt x="11773982" y="4167544"/>
                  <a:pt x="11768161" y="4166248"/>
                </a:cubicBezTo>
                <a:close/>
                <a:moveTo>
                  <a:pt x="11525909" y="4158330"/>
                </a:moveTo>
                <a:cubicBezTo>
                  <a:pt x="11504825" y="4193262"/>
                  <a:pt x="11504825" y="4193262"/>
                  <a:pt x="11504825" y="4193262"/>
                </a:cubicBezTo>
                <a:cubicBezTo>
                  <a:pt x="11511853" y="4200248"/>
                  <a:pt x="11518881" y="4203742"/>
                  <a:pt x="11529423" y="4210728"/>
                </a:cubicBezTo>
                <a:cubicBezTo>
                  <a:pt x="11532937" y="4203742"/>
                  <a:pt x="11532937" y="4203742"/>
                  <a:pt x="11532937" y="4203742"/>
                </a:cubicBezTo>
                <a:cubicBezTo>
                  <a:pt x="11515367" y="4193262"/>
                  <a:pt x="11515367" y="4193262"/>
                  <a:pt x="11515367" y="4193262"/>
                </a:cubicBezTo>
                <a:cubicBezTo>
                  <a:pt x="11522395" y="4182783"/>
                  <a:pt x="11522395" y="4182783"/>
                  <a:pt x="11522395" y="4182783"/>
                </a:cubicBezTo>
                <a:cubicBezTo>
                  <a:pt x="11532937" y="4189769"/>
                  <a:pt x="11532937" y="4189769"/>
                  <a:pt x="11532937" y="4189769"/>
                </a:cubicBezTo>
                <a:cubicBezTo>
                  <a:pt x="11536450" y="4182783"/>
                  <a:pt x="11536450" y="4182783"/>
                  <a:pt x="11536450" y="4182783"/>
                </a:cubicBezTo>
                <a:cubicBezTo>
                  <a:pt x="11532937" y="4182783"/>
                  <a:pt x="11529423" y="4179289"/>
                  <a:pt x="11525909" y="4175796"/>
                </a:cubicBezTo>
                <a:lnTo>
                  <a:pt x="11529423" y="4168810"/>
                </a:lnTo>
                <a:cubicBezTo>
                  <a:pt x="11536450" y="4172302"/>
                  <a:pt x="11539964" y="4175796"/>
                  <a:pt x="11546992" y="4179289"/>
                </a:cubicBezTo>
                <a:cubicBezTo>
                  <a:pt x="11550506" y="4172302"/>
                  <a:pt x="11550506" y="4172302"/>
                  <a:pt x="11550506" y="4172302"/>
                </a:cubicBezTo>
                <a:cubicBezTo>
                  <a:pt x="11543478" y="4168810"/>
                  <a:pt x="11532937" y="4161823"/>
                  <a:pt x="11525909" y="4158330"/>
                </a:cubicBezTo>
                <a:close/>
                <a:moveTo>
                  <a:pt x="11803361" y="4130116"/>
                </a:moveTo>
                <a:cubicBezTo>
                  <a:pt x="11799868" y="4133642"/>
                  <a:pt x="11799868" y="4133642"/>
                  <a:pt x="11796375" y="4137169"/>
                </a:cubicBezTo>
                <a:cubicBezTo>
                  <a:pt x="11813840" y="4154803"/>
                  <a:pt x="11813840" y="4154803"/>
                  <a:pt x="11813840" y="4154803"/>
                </a:cubicBezTo>
                <a:cubicBezTo>
                  <a:pt x="11785895" y="4147750"/>
                  <a:pt x="11785895" y="4147750"/>
                  <a:pt x="11785895" y="4147750"/>
                </a:cubicBezTo>
                <a:cubicBezTo>
                  <a:pt x="11782402" y="4147750"/>
                  <a:pt x="11782402" y="4151276"/>
                  <a:pt x="11778908" y="4151276"/>
                </a:cubicBezTo>
                <a:cubicBezTo>
                  <a:pt x="11803361" y="4186545"/>
                  <a:pt x="11803361" y="4186545"/>
                  <a:pt x="11803361" y="4186545"/>
                </a:cubicBezTo>
                <a:cubicBezTo>
                  <a:pt x="11806854" y="4183018"/>
                  <a:pt x="11806854" y="4183018"/>
                  <a:pt x="11810348" y="4179491"/>
                </a:cubicBezTo>
                <a:cubicBezTo>
                  <a:pt x="11796375" y="4158330"/>
                  <a:pt x="11796375" y="4158330"/>
                  <a:pt x="11796375" y="4158330"/>
                </a:cubicBezTo>
                <a:cubicBezTo>
                  <a:pt x="11824320" y="4168910"/>
                  <a:pt x="11824320" y="4168910"/>
                  <a:pt x="11824320" y="4168910"/>
                </a:cubicBezTo>
                <a:cubicBezTo>
                  <a:pt x="11827814" y="4165384"/>
                  <a:pt x="11827814" y="4165384"/>
                  <a:pt x="11831307" y="4161857"/>
                </a:cubicBezTo>
                <a:cubicBezTo>
                  <a:pt x="11803361" y="4130116"/>
                  <a:pt x="11803361" y="4130116"/>
                  <a:pt x="11803361" y="4130116"/>
                </a:cubicBezTo>
                <a:close/>
                <a:moveTo>
                  <a:pt x="11495008" y="4130116"/>
                </a:moveTo>
                <a:cubicBezTo>
                  <a:pt x="11495008" y="4130116"/>
                  <a:pt x="11495008" y="4130116"/>
                  <a:pt x="11487980" y="4133629"/>
                </a:cubicBezTo>
                <a:cubicBezTo>
                  <a:pt x="11491494" y="4137143"/>
                  <a:pt x="11495008" y="4140657"/>
                  <a:pt x="11498522" y="4144171"/>
                </a:cubicBezTo>
                <a:cubicBezTo>
                  <a:pt x="11498522" y="4144171"/>
                  <a:pt x="11498522" y="4144171"/>
                  <a:pt x="11473924" y="4168768"/>
                </a:cubicBezTo>
                <a:cubicBezTo>
                  <a:pt x="11473924" y="4168768"/>
                  <a:pt x="11473924" y="4168768"/>
                  <a:pt x="11480952" y="4175796"/>
                </a:cubicBezTo>
                <a:cubicBezTo>
                  <a:pt x="11480952" y="4175796"/>
                  <a:pt x="11480952" y="4175796"/>
                  <a:pt x="11505548" y="4151199"/>
                </a:cubicBezTo>
                <a:cubicBezTo>
                  <a:pt x="11509062" y="4151199"/>
                  <a:pt x="11512576" y="4154712"/>
                  <a:pt x="11516090" y="4158226"/>
                </a:cubicBezTo>
                <a:cubicBezTo>
                  <a:pt x="11516090" y="4158226"/>
                  <a:pt x="11516090" y="4158226"/>
                  <a:pt x="11519604" y="4151199"/>
                </a:cubicBezTo>
                <a:cubicBezTo>
                  <a:pt x="11509062" y="4144171"/>
                  <a:pt x="11502036" y="4137143"/>
                  <a:pt x="11495008" y="4130116"/>
                </a:cubicBezTo>
                <a:close/>
                <a:moveTo>
                  <a:pt x="11824589" y="4119367"/>
                </a:moveTo>
                <a:lnTo>
                  <a:pt x="11842055" y="4126085"/>
                </a:lnTo>
                <a:lnTo>
                  <a:pt x="11842055" y="4130116"/>
                </a:lnTo>
                <a:lnTo>
                  <a:pt x="11835337" y="4136834"/>
                </a:lnTo>
                <a:lnTo>
                  <a:pt x="11831307" y="4130116"/>
                </a:lnTo>
                <a:close/>
                <a:moveTo>
                  <a:pt x="11820942" y="4112649"/>
                </a:moveTo>
                <a:lnTo>
                  <a:pt x="11813840" y="4119591"/>
                </a:lnTo>
                <a:cubicBezTo>
                  <a:pt x="11813840" y="4119591"/>
                  <a:pt x="11813840" y="4119591"/>
                  <a:pt x="11820942" y="4130003"/>
                </a:cubicBezTo>
                <a:cubicBezTo>
                  <a:pt x="11820942" y="4130003"/>
                  <a:pt x="11820942" y="4130003"/>
                  <a:pt x="11838696" y="4154299"/>
                </a:cubicBezTo>
                <a:cubicBezTo>
                  <a:pt x="11838696" y="4154299"/>
                  <a:pt x="11842247" y="4150829"/>
                  <a:pt x="11842247" y="4150829"/>
                </a:cubicBezTo>
                <a:cubicBezTo>
                  <a:pt x="11842247" y="4150829"/>
                  <a:pt x="11842247" y="4150829"/>
                  <a:pt x="11838696" y="4143887"/>
                </a:cubicBezTo>
                <a:cubicBezTo>
                  <a:pt x="11838696" y="4143887"/>
                  <a:pt x="11838696" y="4143887"/>
                  <a:pt x="11849349" y="4130003"/>
                </a:cubicBezTo>
                <a:cubicBezTo>
                  <a:pt x="11849349" y="4130003"/>
                  <a:pt x="11849349" y="4130003"/>
                  <a:pt x="11856450" y="4130003"/>
                </a:cubicBezTo>
                <a:cubicBezTo>
                  <a:pt x="11860002" y="4130003"/>
                  <a:pt x="11860002" y="4130003"/>
                  <a:pt x="11860002" y="4130003"/>
                </a:cubicBezTo>
                <a:cubicBezTo>
                  <a:pt x="11860002" y="4126532"/>
                  <a:pt x="11863552" y="4126532"/>
                  <a:pt x="11863552" y="4123061"/>
                </a:cubicBezTo>
                <a:cubicBezTo>
                  <a:pt x="11863552" y="4123061"/>
                  <a:pt x="11863552" y="4123061"/>
                  <a:pt x="11820942" y="4112649"/>
                </a:cubicBezTo>
                <a:close/>
                <a:moveTo>
                  <a:pt x="11466198" y="4097870"/>
                </a:moveTo>
                <a:cubicBezTo>
                  <a:pt x="11430930" y="4122950"/>
                  <a:pt x="11430930" y="4122950"/>
                  <a:pt x="11430930" y="4122950"/>
                </a:cubicBezTo>
                <a:cubicBezTo>
                  <a:pt x="11434457" y="4126533"/>
                  <a:pt x="11434457" y="4126533"/>
                  <a:pt x="11437984" y="4130116"/>
                </a:cubicBezTo>
                <a:cubicBezTo>
                  <a:pt x="11459145" y="4115785"/>
                  <a:pt x="11459145" y="4115785"/>
                  <a:pt x="11459145" y="4115785"/>
                </a:cubicBezTo>
                <a:cubicBezTo>
                  <a:pt x="11448564" y="4144446"/>
                  <a:pt x="11448564" y="4144446"/>
                  <a:pt x="11448564" y="4144446"/>
                </a:cubicBezTo>
                <a:cubicBezTo>
                  <a:pt x="11452091" y="4148030"/>
                  <a:pt x="11452091" y="4148030"/>
                  <a:pt x="11455618" y="4151612"/>
                </a:cubicBezTo>
                <a:cubicBezTo>
                  <a:pt x="11487359" y="4122950"/>
                  <a:pt x="11487359" y="4122950"/>
                  <a:pt x="11487359" y="4122950"/>
                </a:cubicBezTo>
                <a:cubicBezTo>
                  <a:pt x="11487359" y="4119367"/>
                  <a:pt x="11483833" y="4119367"/>
                  <a:pt x="11483833" y="4115785"/>
                </a:cubicBezTo>
                <a:cubicBezTo>
                  <a:pt x="11462672" y="4133698"/>
                  <a:pt x="11462672" y="4133698"/>
                  <a:pt x="11462672" y="4133698"/>
                </a:cubicBezTo>
                <a:cubicBezTo>
                  <a:pt x="11473252" y="4105036"/>
                  <a:pt x="11473252" y="4105036"/>
                  <a:pt x="11473252" y="4105036"/>
                </a:cubicBezTo>
                <a:cubicBezTo>
                  <a:pt x="11469725" y="4101453"/>
                  <a:pt x="11469725" y="4101453"/>
                  <a:pt x="11466198" y="4097870"/>
                </a:cubicBezTo>
                <a:close/>
                <a:moveTo>
                  <a:pt x="11835338" y="4087122"/>
                </a:moveTo>
                <a:lnTo>
                  <a:pt x="11831307" y="4095183"/>
                </a:lnTo>
                <a:lnTo>
                  <a:pt x="11870270" y="4115337"/>
                </a:lnTo>
                <a:lnTo>
                  <a:pt x="11883706" y="4091153"/>
                </a:lnTo>
                <a:lnTo>
                  <a:pt x="11876988" y="4087122"/>
                </a:lnTo>
                <a:lnTo>
                  <a:pt x="11866239" y="4105932"/>
                </a:lnTo>
                <a:close/>
                <a:moveTo>
                  <a:pt x="11459634" y="4084435"/>
                </a:moveTo>
                <a:cubicBezTo>
                  <a:pt x="11424212" y="4105597"/>
                  <a:pt x="11424212" y="4105597"/>
                  <a:pt x="11424212" y="4105597"/>
                </a:cubicBezTo>
                <a:cubicBezTo>
                  <a:pt x="11424212" y="4105597"/>
                  <a:pt x="11424212" y="4109123"/>
                  <a:pt x="11427754" y="4112650"/>
                </a:cubicBezTo>
                <a:cubicBezTo>
                  <a:pt x="11463176" y="4091489"/>
                  <a:pt x="11463176" y="4091489"/>
                  <a:pt x="11463176" y="4091489"/>
                </a:cubicBezTo>
                <a:cubicBezTo>
                  <a:pt x="11463176" y="4087962"/>
                  <a:pt x="11459634" y="4087962"/>
                  <a:pt x="11459634" y="4084435"/>
                </a:cubicBezTo>
                <a:close/>
                <a:moveTo>
                  <a:pt x="11450927" y="4050825"/>
                </a:moveTo>
                <a:cubicBezTo>
                  <a:pt x="11452683" y="4051266"/>
                  <a:pt x="11454437" y="4053029"/>
                  <a:pt x="11456192" y="4056556"/>
                </a:cubicBezTo>
                <a:cubicBezTo>
                  <a:pt x="11487785" y="4134147"/>
                  <a:pt x="11561500" y="4187049"/>
                  <a:pt x="11649257" y="4187049"/>
                </a:cubicBezTo>
                <a:cubicBezTo>
                  <a:pt x="11737012" y="4187049"/>
                  <a:pt x="11810728" y="4134147"/>
                  <a:pt x="11842320" y="4056556"/>
                </a:cubicBezTo>
                <a:cubicBezTo>
                  <a:pt x="11844075" y="4053029"/>
                  <a:pt x="11845831" y="4051266"/>
                  <a:pt x="11847586" y="4050825"/>
                </a:cubicBezTo>
                <a:cubicBezTo>
                  <a:pt x="11849340" y="4050385"/>
                  <a:pt x="11851096" y="4051266"/>
                  <a:pt x="11852851" y="4053029"/>
                </a:cubicBezTo>
                <a:cubicBezTo>
                  <a:pt x="11852851" y="4053029"/>
                  <a:pt x="11852851" y="4053029"/>
                  <a:pt x="11891464" y="4063610"/>
                </a:cubicBezTo>
                <a:cubicBezTo>
                  <a:pt x="11894974" y="4067137"/>
                  <a:pt x="11898484" y="4070663"/>
                  <a:pt x="11898484" y="4074190"/>
                </a:cubicBezTo>
                <a:cubicBezTo>
                  <a:pt x="11859871" y="4176468"/>
                  <a:pt x="11761585" y="4247005"/>
                  <a:pt x="11649257" y="4247005"/>
                </a:cubicBezTo>
                <a:cubicBezTo>
                  <a:pt x="11536929" y="4247005"/>
                  <a:pt x="11438641" y="4176468"/>
                  <a:pt x="11400028" y="4077718"/>
                </a:cubicBezTo>
                <a:cubicBezTo>
                  <a:pt x="11400028" y="4070663"/>
                  <a:pt x="11400028" y="4067137"/>
                  <a:pt x="11407049" y="4063610"/>
                </a:cubicBezTo>
                <a:cubicBezTo>
                  <a:pt x="11407049" y="4063610"/>
                  <a:pt x="11407049" y="4063610"/>
                  <a:pt x="11445662" y="4053029"/>
                </a:cubicBezTo>
                <a:cubicBezTo>
                  <a:pt x="11447417" y="4051266"/>
                  <a:pt x="11449172" y="4050385"/>
                  <a:pt x="11450927" y="4050825"/>
                </a:cubicBezTo>
                <a:close/>
                <a:moveTo>
                  <a:pt x="11603442" y="4044987"/>
                </a:moveTo>
                <a:cubicBezTo>
                  <a:pt x="11606935" y="4041441"/>
                  <a:pt x="11610428" y="4041441"/>
                  <a:pt x="11613922" y="4044987"/>
                </a:cubicBezTo>
                <a:cubicBezTo>
                  <a:pt x="11613922" y="4044987"/>
                  <a:pt x="11617414" y="4048533"/>
                  <a:pt x="11617414" y="4052078"/>
                </a:cubicBezTo>
                <a:cubicBezTo>
                  <a:pt x="11617414" y="4052078"/>
                  <a:pt x="11624401" y="4154897"/>
                  <a:pt x="11624401" y="4154897"/>
                </a:cubicBezTo>
                <a:cubicBezTo>
                  <a:pt x="11624401" y="4161988"/>
                  <a:pt x="11624401" y="4165534"/>
                  <a:pt x="11620908" y="4165534"/>
                </a:cubicBezTo>
                <a:cubicBezTo>
                  <a:pt x="11620908" y="4169079"/>
                  <a:pt x="11617414" y="4169079"/>
                  <a:pt x="11613922" y="4165534"/>
                </a:cubicBezTo>
                <a:cubicBezTo>
                  <a:pt x="11568509" y="4154897"/>
                  <a:pt x="11537070" y="4137170"/>
                  <a:pt x="11505632" y="4101714"/>
                </a:cubicBezTo>
                <a:cubicBezTo>
                  <a:pt x="11502138" y="4101714"/>
                  <a:pt x="11502138" y="4098169"/>
                  <a:pt x="11502138" y="4098169"/>
                </a:cubicBezTo>
                <a:cubicBezTo>
                  <a:pt x="11502138" y="4094624"/>
                  <a:pt x="11502138" y="4094624"/>
                  <a:pt x="11502138" y="4094624"/>
                </a:cubicBezTo>
                <a:cubicBezTo>
                  <a:pt x="11502138" y="4091079"/>
                  <a:pt x="11505632" y="4091079"/>
                  <a:pt x="11509124" y="4091079"/>
                </a:cubicBezTo>
                <a:cubicBezTo>
                  <a:pt x="11509124" y="4091079"/>
                  <a:pt x="11509124" y="4091079"/>
                  <a:pt x="11603442" y="4044987"/>
                </a:cubicBezTo>
                <a:close/>
                <a:moveTo>
                  <a:pt x="11688084" y="4041441"/>
                </a:moveTo>
                <a:cubicBezTo>
                  <a:pt x="11691578" y="4041441"/>
                  <a:pt x="11695071" y="4041441"/>
                  <a:pt x="11698565" y="4041441"/>
                </a:cubicBezTo>
                <a:cubicBezTo>
                  <a:pt x="11698565" y="4041441"/>
                  <a:pt x="11698565" y="4041441"/>
                  <a:pt x="11789388" y="4087352"/>
                </a:cubicBezTo>
                <a:cubicBezTo>
                  <a:pt x="11792882" y="4090884"/>
                  <a:pt x="11796375" y="4090884"/>
                  <a:pt x="11796375" y="4094416"/>
                </a:cubicBezTo>
                <a:cubicBezTo>
                  <a:pt x="11796375" y="4097947"/>
                  <a:pt x="11796375" y="4097947"/>
                  <a:pt x="11792882" y="4101479"/>
                </a:cubicBezTo>
                <a:cubicBezTo>
                  <a:pt x="11761442" y="4136795"/>
                  <a:pt x="11730003" y="4154453"/>
                  <a:pt x="11684592" y="4165048"/>
                </a:cubicBezTo>
                <a:cubicBezTo>
                  <a:pt x="11681098" y="4165048"/>
                  <a:pt x="11677605" y="4165048"/>
                  <a:pt x="11677605" y="4165048"/>
                </a:cubicBezTo>
                <a:cubicBezTo>
                  <a:pt x="11674112" y="4161516"/>
                  <a:pt x="11674112" y="4157984"/>
                  <a:pt x="11674112" y="4154453"/>
                </a:cubicBezTo>
                <a:cubicBezTo>
                  <a:pt x="11674112" y="4154453"/>
                  <a:pt x="11674112" y="4154453"/>
                  <a:pt x="11684592" y="4052037"/>
                </a:cubicBezTo>
                <a:cubicBezTo>
                  <a:pt x="11684592" y="4048505"/>
                  <a:pt x="11684592" y="4044973"/>
                  <a:pt x="11688084" y="4041441"/>
                </a:cubicBezTo>
                <a:close/>
                <a:moveTo>
                  <a:pt x="10810283" y="4002477"/>
                </a:moveTo>
                <a:lnTo>
                  <a:pt x="10851862" y="4002477"/>
                </a:lnTo>
                <a:cubicBezTo>
                  <a:pt x="10851862" y="4002477"/>
                  <a:pt x="10851862" y="4002477"/>
                  <a:pt x="10851862" y="4045087"/>
                </a:cubicBezTo>
                <a:cubicBezTo>
                  <a:pt x="10851862" y="4045087"/>
                  <a:pt x="10824142" y="4052189"/>
                  <a:pt x="10803353" y="4052189"/>
                </a:cubicBezTo>
                <a:cubicBezTo>
                  <a:pt x="10786028" y="4052189"/>
                  <a:pt x="10786028" y="4037986"/>
                  <a:pt x="10786028" y="4027333"/>
                </a:cubicBezTo>
                <a:cubicBezTo>
                  <a:pt x="10786028" y="4013130"/>
                  <a:pt x="10792958" y="4006028"/>
                  <a:pt x="10810283" y="4002477"/>
                </a:cubicBezTo>
                <a:close/>
                <a:moveTo>
                  <a:pt x="10494479" y="3932612"/>
                </a:moveTo>
                <a:cubicBezTo>
                  <a:pt x="10525716" y="3932612"/>
                  <a:pt x="10536128" y="3946680"/>
                  <a:pt x="10536128" y="3988884"/>
                </a:cubicBezTo>
                <a:cubicBezTo>
                  <a:pt x="10536128" y="4027569"/>
                  <a:pt x="10529187" y="4052188"/>
                  <a:pt x="10494479" y="4052188"/>
                </a:cubicBezTo>
                <a:cubicBezTo>
                  <a:pt x="10459770" y="4052188"/>
                  <a:pt x="10452829" y="4031087"/>
                  <a:pt x="10452829" y="3988884"/>
                </a:cubicBezTo>
                <a:cubicBezTo>
                  <a:pt x="10452829" y="3946680"/>
                  <a:pt x="10463241" y="3932612"/>
                  <a:pt x="10494479" y="3932612"/>
                </a:cubicBezTo>
                <a:close/>
                <a:moveTo>
                  <a:pt x="11639005" y="3928583"/>
                </a:moveTo>
                <a:cubicBezTo>
                  <a:pt x="11639005" y="3928583"/>
                  <a:pt x="11639005" y="3928583"/>
                  <a:pt x="11660034" y="3928583"/>
                </a:cubicBezTo>
                <a:cubicBezTo>
                  <a:pt x="11660034" y="3928583"/>
                  <a:pt x="11660034" y="3935676"/>
                  <a:pt x="11660034" y="3939223"/>
                </a:cubicBezTo>
                <a:cubicBezTo>
                  <a:pt x="11677559" y="3942770"/>
                  <a:pt x="11691578" y="3960505"/>
                  <a:pt x="11691578" y="3978240"/>
                </a:cubicBezTo>
                <a:cubicBezTo>
                  <a:pt x="11691578" y="3999522"/>
                  <a:pt x="11670549" y="4017257"/>
                  <a:pt x="11649519" y="4017257"/>
                </a:cubicBezTo>
                <a:cubicBezTo>
                  <a:pt x="11628490" y="4017257"/>
                  <a:pt x="11610966" y="3999522"/>
                  <a:pt x="11610966" y="3978240"/>
                </a:cubicBezTo>
                <a:cubicBezTo>
                  <a:pt x="11610966" y="3960505"/>
                  <a:pt x="11621480" y="3942770"/>
                  <a:pt x="11639005" y="3939223"/>
                </a:cubicBezTo>
                <a:cubicBezTo>
                  <a:pt x="11639005" y="3939223"/>
                  <a:pt x="11639005" y="3928583"/>
                  <a:pt x="11639005" y="3928583"/>
                </a:cubicBezTo>
                <a:close/>
                <a:moveTo>
                  <a:pt x="11649257" y="3917834"/>
                </a:moveTo>
                <a:cubicBezTo>
                  <a:pt x="11616236" y="3917834"/>
                  <a:pt x="11589469" y="3944903"/>
                  <a:pt x="11589469" y="3978294"/>
                </a:cubicBezTo>
                <a:cubicBezTo>
                  <a:pt x="11589469" y="4011685"/>
                  <a:pt x="11616236" y="4038754"/>
                  <a:pt x="11649257" y="4038754"/>
                </a:cubicBezTo>
                <a:cubicBezTo>
                  <a:pt x="11682277" y="4038754"/>
                  <a:pt x="11709045" y="4011685"/>
                  <a:pt x="11709045" y="3978294"/>
                </a:cubicBezTo>
                <a:cubicBezTo>
                  <a:pt x="11709045" y="3944903"/>
                  <a:pt x="11682277" y="3917834"/>
                  <a:pt x="11649257" y="3917834"/>
                </a:cubicBezTo>
                <a:close/>
                <a:moveTo>
                  <a:pt x="11649257" y="3911117"/>
                </a:moveTo>
                <a:cubicBezTo>
                  <a:pt x="11685987" y="3911117"/>
                  <a:pt x="11715763" y="3941193"/>
                  <a:pt x="11715763" y="3978294"/>
                </a:cubicBezTo>
                <a:cubicBezTo>
                  <a:pt x="11715763" y="4015396"/>
                  <a:pt x="11685987" y="4045472"/>
                  <a:pt x="11649257" y="4045472"/>
                </a:cubicBezTo>
                <a:cubicBezTo>
                  <a:pt x="11612526" y="4045472"/>
                  <a:pt x="11582751" y="4015396"/>
                  <a:pt x="11582751" y="3978294"/>
                </a:cubicBezTo>
                <a:cubicBezTo>
                  <a:pt x="11582751" y="3941193"/>
                  <a:pt x="11612526" y="3911117"/>
                  <a:pt x="11649257" y="3911117"/>
                </a:cubicBezTo>
                <a:close/>
                <a:moveTo>
                  <a:pt x="11824549" y="3908430"/>
                </a:moveTo>
                <a:cubicBezTo>
                  <a:pt x="11828050" y="3908430"/>
                  <a:pt x="11828050" y="3911956"/>
                  <a:pt x="11828050" y="3915483"/>
                </a:cubicBezTo>
                <a:cubicBezTo>
                  <a:pt x="11842055" y="3957805"/>
                  <a:pt x="11842055" y="3996600"/>
                  <a:pt x="11828050" y="4038922"/>
                </a:cubicBezTo>
                <a:cubicBezTo>
                  <a:pt x="11828050" y="4045976"/>
                  <a:pt x="11828050" y="4045976"/>
                  <a:pt x="11824549" y="4045976"/>
                </a:cubicBezTo>
                <a:cubicBezTo>
                  <a:pt x="11821047" y="4049503"/>
                  <a:pt x="11817546" y="4045976"/>
                  <a:pt x="11817546" y="4045976"/>
                </a:cubicBezTo>
                <a:lnTo>
                  <a:pt x="11730012" y="3986020"/>
                </a:lnTo>
                <a:cubicBezTo>
                  <a:pt x="11726510" y="3982493"/>
                  <a:pt x="11726510" y="3978966"/>
                  <a:pt x="11726510" y="3978966"/>
                </a:cubicBezTo>
                <a:cubicBezTo>
                  <a:pt x="11726510" y="3975440"/>
                  <a:pt x="11726510" y="3971913"/>
                  <a:pt x="11730012" y="3968385"/>
                </a:cubicBezTo>
                <a:cubicBezTo>
                  <a:pt x="11730012" y="3968385"/>
                  <a:pt x="11730012" y="3968385"/>
                  <a:pt x="11814044" y="3911956"/>
                </a:cubicBezTo>
                <a:cubicBezTo>
                  <a:pt x="11821047" y="3908430"/>
                  <a:pt x="11824549" y="3908430"/>
                  <a:pt x="11824549" y="3908430"/>
                </a:cubicBezTo>
                <a:close/>
                <a:moveTo>
                  <a:pt x="11473964" y="3908430"/>
                </a:moveTo>
                <a:cubicBezTo>
                  <a:pt x="11477466" y="3908430"/>
                  <a:pt x="11480967" y="3908430"/>
                  <a:pt x="11480967" y="3911956"/>
                </a:cubicBezTo>
                <a:lnTo>
                  <a:pt x="11568501" y="3968385"/>
                </a:lnTo>
                <a:cubicBezTo>
                  <a:pt x="11572002" y="3971913"/>
                  <a:pt x="11572002" y="3975440"/>
                  <a:pt x="11572002" y="3978966"/>
                </a:cubicBezTo>
                <a:cubicBezTo>
                  <a:pt x="11572002" y="3982493"/>
                  <a:pt x="11572002" y="3986020"/>
                  <a:pt x="11568501" y="3986020"/>
                </a:cubicBezTo>
                <a:cubicBezTo>
                  <a:pt x="11568501" y="3986020"/>
                  <a:pt x="11568501" y="3986020"/>
                  <a:pt x="11480967" y="4045976"/>
                </a:cubicBezTo>
                <a:cubicBezTo>
                  <a:pt x="11477466" y="4045976"/>
                  <a:pt x="11473964" y="4049503"/>
                  <a:pt x="11473964" y="4045976"/>
                </a:cubicBezTo>
                <a:cubicBezTo>
                  <a:pt x="11470463" y="4045976"/>
                  <a:pt x="11470463" y="4042449"/>
                  <a:pt x="11466961" y="4042449"/>
                </a:cubicBezTo>
                <a:cubicBezTo>
                  <a:pt x="11456457" y="3996600"/>
                  <a:pt x="11456457" y="3957805"/>
                  <a:pt x="11466961" y="3915483"/>
                </a:cubicBezTo>
                <a:cubicBezTo>
                  <a:pt x="11470463" y="3911956"/>
                  <a:pt x="11470463" y="3908430"/>
                  <a:pt x="11473964" y="3908430"/>
                </a:cubicBezTo>
                <a:close/>
                <a:moveTo>
                  <a:pt x="11070316" y="3897681"/>
                </a:moveTo>
                <a:cubicBezTo>
                  <a:pt x="11070316" y="3901207"/>
                  <a:pt x="11066828" y="3901207"/>
                  <a:pt x="11070316" y="3904734"/>
                </a:cubicBezTo>
                <a:cubicBezTo>
                  <a:pt x="11112166" y="4066968"/>
                  <a:pt x="11112166" y="4066968"/>
                  <a:pt x="11112166" y="4066968"/>
                </a:cubicBezTo>
                <a:cubicBezTo>
                  <a:pt x="11112166" y="4074022"/>
                  <a:pt x="11119141" y="4088129"/>
                  <a:pt x="11133091" y="4088129"/>
                </a:cubicBezTo>
                <a:cubicBezTo>
                  <a:pt x="11143554" y="4088129"/>
                  <a:pt x="11143554" y="4088129"/>
                  <a:pt x="11143554" y="4088129"/>
                </a:cubicBezTo>
                <a:cubicBezTo>
                  <a:pt x="11140066" y="4091656"/>
                  <a:pt x="11140066" y="4091656"/>
                  <a:pt x="11140066" y="4095182"/>
                </a:cubicBezTo>
                <a:cubicBezTo>
                  <a:pt x="11136578" y="4105762"/>
                  <a:pt x="11133091" y="4116343"/>
                  <a:pt x="11112166" y="4116343"/>
                </a:cubicBezTo>
                <a:cubicBezTo>
                  <a:pt x="11077291" y="4112817"/>
                  <a:pt x="11077291" y="4112817"/>
                  <a:pt x="11077291" y="4112817"/>
                </a:cubicBezTo>
                <a:cubicBezTo>
                  <a:pt x="11077291" y="4112817"/>
                  <a:pt x="11073804" y="4112817"/>
                  <a:pt x="11073804" y="4116343"/>
                </a:cubicBezTo>
                <a:cubicBezTo>
                  <a:pt x="11070316" y="4116343"/>
                  <a:pt x="11070316" y="4119870"/>
                  <a:pt x="11070316" y="4119870"/>
                </a:cubicBezTo>
                <a:cubicBezTo>
                  <a:pt x="11070316" y="4141031"/>
                  <a:pt x="11070316" y="4141031"/>
                  <a:pt x="11070316" y="4141031"/>
                </a:cubicBezTo>
                <a:cubicBezTo>
                  <a:pt x="11070316" y="4144558"/>
                  <a:pt x="11073804" y="4144558"/>
                  <a:pt x="11077291" y="4148085"/>
                </a:cubicBezTo>
                <a:cubicBezTo>
                  <a:pt x="11087754" y="4148085"/>
                  <a:pt x="11108678" y="4151611"/>
                  <a:pt x="11122628" y="4151611"/>
                </a:cubicBezTo>
                <a:cubicBezTo>
                  <a:pt x="11126116" y="4151611"/>
                  <a:pt x="11126116" y="4151611"/>
                  <a:pt x="11126116" y="4151611"/>
                </a:cubicBezTo>
                <a:cubicBezTo>
                  <a:pt x="11154016" y="4151611"/>
                  <a:pt x="11171453" y="4133977"/>
                  <a:pt x="11181916" y="4098709"/>
                </a:cubicBezTo>
                <a:cubicBezTo>
                  <a:pt x="11192378" y="4059914"/>
                  <a:pt x="11206329" y="4007012"/>
                  <a:pt x="11213303" y="3968217"/>
                </a:cubicBezTo>
                <a:cubicBezTo>
                  <a:pt x="11220279" y="3950583"/>
                  <a:pt x="11223766" y="3936475"/>
                  <a:pt x="11227253" y="3925895"/>
                </a:cubicBezTo>
                <a:cubicBezTo>
                  <a:pt x="11230741" y="3904734"/>
                  <a:pt x="11230741" y="3904734"/>
                  <a:pt x="11230741" y="3904734"/>
                </a:cubicBezTo>
                <a:cubicBezTo>
                  <a:pt x="11230741" y="3901207"/>
                  <a:pt x="11230741" y="3901207"/>
                  <a:pt x="11230741" y="3897681"/>
                </a:cubicBezTo>
                <a:cubicBezTo>
                  <a:pt x="11227253" y="3897681"/>
                  <a:pt x="11227253" y="3897681"/>
                  <a:pt x="11223766" y="3897681"/>
                </a:cubicBezTo>
                <a:cubicBezTo>
                  <a:pt x="11195866" y="3897681"/>
                  <a:pt x="11195866" y="3897681"/>
                  <a:pt x="11195866" y="3897681"/>
                </a:cubicBezTo>
                <a:cubicBezTo>
                  <a:pt x="11192378" y="3897681"/>
                  <a:pt x="11188891" y="3897681"/>
                  <a:pt x="11188891" y="3901207"/>
                </a:cubicBezTo>
                <a:cubicBezTo>
                  <a:pt x="11150528" y="4045807"/>
                  <a:pt x="11150528" y="4045807"/>
                  <a:pt x="11150528" y="4045807"/>
                </a:cubicBezTo>
                <a:cubicBezTo>
                  <a:pt x="11147041" y="4045807"/>
                  <a:pt x="11147041" y="4045807"/>
                  <a:pt x="11147041" y="4045807"/>
                </a:cubicBezTo>
                <a:cubicBezTo>
                  <a:pt x="11112166" y="3901207"/>
                  <a:pt x="11112166" y="3901207"/>
                  <a:pt x="11112166" y="3901207"/>
                </a:cubicBezTo>
                <a:cubicBezTo>
                  <a:pt x="11108678" y="3897681"/>
                  <a:pt x="11108678" y="3897681"/>
                  <a:pt x="11105191" y="3897681"/>
                </a:cubicBezTo>
                <a:cubicBezTo>
                  <a:pt x="11077291" y="3897681"/>
                  <a:pt x="11077291" y="3897681"/>
                  <a:pt x="11077291" y="3897681"/>
                </a:cubicBezTo>
                <a:cubicBezTo>
                  <a:pt x="11073804" y="3897681"/>
                  <a:pt x="11070316" y="3897681"/>
                  <a:pt x="11070316" y="3897681"/>
                </a:cubicBezTo>
                <a:close/>
                <a:moveTo>
                  <a:pt x="11038289" y="3893650"/>
                </a:moveTo>
                <a:cubicBezTo>
                  <a:pt x="11017163" y="3893650"/>
                  <a:pt x="10999559" y="3907721"/>
                  <a:pt x="10985474" y="3914756"/>
                </a:cubicBezTo>
                <a:cubicBezTo>
                  <a:pt x="10985474" y="3904203"/>
                  <a:pt x="10985474" y="3904203"/>
                  <a:pt x="10985474" y="3904203"/>
                </a:cubicBezTo>
                <a:cubicBezTo>
                  <a:pt x="10985474" y="3897168"/>
                  <a:pt x="10981954" y="3897168"/>
                  <a:pt x="10978433" y="3897168"/>
                </a:cubicBezTo>
                <a:cubicBezTo>
                  <a:pt x="10950264" y="3897168"/>
                  <a:pt x="10950264" y="3897168"/>
                  <a:pt x="10950264" y="3897168"/>
                </a:cubicBezTo>
                <a:cubicBezTo>
                  <a:pt x="10946743" y="3897168"/>
                  <a:pt x="10943222" y="3897168"/>
                  <a:pt x="10943222" y="3904203"/>
                </a:cubicBezTo>
                <a:cubicBezTo>
                  <a:pt x="10943222" y="4080086"/>
                  <a:pt x="10943222" y="4080086"/>
                  <a:pt x="10943222" y="4080086"/>
                </a:cubicBezTo>
                <a:cubicBezTo>
                  <a:pt x="10943222" y="4083604"/>
                  <a:pt x="10946743" y="4087121"/>
                  <a:pt x="10950264" y="4087121"/>
                </a:cubicBezTo>
                <a:cubicBezTo>
                  <a:pt x="10978433" y="4087121"/>
                  <a:pt x="10978433" y="4087121"/>
                  <a:pt x="10978433" y="4087121"/>
                </a:cubicBezTo>
                <a:cubicBezTo>
                  <a:pt x="10981954" y="4087121"/>
                  <a:pt x="10985474" y="4083604"/>
                  <a:pt x="10985474" y="4080086"/>
                </a:cubicBezTo>
                <a:cubicBezTo>
                  <a:pt x="10985474" y="3956968"/>
                  <a:pt x="10985474" y="3956968"/>
                  <a:pt x="10985474" y="3956968"/>
                </a:cubicBezTo>
                <a:cubicBezTo>
                  <a:pt x="10992517" y="3953450"/>
                  <a:pt x="11013643" y="3935862"/>
                  <a:pt x="11038289" y="3935862"/>
                </a:cubicBezTo>
                <a:cubicBezTo>
                  <a:pt x="11041811" y="3932344"/>
                  <a:pt x="11045332" y="3932344"/>
                  <a:pt x="11045332" y="3928827"/>
                </a:cubicBezTo>
                <a:cubicBezTo>
                  <a:pt x="11045332" y="3900686"/>
                  <a:pt x="11045332" y="3900686"/>
                  <a:pt x="11045332" y="3900686"/>
                </a:cubicBezTo>
                <a:cubicBezTo>
                  <a:pt x="11045332" y="3900686"/>
                  <a:pt x="11045332" y="3897168"/>
                  <a:pt x="11041811" y="3897168"/>
                </a:cubicBezTo>
                <a:cubicBezTo>
                  <a:pt x="11041811" y="3893650"/>
                  <a:pt x="11038289" y="3893650"/>
                  <a:pt x="11038289" y="3893650"/>
                </a:cubicBezTo>
                <a:close/>
                <a:moveTo>
                  <a:pt x="10831647" y="3889619"/>
                </a:moveTo>
                <a:cubicBezTo>
                  <a:pt x="10810578" y="3889619"/>
                  <a:pt x="10775463" y="3896690"/>
                  <a:pt x="10761417" y="3896690"/>
                </a:cubicBezTo>
                <a:cubicBezTo>
                  <a:pt x="10757905" y="3896690"/>
                  <a:pt x="10754394" y="3900226"/>
                  <a:pt x="10754394" y="3903762"/>
                </a:cubicBezTo>
                <a:cubicBezTo>
                  <a:pt x="10754394" y="3903762"/>
                  <a:pt x="10754394" y="3903762"/>
                  <a:pt x="10754394" y="3928511"/>
                </a:cubicBezTo>
                <a:cubicBezTo>
                  <a:pt x="10754394" y="3932047"/>
                  <a:pt x="10754394" y="3932047"/>
                  <a:pt x="10757905" y="3935583"/>
                </a:cubicBezTo>
                <a:cubicBezTo>
                  <a:pt x="10757905" y="3935583"/>
                  <a:pt x="10761417" y="3935583"/>
                  <a:pt x="10761417" y="3935583"/>
                </a:cubicBezTo>
                <a:cubicBezTo>
                  <a:pt x="10778974" y="3935583"/>
                  <a:pt x="10807067" y="3932047"/>
                  <a:pt x="10828136" y="3932047"/>
                </a:cubicBezTo>
                <a:cubicBezTo>
                  <a:pt x="10842182" y="3932047"/>
                  <a:pt x="10852717" y="3942654"/>
                  <a:pt x="10852717" y="3956797"/>
                </a:cubicBezTo>
                <a:cubicBezTo>
                  <a:pt x="10852717" y="3956797"/>
                  <a:pt x="10852717" y="3956797"/>
                  <a:pt x="10852717" y="3967404"/>
                </a:cubicBezTo>
                <a:cubicBezTo>
                  <a:pt x="10852717" y="3967404"/>
                  <a:pt x="10852717" y="3967404"/>
                  <a:pt x="10803555" y="3970940"/>
                </a:cubicBezTo>
                <a:cubicBezTo>
                  <a:pt x="10761417" y="3974475"/>
                  <a:pt x="10740347" y="3992153"/>
                  <a:pt x="10740347" y="4031045"/>
                </a:cubicBezTo>
                <a:cubicBezTo>
                  <a:pt x="10740347" y="4069937"/>
                  <a:pt x="10761417" y="4091151"/>
                  <a:pt x="10796532" y="4091151"/>
                </a:cubicBezTo>
                <a:cubicBezTo>
                  <a:pt x="10824625" y="4091151"/>
                  <a:pt x="10859740" y="4077008"/>
                  <a:pt x="10859740" y="4077008"/>
                </a:cubicBezTo>
                <a:cubicBezTo>
                  <a:pt x="10866763" y="4084080"/>
                  <a:pt x="10873786" y="4087615"/>
                  <a:pt x="10887833" y="4091151"/>
                </a:cubicBezTo>
                <a:cubicBezTo>
                  <a:pt x="10891344" y="4091151"/>
                  <a:pt x="10891344" y="4091151"/>
                  <a:pt x="10894855" y="4087615"/>
                </a:cubicBezTo>
                <a:cubicBezTo>
                  <a:pt x="10894855" y="4087615"/>
                  <a:pt x="10894855" y="4084080"/>
                  <a:pt x="10894855" y="4084080"/>
                </a:cubicBezTo>
                <a:cubicBezTo>
                  <a:pt x="10894855" y="4084080"/>
                  <a:pt x="10894855" y="4084080"/>
                  <a:pt x="10894855" y="3956797"/>
                </a:cubicBezTo>
                <a:cubicBezTo>
                  <a:pt x="10894855" y="3910833"/>
                  <a:pt x="10873786" y="3889619"/>
                  <a:pt x="10831647" y="3889619"/>
                </a:cubicBezTo>
                <a:close/>
                <a:moveTo>
                  <a:pt x="10495822" y="3889618"/>
                </a:moveTo>
                <a:cubicBezTo>
                  <a:pt x="10448333" y="3889618"/>
                  <a:pt x="10409835" y="3934733"/>
                  <a:pt x="10409835" y="3990385"/>
                </a:cubicBezTo>
                <a:cubicBezTo>
                  <a:pt x="10409835" y="4046037"/>
                  <a:pt x="10448333" y="4091151"/>
                  <a:pt x="10495822" y="4091151"/>
                </a:cubicBezTo>
                <a:cubicBezTo>
                  <a:pt x="10543311" y="4091151"/>
                  <a:pt x="10581809" y="4046037"/>
                  <a:pt x="10581809" y="3990385"/>
                </a:cubicBezTo>
                <a:cubicBezTo>
                  <a:pt x="10581809" y="3934733"/>
                  <a:pt x="10543311" y="3889618"/>
                  <a:pt x="10495822" y="3889618"/>
                </a:cubicBezTo>
                <a:close/>
                <a:moveTo>
                  <a:pt x="10241892" y="3865435"/>
                </a:moveTo>
                <a:cubicBezTo>
                  <a:pt x="10248859" y="3865435"/>
                  <a:pt x="10255825" y="3865435"/>
                  <a:pt x="10273241" y="3865435"/>
                </a:cubicBezTo>
                <a:cubicBezTo>
                  <a:pt x="10273241" y="3865435"/>
                  <a:pt x="10273241" y="3865435"/>
                  <a:pt x="10290657" y="3865435"/>
                </a:cubicBezTo>
                <a:cubicBezTo>
                  <a:pt x="10322007" y="3865435"/>
                  <a:pt x="10335940" y="3886688"/>
                  <a:pt x="10335940" y="3904399"/>
                </a:cubicBezTo>
                <a:cubicBezTo>
                  <a:pt x="10335940" y="3929193"/>
                  <a:pt x="10318523" y="3943361"/>
                  <a:pt x="10287174" y="3943361"/>
                </a:cubicBezTo>
                <a:cubicBezTo>
                  <a:pt x="10266274" y="3943361"/>
                  <a:pt x="10248859" y="3943361"/>
                  <a:pt x="10241892" y="3943361"/>
                </a:cubicBezTo>
                <a:cubicBezTo>
                  <a:pt x="10241892" y="3943361"/>
                  <a:pt x="10241892" y="3943361"/>
                  <a:pt x="10241892" y="3865435"/>
                </a:cubicBezTo>
                <a:close/>
                <a:moveTo>
                  <a:pt x="10659063" y="3852000"/>
                </a:moveTo>
                <a:cubicBezTo>
                  <a:pt x="10659063" y="3852000"/>
                  <a:pt x="10659063" y="3852000"/>
                  <a:pt x="10627410" y="3859034"/>
                </a:cubicBezTo>
                <a:cubicBezTo>
                  <a:pt x="10623893" y="3859034"/>
                  <a:pt x="10623893" y="3862551"/>
                  <a:pt x="10623893" y="3866068"/>
                </a:cubicBezTo>
                <a:cubicBezTo>
                  <a:pt x="10623893" y="3866068"/>
                  <a:pt x="10623893" y="3866068"/>
                  <a:pt x="10623893" y="3897720"/>
                </a:cubicBezTo>
                <a:cubicBezTo>
                  <a:pt x="10623893" y="3897720"/>
                  <a:pt x="10623893" y="3897720"/>
                  <a:pt x="10606308" y="3897720"/>
                </a:cubicBezTo>
                <a:cubicBezTo>
                  <a:pt x="10602792" y="3897720"/>
                  <a:pt x="10599275" y="3897720"/>
                  <a:pt x="10599275" y="3904754"/>
                </a:cubicBezTo>
                <a:cubicBezTo>
                  <a:pt x="10599275" y="3904754"/>
                  <a:pt x="10599275" y="3904754"/>
                  <a:pt x="10599275" y="3929372"/>
                </a:cubicBezTo>
                <a:cubicBezTo>
                  <a:pt x="10599275" y="3932890"/>
                  <a:pt x="10602792" y="3936406"/>
                  <a:pt x="10606308" y="3936406"/>
                </a:cubicBezTo>
                <a:cubicBezTo>
                  <a:pt x="10606308" y="3936406"/>
                  <a:pt x="10606308" y="3936406"/>
                  <a:pt x="10623893" y="3936406"/>
                </a:cubicBezTo>
                <a:cubicBezTo>
                  <a:pt x="10623893" y="3936406"/>
                  <a:pt x="10623893" y="3936406"/>
                  <a:pt x="10623893" y="4020813"/>
                </a:cubicBezTo>
                <a:cubicBezTo>
                  <a:pt x="10623893" y="4073566"/>
                  <a:pt x="10637961" y="4091151"/>
                  <a:pt x="10680164" y="4091151"/>
                </a:cubicBezTo>
                <a:cubicBezTo>
                  <a:pt x="10690715" y="4091151"/>
                  <a:pt x="10701266" y="4087635"/>
                  <a:pt x="10711817" y="4087635"/>
                </a:cubicBezTo>
                <a:cubicBezTo>
                  <a:pt x="10715334" y="4087635"/>
                  <a:pt x="10718851" y="4084118"/>
                  <a:pt x="10718851" y="4080600"/>
                </a:cubicBezTo>
                <a:cubicBezTo>
                  <a:pt x="10718851" y="4080600"/>
                  <a:pt x="10718851" y="4080600"/>
                  <a:pt x="10718851" y="4055982"/>
                </a:cubicBezTo>
                <a:cubicBezTo>
                  <a:pt x="10718851" y="4052465"/>
                  <a:pt x="10715334" y="4048948"/>
                  <a:pt x="10711817" y="4048948"/>
                </a:cubicBezTo>
                <a:cubicBezTo>
                  <a:pt x="10704783" y="4048948"/>
                  <a:pt x="10694232" y="4048948"/>
                  <a:pt x="10687198" y="4048948"/>
                </a:cubicBezTo>
                <a:cubicBezTo>
                  <a:pt x="10666096" y="4048948"/>
                  <a:pt x="10666096" y="4041914"/>
                  <a:pt x="10666096" y="4013779"/>
                </a:cubicBezTo>
                <a:cubicBezTo>
                  <a:pt x="10666096" y="4013779"/>
                  <a:pt x="10666096" y="4013779"/>
                  <a:pt x="10666096" y="3936406"/>
                </a:cubicBezTo>
                <a:cubicBezTo>
                  <a:pt x="10666096" y="3936406"/>
                  <a:pt x="10666096" y="3936406"/>
                  <a:pt x="10711817" y="3936406"/>
                </a:cubicBezTo>
                <a:cubicBezTo>
                  <a:pt x="10715334" y="3936406"/>
                  <a:pt x="10718851" y="3932890"/>
                  <a:pt x="10718851" y="3929372"/>
                </a:cubicBezTo>
                <a:cubicBezTo>
                  <a:pt x="10718851" y="3929372"/>
                  <a:pt x="10718851" y="3929372"/>
                  <a:pt x="10718851" y="3904754"/>
                </a:cubicBezTo>
                <a:cubicBezTo>
                  <a:pt x="10718851" y="3897720"/>
                  <a:pt x="10715334" y="3897720"/>
                  <a:pt x="10711817" y="3897720"/>
                </a:cubicBezTo>
                <a:cubicBezTo>
                  <a:pt x="10711817" y="3897720"/>
                  <a:pt x="10711817" y="3897720"/>
                  <a:pt x="10666096" y="3897720"/>
                </a:cubicBezTo>
                <a:cubicBezTo>
                  <a:pt x="10666096" y="3897720"/>
                  <a:pt x="10666096" y="3897720"/>
                  <a:pt x="10666096" y="3859034"/>
                </a:cubicBezTo>
                <a:cubicBezTo>
                  <a:pt x="10666096" y="3855517"/>
                  <a:pt x="10666096" y="3855517"/>
                  <a:pt x="10662580" y="3852000"/>
                </a:cubicBezTo>
                <a:cubicBezTo>
                  <a:pt x="10662580" y="3852000"/>
                  <a:pt x="10659063" y="3852000"/>
                  <a:pt x="10659063" y="3852000"/>
                </a:cubicBezTo>
                <a:close/>
                <a:moveTo>
                  <a:pt x="10283668" y="3823786"/>
                </a:moveTo>
                <a:cubicBezTo>
                  <a:pt x="10273174" y="3823786"/>
                  <a:pt x="10241689" y="3823786"/>
                  <a:pt x="10203208" y="3827297"/>
                </a:cubicBezTo>
                <a:cubicBezTo>
                  <a:pt x="10199710" y="3827297"/>
                  <a:pt x="10196211" y="3830808"/>
                  <a:pt x="10196211" y="3834319"/>
                </a:cubicBezTo>
                <a:cubicBezTo>
                  <a:pt x="10196211" y="3834319"/>
                  <a:pt x="10196211" y="3834319"/>
                  <a:pt x="10196211" y="4080099"/>
                </a:cubicBezTo>
                <a:cubicBezTo>
                  <a:pt x="10196211" y="4083610"/>
                  <a:pt x="10199710" y="4087121"/>
                  <a:pt x="10203208" y="4087121"/>
                </a:cubicBezTo>
                <a:cubicBezTo>
                  <a:pt x="10203208" y="4087121"/>
                  <a:pt x="10203208" y="4087121"/>
                  <a:pt x="10234693" y="4087121"/>
                </a:cubicBezTo>
                <a:cubicBezTo>
                  <a:pt x="10238191" y="4087121"/>
                  <a:pt x="10241689" y="4083610"/>
                  <a:pt x="10241689" y="4080099"/>
                </a:cubicBezTo>
                <a:cubicBezTo>
                  <a:pt x="10241689" y="4080099"/>
                  <a:pt x="10241689" y="4080099"/>
                  <a:pt x="10241689" y="3981787"/>
                </a:cubicBezTo>
                <a:cubicBezTo>
                  <a:pt x="10252184" y="3985298"/>
                  <a:pt x="10269675" y="3985298"/>
                  <a:pt x="10290665" y="3985298"/>
                </a:cubicBezTo>
                <a:cubicBezTo>
                  <a:pt x="10290665" y="3985298"/>
                  <a:pt x="10290665" y="3985298"/>
                  <a:pt x="10336143" y="4083610"/>
                </a:cubicBezTo>
                <a:cubicBezTo>
                  <a:pt x="10336143" y="4083610"/>
                  <a:pt x="10339641" y="4087121"/>
                  <a:pt x="10343139" y="4087121"/>
                </a:cubicBezTo>
                <a:cubicBezTo>
                  <a:pt x="10343139" y="4087121"/>
                  <a:pt x="10343139" y="4087121"/>
                  <a:pt x="10374624" y="4087121"/>
                </a:cubicBezTo>
                <a:cubicBezTo>
                  <a:pt x="10378122" y="4087121"/>
                  <a:pt x="10381620" y="4083610"/>
                  <a:pt x="10381620" y="4083610"/>
                </a:cubicBezTo>
                <a:cubicBezTo>
                  <a:pt x="10381620" y="4080099"/>
                  <a:pt x="10381620" y="4080099"/>
                  <a:pt x="10381620" y="4076588"/>
                </a:cubicBezTo>
                <a:lnTo>
                  <a:pt x="10336143" y="3971254"/>
                </a:lnTo>
                <a:cubicBezTo>
                  <a:pt x="10367627" y="3957209"/>
                  <a:pt x="10381620" y="3936142"/>
                  <a:pt x="10381620" y="3904542"/>
                </a:cubicBezTo>
                <a:cubicBezTo>
                  <a:pt x="10381620" y="3865919"/>
                  <a:pt x="10364129" y="3823786"/>
                  <a:pt x="10290665" y="3823786"/>
                </a:cubicBezTo>
                <a:cubicBezTo>
                  <a:pt x="10290665" y="3823786"/>
                  <a:pt x="10287167" y="3823786"/>
                  <a:pt x="10283668" y="3823786"/>
                </a:cubicBezTo>
                <a:close/>
                <a:moveTo>
                  <a:pt x="11839186" y="3792864"/>
                </a:moveTo>
                <a:cubicBezTo>
                  <a:pt x="11841365" y="3793305"/>
                  <a:pt x="11843980" y="3795068"/>
                  <a:pt x="11845722" y="3798595"/>
                </a:cubicBezTo>
                <a:cubicBezTo>
                  <a:pt x="11901498" y="3855025"/>
                  <a:pt x="11929385" y="3946722"/>
                  <a:pt x="11908470" y="4038419"/>
                </a:cubicBezTo>
                <a:cubicBezTo>
                  <a:pt x="11908470" y="4041946"/>
                  <a:pt x="11904984" y="4045472"/>
                  <a:pt x="11898012" y="4041946"/>
                </a:cubicBezTo>
                <a:cubicBezTo>
                  <a:pt x="11898012" y="4041946"/>
                  <a:pt x="11898012" y="4041946"/>
                  <a:pt x="11859666" y="4031365"/>
                </a:cubicBezTo>
                <a:cubicBezTo>
                  <a:pt x="11856180" y="4031365"/>
                  <a:pt x="11852694" y="4027838"/>
                  <a:pt x="11852694" y="4020785"/>
                </a:cubicBezTo>
                <a:cubicBezTo>
                  <a:pt x="11866638" y="3946722"/>
                  <a:pt x="11849208" y="3886765"/>
                  <a:pt x="11807377" y="3840917"/>
                </a:cubicBezTo>
                <a:cubicBezTo>
                  <a:pt x="11800405" y="3837391"/>
                  <a:pt x="11800405" y="3830336"/>
                  <a:pt x="11807377" y="3826810"/>
                </a:cubicBezTo>
                <a:cubicBezTo>
                  <a:pt x="11807377" y="3826810"/>
                  <a:pt x="11807377" y="3826810"/>
                  <a:pt x="11835264" y="3795068"/>
                </a:cubicBezTo>
                <a:cubicBezTo>
                  <a:pt x="11835264" y="3793305"/>
                  <a:pt x="11837008" y="3792423"/>
                  <a:pt x="11839186" y="3792864"/>
                </a:cubicBezTo>
                <a:close/>
                <a:moveTo>
                  <a:pt x="11458923" y="3792864"/>
                </a:moveTo>
                <a:cubicBezTo>
                  <a:pt x="11461124" y="3792423"/>
                  <a:pt x="11462885" y="3793305"/>
                  <a:pt x="11462885" y="3795068"/>
                </a:cubicBezTo>
                <a:cubicBezTo>
                  <a:pt x="11462885" y="3795068"/>
                  <a:pt x="11462885" y="3795068"/>
                  <a:pt x="11494585" y="3826810"/>
                </a:cubicBezTo>
                <a:cubicBezTo>
                  <a:pt x="11498108" y="3830336"/>
                  <a:pt x="11498108" y="3837391"/>
                  <a:pt x="11491063" y="3840917"/>
                </a:cubicBezTo>
                <a:cubicBezTo>
                  <a:pt x="11448796" y="3886765"/>
                  <a:pt x="11431184" y="3946722"/>
                  <a:pt x="11445274" y="4020785"/>
                </a:cubicBezTo>
                <a:cubicBezTo>
                  <a:pt x="11445274" y="4027838"/>
                  <a:pt x="11441752" y="4031365"/>
                  <a:pt x="11438229" y="4031365"/>
                </a:cubicBezTo>
                <a:cubicBezTo>
                  <a:pt x="11438229" y="4031365"/>
                  <a:pt x="11438229" y="4031365"/>
                  <a:pt x="11399484" y="4041946"/>
                </a:cubicBezTo>
                <a:cubicBezTo>
                  <a:pt x="11392439" y="4045472"/>
                  <a:pt x="11388917" y="4041946"/>
                  <a:pt x="11388917" y="4038419"/>
                </a:cubicBezTo>
                <a:cubicBezTo>
                  <a:pt x="11367783" y="3946722"/>
                  <a:pt x="11395962" y="3855025"/>
                  <a:pt x="11452318" y="3798595"/>
                </a:cubicBezTo>
                <a:cubicBezTo>
                  <a:pt x="11454079" y="3795068"/>
                  <a:pt x="11456721" y="3793305"/>
                  <a:pt x="11458923" y="3792864"/>
                </a:cubicBezTo>
                <a:close/>
                <a:moveTo>
                  <a:pt x="11677605" y="3787510"/>
                </a:moveTo>
                <a:cubicBezTo>
                  <a:pt x="11681098" y="3787510"/>
                  <a:pt x="11681098" y="3787510"/>
                  <a:pt x="11684592" y="3787510"/>
                </a:cubicBezTo>
                <a:cubicBezTo>
                  <a:pt x="11730003" y="3798106"/>
                  <a:pt x="11761442" y="3815763"/>
                  <a:pt x="11792882" y="3851079"/>
                </a:cubicBezTo>
                <a:cubicBezTo>
                  <a:pt x="11796375" y="3854611"/>
                  <a:pt x="11796375" y="3854611"/>
                  <a:pt x="11796375" y="3858143"/>
                </a:cubicBezTo>
                <a:cubicBezTo>
                  <a:pt x="11796375" y="3861674"/>
                  <a:pt x="11792882" y="3861674"/>
                  <a:pt x="11789388" y="3865206"/>
                </a:cubicBezTo>
                <a:cubicBezTo>
                  <a:pt x="11789388" y="3865206"/>
                  <a:pt x="11789388" y="3865206"/>
                  <a:pt x="11698565" y="3911117"/>
                </a:cubicBezTo>
                <a:cubicBezTo>
                  <a:pt x="11695071" y="3911117"/>
                  <a:pt x="11691578" y="3911117"/>
                  <a:pt x="11688084" y="3911117"/>
                </a:cubicBezTo>
                <a:cubicBezTo>
                  <a:pt x="11684592" y="3907585"/>
                  <a:pt x="11684592" y="3904053"/>
                  <a:pt x="11681098" y="3900522"/>
                </a:cubicBezTo>
                <a:cubicBezTo>
                  <a:pt x="11681098" y="3900522"/>
                  <a:pt x="11681098" y="3900522"/>
                  <a:pt x="11674112" y="3798106"/>
                </a:cubicBezTo>
                <a:cubicBezTo>
                  <a:pt x="11674112" y="3794574"/>
                  <a:pt x="11674112" y="3791042"/>
                  <a:pt x="11677605" y="3787510"/>
                </a:cubicBezTo>
                <a:close/>
                <a:moveTo>
                  <a:pt x="11613922" y="3787510"/>
                </a:moveTo>
                <a:cubicBezTo>
                  <a:pt x="11617414" y="3787510"/>
                  <a:pt x="11617414" y="3787510"/>
                  <a:pt x="11620908" y="3787510"/>
                </a:cubicBezTo>
                <a:cubicBezTo>
                  <a:pt x="11620908" y="3791042"/>
                  <a:pt x="11624401" y="3794574"/>
                  <a:pt x="11624401" y="3798106"/>
                </a:cubicBezTo>
                <a:cubicBezTo>
                  <a:pt x="11624401" y="3798106"/>
                  <a:pt x="11624401" y="3798106"/>
                  <a:pt x="11613922" y="3904053"/>
                </a:cubicBezTo>
                <a:cubicBezTo>
                  <a:pt x="11613922" y="3907585"/>
                  <a:pt x="11613922" y="3911117"/>
                  <a:pt x="11610428" y="3911117"/>
                </a:cubicBezTo>
                <a:cubicBezTo>
                  <a:pt x="11606935" y="3911117"/>
                  <a:pt x="11603442" y="3911117"/>
                  <a:pt x="11599949" y="3911117"/>
                </a:cubicBezTo>
                <a:cubicBezTo>
                  <a:pt x="11599949" y="3911117"/>
                  <a:pt x="11599949" y="3911117"/>
                  <a:pt x="11509124" y="3865206"/>
                </a:cubicBezTo>
                <a:cubicBezTo>
                  <a:pt x="11505632" y="3865206"/>
                  <a:pt x="11502138" y="3861674"/>
                  <a:pt x="11502138" y="3858143"/>
                </a:cubicBezTo>
                <a:cubicBezTo>
                  <a:pt x="11502138" y="3858143"/>
                  <a:pt x="11502138" y="3854611"/>
                  <a:pt x="11505632" y="3851079"/>
                </a:cubicBezTo>
                <a:cubicBezTo>
                  <a:pt x="11537070" y="3819295"/>
                  <a:pt x="11568509" y="3798106"/>
                  <a:pt x="11613922" y="3787510"/>
                </a:cubicBezTo>
                <a:close/>
                <a:moveTo>
                  <a:pt x="11532772" y="3752578"/>
                </a:moveTo>
                <a:cubicBezTo>
                  <a:pt x="11536265" y="3752578"/>
                  <a:pt x="11539758" y="3756273"/>
                  <a:pt x="11539758" y="3759968"/>
                </a:cubicBezTo>
                <a:cubicBezTo>
                  <a:pt x="11539758" y="3763663"/>
                  <a:pt x="11539758" y="3763663"/>
                  <a:pt x="11536265" y="3763663"/>
                </a:cubicBezTo>
                <a:cubicBezTo>
                  <a:pt x="11536265" y="3763663"/>
                  <a:pt x="11536265" y="3763663"/>
                  <a:pt x="11529278" y="3767358"/>
                </a:cubicBezTo>
                <a:cubicBezTo>
                  <a:pt x="11529278" y="3767358"/>
                  <a:pt x="11529278" y="3767358"/>
                  <a:pt x="11525785" y="3759968"/>
                </a:cubicBezTo>
                <a:cubicBezTo>
                  <a:pt x="11525785" y="3759968"/>
                  <a:pt x="11525785" y="3759968"/>
                  <a:pt x="11522292" y="3759968"/>
                </a:cubicBezTo>
                <a:cubicBezTo>
                  <a:pt x="11525785" y="3756273"/>
                  <a:pt x="11529278" y="3756273"/>
                  <a:pt x="11532772" y="3752578"/>
                </a:cubicBezTo>
                <a:close/>
                <a:moveTo>
                  <a:pt x="11529297" y="3745381"/>
                </a:moveTo>
                <a:cubicBezTo>
                  <a:pt x="11525746" y="3748931"/>
                  <a:pt x="11518645" y="3752483"/>
                  <a:pt x="11511543" y="3756033"/>
                </a:cubicBezTo>
                <a:cubicBezTo>
                  <a:pt x="11511543" y="3756033"/>
                  <a:pt x="11511543" y="3756033"/>
                  <a:pt x="11515094" y="3759584"/>
                </a:cubicBezTo>
                <a:lnTo>
                  <a:pt x="11532848" y="3791542"/>
                </a:lnTo>
                <a:cubicBezTo>
                  <a:pt x="11536399" y="3791542"/>
                  <a:pt x="11536399" y="3787990"/>
                  <a:pt x="11539950" y="3787990"/>
                </a:cubicBezTo>
                <a:cubicBezTo>
                  <a:pt x="11539950" y="3787990"/>
                  <a:pt x="11539950" y="3787990"/>
                  <a:pt x="11532848" y="3773787"/>
                </a:cubicBezTo>
                <a:cubicBezTo>
                  <a:pt x="11532848" y="3773787"/>
                  <a:pt x="11532848" y="3773787"/>
                  <a:pt x="11539950" y="3770237"/>
                </a:cubicBezTo>
                <a:cubicBezTo>
                  <a:pt x="11539950" y="3770237"/>
                  <a:pt x="11539950" y="3770237"/>
                  <a:pt x="11554153" y="3780889"/>
                </a:cubicBezTo>
                <a:cubicBezTo>
                  <a:pt x="11557704" y="3777338"/>
                  <a:pt x="11557704" y="3777338"/>
                  <a:pt x="11561255" y="3777338"/>
                </a:cubicBezTo>
                <a:cubicBezTo>
                  <a:pt x="11561255" y="3777338"/>
                  <a:pt x="11561255" y="3777338"/>
                  <a:pt x="11547052" y="3763135"/>
                </a:cubicBezTo>
                <a:cubicBezTo>
                  <a:pt x="11547052" y="3763135"/>
                  <a:pt x="11547052" y="3763135"/>
                  <a:pt x="11547052" y="3759584"/>
                </a:cubicBezTo>
                <a:cubicBezTo>
                  <a:pt x="11550602" y="3752483"/>
                  <a:pt x="11539950" y="3741830"/>
                  <a:pt x="11529297" y="3745381"/>
                </a:cubicBezTo>
                <a:close/>
                <a:moveTo>
                  <a:pt x="11750205" y="3739143"/>
                </a:moveTo>
                <a:cubicBezTo>
                  <a:pt x="11753748" y="3763327"/>
                  <a:pt x="11753748" y="3763327"/>
                  <a:pt x="11753748" y="3763327"/>
                </a:cubicBezTo>
                <a:cubicBezTo>
                  <a:pt x="11746663" y="3780601"/>
                  <a:pt x="11746663" y="3780601"/>
                  <a:pt x="11746663" y="3780601"/>
                </a:cubicBezTo>
                <a:lnTo>
                  <a:pt x="11753748" y="3787510"/>
                </a:lnTo>
                <a:cubicBezTo>
                  <a:pt x="11760832" y="3770236"/>
                  <a:pt x="11760832" y="3770236"/>
                  <a:pt x="11760832" y="3770236"/>
                </a:cubicBezTo>
                <a:cubicBezTo>
                  <a:pt x="11785626" y="3756417"/>
                  <a:pt x="11785626" y="3756417"/>
                  <a:pt x="11785626" y="3756417"/>
                </a:cubicBezTo>
                <a:cubicBezTo>
                  <a:pt x="11785626" y="3756417"/>
                  <a:pt x="11782084" y="3752962"/>
                  <a:pt x="11778543" y="3752962"/>
                </a:cubicBezTo>
                <a:cubicBezTo>
                  <a:pt x="11760832" y="3759872"/>
                  <a:pt x="11760832" y="3759872"/>
                  <a:pt x="11760832" y="3759872"/>
                </a:cubicBezTo>
                <a:cubicBezTo>
                  <a:pt x="11757290" y="3742597"/>
                  <a:pt x="11757290" y="3742597"/>
                  <a:pt x="11757290" y="3742597"/>
                </a:cubicBezTo>
                <a:cubicBezTo>
                  <a:pt x="11753748" y="3739143"/>
                  <a:pt x="11753748" y="3739143"/>
                  <a:pt x="11750205" y="3739143"/>
                </a:cubicBezTo>
                <a:close/>
                <a:moveTo>
                  <a:pt x="11715224" y="3735113"/>
                </a:moveTo>
                <a:cubicBezTo>
                  <a:pt x="11718717" y="3735113"/>
                  <a:pt x="11722211" y="3735113"/>
                  <a:pt x="11725705" y="3738472"/>
                </a:cubicBezTo>
                <a:cubicBezTo>
                  <a:pt x="11725705" y="3738472"/>
                  <a:pt x="11729197" y="3738472"/>
                  <a:pt x="11729197" y="3741831"/>
                </a:cubicBezTo>
                <a:cubicBezTo>
                  <a:pt x="11729197" y="3745189"/>
                  <a:pt x="11725705" y="3748548"/>
                  <a:pt x="11722211" y="3748548"/>
                </a:cubicBezTo>
                <a:cubicBezTo>
                  <a:pt x="11722211" y="3748548"/>
                  <a:pt x="11722211" y="3748548"/>
                  <a:pt x="11711731" y="3745189"/>
                </a:cubicBezTo>
                <a:lnTo>
                  <a:pt x="11711731" y="3741831"/>
                </a:lnTo>
                <a:cubicBezTo>
                  <a:pt x="11711731" y="3741831"/>
                  <a:pt x="11711731" y="3741831"/>
                  <a:pt x="11715224" y="3735113"/>
                </a:cubicBezTo>
                <a:close/>
                <a:moveTo>
                  <a:pt x="11582079" y="3734608"/>
                </a:moveTo>
                <a:cubicBezTo>
                  <a:pt x="11589134" y="3731081"/>
                  <a:pt x="11596187" y="3738136"/>
                  <a:pt x="11596187" y="3745189"/>
                </a:cubicBezTo>
                <a:cubicBezTo>
                  <a:pt x="11596187" y="3752243"/>
                  <a:pt x="11589134" y="3759296"/>
                  <a:pt x="11582079" y="3759296"/>
                </a:cubicBezTo>
                <a:cubicBezTo>
                  <a:pt x="11575026" y="3759296"/>
                  <a:pt x="11567972" y="3755770"/>
                  <a:pt x="11567972" y="3748716"/>
                </a:cubicBezTo>
                <a:cubicBezTo>
                  <a:pt x="11567972" y="3748716"/>
                  <a:pt x="11567972" y="3748716"/>
                  <a:pt x="11567972" y="3745189"/>
                </a:cubicBezTo>
                <a:cubicBezTo>
                  <a:pt x="11567972" y="3738136"/>
                  <a:pt x="11575026" y="3734608"/>
                  <a:pt x="11582079" y="3734608"/>
                </a:cubicBezTo>
                <a:close/>
                <a:moveTo>
                  <a:pt x="11670081" y="3728394"/>
                </a:moveTo>
                <a:cubicBezTo>
                  <a:pt x="11670081" y="3728394"/>
                  <a:pt x="11670081" y="3728394"/>
                  <a:pt x="11673440" y="3738874"/>
                </a:cubicBezTo>
                <a:cubicBezTo>
                  <a:pt x="11673440" y="3738874"/>
                  <a:pt x="11673440" y="3738874"/>
                  <a:pt x="11676799" y="3745861"/>
                </a:cubicBezTo>
                <a:cubicBezTo>
                  <a:pt x="11673440" y="3745861"/>
                  <a:pt x="11666722" y="3745861"/>
                  <a:pt x="11663363" y="3745861"/>
                </a:cubicBezTo>
                <a:lnTo>
                  <a:pt x="11666722" y="3738874"/>
                </a:lnTo>
                <a:cubicBezTo>
                  <a:pt x="11666722" y="3738874"/>
                  <a:pt x="11666722" y="3738874"/>
                  <a:pt x="11670081" y="3728394"/>
                </a:cubicBezTo>
                <a:close/>
                <a:moveTo>
                  <a:pt x="11578609" y="3727878"/>
                </a:moveTo>
                <a:cubicBezTo>
                  <a:pt x="11568195" y="3727878"/>
                  <a:pt x="11561254" y="3734906"/>
                  <a:pt x="11561254" y="3745448"/>
                </a:cubicBezTo>
                <a:cubicBezTo>
                  <a:pt x="11561254" y="3748961"/>
                  <a:pt x="11561254" y="3748961"/>
                  <a:pt x="11561254" y="3748961"/>
                </a:cubicBezTo>
                <a:cubicBezTo>
                  <a:pt x="11561254" y="3759503"/>
                  <a:pt x="11571666" y="3770045"/>
                  <a:pt x="11582079" y="3766531"/>
                </a:cubicBezTo>
                <a:cubicBezTo>
                  <a:pt x="11595963" y="3766531"/>
                  <a:pt x="11602904" y="3759503"/>
                  <a:pt x="11602904" y="3745448"/>
                </a:cubicBezTo>
                <a:cubicBezTo>
                  <a:pt x="11602904" y="3734906"/>
                  <a:pt x="11592492" y="3724364"/>
                  <a:pt x="11578609" y="3727878"/>
                </a:cubicBezTo>
                <a:close/>
                <a:moveTo>
                  <a:pt x="11708922" y="3724364"/>
                </a:moveTo>
                <a:cubicBezTo>
                  <a:pt x="11708922" y="3724364"/>
                  <a:pt x="11708922" y="3724364"/>
                  <a:pt x="11705380" y="3742118"/>
                </a:cubicBezTo>
                <a:cubicBezTo>
                  <a:pt x="11705380" y="3742118"/>
                  <a:pt x="11705380" y="3742118"/>
                  <a:pt x="11698296" y="3763423"/>
                </a:cubicBezTo>
                <a:cubicBezTo>
                  <a:pt x="11701837" y="3766974"/>
                  <a:pt x="11705380" y="3766974"/>
                  <a:pt x="11708922" y="3766974"/>
                </a:cubicBezTo>
                <a:lnTo>
                  <a:pt x="11712464" y="3752771"/>
                </a:lnTo>
                <a:cubicBezTo>
                  <a:pt x="11712464" y="3752771"/>
                  <a:pt x="11712464" y="3752771"/>
                  <a:pt x="11719548" y="3752771"/>
                </a:cubicBezTo>
                <a:cubicBezTo>
                  <a:pt x="11719548" y="3752771"/>
                  <a:pt x="11719548" y="3752771"/>
                  <a:pt x="11723090" y="3770525"/>
                </a:cubicBezTo>
                <a:cubicBezTo>
                  <a:pt x="11726632" y="3774076"/>
                  <a:pt x="11726632" y="3774076"/>
                  <a:pt x="11730175" y="3774076"/>
                </a:cubicBezTo>
                <a:cubicBezTo>
                  <a:pt x="11730175" y="3774076"/>
                  <a:pt x="11730175" y="3774076"/>
                  <a:pt x="11726632" y="3756322"/>
                </a:cubicBezTo>
                <a:cubicBezTo>
                  <a:pt x="11733717" y="3752771"/>
                  <a:pt x="11737259" y="3745669"/>
                  <a:pt x="11737259" y="3742118"/>
                </a:cubicBezTo>
                <a:cubicBezTo>
                  <a:pt x="11737259" y="3735017"/>
                  <a:pt x="11733717" y="3731466"/>
                  <a:pt x="11730175" y="3731466"/>
                </a:cubicBezTo>
                <a:cubicBezTo>
                  <a:pt x="11723090" y="3727915"/>
                  <a:pt x="11716006" y="3724364"/>
                  <a:pt x="11708922" y="3724364"/>
                </a:cubicBezTo>
                <a:close/>
                <a:moveTo>
                  <a:pt x="11666295" y="3717646"/>
                </a:moveTo>
                <a:cubicBezTo>
                  <a:pt x="11666295" y="3717646"/>
                  <a:pt x="11666295" y="3717646"/>
                  <a:pt x="11659211" y="3738730"/>
                </a:cubicBezTo>
                <a:cubicBezTo>
                  <a:pt x="11659211" y="3738730"/>
                  <a:pt x="11659211" y="3738730"/>
                  <a:pt x="11648585" y="3759813"/>
                </a:cubicBezTo>
                <a:cubicBezTo>
                  <a:pt x="11652127" y="3759813"/>
                  <a:pt x="11652127" y="3759813"/>
                  <a:pt x="11655669" y="3759813"/>
                </a:cubicBezTo>
                <a:lnTo>
                  <a:pt x="11659211" y="3752785"/>
                </a:lnTo>
                <a:cubicBezTo>
                  <a:pt x="11666295" y="3752785"/>
                  <a:pt x="11669838" y="3752785"/>
                  <a:pt x="11676922" y="3752785"/>
                </a:cubicBezTo>
                <a:cubicBezTo>
                  <a:pt x="11676922" y="3752785"/>
                  <a:pt x="11676922" y="3752785"/>
                  <a:pt x="11680464" y="3759813"/>
                </a:cubicBezTo>
                <a:cubicBezTo>
                  <a:pt x="11684006" y="3759813"/>
                  <a:pt x="11684006" y="3763327"/>
                  <a:pt x="11687548" y="3763327"/>
                </a:cubicBezTo>
                <a:cubicBezTo>
                  <a:pt x="11687548" y="3763327"/>
                  <a:pt x="11687548" y="3763327"/>
                  <a:pt x="11680464" y="3738730"/>
                </a:cubicBezTo>
                <a:cubicBezTo>
                  <a:pt x="11680464" y="3738730"/>
                  <a:pt x="11680464" y="3738730"/>
                  <a:pt x="11676922" y="3717646"/>
                </a:cubicBezTo>
                <a:cubicBezTo>
                  <a:pt x="11676922" y="3717646"/>
                  <a:pt x="11676922" y="3717646"/>
                  <a:pt x="11666295" y="3717646"/>
                </a:cubicBezTo>
                <a:close/>
                <a:moveTo>
                  <a:pt x="11645898" y="3717646"/>
                </a:moveTo>
                <a:cubicBezTo>
                  <a:pt x="11628187" y="3717646"/>
                  <a:pt x="11621103" y="3717646"/>
                  <a:pt x="11606934" y="3721117"/>
                </a:cubicBezTo>
                <a:cubicBezTo>
                  <a:pt x="11606934" y="3728058"/>
                  <a:pt x="11606934" y="3728058"/>
                  <a:pt x="11606934" y="3728058"/>
                </a:cubicBezTo>
                <a:lnTo>
                  <a:pt x="11621103" y="3724588"/>
                </a:lnTo>
                <a:cubicBezTo>
                  <a:pt x="11624645" y="3759296"/>
                  <a:pt x="11624645" y="3759296"/>
                  <a:pt x="11624645" y="3759296"/>
                </a:cubicBezTo>
                <a:cubicBezTo>
                  <a:pt x="11635271" y="3759296"/>
                  <a:pt x="11635271" y="3759296"/>
                  <a:pt x="11635271" y="3759296"/>
                </a:cubicBezTo>
                <a:cubicBezTo>
                  <a:pt x="11631729" y="3724588"/>
                  <a:pt x="11631729" y="3724588"/>
                  <a:pt x="11631729" y="3724588"/>
                </a:cubicBezTo>
                <a:cubicBezTo>
                  <a:pt x="11645898" y="3724588"/>
                  <a:pt x="11645898" y="3724588"/>
                  <a:pt x="11645898" y="3724588"/>
                </a:cubicBezTo>
                <a:cubicBezTo>
                  <a:pt x="11645898" y="3717646"/>
                  <a:pt x="11645898" y="3717646"/>
                  <a:pt x="11645898" y="3717646"/>
                </a:cubicBezTo>
                <a:close/>
                <a:moveTo>
                  <a:pt x="11196257" y="3717645"/>
                </a:moveTo>
                <a:cubicBezTo>
                  <a:pt x="11214171" y="3717645"/>
                  <a:pt x="11221336" y="3735112"/>
                  <a:pt x="11221336" y="3752577"/>
                </a:cubicBezTo>
                <a:lnTo>
                  <a:pt x="11167595" y="3752577"/>
                </a:lnTo>
                <a:cubicBezTo>
                  <a:pt x="11167595" y="3735112"/>
                  <a:pt x="11178343" y="3717645"/>
                  <a:pt x="11196257" y="3717645"/>
                </a:cubicBezTo>
                <a:close/>
                <a:moveTo>
                  <a:pt x="11648585" y="3710929"/>
                </a:moveTo>
                <a:cubicBezTo>
                  <a:pt x="11711759" y="3710929"/>
                  <a:pt x="11767914" y="3731888"/>
                  <a:pt x="11813539" y="3766820"/>
                </a:cubicBezTo>
                <a:cubicBezTo>
                  <a:pt x="11820558" y="3773807"/>
                  <a:pt x="11820558" y="3777300"/>
                  <a:pt x="11817049" y="3780793"/>
                </a:cubicBezTo>
                <a:cubicBezTo>
                  <a:pt x="11817049" y="3780793"/>
                  <a:pt x="11817049" y="3780793"/>
                  <a:pt x="11788972" y="3812233"/>
                </a:cubicBezTo>
                <a:cubicBezTo>
                  <a:pt x="11785462" y="3815725"/>
                  <a:pt x="11781952" y="3815725"/>
                  <a:pt x="11774933" y="3812233"/>
                </a:cubicBezTo>
                <a:cubicBezTo>
                  <a:pt x="11739837" y="3784287"/>
                  <a:pt x="11694210" y="3766820"/>
                  <a:pt x="11648585" y="3766820"/>
                </a:cubicBezTo>
                <a:cubicBezTo>
                  <a:pt x="11599450" y="3766820"/>
                  <a:pt x="11557334" y="3784287"/>
                  <a:pt x="11522236" y="3812233"/>
                </a:cubicBezTo>
                <a:cubicBezTo>
                  <a:pt x="11515217" y="3815725"/>
                  <a:pt x="11511708" y="3815725"/>
                  <a:pt x="11508198" y="3812233"/>
                </a:cubicBezTo>
                <a:cubicBezTo>
                  <a:pt x="11508198" y="3812233"/>
                  <a:pt x="11508198" y="3812233"/>
                  <a:pt x="11480121" y="3780793"/>
                </a:cubicBezTo>
                <a:cubicBezTo>
                  <a:pt x="11476611" y="3777300"/>
                  <a:pt x="11476611" y="3773807"/>
                  <a:pt x="11483630" y="3766820"/>
                </a:cubicBezTo>
                <a:cubicBezTo>
                  <a:pt x="11529256" y="3731888"/>
                  <a:pt x="11585411" y="3710929"/>
                  <a:pt x="11648585" y="3710929"/>
                </a:cubicBezTo>
                <a:close/>
                <a:moveTo>
                  <a:pt x="11196481" y="3710928"/>
                </a:moveTo>
                <a:cubicBezTo>
                  <a:pt x="11172113" y="3710928"/>
                  <a:pt x="11158189" y="3728442"/>
                  <a:pt x="11158189" y="3759968"/>
                </a:cubicBezTo>
                <a:cubicBezTo>
                  <a:pt x="11158189" y="3787990"/>
                  <a:pt x="11168632" y="3809007"/>
                  <a:pt x="11199962" y="3809007"/>
                </a:cubicBezTo>
                <a:cubicBezTo>
                  <a:pt x="11206924" y="3809007"/>
                  <a:pt x="11220848" y="3805504"/>
                  <a:pt x="11227810" y="3802001"/>
                </a:cubicBezTo>
                <a:lnTo>
                  <a:pt x="11227810" y="3791493"/>
                </a:lnTo>
                <a:cubicBezTo>
                  <a:pt x="11220848" y="3794996"/>
                  <a:pt x="11210404" y="3798498"/>
                  <a:pt x="11199962" y="3798498"/>
                </a:cubicBezTo>
                <a:cubicBezTo>
                  <a:pt x="11179076" y="3798498"/>
                  <a:pt x="11168632" y="3780984"/>
                  <a:pt x="11168632" y="3763471"/>
                </a:cubicBezTo>
                <a:cubicBezTo>
                  <a:pt x="11168632" y="3763471"/>
                  <a:pt x="11168632" y="3763471"/>
                  <a:pt x="11234772" y="3763471"/>
                </a:cubicBezTo>
                <a:cubicBezTo>
                  <a:pt x="11234772" y="3763471"/>
                  <a:pt x="11234772" y="3763471"/>
                  <a:pt x="11234772" y="3756465"/>
                </a:cubicBezTo>
                <a:cubicBezTo>
                  <a:pt x="11234772" y="3731945"/>
                  <a:pt x="11224329" y="3710928"/>
                  <a:pt x="11196481" y="3710928"/>
                </a:cubicBezTo>
                <a:close/>
                <a:moveTo>
                  <a:pt x="10947253" y="3674652"/>
                </a:moveTo>
                <a:lnTo>
                  <a:pt x="10947253" y="3685400"/>
                </a:lnTo>
                <a:lnTo>
                  <a:pt x="10986216" y="3685400"/>
                </a:lnTo>
                <a:lnTo>
                  <a:pt x="10986216" y="3804976"/>
                </a:lnTo>
                <a:lnTo>
                  <a:pt x="10999652" y="3804976"/>
                </a:lnTo>
                <a:lnTo>
                  <a:pt x="10999652" y="3685400"/>
                </a:lnTo>
                <a:lnTo>
                  <a:pt x="11038614" y="3685400"/>
                </a:lnTo>
                <a:lnTo>
                  <a:pt x="11038614" y="3674652"/>
                </a:lnTo>
                <a:close/>
                <a:moveTo>
                  <a:pt x="11060111" y="3663903"/>
                </a:moveTo>
                <a:lnTo>
                  <a:pt x="11060111" y="3804976"/>
                </a:lnTo>
                <a:cubicBezTo>
                  <a:pt x="11060111" y="3804976"/>
                  <a:pt x="11060111" y="3804976"/>
                  <a:pt x="11070476" y="3804976"/>
                </a:cubicBezTo>
                <a:cubicBezTo>
                  <a:pt x="11070476" y="3804976"/>
                  <a:pt x="11070476" y="3804976"/>
                  <a:pt x="11070476" y="3755600"/>
                </a:cubicBezTo>
                <a:cubicBezTo>
                  <a:pt x="11070476" y="3737966"/>
                  <a:pt x="11077385" y="3716806"/>
                  <a:pt x="11098115" y="3716806"/>
                </a:cubicBezTo>
                <a:cubicBezTo>
                  <a:pt x="11118844" y="3716806"/>
                  <a:pt x="11118844" y="3730913"/>
                  <a:pt x="11118844" y="3748547"/>
                </a:cubicBezTo>
                <a:cubicBezTo>
                  <a:pt x="11118844" y="3748547"/>
                  <a:pt x="11118844" y="3748547"/>
                  <a:pt x="11118844" y="3804976"/>
                </a:cubicBezTo>
                <a:cubicBezTo>
                  <a:pt x="11118844" y="3804976"/>
                  <a:pt x="11118844" y="3804976"/>
                  <a:pt x="11132662" y="3804976"/>
                </a:cubicBezTo>
                <a:cubicBezTo>
                  <a:pt x="11132662" y="3804976"/>
                  <a:pt x="11132662" y="3804976"/>
                  <a:pt x="11132662" y="3748547"/>
                </a:cubicBezTo>
                <a:cubicBezTo>
                  <a:pt x="11132662" y="3723859"/>
                  <a:pt x="11125753" y="3709752"/>
                  <a:pt x="11101569" y="3709752"/>
                </a:cubicBezTo>
                <a:cubicBezTo>
                  <a:pt x="11087750" y="3709752"/>
                  <a:pt x="11077385" y="3716806"/>
                  <a:pt x="11070476" y="3727386"/>
                </a:cubicBezTo>
                <a:cubicBezTo>
                  <a:pt x="11070476" y="3727386"/>
                  <a:pt x="11070476" y="3727386"/>
                  <a:pt x="11070476" y="3663903"/>
                </a:cubicBezTo>
                <a:cubicBezTo>
                  <a:pt x="11070476" y="3663903"/>
                  <a:pt x="11070476" y="3663903"/>
                  <a:pt x="11060111" y="3663903"/>
                </a:cubicBezTo>
                <a:close/>
                <a:moveTo>
                  <a:pt x="11638739" y="3639720"/>
                </a:moveTo>
                <a:cubicBezTo>
                  <a:pt x="11628222" y="3657341"/>
                  <a:pt x="11624716" y="3674962"/>
                  <a:pt x="11624716" y="3692583"/>
                </a:cubicBezTo>
                <a:cubicBezTo>
                  <a:pt x="11621210" y="3692583"/>
                  <a:pt x="11603681" y="3696107"/>
                  <a:pt x="11600176" y="3696107"/>
                </a:cubicBezTo>
                <a:cubicBezTo>
                  <a:pt x="11596669" y="3678486"/>
                  <a:pt x="11586152" y="3660865"/>
                  <a:pt x="11575635" y="3650293"/>
                </a:cubicBezTo>
                <a:cubicBezTo>
                  <a:pt x="11575635" y="3650293"/>
                  <a:pt x="11575635" y="3650293"/>
                  <a:pt x="11572129" y="3650293"/>
                </a:cubicBezTo>
                <a:cubicBezTo>
                  <a:pt x="11565117" y="3650293"/>
                  <a:pt x="11558106" y="3653817"/>
                  <a:pt x="11551094" y="3653817"/>
                </a:cubicBezTo>
                <a:cubicBezTo>
                  <a:pt x="11551094" y="3653817"/>
                  <a:pt x="11551094" y="3653817"/>
                  <a:pt x="11551094" y="3657341"/>
                </a:cubicBezTo>
                <a:cubicBezTo>
                  <a:pt x="11547588" y="3664390"/>
                  <a:pt x="11547588" y="3671438"/>
                  <a:pt x="11547588" y="3682010"/>
                </a:cubicBezTo>
                <a:cubicBezTo>
                  <a:pt x="11547588" y="3692583"/>
                  <a:pt x="11547588" y="3699631"/>
                  <a:pt x="11551094" y="3710204"/>
                </a:cubicBezTo>
                <a:cubicBezTo>
                  <a:pt x="11547588" y="3710204"/>
                  <a:pt x="11530059" y="3717252"/>
                  <a:pt x="11530059" y="3717252"/>
                </a:cubicBezTo>
                <a:cubicBezTo>
                  <a:pt x="11519542" y="3703155"/>
                  <a:pt x="11505518" y="3689059"/>
                  <a:pt x="11491495" y="3682010"/>
                </a:cubicBezTo>
                <a:cubicBezTo>
                  <a:pt x="11484484" y="3682010"/>
                  <a:pt x="11477472" y="3689059"/>
                  <a:pt x="11470460" y="3692583"/>
                </a:cubicBezTo>
                <a:cubicBezTo>
                  <a:pt x="11470460" y="3710204"/>
                  <a:pt x="11473966" y="3727825"/>
                  <a:pt x="11484484" y="3745445"/>
                </a:cubicBezTo>
                <a:cubicBezTo>
                  <a:pt x="11480978" y="3745445"/>
                  <a:pt x="11470460" y="3756018"/>
                  <a:pt x="11466954" y="3756018"/>
                </a:cubicBezTo>
                <a:cubicBezTo>
                  <a:pt x="11456437" y="3745445"/>
                  <a:pt x="11438908" y="3734873"/>
                  <a:pt x="11421379" y="3731349"/>
                </a:cubicBezTo>
                <a:cubicBezTo>
                  <a:pt x="11414367" y="3734873"/>
                  <a:pt x="11407356" y="3741921"/>
                  <a:pt x="11403850" y="3745445"/>
                </a:cubicBezTo>
                <a:cubicBezTo>
                  <a:pt x="11403850" y="3745445"/>
                  <a:pt x="11403850" y="3745445"/>
                  <a:pt x="11403850" y="3748969"/>
                </a:cubicBezTo>
                <a:cubicBezTo>
                  <a:pt x="11407356" y="3763067"/>
                  <a:pt x="11417873" y="3780687"/>
                  <a:pt x="11431896" y="3794784"/>
                </a:cubicBezTo>
                <a:cubicBezTo>
                  <a:pt x="11428390" y="3794784"/>
                  <a:pt x="11417873" y="3812405"/>
                  <a:pt x="11417873" y="3812405"/>
                </a:cubicBezTo>
                <a:cubicBezTo>
                  <a:pt x="11400344" y="3805356"/>
                  <a:pt x="11382815" y="3798308"/>
                  <a:pt x="11365286" y="3798308"/>
                </a:cubicBezTo>
                <a:cubicBezTo>
                  <a:pt x="11361780" y="3805356"/>
                  <a:pt x="11354768" y="3812405"/>
                  <a:pt x="11354768" y="3819453"/>
                </a:cubicBezTo>
                <a:cubicBezTo>
                  <a:pt x="11361780" y="3833550"/>
                  <a:pt x="11375803" y="3847646"/>
                  <a:pt x="11389827" y="3858220"/>
                </a:cubicBezTo>
                <a:cubicBezTo>
                  <a:pt x="11389827" y="3861744"/>
                  <a:pt x="11382815" y="3875840"/>
                  <a:pt x="11382815" y="3879364"/>
                </a:cubicBezTo>
                <a:cubicBezTo>
                  <a:pt x="11365286" y="3872316"/>
                  <a:pt x="11344251" y="3872316"/>
                  <a:pt x="11330228" y="3879364"/>
                </a:cubicBezTo>
                <a:cubicBezTo>
                  <a:pt x="11326722" y="3886413"/>
                  <a:pt x="11323216" y="3893461"/>
                  <a:pt x="11323216" y="3900509"/>
                </a:cubicBezTo>
                <a:cubicBezTo>
                  <a:pt x="11333733" y="3914606"/>
                  <a:pt x="11351262" y="3921654"/>
                  <a:pt x="11368791" y="3928703"/>
                </a:cubicBezTo>
                <a:cubicBezTo>
                  <a:pt x="11368791" y="3932227"/>
                  <a:pt x="11365286" y="3946323"/>
                  <a:pt x="11365286" y="3949847"/>
                </a:cubicBezTo>
                <a:cubicBezTo>
                  <a:pt x="11347757" y="3949847"/>
                  <a:pt x="11330228" y="3956896"/>
                  <a:pt x="11316205" y="3963945"/>
                </a:cubicBezTo>
                <a:cubicBezTo>
                  <a:pt x="11316205" y="3963945"/>
                  <a:pt x="11316205" y="3963945"/>
                  <a:pt x="11312698" y="3963945"/>
                </a:cubicBezTo>
                <a:cubicBezTo>
                  <a:pt x="11312698" y="3967469"/>
                  <a:pt x="11312698" y="3970993"/>
                  <a:pt x="11312698" y="3978041"/>
                </a:cubicBezTo>
                <a:cubicBezTo>
                  <a:pt x="11312698" y="3981565"/>
                  <a:pt x="11312698" y="3985089"/>
                  <a:pt x="11312698" y="3988614"/>
                </a:cubicBezTo>
                <a:cubicBezTo>
                  <a:pt x="11312698" y="3988614"/>
                  <a:pt x="11312698" y="3988614"/>
                  <a:pt x="11316205" y="3988614"/>
                </a:cubicBezTo>
                <a:cubicBezTo>
                  <a:pt x="11330228" y="3999187"/>
                  <a:pt x="11347757" y="4002711"/>
                  <a:pt x="11365286" y="4002711"/>
                </a:cubicBezTo>
                <a:cubicBezTo>
                  <a:pt x="11365286" y="4006235"/>
                  <a:pt x="11368791" y="4023856"/>
                  <a:pt x="11368791" y="4023856"/>
                </a:cubicBezTo>
                <a:cubicBezTo>
                  <a:pt x="11351262" y="4030904"/>
                  <a:pt x="11333733" y="4041476"/>
                  <a:pt x="11323216" y="4052049"/>
                </a:cubicBezTo>
                <a:cubicBezTo>
                  <a:pt x="11323216" y="4052049"/>
                  <a:pt x="11323216" y="4052049"/>
                  <a:pt x="11323216" y="4055573"/>
                </a:cubicBezTo>
                <a:cubicBezTo>
                  <a:pt x="11323216" y="4059098"/>
                  <a:pt x="11326722" y="4069670"/>
                  <a:pt x="11330228" y="4076718"/>
                </a:cubicBezTo>
                <a:cubicBezTo>
                  <a:pt x="11347757" y="4080242"/>
                  <a:pt x="11365286" y="4080242"/>
                  <a:pt x="11382815" y="4076718"/>
                </a:cubicBezTo>
                <a:cubicBezTo>
                  <a:pt x="11382815" y="4076718"/>
                  <a:pt x="11389827" y="4094339"/>
                  <a:pt x="11393332" y="4097864"/>
                </a:cubicBezTo>
                <a:cubicBezTo>
                  <a:pt x="11375803" y="4104912"/>
                  <a:pt x="11361780" y="4119008"/>
                  <a:pt x="11354768" y="4133105"/>
                </a:cubicBezTo>
                <a:cubicBezTo>
                  <a:pt x="11354768" y="4133105"/>
                  <a:pt x="11354768" y="4133105"/>
                  <a:pt x="11354768" y="4136629"/>
                </a:cubicBezTo>
                <a:cubicBezTo>
                  <a:pt x="11358274" y="4140153"/>
                  <a:pt x="11361780" y="4150726"/>
                  <a:pt x="11365286" y="4154250"/>
                </a:cubicBezTo>
                <a:cubicBezTo>
                  <a:pt x="11382815" y="4154250"/>
                  <a:pt x="11400344" y="4150726"/>
                  <a:pt x="11417873" y="4140153"/>
                </a:cubicBezTo>
                <a:cubicBezTo>
                  <a:pt x="11417873" y="4143678"/>
                  <a:pt x="11428390" y="4157774"/>
                  <a:pt x="11431896" y="4161299"/>
                </a:cubicBezTo>
                <a:cubicBezTo>
                  <a:pt x="11417873" y="4171871"/>
                  <a:pt x="11410861" y="4189491"/>
                  <a:pt x="11403850" y="4207113"/>
                </a:cubicBezTo>
                <a:cubicBezTo>
                  <a:pt x="11410861" y="4210637"/>
                  <a:pt x="11414367" y="4217685"/>
                  <a:pt x="11421379" y="4221209"/>
                </a:cubicBezTo>
                <a:cubicBezTo>
                  <a:pt x="11438908" y="4217685"/>
                  <a:pt x="11456437" y="4210637"/>
                  <a:pt x="11466954" y="4196541"/>
                </a:cubicBezTo>
                <a:cubicBezTo>
                  <a:pt x="11470460" y="4196541"/>
                  <a:pt x="11484484" y="4210637"/>
                  <a:pt x="11484484" y="4210637"/>
                </a:cubicBezTo>
                <a:cubicBezTo>
                  <a:pt x="11477472" y="4224733"/>
                  <a:pt x="11473966" y="4245879"/>
                  <a:pt x="11473966" y="4259975"/>
                </a:cubicBezTo>
                <a:cubicBezTo>
                  <a:pt x="11473966" y="4259975"/>
                  <a:pt x="11473966" y="4263500"/>
                  <a:pt x="11473966" y="4263500"/>
                </a:cubicBezTo>
                <a:cubicBezTo>
                  <a:pt x="11477472" y="4267024"/>
                  <a:pt x="11484484" y="4270548"/>
                  <a:pt x="11491495" y="4274072"/>
                </a:cubicBezTo>
                <a:cubicBezTo>
                  <a:pt x="11491495" y="4274072"/>
                  <a:pt x="11491495" y="4274072"/>
                  <a:pt x="11495001" y="4274072"/>
                </a:cubicBezTo>
                <a:cubicBezTo>
                  <a:pt x="11509024" y="4267024"/>
                  <a:pt x="11523047" y="4252927"/>
                  <a:pt x="11530059" y="4235306"/>
                </a:cubicBezTo>
                <a:cubicBezTo>
                  <a:pt x="11533564" y="4238830"/>
                  <a:pt x="11547588" y="4242355"/>
                  <a:pt x="11551094" y="4245879"/>
                </a:cubicBezTo>
                <a:cubicBezTo>
                  <a:pt x="11547588" y="4252927"/>
                  <a:pt x="11547588" y="4263500"/>
                  <a:pt x="11547588" y="4270548"/>
                </a:cubicBezTo>
                <a:cubicBezTo>
                  <a:pt x="11547588" y="4281120"/>
                  <a:pt x="11547588" y="4288169"/>
                  <a:pt x="11551094" y="4298742"/>
                </a:cubicBezTo>
                <a:cubicBezTo>
                  <a:pt x="11558106" y="4302266"/>
                  <a:pt x="11565117" y="4302266"/>
                  <a:pt x="11572129" y="4305790"/>
                </a:cubicBezTo>
                <a:cubicBezTo>
                  <a:pt x="11572129" y="4305790"/>
                  <a:pt x="11572129" y="4305790"/>
                  <a:pt x="11575635" y="4305790"/>
                </a:cubicBezTo>
                <a:cubicBezTo>
                  <a:pt x="11586152" y="4291693"/>
                  <a:pt x="11596669" y="4274072"/>
                  <a:pt x="11600176" y="4259975"/>
                </a:cubicBezTo>
                <a:cubicBezTo>
                  <a:pt x="11603681" y="4259975"/>
                  <a:pt x="11621210" y="4259975"/>
                  <a:pt x="11624716" y="4259975"/>
                </a:cubicBezTo>
                <a:cubicBezTo>
                  <a:pt x="11624716" y="4281120"/>
                  <a:pt x="11628222" y="4298742"/>
                  <a:pt x="11638739" y="4312838"/>
                </a:cubicBezTo>
                <a:cubicBezTo>
                  <a:pt x="11645751" y="4312838"/>
                  <a:pt x="11656268" y="4312838"/>
                  <a:pt x="11659774" y="4312838"/>
                </a:cubicBezTo>
                <a:cubicBezTo>
                  <a:pt x="11659774" y="4312838"/>
                  <a:pt x="11659774" y="4312838"/>
                  <a:pt x="11663280" y="4312838"/>
                </a:cubicBezTo>
                <a:cubicBezTo>
                  <a:pt x="11670291" y="4298742"/>
                  <a:pt x="11677303" y="4281120"/>
                  <a:pt x="11677303" y="4259975"/>
                </a:cubicBezTo>
                <a:cubicBezTo>
                  <a:pt x="11677303" y="4259975"/>
                  <a:pt x="11694832" y="4259975"/>
                  <a:pt x="11698339" y="4259975"/>
                </a:cubicBezTo>
                <a:cubicBezTo>
                  <a:pt x="11701844" y="4274072"/>
                  <a:pt x="11712361" y="4291693"/>
                  <a:pt x="11722879" y="4305790"/>
                </a:cubicBezTo>
                <a:cubicBezTo>
                  <a:pt x="11722879" y="4305790"/>
                  <a:pt x="11722879" y="4305790"/>
                  <a:pt x="11726385" y="4305790"/>
                </a:cubicBezTo>
                <a:cubicBezTo>
                  <a:pt x="11733396" y="4302266"/>
                  <a:pt x="11740408" y="4302266"/>
                  <a:pt x="11747420" y="4298742"/>
                </a:cubicBezTo>
                <a:cubicBezTo>
                  <a:pt x="11750925" y="4288169"/>
                  <a:pt x="11750925" y="4281120"/>
                  <a:pt x="11750925" y="4270548"/>
                </a:cubicBezTo>
                <a:cubicBezTo>
                  <a:pt x="11750925" y="4263500"/>
                  <a:pt x="11750925" y="4252927"/>
                  <a:pt x="11747420" y="4245879"/>
                </a:cubicBezTo>
                <a:cubicBezTo>
                  <a:pt x="11750925" y="4242355"/>
                  <a:pt x="11764949" y="4235306"/>
                  <a:pt x="11768454" y="4235306"/>
                </a:cubicBezTo>
                <a:cubicBezTo>
                  <a:pt x="11778972" y="4252927"/>
                  <a:pt x="11789490" y="4263500"/>
                  <a:pt x="11807019" y="4274072"/>
                </a:cubicBezTo>
                <a:cubicBezTo>
                  <a:pt x="11814030" y="4270548"/>
                  <a:pt x="11821042" y="4267024"/>
                  <a:pt x="11824547" y="4263500"/>
                </a:cubicBezTo>
                <a:cubicBezTo>
                  <a:pt x="11824547" y="4263500"/>
                  <a:pt x="11824547" y="4263500"/>
                  <a:pt x="11828054" y="4263500"/>
                </a:cubicBezTo>
                <a:cubicBezTo>
                  <a:pt x="11828054" y="4263500"/>
                  <a:pt x="11828054" y="4259975"/>
                  <a:pt x="11828054" y="4259975"/>
                </a:cubicBezTo>
                <a:cubicBezTo>
                  <a:pt x="11828054" y="4242355"/>
                  <a:pt x="11821042" y="4224733"/>
                  <a:pt x="11814030" y="4210637"/>
                </a:cubicBezTo>
                <a:cubicBezTo>
                  <a:pt x="11814030" y="4207113"/>
                  <a:pt x="11828054" y="4196541"/>
                  <a:pt x="11831559" y="4196541"/>
                </a:cubicBezTo>
                <a:cubicBezTo>
                  <a:pt x="11842076" y="4207113"/>
                  <a:pt x="11859606" y="4217685"/>
                  <a:pt x="11877135" y="4221209"/>
                </a:cubicBezTo>
                <a:cubicBezTo>
                  <a:pt x="11884146" y="4217685"/>
                  <a:pt x="11891158" y="4210637"/>
                  <a:pt x="11894664" y="4207113"/>
                </a:cubicBezTo>
                <a:cubicBezTo>
                  <a:pt x="11894664" y="4207113"/>
                  <a:pt x="11894664" y="4207113"/>
                  <a:pt x="11894664" y="4203589"/>
                </a:cubicBezTo>
                <a:cubicBezTo>
                  <a:pt x="11891158" y="4189491"/>
                  <a:pt x="11880641" y="4171871"/>
                  <a:pt x="11866617" y="4157774"/>
                </a:cubicBezTo>
                <a:cubicBezTo>
                  <a:pt x="11870123" y="4157774"/>
                  <a:pt x="11880641" y="4143678"/>
                  <a:pt x="11880641" y="4140153"/>
                </a:cubicBezTo>
                <a:cubicBezTo>
                  <a:pt x="11898170" y="4150726"/>
                  <a:pt x="11915699" y="4154250"/>
                  <a:pt x="11933228" y="4154250"/>
                </a:cubicBezTo>
                <a:cubicBezTo>
                  <a:pt x="11936734" y="4147202"/>
                  <a:pt x="11940239" y="4140153"/>
                  <a:pt x="11943746" y="4136629"/>
                </a:cubicBezTo>
                <a:cubicBezTo>
                  <a:pt x="11943746" y="4136629"/>
                  <a:pt x="11943746" y="4136629"/>
                  <a:pt x="11943746" y="4133105"/>
                </a:cubicBezTo>
                <a:cubicBezTo>
                  <a:pt x="11936734" y="4119008"/>
                  <a:pt x="11922710" y="4104912"/>
                  <a:pt x="11908688" y="4094339"/>
                </a:cubicBezTo>
                <a:cubicBezTo>
                  <a:pt x="11908688" y="4094339"/>
                  <a:pt x="11915699" y="4076718"/>
                  <a:pt x="11915699" y="4076718"/>
                </a:cubicBezTo>
                <a:cubicBezTo>
                  <a:pt x="11933228" y="4080242"/>
                  <a:pt x="11950757" y="4080242"/>
                  <a:pt x="11968286" y="4076718"/>
                </a:cubicBezTo>
                <a:cubicBezTo>
                  <a:pt x="11968286" y="4076718"/>
                  <a:pt x="11968286" y="4076718"/>
                  <a:pt x="11968286" y="4073194"/>
                </a:cubicBezTo>
                <a:cubicBezTo>
                  <a:pt x="11971792" y="4069670"/>
                  <a:pt x="11975298" y="4059098"/>
                  <a:pt x="11975298" y="4052049"/>
                </a:cubicBezTo>
                <a:cubicBezTo>
                  <a:pt x="11961275" y="4037952"/>
                  <a:pt x="11947251" y="4030904"/>
                  <a:pt x="11929722" y="4023856"/>
                </a:cubicBezTo>
                <a:cubicBezTo>
                  <a:pt x="11929722" y="4023856"/>
                  <a:pt x="11929722" y="4006235"/>
                  <a:pt x="11933228" y="4002711"/>
                </a:cubicBezTo>
                <a:cubicBezTo>
                  <a:pt x="11950757" y="4002711"/>
                  <a:pt x="11968286" y="3999187"/>
                  <a:pt x="11982310" y="3988614"/>
                </a:cubicBezTo>
                <a:cubicBezTo>
                  <a:pt x="11985815" y="3985089"/>
                  <a:pt x="11985815" y="3981565"/>
                  <a:pt x="11985815" y="3978041"/>
                </a:cubicBezTo>
                <a:cubicBezTo>
                  <a:pt x="11985815" y="3974517"/>
                  <a:pt x="11985815" y="3970993"/>
                  <a:pt x="11982310" y="3967469"/>
                </a:cubicBezTo>
                <a:cubicBezTo>
                  <a:pt x="11982310" y="3967469"/>
                  <a:pt x="11982310" y="3967469"/>
                  <a:pt x="11982310" y="3963945"/>
                </a:cubicBezTo>
                <a:cubicBezTo>
                  <a:pt x="11968286" y="3956896"/>
                  <a:pt x="11950757" y="3949847"/>
                  <a:pt x="11933228" y="3949847"/>
                </a:cubicBezTo>
                <a:cubicBezTo>
                  <a:pt x="11933228" y="3949847"/>
                  <a:pt x="11929722" y="3932227"/>
                  <a:pt x="11929722" y="3928703"/>
                </a:cubicBezTo>
                <a:cubicBezTo>
                  <a:pt x="11947251" y="3925179"/>
                  <a:pt x="11964780" y="3914606"/>
                  <a:pt x="11975298" y="3904034"/>
                </a:cubicBezTo>
                <a:cubicBezTo>
                  <a:pt x="11975298" y="3904034"/>
                  <a:pt x="11975298" y="3904034"/>
                  <a:pt x="11975298" y="3900509"/>
                </a:cubicBezTo>
                <a:cubicBezTo>
                  <a:pt x="11975298" y="3893461"/>
                  <a:pt x="11971792" y="3886413"/>
                  <a:pt x="11968286" y="3879364"/>
                </a:cubicBezTo>
                <a:cubicBezTo>
                  <a:pt x="11950757" y="3875840"/>
                  <a:pt x="11933228" y="3875840"/>
                  <a:pt x="11915699" y="3879364"/>
                </a:cubicBezTo>
                <a:cubicBezTo>
                  <a:pt x="11915699" y="3875840"/>
                  <a:pt x="11908688" y="3861744"/>
                  <a:pt x="11908688" y="3858220"/>
                </a:cubicBezTo>
                <a:cubicBezTo>
                  <a:pt x="11922710" y="3847646"/>
                  <a:pt x="11936734" y="3837074"/>
                  <a:pt x="11943746" y="3819453"/>
                </a:cubicBezTo>
                <a:cubicBezTo>
                  <a:pt x="11943746" y="3812405"/>
                  <a:pt x="11936734" y="3805356"/>
                  <a:pt x="11933228" y="3801832"/>
                </a:cubicBezTo>
                <a:cubicBezTo>
                  <a:pt x="11933228" y="3801832"/>
                  <a:pt x="11933228" y="3801832"/>
                  <a:pt x="11933228" y="3798308"/>
                </a:cubicBezTo>
                <a:cubicBezTo>
                  <a:pt x="11915699" y="3798308"/>
                  <a:pt x="11898170" y="3805356"/>
                  <a:pt x="11880641" y="3812405"/>
                </a:cubicBezTo>
                <a:cubicBezTo>
                  <a:pt x="11880641" y="3812405"/>
                  <a:pt x="11870123" y="3798308"/>
                  <a:pt x="11866617" y="3794784"/>
                </a:cubicBezTo>
                <a:cubicBezTo>
                  <a:pt x="11880641" y="3780687"/>
                  <a:pt x="11891158" y="3766591"/>
                  <a:pt x="11894664" y="3748969"/>
                </a:cubicBezTo>
                <a:cubicBezTo>
                  <a:pt x="11891158" y="3741921"/>
                  <a:pt x="11884146" y="3734873"/>
                  <a:pt x="11877135" y="3731349"/>
                </a:cubicBezTo>
                <a:cubicBezTo>
                  <a:pt x="11859606" y="3734873"/>
                  <a:pt x="11845583" y="3745445"/>
                  <a:pt x="11831559" y="3759543"/>
                </a:cubicBezTo>
                <a:cubicBezTo>
                  <a:pt x="11828054" y="3756018"/>
                  <a:pt x="11814030" y="3745445"/>
                  <a:pt x="11814030" y="3745445"/>
                </a:cubicBezTo>
                <a:cubicBezTo>
                  <a:pt x="11821042" y="3727825"/>
                  <a:pt x="11828054" y="3710204"/>
                  <a:pt x="11828054" y="3692583"/>
                </a:cubicBezTo>
                <a:cubicBezTo>
                  <a:pt x="11821042" y="3689059"/>
                  <a:pt x="11814030" y="3682010"/>
                  <a:pt x="11807019" y="3682010"/>
                </a:cubicBezTo>
                <a:cubicBezTo>
                  <a:pt x="11792995" y="3689059"/>
                  <a:pt x="11778972" y="3703155"/>
                  <a:pt x="11768454" y="3717252"/>
                </a:cubicBezTo>
                <a:cubicBezTo>
                  <a:pt x="11764949" y="3717252"/>
                  <a:pt x="11750925" y="3710204"/>
                  <a:pt x="11747420" y="3710204"/>
                </a:cubicBezTo>
                <a:cubicBezTo>
                  <a:pt x="11750925" y="3699631"/>
                  <a:pt x="11750925" y="3692583"/>
                  <a:pt x="11750925" y="3682010"/>
                </a:cubicBezTo>
                <a:cubicBezTo>
                  <a:pt x="11750925" y="3671438"/>
                  <a:pt x="11750925" y="3664390"/>
                  <a:pt x="11747420" y="3657341"/>
                </a:cubicBezTo>
                <a:cubicBezTo>
                  <a:pt x="11747420" y="3657341"/>
                  <a:pt x="11747420" y="3657341"/>
                  <a:pt x="11747420" y="3653817"/>
                </a:cubicBezTo>
                <a:cubicBezTo>
                  <a:pt x="11740408" y="3653817"/>
                  <a:pt x="11733396" y="3650293"/>
                  <a:pt x="11726385" y="3650293"/>
                </a:cubicBezTo>
                <a:cubicBezTo>
                  <a:pt x="11726385" y="3650293"/>
                  <a:pt x="11726385" y="3650293"/>
                  <a:pt x="11722879" y="3650293"/>
                </a:cubicBezTo>
                <a:cubicBezTo>
                  <a:pt x="11712361" y="3660865"/>
                  <a:pt x="11701844" y="3678486"/>
                  <a:pt x="11698339" y="3696107"/>
                </a:cubicBezTo>
                <a:cubicBezTo>
                  <a:pt x="11694832" y="3696107"/>
                  <a:pt x="11677303" y="3692583"/>
                  <a:pt x="11673798" y="3692583"/>
                </a:cubicBezTo>
                <a:cubicBezTo>
                  <a:pt x="11673798" y="3674962"/>
                  <a:pt x="11670291" y="3657341"/>
                  <a:pt x="11659774" y="3639720"/>
                </a:cubicBezTo>
                <a:cubicBezTo>
                  <a:pt x="11652763" y="3639720"/>
                  <a:pt x="11645751" y="3639720"/>
                  <a:pt x="11638739" y="3639720"/>
                </a:cubicBezTo>
                <a:close/>
                <a:moveTo>
                  <a:pt x="0" y="0"/>
                </a:moveTo>
                <a:lnTo>
                  <a:pt x="12192000" y="0"/>
                </a:lnTo>
                <a:lnTo>
                  <a:pt x="12192000" y="4454665"/>
                </a:lnTo>
                <a:lnTo>
                  <a:pt x="0" y="4454665"/>
                </a:lnTo>
                <a:close/>
              </a:path>
            </a:pathLst>
          </a:custGeom>
        </p:spPr>
        <p:txBody>
          <a:bodyPr wrap="square">
            <a:noAutofit/>
          </a:bodyPr>
          <a:lstStyle/>
          <a:p>
            <a:endParaRPr lang="en-US" dirty="0"/>
          </a:p>
        </p:txBody>
      </p:sp>
      <p:sp>
        <p:nvSpPr>
          <p:cNvPr id="10" name="Freeform: Shape 9">
            <a:extLst>
              <a:ext uri="{FF2B5EF4-FFF2-40B4-BE49-F238E27FC236}">
                <a16:creationId xmlns:a16="http://schemas.microsoft.com/office/drawing/2014/main" id="{04E1962D-A3FF-4961-B681-98DBE7AF6994}"/>
              </a:ext>
            </a:extLst>
          </p:cNvPr>
          <p:cNvSpPr/>
          <p:nvPr userDrawn="1"/>
        </p:nvSpPr>
        <p:spPr>
          <a:xfrm>
            <a:off x="0" y="2403335"/>
            <a:ext cx="12192000" cy="4454665"/>
          </a:xfrm>
          <a:custGeom>
            <a:avLst/>
            <a:gdLst>
              <a:gd name="connsiteX0" fmla="*/ 11946675 w 12192000"/>
              <a:gd name="connsiteY0" fmla="*/ 4274241 h 4454665"/>
              <a:gd name="connsiteX1" fmla="*/ 11952788 w 12192000"/>
              <a:gd name="connsiteY1" fmla="*/ 4274241 h 4454665"/>
              <a:gd name="connsiteX2" fmla="*/ 11958183 w 12192000"/>
              <a:gd name="connsiteY2" fmla="*/ 4274816 h 4454665"/>
              <a:gd name="connsiteX3" fmla="*/ 11960461 w 12192000"/>
              <a:gd name="connsiteY3" fmla="*/ 4276559 h 4454665"/>
              <a:gd name="connsiteX4" fmla="*/ 11961281 w 12192000"/>
              <a:gd name="connsiteY4" fmla="*/ 4279206 h 4454665"/>
              <a:gd name="connsiteX5" fmla="*/ 11959578 w 12192000"/>
              <a:gd name="connsiteY5" fmla="*/ 4282898 h 4454665"/>
              <a:gd name="connsiteX6" fmla="*/ 11953198 w 12192000"/>
              <a:gd name="connsiteY6" fmla="*/ 4284293 h 4454665"/>
              <a:gd name="connsiteX7" fmla="*/ 11946675 w 12192000"/>
              <a:gd name="connsiteY7" fmla="*/ 4284293 h 4454665"/>
              <a:gd name="connsiteX8" fmla="*/ 11941300 w 12192000"/>
              <a:gd name="connsiteY8" fmla="*/ 4269729 h 4454665"/>
              <a:gd name="connsiteX9" fmla="*/ 11941300 w 12192000"/>
              <a:gd name="connsiteY9" fmla="*/ 4303043 h 4454665"/>
              <a:gd name="connsiteX10" fmla="*/ 11946675 w 12192000"/>
              <a:gd name="connsiteY10" fmla="*/ 4303043 h 4454665"/>
              <a:gd name="connsiteX11" fmla="*/ 11946675 w 12192000"/>
              <a:gd name="connsiteY11" fmla="*/ 4288889 h 4454665"/>
              <a:gd name="connsiteX12" fmla="*/ 11949834 w 12192000"/>
              <a:gd name="connsiteY12" fmla="*/ 4288889 h 4454665"/>
              <a:gd name="connsiteX13" fmla="*/ 11954142 w 12192000"/>
              <a:gd name="connsiteY13" fmla="*/ 4290037 h 4454665"/>
              <a:gd name="connsiteX14" fmla="*/ 11959762 w 12192000"/>
              <a:gd name="connsiteY14" fmla="*/ 4297791 h 4454665"/>
              <a:gd name="connsiteX15" fmla="*/ 11962717 w 12192000"/>
              <a:gd name="connsiteY15" fmla="*/ 4303043 h 4454665"/>
              <a:gd name="connsiteX16" fmla="*/ 11969281 w 12192000"/>
              <a:gd name="connsiteY16" fmla="*/ 4303043 h 4454665"/>
              <a:gd name="connsiteX17" fmla="*/ 11965220 w 12192000"/>
              <a:gd name="connsiteY17" fmla="*/ 4296519 h 4454665"/>
              <a:gd name="connsiteX18" fmla="*/ 11960296 w 12192000"/>
              <a:gd name="connsiteY18" fmla="*/ 4289914 h 4454665"/>
              <a:gd name="connsiteX19" fmla="*/ 11957466 w 12192000"/>
              <a:gd name="connsiteY19" fmla="*/ 4288150 h 4454665"/>
              <a:gd name="connsiteX20" fmla="*/ 11964378 w 12192000"/>
              <a:gd name="connsiteY20" fmla="*/ 4285114 h 4454665"/>
              <a:gd name="connsiteX21" fmla="*/ 11966983 w 12192000"/>
              <a:gd name="connsiteY21" fmla="*/ 4278755 h 4454665"/>
              <a:gd name="connsiteX22" fmla="*/ 11965424 w 12192000"/>
              <a:gd name="connsiteY22" fmla="*/ 4273872 h 4454665"/>
              <a:gd name="connsiteX23" fmla="*/ 11961239 w 12192000"/>
              <a:gd name="connsiteY23" fmla="*/ 4270652 h 4454665"/>
              <a:gd name="connsiteX24" fmla="*/ 11952747 w 12192000"/>
              <a:gd name="connsiteY24" fmla="*/ 4269729 h 4454665"/>
              <a:gd name="connsiteX25" fmla="*/ 10902089 w 12192000"/>
              <a:gd name="connsiteY25" fmla="*/ 4267158 h 4454665"/>
              <a:gd name="connsiteX26" fmla="*/ 10905603 w 12192000"/>
              <a:gd name="connsiteY26" fmla="*/ 4267158 h 4454665"/>
              <a:gd name="connsiteX27" fmla="*/ 10905603 w 12192000"/>
              <a:gd name="connsiteY27" fmla="*/ 4270699 h 4454665"/>
              <a:gd name="connsiteX28" fmla="*/ 10877492 w 12192000"/>
              <a:gd name="connsiteY28" fmla="*/ 4306121 h 4454665"/>
              <a:gd name="connsiteX29" fmla="*/ 10859922 w 12192000"/>
              <a:gd name="connsiteY29" fmla="*/ 4288411 h 4454665"/>
              <a:gd name="connsiteX30" fmla="*/ 10902089 w 12192000"/>
              <a:gd name="connsiteY30" fmla="*/ 4267158 h 4454665"/>
              <a:gd name="connsiteX31" fmla="*/ 11954881 w 12192000"/>
              <a:gd name="connsiteY31" fmla="*/ 4260087 h 4454665"/>
              <a:gd name="connsiteX32" fmla="*/ 11967558 w 12192000"/>
              <a:gd name="connsiteY32" fmla="*/ 4263431 h 4454665"/>
              <a:gd name="connsiteX33" fmla="*/ 11977220 w 12192000"/>
              <a:gd name="connsiteY33" fmla="*/ 4272990 h 4454665"/>
              <a:gd name="connsiteX34" fmla="*/ 11980687 w 12192000"/>
              <a:gd name="connsiteY34" fmla="*/ 4285934 h 4454665"/>
              <a:gd name="connsiteX35" fmla="*/ 11977282 w 12192000"/>
              <a:gd name="connsiteY35" fmla="*/ 4298755 h 4454665"/>
              <a:gd name="connsiteX36" fmla="*/ 11967722 w 12192000"/>
              <a:gd name="connsiteY36" fmla="*/ 4308315 h 4454665"/>
              <a:gd name="connsiteX37" fmla="*/ 11954881 w 12192000"/>
              <a:gd name="connsiteY37" fmla="*/ 4311741 h 4454665"/>
              <a:gd name="connsiteX38" fmla="*/ 11942039 w 12192000"/>
              <a:gd name="connsiteY38" fmla="*/ 4308315 h 4454665"/>
              <a:gd name="connsiteX39" fmla="*/ 11932459 w 12192000"/>
              <a:gd name="connsiteY39" fmla="*/ 4298755 h 4454665"/>
              <a:gd name="connsiteX40" fmla="*/ 11929033 w 12192000"/>
              <a:gd name="connsiteY40" fmla="*/ 4285934 h 4454665"/>
              <a:gd name="connsiteX41" fmla="*/ 11932521 w 12192000"/>
              <a:gd name="connsiteY41" fmla="*/ 4272990 h 4454665"/>
              <a:gd name="connsiteX42" fmla="*/ 11942183 w 12192000"/>
              <a:gd name="connsiteY42" fmla="*/ 4263431 h 4454665"/>
              <a:gd name="connsiteX43" fmla="*/ 11954881 w 12192000"/>
              <a:gd name="connsiteY43" fmla="*/ 4260087 h 4454665"/>
              <a:gd name="connsiteX44" fmla="*/ 11954881 w 12192000"/>
              <a:gd name="connsiteY44" fmla="*/ 4254959 h 4454665"/>
              <a:gd name="connsiteX45" fmla="*/ 11939660 w 12192000"/>
              <a:gd name="connsiteY45" fmla="*/ 4258959 h 4454665"/>
              <a:gd name="connsiteX46" fmla="*/ 11928069 w 12192000"/>
              <a:gd name="connsiteY46" fmla="*/ 4270406 h 4454665"/>
              <a:gd name="connsiteX47" fmla="*/ 11923904 w 12192000"/>
              <a:gd name="connsiteY47" fmla="*/ 4285934 h 4454665"/>
              <a:gd name="connsiteX48" fmla="*/ 11928007 w 12192000"/>
              <a:gd name="connsiteY48" fmla="*/ 4301320 h 4454665"/>
              <a:gd name="connsiteX49" fmla="*/ 11939474 w 12192000"/>
              <a:gd name="connsiteY49" fmla="*/ 4312787 h 4454665"/>
              <a:gd name="connsiteX50" fmla="*/ 11954881 w 12192000"/>
              <a:gd name="connsiteY50" fmla="*/ 4316869 h 4454665"/>
              <a:gd name="connsiteX51" fmla="*/ 11970287 w 12192000"/>
              <a:gd name="connsiteY51" fmla="*/ 4312787 h 4454665"/>
              <a:gd name="connsiteX52" fmla="*/ 11981733 w 12192000"/>
              <a:gd name="connsiteY52" fmla="*/ 4301320 h 4454665"/>
              <a:gd name="connsiteX53" fmla="*/ 11985815 w 12192000"/>
              <a:gd name="connsiteY53" fmla="*/ 4285934 h 4454665"/>
              <a:gd name="connsiteX54" fmla="*/ 11981671 w 12192000"/>
              <a:gd name="connsiteY54" fmla="*/ 4270406 h 4454665"/>
              <a:gd name="connsiteX55" fmla="*/ 11970101 w 12192000"/>
              <a:gd name="connsiteY55" fmla="*/ 4258959 h 4454665"/>
              <a:gd name="connsiteX56" fmla="*/ 11954881 w 12192000"/>
              <a:gd name="connsiteY56" fmla="*/ 4254959 h 4454665"/>
              <a:gd name="connsiteX57" fmla="*/ 11091685 w 12192000"/>
              <a:gd name="connsiteY57" fmla="*/ 4225507 h 4454665"/>
              <a:gd name="connsiteX58" fmla="*/ 11123259 w 12192000"/>
              <a:gd name="connsiteY58" fmla="*/ 4265814 h 4454665"/>
              <a:gd name="connsiteX59" fmla="*/ 11091685 w 12192000"/>
              <a:gd name="connsiteY59" fmla="*/ 4306120 h 4454665"/>
              <a:gd name="connsiteX60" fmla="*/ 11060111 w 12192000"/>
              <a:gd name="connsiteY60" fmla="*/ 4265814 h 4454665"/>
              <a:gd name="connsiteX61" fmla="*/ 11091685 w 12192000"/>
              <a:gd name="connsiteY61" fmla="*/ 4225507 h 4454665"/>
              <a:gd name="connsiteX62" fmla="*/ 10781998 w 12192000"/>
              <a:gd name="connsiteY62" fmla="*/ 4225507 h 4454665"/>
              <a:gd name="connsiteX63" fmla="*/ 10810212 w 12192000"/>
              <a:gd name="connsiteY63" fmla="*/ 4265814 h 4454665"/>
              <a:gd name="connsiteX64" fmla="*/ 10781998 w 12192000"/>
              <a:gd name="connsiteY64" fmla="*/ 4306120 h 4454665"/>
              <a:gd name="connsiteX65" fmla="*/ 10753783 w 12192000"/>
              <a:gd name="connsiteY65" fmla="*/ 4265814 h 4454665"/>
              <a:gd name="connsiteX66" fmla="*/ 10781998 w 12192000"/>
              <a:gd name="connsiteY66" fmla="*/ 4225507 h 4454665"/>
              <a:gd name="connsiteX67" fmla="*/ 10469622 w 12192000"/>
              <a:gd name="connsiteY67" fmla="*/ 4225507 h 4454665"/>
              <a:gd name="connsiteX68" fmla="*/ 10501196 w 12192000"/>
              <a:gd name="connsiteY68" fmla="*/ 4265814 h 4454665"/>
              <a:gd name="connsiteX69" fmla="*/ 10469622 w 12192000"/>
              <a:gd name="connsiteY69" fmla="*/ 4306120 h 4454665"/>
              <a:gd name="connsiteX70" fmla="*/ 10438048 w 12192000"/>
              <a:gd name="connsiteY70" fmla="*/ 4265814 h 4454665"/>
              <a:gd name="connsiteX71" fmla="*/ 10469622 w 12192000"/>
              <a:gd name="connsiteY71" fmla="*/ 4225507 h 4454665"/>
              <a:gd name="connsiteX72" fmla="*/ 11014562 w 12192000"/>
              <a:gd name="connsiteY72" fmla="*/ 4220260 h 4454665"/>
              <a:gd name="connsiteX73" fmla="*/ 11014562 w 12192000"/>
              <a:gd name="connsiteY73" fmla="*/ 4316220 h 4454665"/>
              <a:gd name="connsiteX74" fmla="*/ 11026851 w 12192000"/>
              <a:gd name="connsiteY74" fmla="*/ 4316220 h 4454665"/>
              <a:gd name="connsiteX75" fmla="*/ 11026851 w 12192000"/>
              <a:gd name="connsiteY75" fmla="*/ 4220260 h 4454665"/>
              <a:gd name="connsiteX76" fmla="*/ 11158189 w 12192000"/>
              <a:gd name="connsiteY76" fmla="*/ 4218790 h 4454665"/>
              <a:gd name="connsiteX77" fmla="*/ 11158189 w 12192000"/>
              <a:gd name="connsiteY77" fmla="*/ 4243173 h 4454665"/>
              <a:gd name="connsiteX78" fmla="*/ 11158189 w 12192000"/>
              <a:gd name="connsiteY78" fmla="*/ 4312838 h 4454665"/>
              <a:gd name="connsiteX79" fmla="*/ 11172009 w 12192000"/>
              <a:gd name="connsiteY79" fmla="*/ 4312838 h 4454665"/>
              <a:gd name="connsiteX80" fmla="*/ 11172009 w 12192000"/>
              <a:gd name="connsiteY80" fmla="*/ 4260589 h 4454665"/>
              <a:gd name="connsiteX81" fmla="*/ 11199648 w 12192000"/>
              <a:gd name="connsiteY81" fmla="*/ 4225756 h 4454665"/>
              <a:gd name="connsiteX82" fmla="*/ 11220377 w 12192000"/>
              <a:gd name="connsiteY82" fmla="*/ 4257106 h 4454665"/>
              <a:gd name="connsiteX83" fmla="*/ 11220377 w 12192000"/>
              <a:gd name="connsiteY83" fmla="*/ 4312838 h 4454665"/>
              <a:gd name="connsiteX84" fmla="*/ 11230741 w 12192000"/>
              <a:gd name="connsiteY84" fmla="*/ 4312838 h 4454665"/>
              <a:gd name="connsiteX85" fmla="*/ 11230741 w 12192000"/>
              <a:gd name="connsiteY85" fmla="*/ 4253622 h 4454665"/>
              <a:gd name="connsiteX86" fmla="*/ 11199648 w 12192000"/>
              <a:gd name="connsiteY86" fmla="*/ 4218790 h 4454665"/>
              <a:gd name="connsiteX87" fmla="*/ 11168554 w 12192000"/>
              <a:gd name="connsiteY87" fmla="*/ 4236206 h 4454665"/>
              <a:gd name="connsiteX88" fmla="*/ 11168554 w 12192000"/>
              <a:gd name="connsiteY88" fmla="*/ 4218790 h 4454665"/>
              <a:gd name="connsiteX89" fmla="*/ 11158189 w 12192000"/>
              <a:gd name="connsiteY89" fmla="*/ 4218790 h 4454665"/>
              <a:gd name="connsiteX90" fmla="*/ 11088997 w 12192000"/>
              <a:gd name="connsiteY90" fmla="*/ 4218790 h 4454665"/>
              <a:gd name="connsiteX91" fmla="*/ 11045332 w 12192000"/>
              <a:gd name="connsiteY91" fmla="*/ 4267830 h 4454665"/>
              <a:gd name="connsiteX92" fmla="*/ 11088997 w 12192000"/>
              <a:gd name="connsiteY92" fmla="*/ 4316869 h 4454665"/>
              <a:gd name="connsiteX93" fmla="*/ 11132662 w 12192000"/>
              <a:gd name="connsiteY93" fmla="*/ 4267830 h 4454665"/>
              <a:gd name="connsiteX94" fmla="*/ 11088997 w 12192000"/>
              <a:gd name="connsiteY94" fmla="*/ 4218790 h 4454665"/>
              <a:gd name="connsiteX95" fmla="*/ 10883851 w 12192000"/>
              <a:gd name="connsiteY95" fmla="*/ 4218790 h 4454665"/>
              <a:gd name="connsiteX96" fmla="*/ 10855700 w 12192000"/>
              <a:gd name="connsiteY96" fmla="*/ 4222293 h 4454665"/>
              <a:gd name="connsiteX97" fmla="*/ 10855700 w 12192000"/>
              <a:gd name="connsiteY97" fmla="*/ 4236304 h 4454665"/>
              <a:gd name="connsiteX98" fmla="*/ 10883851 w 12192000"/>
              <a:gd name="connsiteY98" fmla="*/ 4225796 h 4454665"/>
              <a:gd name="connsiteX99" fmla="*/ 10904964 w 12192000"/>
              <a:gd name="connsiteY99" fmla="*/ 4250316 h 4454665"/>
              <a:gd name="connsiteX100" fmla="*/ 10904964 w 12192000"/>
              <a:gd name="connsiteY100" fmla="*/ 4257321 h 4454665"/>
              <a:gd name="connsiteX101" fmla="*/ 10845144 w 12192000"/>
              <a:gd name="connsiteY101" fmla="*/ 4288846 h 4454665"/>
              <a:gd name="connsiteX102" fmla="*/ 10876813 w 12192000"/>
              <a:gd name="connsiteY102" fmla="*/ 4316869 h 4454665"/>
              <a:gd name="connsiteX103" fmla="*/ 10904964 w 12192000"/>
              <a:gd name="connsiteY103" fmla="*/ 4299355 h 4454665"/>
              <a:gd name="connsiteX104" fmla="*/ 10908483 w 12192000"/>
              <a:gd name="connsiteY104" fmla="*/ 4299355 h 4454665"/>
              <a:gd name="connsiteX105" fmla="*/ 10908483 w 12192000"/>
              <a:gd name="connsiteY105" fmla="*/ 4313366 h 4454665"/>
              <a:gd name="connsiteX106" fmla="*/ 10919039 w 12192000"/>
              <a:gd name="connsiteY106" fmla="*/ 4313366 h 4454665"/>
              <a:gd name="connsiteX107" fmla="*/ 10919039 w 12192000"/>
              <a:gd name="connsiteY107" fmla="*/ 4295852 h 4454665"/>
              <a:gd name="connsiteX108" fmla="*/ 10919039 w 12192000"/>
              <a:gd name="connsiteY108" fmla="*/ 4253819 h 4454665"/>
              <a:gd name="connsiteX109" fmla="*/ 10883851 w 12192000"/>
              <a:gd name="connsiteY109" fmla="*/ 4218790 h 4454665"/>
              <a:gd name="connsiteX110" fmla="*/ 10642268 w 12192000"/>
              <a:gd name="connsiteY110" fmla="*/ 4218790 h 4454665"/>
              <a:gd name="connsiteX111" fmla="*/ 10642268 w 12192000"/>
              <a:gd name="connsiteY111" fmla="*/ 4243173 h 4454665"/>
              <a:gd name="connsiteX112" fmla="*/ 10642268 w 12192000"/>
              <a:gd name="connsiteY112" fmla="*/ 4312838 h 4454665"/>
              <a:gd name="connsiteX113" fmla="*/ 10656343 w 12192000"/>
              <a:gd name="connsiteY113" fmla="*/ 4312838 h 4454665"/>
              <a:gd name="connsiteX114" fmla="*/ 10656343 w 12192000"/>
              <a:gd name="connsiteY114" fmla="*/ 4260589 h 4454665"/>
              <a:gd name="connsiteX115" fmla="*/ 10684494 w 12192000"/>
              <a:gd name="connsiteY115" fmla="*/ 4225756 h 4454665"/>
              <a:gd name="connsiteX116" fmla="*/ 10705607 w 12192000"/>
              <a:gd name="connsiteY116" fmla="*/ 4257106 h 4454665"/>
              <a:gd name="connsiteX117" fmla="*/ 10705607 w 12192000"/>
              <a:gd name="connsiteY117" fmla="*/ 4312838 h 4454665"/>
              <a:gd name="connsiteX118" fmla="*/ 10716163 w 12192000"/>
              <a:gd name="connsiteY118" fmla="*/ 4312838 h 4454665"/>
              <a:gd name="connsiteX119" fmla="*/ 10716163 w 12192000"/>
              <a:gd name="connsiteY119" fmla="*/ 4253622 h 4454665"/>
              <a:gd name="connsiteX120" fmla="*/ 10684494 w 12192000"/>
              <a:gd name="connsiteY120" fmla="*/ 4218790 h 4454665"/>
              <a:gd name="connsiteX121" fmla="*/ 10652824 w 12192000"/>
              <a:gd name="connsiteY121" fmla="*/ 4236206 h 4454665"/>
              <a:gd name="connsiteX122" fmla="*/ 10652824 w 12192000"/>
              <a:gd name="connsiteY122" fmla="*/ 4218790 h 4454665"/>
              <a:gd name="connsiteX123" fmla="*/ 10642268 w 12192000"/>
              <a:gd name="connsiteY123" fmla="*/ 4218790 h 4454665"/>
              <a:gd name="connsiteX124" fmla="*/ 10540159 w 12192000"/>
              <a:gd name="connsiteY124" fmla="*/ 4218790 h 4454665"/>
              <a:gd name="connsiteX125" fmla="*/ 10540159 w 12192000"/>
              <a:gd name="connsiteY125" fmla="*/ 4281840 h 4454665"/>
              <a:gd name="connsiteX126" fmla="*/ 10571828 w 12192000"/>
              <a:gd name="connsiteY126" fmla="*/ 4316869 h 4454665"/>
              <a:gd name="connsiteX127" fmla="*/ 10603498 w 12192000"/>
              <a:gd name="connsiteY127" fmla="*/ 4299355 h 4454665"/>
              <a:gd name="connsiteX128" fmla="*/ 10603498 w 12192000"/>
              <a:gd name="connsiteY128" fmla="*/ 4313366 h 4454665"/>
              <a:gd name="connsiteX129" fmla="*/ 10614054 w 12192000"/>
              <a:gd name="connsiteY129" fmla="*/ 4313366 h 4454665"/>
              <a:gd name="connsiteX130" fmla="*/ 10614054 w 12192000"/>
              <a:gd name="connsiteY130" fmla="*/ 4292349 h 4454665"/>
              <a:gd name="connsiteX131" fmla="*/ 10614054 w 12192000"/>
              <a:gd name="connsiteY131" fmla="*/ 4218790 h 4454665"/>
              <a:gd name="connsiteX132" fmla="*/ 10599979 w 12192000"/>
              <a:gd name="connsiteY132" fmla="*/ 4218790 h 4454665"/>
              <a:gd name="connsiteX133" fmla="*/ 10599979 w 12192000"/>
              <a:gd name="connsiteY133" fmla="*/ 4271332 h 4454665"/>
              <a:gd name="connsiteX134" fmla="*/ 10571828 w 12192000"/>
              <a:gd name="connsiteY134" fmla="*/ 4306360 h 4454665"/>
              <a:gd name="connsiteX135" fmla="*/ 10550715 w 12192000"/>
              <a:gd name="connsiteY135" fmla="*/ 4278338 h 4454665"/>
              <a:gd name="connsiteX136" fmla="*/ 10550715 w 12192000"/>
              <a:gd name="connsiteY136" fmla="*/ 4218790 h 4454665"/>
              <a:gd name="connsiteX137" fmla="*/ 10540159 w 12192000"/>
              <a:gd name="connsiteY137" fmla="*/ 4218790 h 4454665"/>
              <a:gd name="connsiteX138" fmla="*/ 10471637 w 12192000"/>
              <a:gd name="connsiteY138" fmla="*/ 4218790 h 4454665"/>
              <a:gd name="connsiteX139" fmla="*/ 10427300 w 12192000"/>
              <a:gd name="connsiteY139" fmla="*/ 4267830 h 4454665"/>
              <a:gd name="connsiteX140" fmla="*/ 10471637 w 12192000"/>
              <a:gd name="connsiteY140" fmla="*/ 4316869 h 4454665"/>
              <a:gd name="connsiteX141" fmla="*/ 10515975 w 12192000"/>
              <a:gd name="connsiteY141" fmla="*/ 4267830 h 4454665"/>
              <a:gd name="connsiteX142" fmla="*/ 10471637 w 12192000"/>
              <a:gd name="connsiteY142" fmla="*/ 4218790 h 4454665"/>
              <a:gd name="connsiteX143" fmla="*/ 11655303 w 12192000"/>
              <a:gd name="connsiteY143" fmla="*/ 4204011 h 4454665"/>
              <a:gd name="connsiteX144" fmla="*/ 11659333 w 12192000"/>
              <a:gd name="connsiteY144" fmla="*/ 4214760 h 4454665"/>
              <a:gd name="connsiteX145" fmla="*/ 11663364 w 12192000"/>
              <a:gd name="connsiteY145" fmla="*/ 4221478 h 4454665"/>
              <a:gd name="connsiteX146" fmla="*/ 11648585 w 12192000"/>
              <a:gd name="connsiteY146" fmla="*/ 4221478 h 4454665"/>
              <a:gd name="connsiteX147" fmla="*/ 11652616 w 12192000"/>
              <a:gd name="connsiteY147" fmla="*/ 4214760 h 4454665"/>
              <a:gd name="connsiteX148" fmla="*/ 11659446 w 12192000"/>
              <a:gd name="connsiteY148" fmla="*/ 4193263 h 4454665"/>
              <a:gd name="connsiteX149" fmla="*/ 11649032 w 12192000"/>
              <a:gd name="connsiteY149" fmla="*/ 4196777 h 4454665"/>
              <a:gd name="connsiteX150" fmla="*/ 11645562 w 12192000"/>
              <a:gd name="connsiteY150" fmla="*/ 4214347 h 4454665"/>
              <a:gd name="connsiteX151" fmla="*/ 11635149 w 12192000"/>
              <a:gd name="connsiteY151" fmla="*/ 4235429 h 4454665"/>
              <a:gd name="connsiteX152" fmla="*/ 11645562 w 12192000"/>
              <a:gd name="connsiteY152" fmla="*/ 4238943 h 4454665"/>
              <a:gd name="connsiteX153" fmla="*/ 11645562 w 12192000"/>
              <a:gd name="connsiteY153" fmla="*/ 4228402 h 4454665"/>
              <a:gd name="connsiteX154" fmla="*/ 11666387 w 12192000"/>
              <a:gd name="connsiteY154" fmla="*/ 4228402 h 4454665"/>
              <a:gd name="connsiteX155" fmla="*/ 11666387 w 12192000"/>
              <a:gd name="connsiteY155" fmla="*/ 4235429 h 4454665"/>
              <a:gd name="connsiteX156" fmla="*/ 11676800 w 12192000"/>
              <a:gd name="connsiteY156" fmla="*/ 4235429 h 4454665"/>
              <a:gd name="connsiteX157" fmla="*/ 11666387 w 12192000"/>
              <a:gd name="connsiteY157" fmla="*/ 4214347 h 4454665"/>
              <a:gd name="connsiteX158" fmla="*/ 11659446 w 12192000"/>
              <a:gd name="connsiteY158" fmla="*/ 4196777 h 4454665"/>
              <a:gd name="connsiteX159" fmla="*/ 11659446 w 12192000"/>
              <a:gd name="connsiteY159" fmla="*/ 4193263 h 4454665"/>
              <a:gd name="connsiteX160" fmla="*/ 10964451 w 12192000"/>
              <a:gd name="connsiteY160" fmla="*/ 4193262 h 4454665"/>
              <a:gd name="connsiteX161" fmla="*/ 10953971 w 12192000"/>
              <a:gd name="connsiteY161" fmla="*/ 4196794 h 4454665"/>
              <a:gd name="connsiteX162" fmla="*/ 10953971 w 12192000"/>
              <a:gd name="connsiteY162" fmla="*/ 4217983 h 4454665"/>
              <a:gd name="connsiteX163" fmla="*/ 10936505 w 12192000"/>
              <a:gd name="connsiteY163" fmla="*/ 4217983 h 4454665"/>
              <a:gd name="connsiteX164" fmla="*/ 10936505 w 12192000"/>
              <a:gd name="connsiteY164" fmla="*/ 4228578 h 4454665"/>
              <a:gd name="connsiteX165" fmla="*/ 10953971 w 12192000"/>
              <a:gd name="connsiteY165" fmla="*/ 4228578 h 4454665"/>
              <a:gd name="connsiteX166" fmla="*/ 10953971 w 12192000"/>
              <a:gd name="connsiteY166" fmla="*/ 4285084 h 4454665"/>
              <a:gd name="connsiteX167" fmla="*/ 10974931 w 12192000"/>
              <a:gd name="connsiteY167" fmla="*/ 4316868 h 4454665"/>
              <a:gd name="connsiteX168" fmla="*/ 10988904 w 12192000"/>
              <a:gd name="connsiteY168" fmla="*/ 4313337 h 4454665"/>
              <a:gd name="connsiteX169" fmla="*/ 10988904 w 12192000"/>
              <a:gd name="connsiteY169" fmla="*/ 4302742 h 4454665"/>
              <a:gd name="connsiteX170" fmla="*/ 10978424 w 12192000"/>
              <a:gd name="connsiteY170" fmla="*/ 4306273 h 4454665"/>
              <a:gd name="connsiteX171" fmla="*/ 10964451 w 12192000"/>
              <a:gd name="connsiteY171" fmla="*/ 4292147 h 4454665"/>
              <a:gd name="connsiteX172" fmla="*/ 10964451 w 12192000"/>
              <a:gd name="connsiteY172" fmla="*/ 4228578 h 4454665"/>
              <a:gd name="connsiteX173" fmla="*/ 10985410 w 12192000"/>
              <a:gd name="connsiteY173" fmla="*/ 4228578 h 4454665"/>
              <a:gd name="connsiteX174" fmla="*/ 10985410 w 12192000"/>
              <a:gd name="connsiteY174" fmla="*/ 4217983 h 4454665"/>
              <a:gd name="connsiteX175" fmla="*/ 10964451 w 12192000"/>
              <a:gd name="connsiteY175" fmla="*/ 4217983 h 4454665"/>
              <a:gd name="connsiteX176" fmla="*/ 10964451 w 12192000"/>
              <a:gd name="connsiteY176" fmla="*/ 4193262 h 4454665"/>
              <a:gd name="connsiteX177" fmla="*/ 11599881 w 12192000"/>
              <a:gd name="connsiteY177" fmla="*/ 4190576 h 4454665"/>
              <a:gd name="connsiteX178" fmla="*/ 11589469 w 12192000"/>
              <a:gd name="connsiteY178" fmla="*/ 4232742 h 4454665"/>
              <a:gd name="connsiteX179" fmla="*/ 11599881 w 12192000"/>
              <a:gd name="connsiteY179" fmla="*/ 4232742 h 4454665"/>
              <a:gd name="connsiteX180" fmla="*/ 11603352 w 12192000"/>
              <a:gd name="connsiteY180" fmla="*/ 4208146 h 4454665"/>
              <a:gd name="connsiteX181" fmla="*/ 11617236 w 12192000"/>
              <a:gd name="connsiteY181" fmla="*/ 4236256 h 4454665"/>
              <a:gd name="connsiteX182" fmla="*/ 11624178 w 12192000"/>
              <a:gd name="connsiteY182" fmla="*/ 4236256 h 4454665"/>
              <a:gd name="connsiteX183" fmla="*/ 11631119 w 12192000"/>
              <a:gd name="connsiteY183" fmla="*/ 4194090 h 4454665"/>
              <a:gd name="connsiteX184" fmla="*/ 11624178 w 12192000"/>
              <a:gd name="connsiteY184" fmla="*/ 4194090 h 4454665"/>
              <a:gd name="connsiteX185" fmla="*/ 11620707 w 12192000"/>
              <a:gd name="connsiteY185" fmla="*/ 4222201 h 4454665"/>
              <a:gd name="connsiteX186" fmla="*/ 11606824 w 12192000"/>
              <a:gd name="connsiteY186" fmla="*/ 4190576 h 4454665"/>
              <a:gd name="connsiteX187" fmla="*/ 11599881 w 12192000"/>
              <a:gd name="connsiteY187" fmla="*/ 4190576 h 4454665"/>
              <a:gd name="connsiteX188" fmla="*/ 11709044 w 12192000"/>
              <a:gd name="connsiteY188" fmla="*/ 4186546 h 4454665"/>
              <a:gd name="connsiteX189" fmla="*/ 11674112 w 12192000"/>
              <a:gd name="connsiteY189" fmla="*/ 4193647 h 4454665"/>
              <a:gd name="connsiteX190" fmla="*/ 11674112 w 12192000"/>
              <a:gd name="connsiteY190" fmla="*/ 4200749 h 4454665"/>
              <a:gd name="connsiteX191" fmla="*/ 11688084 w 12192000"/>
              <a:gd name="connsiteY191" fmla="*/ 4200749 h 4454665"/>
              <a:gd name="connsiteX192" fmla="*/ 11695071 w 12192000"/>
              <a:gd name="connsiteY192" fmla="*/ 4236257 h 4454665"/>
              <a:gd name="connsiteX193" fmla="*/ 11702057 w 12192000"/>
              <a:gd name="connsiteY193" fmla="*/ 4232706 h 4454665"/>
              <a:gd name="connsiteX194" fmla="*/ 11695071 w 12192000"/>
              <a:gd name="connsiteY194" fmla="*/ 4197198 h 4454665"/>
              <a:gd name="connsiteX195" fmla="*/ 11709044 w 12192000"/>
              <a:gd name="connsiteY195" fmla="*/ 4193647 h 4454665"/>
              <a:gd name="connsiteX196" fmla="*/ 11564748 w 12192000"/>
              <a:gd name="connsiteY196" fmla="*/ 4186546 h 4454665"/>
              <a:gd name="connsiteX197" fmla="*/ 11575228 w 12192000"/>
              <a:gd name="connsiteY197" fmla="*/ 4189905 h 4454665"/>
              <a:gd name="connsiteX198" fmla="*/ 11578720 w 12192000"/>
              <a:gd name="connsiteY198" fmla="*/ 4193264 h 4454665"/>
              <a:gd name="connsiteX199" fmla="*/ 11578720 w 12192000"/>
              <a:gd name="connsiteY199" fmla="*/ 4196622 h 4454665"/>
              <a:gd name="connsiteX200" fmla="*/ 11571734 w 12192000"/>
              <a:gd name="connsiteY200" fmla="*/ 4199981 h 4454665"/>
              <a:gd name="connsiteX201" fmla="*/ 11561254 w 12192000"/>
              <a:gd name="connsiteY201" fmla="*/ 4196622 h 4454665"/>
              <a:gd name="connsiteX202" fmla="*/ 11564748 w 12192000"/>
              <a:gd name="connsiteY202" fmla="*/ 4193264 h 4454665"/>
              <a:gd name="connsiteX203" fmla="*/ 11564748 w 12192000"/>
              <a:gd name="connsiteY203" fmla="*/ 4186546 h 4454665"/>
              <a:gd name="connsiteX204" fmla="*/ 11014562 w 12192000"/>
              <a:gd name="connsiteY204" fmla="*/ 4184660 h 4454665"/>
              <a:gd name="connsiteX205" fmla="*/ 11014562 w 12192000"/>
              <a:gd name="connsiteY205" fmla="*/ 4198354 h 4454665"/>
              <a:gd name="connsiteX206" fmla="*/ 11026851 w 12192000"/>
              <a:gd name="connsiteY206" fmla="*/ 4198354 h 4454665"/>
              <a:gd name="connsiteX207" fmla="*/ 11026851 w 12192000"/>
              <a:gd name="connsiteY207" fmla="*/ 4184660 h 4454665"/>
              <a:gd name="connsiteX208" fmla="*/ 11715762 w 12192000"/>
              <a:gd name="connsiteY208" fmla="*/ 4182514 h 4454665"/>
              <a:gd name="connsiteX209" fmla="*/ 11729582 w 12192000"/>
              <a:gd name="connsiteY209" fmla="*/ 4225508 h 4454665"/>
              <a:gd name="connsiteX210" fmla="*/ 11739946 w 12192000"/>
              <a:gd name="connsiteY210" fmla="*/ 4221925 h 4454665"/>
              <a:gd name="connsiteX211" fmla="*/ 11726127 w 12192000"/>
              <a:gd name="connsiteY211" fmla="*/ 4182514 h 4454665"/>
              <a:gd name="connsiteX212" fmla="*/ 11715762 w 12192000"/>
              <a:gd name="connsiteY212" fmla="*/ 4182514 h 4454665"/>
              <a:gd name="connsiteX213" fmla="*/ 10346688 w 12192000"/>
              <a:gd name="connsiteY213" fmla="*/ 4182514 h 4454665"/>
              <a:gd name="connsiteX214" fmla="*/ 10346688 w 12192000"/>
              <a:gd name="connsiteY214" fmla="*/ 4312838 h 4454665"/>
              <a:gd name="connsiteX215" fmla="*/ 10361467 w 12192000"/>
              <a:gd name="connsiteY215" fmla="*/ 4312838 h 4454665"/>
              <a:gd name="connsiteX216" fmla="*/ 10361467 w 12192000"/>
              <a:gd name="connsiteY216" fmla="*/ 4253722 h 4454665"/>
              <a:gd name="connsiteX217" fmla="*/ 10407148 w 12192000"/>
              <a:gd name="connsiteY217" fmla="*/ 4253722 h 4454665"/>
              <a:gd name="connsiteX218" fmla="*/ 10407148 w 12192000"/>
              <a:gd name="connsiteY218" fmla="*/ 4242974 h 4454665"/>
              <a:gd name="connsiteX219" fmla="*/ 10361467 w 12192000"/>
              <a:gd name="connsiteY219" fmla="*/ 4242974 h 4454665"/>
              <a:gd name="connsiteX220" fmla="*/ 10361467 w 12192000"/>
              <a:gd name="connsiteY220" fmla="*/ 4193262 h 4454665"/>
              <a:gd name="connsiteX221" fmla="*/ 10409835 w 12192000"/>
              <a:gd name="connsiteY221" fmla="*/ 4193262 h 4454665"/>
              <a:gd name="connsiteX222" fmla="*/ 10409835 w 12192000"/>
              <a:gd name="connsiteY222" fmla="*/ 4182514 h 4454665"/>
              <a:gd name="connsiteX223" fmla="*/ 11561143 w 12192000"/>
              <a:gd name="connsiteY223" fmla="*/ 4175797 h 4454665"/>
              <a:gd name="connsiteX224" fmla="*/ 11554200 w 12192000"/>
              <a:gd name="connsiteY224" fmla="*/ 4193264 h 4454665"/>
              <a:gd name="connsiteX225" fmla="*/ 11554200 w 12192000"/>
              <a:gd name="connsiteY225" fmla="*/ 4196756 h 4454665"/>
              <a:gd name="connsiteX226" fmla="*/ 11543788 w 12192000"/>
              <a:gd name="connsiteY226" fmla="*/ 4214223 h 4454665"/>
              <a:gd name="connsiteX227" fmla="*/ 11554200 w 12192000"/>
              <a:gd name="connsiteY227" fmla="*/ 4217716 h 4454665"/>
              <a:gd name="connsiteX228" fmla="*/ 11557671 w 12192000"/>
              <a:gd name="connsiteY228" fmla="*/ 4203743 h 4454665"/>
              <a:gd name="connsiteX229" fmla="*/ 11568084 w 12192000"/>
              <a:gd name="connsiteY229" fmla="*/ 4207237 h 4454665"/>
              <a:gd name="connsiteX230" fmla="*/ 11568084 w 12192000"/>
              <a:gd name="connsiteY230" fmla="*/ 4224702 h 4454665"/>
              <a:gd name="connsiteX231" fmla="*/ 11578497 w 12192000"/>
              <a:gd name="connsiteY231" fmla="*/ 4228196 h 4454665"/>
              <a:gd name="connsiteX232" fmla="*/ 11575026 w 12192000"/>
              <a:gd name="connsiteY232" fmla="*/ 4207237 h 4454665"/>
              <a:gd name="connsiteX233" fmla="*/ 11585438 w 12192000"/>
              <a:gd name="connsiteY233" fmla="*/ 4196756 h 4454665"/>
              <a:gd name="connsiteX234" fmla="*/ 11585438 w 12192000"/>
              <a:gd name="connsiteY234" fmla="*/ 4193264 h 4454665"/>
              <a:gd name="connsiteX235" fmla="*/ 11578497 w 12192000"/>
              <a:gd name="connsiteY235" fmla="*/ 4182784 h 4454665"/>
              <a:gd name="connsiteX236" fmla="*/ 11561143 w 12192000"/>
              <a:gd name="connsiteY236" fmla="*/ 4175797 h 4454665"/>
              <a:gd name="connsiteX237" fmla="*/ 11766241 w 12192000"/>
              <a:gd name="connsiteY237" fmla="*/ 4173090 h 4454665"/>
              <a:gd name="connsiteX238" fmla="*/ 11774878 w 12192000"/>
              <a:gd name="connsiteY238" fmla="*/ 4178821 h 4454665"/>
              <a:gd name="connsiteX239" fmla="*/ 11774878 w 12192000"/>
              <a:gd name="connsiteY239" fmla="*/ 4185874 h 4454665"/>
              <a:gd name="connsiteX240" fmla="*/ 11771423 w 12192000"/>
              <a:gd name="connsiteY240" fmla="*/ 4196455 h 4454665"/>
              <a:gd name="connsiteX241" fmla="*/ 11767968 w 12192000"/>
              <a:gd name="connsiteY241" fmla="*/ 4199982 h 4454665"/>
              <a:gd name="connsiteX242" fmla="*/ 11754149 w 12192000"/>
              <a:gd name="connsiteY242" fmla="*/ 4196455 h 4454665"/>
              <a:gd name="connsiteX243" fmla="*/ 11750694 w 12192000"/>
              <a:gd name="connsiteY243" fmla="*/ 4192929 h 4454665"/>
              <a:gd name="connsiteX244" fmla="*/ 11750694 w 12192000"/>
              <a:gd name="connsiteY244" fmla="*/ 4185874 h 4454665"/>
              <a:gd name="connsiteX245" fmla="*/ 11757604 w 12192000"/>
              <a:gd name="connsiteY245" fmla="*/ 4175294 h 4454665"/>
              <a:gd name="connsiteX246" fmla="*/ 11766241 w 12192000"/>
              <a:gd name="connsiteY246" fmla="*/ 4173090 h 4454665"/>
              <a:gd name="connsiteX247" fmla="*/ 10810738 w 12192000"/>
              <a:gd name="connsiteY247" fmla="*/ 4171765 h 4454665"/>
              <a:gd name="connsiteX248" fmla="*/ 10810738 w 12192000"/>
              <a:gd name="connsiteY248" fmla="*/ 4235469 h 4454665"/>
              <a:gd name="connsiteX249" fmla="*/ 10782231 w 12192000"/>
              <a:gd name="connsiteY249" fmla="*/ 4217773 h 4454665"/>
              <a:gd name="connsiteX250" fmla="*/ 10743034 w 12192000"/>
              <a:gd name="connsiteY250" fmla="*/ 4267321 h 4454665"/>
              <a:gd name="connsiteX251" fmla="*/ 10782231 w 12192000"/>
              <a:gd name="connsiteY251" fmla="*/ 4316868 h 4454665"/>
              <a:gd name="connsiteX252" fmla="*/ 10810738 w 12192000"/>
              <a:gd name="connsiteY252" fmla="*/ 4299172 h 4454665"/>
              <a:gd name="connsiteX253" fmla="*/ 10810738 w 12192000"/>
              <a:gd name="connsiteY253" fmla="*/ 4313329 h 4454665"/>
              <a:gd name="connsiteX254" fmla="*/ 10824991 w 12192000"/>
              <a:gd name="connsiteY254" fmla="*/ 4313329 h 4454665"/>
              <a:gd name="connsiteX255" fmla="*/ 10824991 w 12192000"/>
              <a:gd name="connsiteY255" fmla="*/ 4171765 h 4454665"/>
              <a:gd name="connsiteX256" fmla="*/ 10810738 w 12192000"/>
              <a:gd name="connsiteY256" fmla="*/ 4171765 h 4454665"/>
              <a:gd name="connsiteX257" fmla="*/ 11768161 w 12192000"/>
              <a:gd name="connsiteY257" fmla="*/ 4166249 h 4454665"/>
              <a:gd name="connsiteX258" fmla="*/ 11750694 w 12192000"/>
              <a:gd name="connsiteY258" fmla="*/ 4169272 h 4454665"/>
              <a:gd name="connsiteX259" fmla="*/ 11739946 w 12192000"/>
              <a:gd name="connsiteY259" fmla="*/ 4186546 h 4454665"/>
              <a:gd name="connsiteX260" fmla="*/ 11743528 w 12192000"/>
              <a:gd name="connsiteY260" fmla="*/ 4196911 h 4454665"/>
              <a:gd name="connsiteX261" fmla="*/ 11772191 w 12192000"/>
              <a:gd name="connsiteY261" fmla="*/ 4203821 h 4454665"/>
              <a:gd name="connsiteX262" fmla="*/ 11782939 w 12192000"/>
              <a:gd name="connsiteY262" fmla="*/ 4196911 h 4454665"/>
              <a:gd name="connsiteX263" fmla="*/ 11782939 w 12192000"/>
              <a:gd name="connsiteY263" fmla="*/ 4186546 h 4454665"/>
              <a:gd name="connsiteX264" fmla="*/ 11782939 w 12192000"/>
              <a:gd name="connsiteY264" fmla="*/ 4176182 h 4454665"/>
              <a:gd name="connsiteX265" fmla="*/ 11768161 w 12192000"/>
              <a:gd name="connsiteY265" fmla="*/ 4166249 h 4454665"/>
              <a:gd name="connsiteX266" fmla="*/ 11525909 w 12192000"/>
              <a:gd name="connsiteY266" fmla="*/ 4158331 h 4454665"/>
              <a:gd name="connsiteX267" fmla="*/ 11504825 w 12192000"/>
              <a:gd name="connsiteY267" fmla="*/ 4193263 h 4454665"/>
              <a:gd name="connsiteX268" fmla="*/ 11529423 w 12192000"/>
              <a:gd name="connsiteY268" fmla="*/ 4210729 h 4454665"/>
              <a:gd name="connsiteX269" fmla="*/ 11532937 w 12192000"/>
              <a:gd name="connsiteY269" fmla="*/ 4203743 h 4454665"/>
              <a:gd name="connsiteX270" fmla="*/ 11515367 w 12192000"/>
              <a:gd name="connsiteY270" fmla="*/ 4193263 h 4454665"/>
              <a:gd name="connsiteX271" fmla="*/ 11522395 w 12192000"/>
              <a:gd name="connsiteY271" fmla="*/ 4182784 h 4454665"/>
              <a:gd name="connsiteX272" fmla="*/ 11532937 w 12192000"/>
              <a:gd name="connsiteY272" fmla="*/ 4189770 h 4454665"/>
              <a:gd name="connsiteX273" fmla="*/ 11536450 w 12192000"/>
              <a:gd name="connsiteY273" fmla="*/ 4182784 h 4454665"/>
              <a:gd name="connsiteX274" fmla="*/ 11525909 w 12192000"/>
              <a:gd name="connsiteY274" fmla="*/ 4175797 h 4454665"/>
              <a:gd name="connsiteX275" fmla="*/ 11529423 w 12192000"/>
              <a:gd name="connsiteY275" fmla="*/ 4168811 h 4454665"/>
              <a:gd name="connsiteX276" fmla="*/ 11546992 w 12192000"/>
              <a:gd name="connsiteY276" fmla="*/ 4179290 h 4454665"/>
              <a:gd name="connsiteX277" fmla="*/ 11550506 w 12192000"/>
              <a:gd name="connsiteY277" fmla="*/ 4172303 h 4454665"/>
              <a:gd name="connsiteX278" fmla="*/ 11525909 w 12192000"/>
              <a:gd name="connsiteY278" fmla="*/ 4158331 h 4454665"/>
              <a:gd name="connsiteX279" fmla="*/ 11803361 w 12192000"/>
              <a:gd name="connsiteY279" fmla="*/ 4130117 h 4454665"/>
              <a:gd name="connsiteX280" fmla="*/ 11796375 w 12192000"/>
              <a:gd name="connsiteY280" fmla="*/ 4137170 h 4454665"/>
              <a:gd name="connsiteX281" fmla="*/ 11813840 w 12192000"/>
              <a:gd name="connsiteY281" fmla="*/ 4154804 h 4454665"/>
              <a:gd name="connsiteX282" fmla="*/ 11785895 w 12192000"/>
              <a:gd name="connsiteY282" fmla="*/ 4147751 h 4454665"/>
              <a:gd name="connsiteX283" fmla="*/ 11778908 w 12192000"/>
              <a:gd name="connsiteY283" fmla="*/ 4151277 h 4454665"/>
              <a:gd name="connsiteX284" fmla="*/ 11803361 w 12192000"/>
              <a:gd name="connsiteY284" fmla="*/ 4186546 h 4454665"/>
              <a:gd name="connsiteX285" fmla="*/ 11810348 w 12192000"/>
              <a:gd name="connsiteY285" fmla="*/ 4179492 h 4454665"/>
              <a:gd name="connsiteX286" fmla="*/ 11796375 w 12192000"/>
              <a:gd name="connsiteY286" fmla="*/ 4158331 h 4454665"/>
              <a:gd name="connsiteX287" fmla="*/ 11824320 w 12192000"/>
              <a:gd name="connsiteY287" fmla="*/ 4168911 h 4454665"/>
              <a:gd name="connsiteX288" fmla="*/ 11831307 w 12192000"/>
              <a:gd name="connsiteY288" fmla="*/ 4161858 h 4454665"/>
              <a:gd name="connsiteX289" fmla="*/ 11803361 w 12192000"/>
              <a:gd name="connsiteY289" fmla="*/ 4130117 h 4454665"/>
              <a:gd name="connsiteX290" fmla="*/ 11495008 w 12192000"/>
              <a:gd name="connsiteY290" fmla="*/ 4130117 h 4454665"/>
              <a:gd name="connsiteX291" fmla="*/ 11487980 w 12192000"/>
              <a:gd name="connsiteY291" fmla="*/ 4133630 h 4454665"/>
              <a:gd name="connsiteX292" fmla="*/ 11498522 w 12192000"/>
              <a:gd name="connsiteY292" fmla="*/ 4144172 h 4454665"/>
              <a:gd name="connsiteX293" fmla="*/ 11473924 w 12192000"/>
              <a:gd name="connsiteY293" fmla="*/ 4168769 h 4454665"/>
              <a:gd name="connsiteX294" fmla="*/ 11480952 w 12192000"/>
              <a:gd name="connsiteY294" fmla="*/ 4175797 h 4454665"/>
              <a:gd name="connsiteX295" fmla="*/ 11505548 w 12192000"/>
              <a:gd name="connsiteY295" fmla="*/ 4151200 h 4454665"/>
              <a:gd name="connsiteX296" fmla="*/ 11516090 w 12192000"/>
              <a:gd name="connsiteY296" fmla="*/ 4158227 h 4454665"/>
              <a:gd name="connsiteX297" fmla="*/ 11519604 w 12192000"/>
              <a:gd name="connsiteY297" fmla="*/ 4151200 h 4454665"/>
              <a:gd name="connsiteX298" fmla="*/ 11495008 w 12192000"/>
              <a:gd name="connsiteY298" fmla="*/ 4130117 h 4454665"/>
              <a:gd name="connsiteX299" fmla="*/ 11824589 w 12192000"/>
              <a:gd name="connsiteY299" fmla="*/ 4119368 h 4454665"/>
              <a:gd name="connsiteX300" fmla="*/ 11842055 w 12192000"/>
              <a:gd name="connsiteY300" fmla="*/ 4126086 h 4454665"/>
              <a:gd name="connsiteX301" fmla="*/ 11842055 w 12192000"/>
              <a:gd name="connsiteY301" fmla="*/ 4130117 h 4454665"/>
              <a:gd name="connsiteX302" fmla="*/ 11835337 w 12192000"/>
              <a:gd name="connsiteY302" fmla="*/ 4136835 h 4454665"/>
              <a:gd name="connsiteX303" fmla="*/ 11831307 w 12192000"/>
              <a:gd name="connsiteY303" fmla="*/ 4130117 h 4454665"/>
              <a:gd name="connsiteX304" fmla="*/ 11820942 w 12192000"/>
              <a:gd name="connsiteY304" fmla="*/ 4112650 h 4454665"/>
              <a:gd name="connsiteX305" fmla="*/ 11813840 w 12192000"/>
              <a:gd name="connsiteY305" fmla="*/ 4119592 h 4454665"/>
              <a:gd name="connsiteX306" fmla="*/ 11820942 w 12192000"/>
              <a:gd name="connsiteY306" fmla="*/ 4130004 h 4454665"/>
              <a:gd name="connsiteX307" fmla="*/ 11838696 w 12192000"/>
              <a:gd name="connsiteY307" fmla="*/ 4154300 h 4454665"/>
              <a:gd name="connsiteX308" fmla="*/ 11842247 w 12192000"/>
              <a:gd name="connsiteY308" fmla="*/ 4150830 h 4454665"/>
              <a:gd name="connsiteX309" fmla="*/ 11838696 w 12192000"/>
              <a:gd name="connsiteY309" fmla="*/ 4143888 h 4454665"/>
              <a:gd name="connsiteX310" fmla="*/ 11849349 w 12192000"/>
              <a:gd name="connsiteY310" fmla="*/ 4130004 h 4454665"/>
              <a:gd name="connsiteX311" fmla="*/ 11856450 w 12192000"/>
              <a:gd name="connsiteY311" fmla="*/ 4130004 h 4454665"/>
              <a:gd name="connsiteX312" fmla="*/ 11860002 w 12192000"/>
              <a:gd name="connsiteY312" fmla="*/ 4130004 h 4454665"/>
              <a:gd name="connsiteX313" fmla="*/ 11863552 w 12192000"/>
              <a:gd name="connsiteY313" fmla="*/ 4123062 h 4454665"/>
              <a:gd name="connsiteX314" fmla="*/ 11820942 w 12192000"/>
              <a:gd name="connsiteY314" fmla="*/ 4112650 h 4454665"/>
              <a:gd name="connsiteX315" fmla="*/ 11466198 w 12192000"/>
              <a:gd name="connsiteY315" fmla="*/ 4097871 h 4454665"/>
              <a:gd name="connsiteX316" fmla="*/ 11430930 w 12192000"/>
              <a:gd name="connsiteY316" fmla="*/ 4122951 h 4454665"/>
              <a:gd name="connsiteX317" fmla="*/ 11437984 w 12192000"/>
              <a:gd name="connsiteY317" fmla="*/ 4130117 h 4454665"/>
              <a:gd name="connsiteX318" fmla="*/ 11459145 w 12192000"/>
              <a:gd name="connsiteY318" fmla="*/ 4115786 h 4454665"/>
              <a:gd name="connsiteX319" fmla="*/ 11448564 w 12192000"/>
              <a:gd name="connsiteY319" fmla="*/ 4144447 h 4454665"/>
              <a:gd name="connsiteX320" fmla="*/ 11455618 w 12192000"/>
              <a:gd name="connsiteY320" fmla="*/ 4151613 h 4454665"/>
              <a:gd name="connsiteX321" fmla="*/ 11487359 w 12192000"/>
              <a:gd name="connsiteY321" fmla="*/ 4122951 h 4454665"/>
              <a:gd name="connsiteX322" fmla="*/ 11483833 w 12192000"/>
              <a:gd name="connsiteY322" fmla="*/ 4115786 h 4454665"/>
              <a:gd name="connsiteX323" fmla="*/ 11462672 w 12192000"/>
              <a:gd name="connsiteY323" fmla="*/ 4133699 h 4454665"/>
              <a:gd name="connsiteX324" fmla="*/ 11473252 w 12192000"/>
              <a:gd name="connsiteY324" fmla="*/ 4105037 h 4454665"/>
              <a:gd name="connsiteX325" fmla="*/ 11466198 w 12192000"/>
              <a:gd name="connsiteY325" fmla="*/ 4097871 h 4454665"/>
              <a:gd name="connsiteX326" fmla="*/ 11835338 w 12192000"/>
              <a:gd name="connsiteY326" fmla="*/ 4087123 h 4454665"/>
              <a:gd name="connsiteX327" fmla="*/ 11831307 w 12192000"/>
              <a:gd name="connsiteY327" fmla="*/ 4095184 h 4454665"/>
              <a:gd name="connsiteX328" fmla="*/ 11870270 w 12192000"/>
              <a:gd name="connsiteY328" fmla="*/ 4115338 h 4454665"/>
              <a:gd name="connsiteX329" fmla="*/ 11883706 w 12192000"/>
              <a:gd name="connsiteY329" fmla="*/ 4091154 h 4454665"/>
              <a:gd name="connsiteX330" fmla="*/ 11876988 w 12192000"/>
              <a:gd name="connsiteY330" fmla="*/ 4087123 h 4454665"/>
              <a:gd name="connsiteX331" fmla="*/ 11866239 w 12192000"/>
              <a:gd name="connsiteY331" fmla="*/ 4105933 h 4454665"/>
              <a:gd name="connsiteX332" fmla="*/ 11459634 w 12192000"/>
              <a:gd name="connsiteY332" fmla="*/ 4084436 h 4454665"/>
              <a:gd name="connsiteX333" fmla="*/ 11424212 w 12192000"/>
              <a:gd name="connsiteY333" fmla="*/ 4105598 h 4454665"/>
              <a:gd name="connsiteX334" fmla="*/ 11427754 w 12192000"/>
              <a:gd name="connsiteY334" fmla="*/ 4112651 h 4454665"/>
              <a:gd name="connsiteX335" fmla="*/ 11463176 w 12192000"/>
              <a:gd name="connsiteY335" fmla="*/ 4091490 h 4454665"/>
              <a:gd name="connsiteX336" fmla="*/ 11459634 w 12192000"/>
              <a:gd name="connsiteY336" fmla="*/ 4084436 h 4454665"/>
              <a:gd name="connsiteX337" fmla="*/ 11450927 w 12192000"/>
              <a:gd name="connsiteY337" fmla="*/ 4050826 h 4454665"/>
              <a:gd name="connsiteX338" fmla="*/ 11456192 w 12192000"/>
              <a:gd name="connsiteY338" fmla="*/ 4056557 h 4454665"/>
              <a:gd name="connsiteX339" fmla="*/ 11649257 w 12192000"/>
              <a:gd name="connsiteY339" fmla="*/ 4187050 h 4454665"/>
              <a:gd name="connsiteX340" fmla="*/ 11842320 w 12192000"/>
              <a:gd name="connsiteY340" fmla="*/ 4056557 h 4454665"/>
              <a:gd name="connsiteX341" fmla="*/ 11847586 w 12192000"/>
              <a:gd name="connsiteY341" fmla="*/ 4050826 h 4454665"/>
              <a:gd name="connsiteX342" fmla="*/ 11852851 w 12192000"/>
              <a:gd name="connsiteY342" fmla="*/ 4053030 h 4454665"/>
              <a:gd name="connsiteX343" fmla="*/ 11891464 w 12192000"/>
              <a:gd name="connsiteY343" fmla="*/ 4063611 h 4454665"/>
              <a:gd name="connsiteX344" fmla="*/ 11898484 w 12192000"/>
              <a:gd name="connsiteY344" fmla="*/ 4074191 h 4454665"/>
              <a:gd name="connsiteX345" fmla="*/ 11649257 w 12192000"/>
              <a:gd name="connsiteY345" fmla="*/ 4247006 h 4454665"/>
              <a:gd name="connsiteX346" fmla="*/ 11400028 w 12192000"/>
              <a:gd name="connsiteY346" fmla="*/ 4077719 h 4454665"/>
              <a:gd name="connsiteX347" fmla="*/ 11407049 w 12192000"/>
              <a:gd name="connsiteY347" fmla="*/ 4063611 h 4454665"/>
              <a:gd name="connsiteX348" fmla="*/ 11445662 w 12192000"/>
              <a:gd name="connsiteY348" fmla="*/ 4053030 h 4454665"/>
              <a:gd name="connsiteX349" fmla="*/ 11450927 w 12192000"/>
              <a:gd name="connsiteY349" fmla="*/ 4050826 h 4454665"/>
              <a:gd name="connsiteX350" fmla="*/ 11603442 w 12192000"/>
              <a:gd name="connsiteY350" fmla="*/ 4044988 h 4454665"/>
              <a:gd name="connsiteX351" fmla="*/ 11613922 w 12192000"/>
              <a:gd name="connsiteY351" fmla="*/ 4044988 h 4454665"/>
              <a:gd name="connsiteX352" fmla="*/ 11617414 w 12192000"/>
              <a:gd name="connsiteY352" fmla="*/ 4052079 h 4454665"/>
              <a:gd name="connsiteX353" fmla="*/ 11624401 w 12192000"/>
              <a:gd name="connsiteY353" fmla="*/ 4154898 h 4454665"/>
              <a:gd name="connsiteX354" fmla="*/ 11620908 w 12192000"/>
              <a:gd name="connsiteY354" fmla="*/ 4165535 h 4454665"/>
              <a:gd name="connsiteX355" fmla="*/ 11613922 w 12192000"/>
              <a:gd name="connsiteY355" fmla="*/ 4165535 h 4454665"/>
              <a:gd name="connsiteX356" fmla="*/ 11505632 w 12192000"/>
              <a:gd name="connsiteY356" fmla="*/ 4101715 h 4454665"/>
              <a:gd name="connsiteX357" fmla="*/ 11502138 w 12192000"/>
              <a:gd name="connsiteY357" fmla="*/ 4098170 h 4454665"/>
              <a:gd name="connsiteX358" fmla="*/ 11502138 w 12192000"/>
              <a:gd name="connsiteY358" fmla="*/ 4094625 h 4454665"/>
              <a:gd name="connsiteX359" fmla="*/ 11509124 w 12192000"/>
              <a:gd name="connsiteY359" fmla="*/ 4091080 h 4454665"/>
              <a:gd name="connsiteX360" fmla="*/ 11603442 w 12192000"/>
              <a:gd name="connsiteY360" fmla="*/ 4044988 h 4454665"/>
              <a:gd name="connsiteX361" fmla="*/ 11688084 w 12192000"/>
              <a:gd name="connsiteY361" fmla="*/ 4041442 h 4454665"/>
              <a:gd name="connsiteX362" fmla="*/ 11698565 w 12192000"/>
              <a:gd name="connsiteY362" fmla="*/ 4041442 h 4454665"/>
              <a:gd name="connsiteX363" fmla="*/ 11789388 w 12192000"/>
              <a:gd name="connsiteY363" fmla="*/ 4087353 h 4454665"/>
              <a:gd name="connsiteX364" fmla="*/ 11796375 w 12192000"/>
              <a:gd name="connsiteY364" fmla="*/ 4094417 h 4454665"/>
              <a:gd name="connsiteX365" fmla="*/ 11792882 w 12192000"/>
              <a:gd name="connsiteY365" fmla="*/ 4101480 h 4454665"/>
              <a:gd name="connsiteX366" fmla="*/ 11684592 w 12192000"/>
              <a:gd name="connsiteY366" fmla="*/ 4165049 h 4454665"/>
              <a:gd name="connsiteX367" fmla="*/ 11677605 w 12192000"/>
              <a:gd name="connsiteY367" fmla="*/ 4165049 h 4454665"/>
              <a:gd name="connsiteX368" fmla="*/ 11674112 w 12192000"/>
              <a:gd name="connsiteY368" fmla="*/ 4154454 h 4454665"/>
              <a:gd name="connsiteX369" fmla="*/ 11684592 w 12192000"/>
              <a:gd name="connsiteY369" fmla="*/ 4052038 h 4454665"/>
              <a:gd name="connsiteX370" fmla="*/ 11688084 w 12192000"/>
              <a:gd name="connsiteY370" fmla="*/ 4041442 h 4454665"/>
              <a:gd name="connsiteX371" fmla="*/ 10810283 w 12192000"/>
              <a:gd name="connsiteY371" fmla="*/ 4002478 h 4454665"/>
              <a:gd name="connsiteX372" fmla="*/ 10851862 w 12192000"/>
              <a:gd name="connsiteY372" fmla="*/ 4002478 h 4454665"/>
              <a:gd name="connsiteX373" fmla="*/ 10851862 w 12192000"/>
              <a:gd name="connsiteY373" fmla="*/ 4045088 h 4454665"/>
              <a:gd name="connsiteX374" fmla="*/ 10803353 w 12192000"/>
              <a:gd name="connsiteY374" fmla="*/ 4052190 h 4454665"/>
              <a:gd name="connsiteX375" fmla="*/ 10786028 w 12192000"/>
              <a:gd name="connsiteY375" fmla="*/ 4027334 h 4454665"/>
              <a:gd name="connsiteX376" fmla="*/ 10810283 w 12192000"/>
              <a:gd name="connsiteY376" fmla="*/ 4002478 h 4454665"/>
              <a:gd name="connsiteX377" fmla="*/ 10494479 w 12192000"/>
              <a:gd name="connsiteY377" fmla="*/ 3932613 h 4454665"/>
              <a:gd name="connsiteX378" fmla="*/ 10536128 w 12192000"/>
              <a:gd name="connsiteY378" fmla="*/ 3988885 h 4454665"/>
              <a:gd name="connsiteX379" fmla="*/ 10494479 w 12192000"/>
              <a:gd name="connsiteY379" fmla="*/ 4052189 h 4454665"/>
              <a:gd name="connsiteX380" fmla="*/ 10452829 w 12192000"/>
              <a:gd name="connsiteY380" fmla="*/ 3988885 h 4454665"/>
              <a:gd name="connsiteX381" fmla="*/ 10494479 w 12192000"/>
              <a:gd name="connsiteY381" fmla="*/ 3932613 h 4454665"/>
              <a:gd name="connsiteX382" fmla="*/ 11639005 w 12192000"/>
              <a:gd name="connsiteY382" fmla="*/ 3928584 h 4454665"/>
              <a:gd name="connsiteX383" fmla="*/ 11660034 w 12192000"/>
              <a:gd name="connsiteY383" fmla="*/ 3928584 h 4454665"/>
              <a:gd name="connsiteX384" fmla="*/ 11660034 w 12192000"/>
              <a:gd name="connsiteY384" fmla="*/ 3939224 h 4454665"/>
              <a:gd name="connsiteX385" fmla="*/ 11691578 w 12192000"/>
              <a:gd name="connsiteY385" fmla="*/ 3978241 h 4454665"/>
              <a:gd name="connsiteX386" fmla="*/ 11649519 w 12192000"/>
              <a:gd name="connsiteY386" fmla="*/ 4017258 h 4454665"/>
              <a:gd name="connsiteX387" fmla="*/ 11610966 w 12192000"/>
              <a:gd name="connsiteY387" fmla="*/ 3978241 h 4454665"/>
              <a:gd name="connsiteX388" fmla="*/ 11639005 w 12192000"/>
              <a:gd name="connsiteY388" fmla="*/ 3939224 h 4454665"/>
              <a:gd name="connsiteX389" fmla="*/ 11639005 w 12192000"/>
              <a:gd name="connsiteY389" fmla="*/ 3928584 h 4454665"/>
              <a:gd name="connsiteX390" fmla="*/ 11649257 w 12192000"/>
              <a:gd name="connsiteY390" fmla="*/ 3917835 h 4454665"/>
              <a:gd name="connsiteX391" fmla="*/ 11589469 w 12192000"/>
              <a:gd name="connsiteY391" fmla="*/ 3978295 h 4454665"/>
              <a:gd name="connsiteX392" fmla="*/ 11649257 w 12192000"/>
              <a:gd name="connsiteY392" fmla="*/ 4038755 h 4454665"/>
              <a:gd name="connsiteX393" fmla="*/ 11709045 w 12192000"/>
              <a:gd name="connsiteY393" fmla="*/ 3978295 h 4454665"/>
              <a:gd name="connsiteX394" fmla="*/ 11649257 w 12192000"/>
              <a:gd name="connsiteY394" fmla="*/ 3917835 h 4454665"/>
              <a:gd name="connsiteX395" fmla="*/ 11649257 w 12192000"/>
              <a:gd name="connsiteY395" fmla="*/ 3911118 h 4454665"/>
              <a:gd name="connsiteX396" fmla="*/ 11715763 w 12192000"/>
              <a:gd name="connsiteY396" fmla="*/ 3978295 h 4454665"/>
              <a:gd name="connsiteX397" fmla="*/ 11649257 w 12192000"/>
              <a:gd name="connsiteY397" fmla="*/ 4045473 h 4454665"/>
              <a:gd name="connsiteX398" fmla="*/ 11582751 w 12192000"/>
              <a:gd name="connsiteY398" fmla="*/ 3978295 h 4454665"/>
              <a:gd name="connsiteX399" fmla="*/ 11649257 w 12192000"/>
              <a:gd name="connsiteY399" fmla="*/ 3911118 h 4454665"/>
              <a:gd name="connsiteX400" fmla="*/ 11824549 w 12192000"/>
              <a:gd name="connsiteY400" fmla="*/ 3908431 h 4454665"/>
              <a:gd name="connsiteX401" fmla="*/ 11828050 w 12192000"/>
              <a:gd name="connsiteY401" fmla="*/ 3915484 h 4454665"/>
              <a:gd name="connsiteX402" fmla="*/ 11828050 w 12192000"/>
              <a:gd name="connsiteY402" fmla="*/ 4038923 h 4454665"/>
              <a:gd name="connsiteX403" fmla="*/ 11824549 w 12192000"/>
              <a:gd name="connsiteY403" fmla="*/ 4045977 h 4454665"/>
              <a:gd name="connsiteX404" fmla="*/ 11817546 w 12192000"/>
              <a:gd name="connsiteY404" fmla="*/ 4045977 h 4454665"/>
              <a:gd name="connsiteX405" fmla="*/ 11730012 w 12192000"/>
              <a:gd name="connsiteY405" fmla="*/ 3986021 h 4454665"/>
              <a:gd name="connsiteX406" fmla="*/ 11726510 w 12192000"/>
              <a:gd name="connsiteY406" fmla="*/ 3978967 h 4454665"/>
              <a:gd name="connsiteX407" fmla="*/ 11730012 w 12192000"/>
              <a:gd name="connsiteY407" fmla="*/ 3968386 h 4454665"/>
              <a:gd name="connsiteX408" fmla="*/ 11814044 w 12192000"/>
              <a:gd name="connsiteY408" fmla="*/ 3911957 h 4454665"/>
              <a:gd name="connsiteX409" fmla="*/ 11824549 w 12192000"/>
              <a:gd name="connsiteY409" fmla="*/ 3908431 h 4454665"/>
              <a:gd name="connsiteX410" fmla="*/ 11473964 w 12192000"/>
              <a:gd name="connsiteY410" fmla="*/ 3908431 h 4454665"/>
              <a:gd name="connsiteX411" fmla="*/ 11480967 w 12192000"/>
              <a:gd name="connsiteY411" fmla="*/ 3911957 h 4454665"/>
              <a:gd name="connsiteX412" fmla="*/ 11568501 w 12192000"/>
              <a:gd name="connsiteY412" fmla="*/ 3968386 h 4454665"/>
              <a:gd name="connsiteX413" fmla="*/ 11572002 w 12192000"/>
              <a:gd name="connsiteY413" fmla="*/ 3978967 h 4454665"/>
              <a:gd name="connsiteX414" fmla="*/ 11568501 w 12192000"/>
              <a:gd name="connsiteY414" fmla="*/ 3986021 h 4454665"/>
              <a:gd name="connsiteX415" fmla="*/ 11480967 w 12192000"/>
              <a:gd name="connsiteY415" fmla="*/ 4045977 h 4454665"/>
              <a:gd name="connsiteX416" fmla="*/ 11473964 w 12192000"/>
              <a:gd name="connsiteY416" fmla="*/ 4045977 h 4454665"/>
              <a:gd name="connsiteX417" fmla="*/ 11466961 w 12192000"/>
              <a:gd name="connsiteY417" fmla="*/ 4042450 h 4454665"/>
              <a:gd name="connsiteX418" fmla="*/ 11466961 w 12192000"/>
              <a:gd name="connsiteY418" fmla="*/ 3915484 h 4454665"/>
              <a:gd name="connsiteX419" fmla="*/ 11473964 w 12192000"/>
              <a:gd name="connsiteY419" fmla="*/ 3908431 h 4454665"/>
              <a:gd name="connsiteX420" fmla="*/ 11070316 w 12192000"/>
              <a:gd name="connsiteY420" fmla="*/ 3897682 h 4454665"/>
              <a:gd name="connsiteX421" fmla="*/ 11070316 w 12192000"/>
              <a:gd name="connsiteY421" fmla="*/ 3904735 h 4454665"/>
              <a:gd name="connsiteX422" fmla="*/ 11112166 w 12192000"/>
              <a:gd name="connsiteY422" fmla="*/ 4066969 h 4454665"/>
              <a:gd name="connsiteX423" fmla="*/ 11133091 w 12192000"/>
              <a:gd name="connsiteY423" fmla="*/ 4088130 h 4454665"/>
              <a:gd name="connsiteX424" fmla="*/ 11143554 w 12192000"/>
              <a:gd name="connsiteY424" fmla="*/ 4088130 h 4454665"/>
              <a:gd name="connsiteX425" fmla="*/ 11140066 w 12192000"/>
              <a:gd name="connsiteY425" fmla="*/ 4095183 h 4454665"/>
              <a:gd name="connsiteX426" fmla="*/ 11112166 w 12192000"/>
              <a:gd name="connsiteY426" fmla="*/ 4116344 h 4454665"/>
              <a:gd name="connsiteX427" fmla="*/ 11077291 w 12192000"/>
              <a:gd name="connsiteY427" fmla="*/ 4112818 h 4454665"/>
              <a:gd name="connsiteX428" fmla="*/ 11073804 w 12192000"/>
              <a:gd name="connsiteY428" fmla="*/ 4116344 h 4454665"/>
              <a:gd name="connsiteX429" fmla="*/ 11070316 w 12192000"/>
              <a:gd name="connsiteY429" fmla="*/ 4119871 h 4454665"/>
              <a:gd name="connsiteX430" fmla="*/ 11070316 w 12192000"/>
              <a:gd name="connsiteY430" fmla="*/ 4141032 h 4454665"/>
              <a:gd name="connsiteX431" fmla="*/ 11077291 w 12192000"/>
              <a:gd name="connsiteY431" fmla="*/ 4148086 h 4454665"/>
              <a:gd name="connsiteX432" fmla="*/ 11122628 w 12192000"/>
              <a:gd name="connsiteY432" fmla="*/ 4151612 h 4454665"/>
              <a:gd name="connsiteX433" fmla="*/ 11126116 w 12192000"/>
              <a:gd name="connsiteY433" fmla="*/ 4151612 h 4454665"/>
              <a:gd name="connsiteX434" fmla="*/ 11181916 w 12192000"/>
              <a:gd name="connsiteY434" fmla="*/ 4098710 h 4454665"/>
              <a:gd name="connsiteX435" fmla="*/ 11213303 w 12192000"/>
              <a:gd name="connsiteY435" fmla="*/ 3968218 h 4454665"/>
              <a:gd name="connsiteX436" fmla="*/ 11227253 w 12192000"/>
              <a:gd name="connsiteY436" fmla="*/ 3925896 h 4454665"/>
              <a:gd name="connsiteX437" fmla="*/ 11230741 w 12192000"/>
              <a:gd name="connsiteY437" fmla="*/ 3904735 h 4454665"/>
              <a:gd name="connsiteX438" fmla="*/ 11230741 w 12192000"/>
              <a:gd name="connsiteY438" fmla="*/ 3897682 h 4454665"/>
              <a:gd name="connsiteX439" fmla="*/ 11223766 w 12192000"/>
              <a:gd name="connsiteY439" fmla="*/ 3897682 h 4454665"/>
              <a:gd name="connsiteX440" fmla="*/ 11195866 w 12192000"/>
              <a:gd name="connsiteY440" fmla="*/ 3897682 h 4454665"/>
              <a:gd name="connsiteX441" fmla="*/ 11188891 w 12192000"/>
              <a:gd name="connsiteY441" fmla="*/ 3901208 h 4454665"/>
              <a:gd name="connsiteX442" fmla="*/ 11150528 w 12192000"/>
              <a:gd name="connsiteY442" fmla="*/ 4045808 h 4454665"/>
              <a:gd name="connsiteX443" fmla="*/ 11147041 w 12192000"/>
              <a:gd name="connsiteY443" fmla="*/ 4045808 h 4454665"/>
              <a:gd name="connsiteX444" fmla="*/ 11112166 w 12192000"/>
              <a:gd name="connsiteY444" fmla="*/ 3901208 h 4454665"/>
              <a:gd name="connsiteX445" fmla="*/ 11105191 w 12192000"/>
              <a:gd name="connsiteY445" fmla="*/ 3897682 h 4454665"/>
              <a:gd name="connsiteX446" fmla="*/ 11077291 w 12192000"/>
              <a:gd name="connsiteY446" fmla="*/ 3897682 h 4454665"/>
              <a:gd name="connsiteX447" fmla="*/ 11070316 w 12192000"/>
              <a:gd name="connsiteY447" fmla="*/ 3897682 h 4454665"/>
              <a:gd name="connsiteX448" fmla="*/ 11038289 w 12192000"/>
              <a:gd name="connsiteY448" fmla="*/ 3893651 h 4454665"/>
              <a:gd name="connsiteX449" fmla="*/ 10985474 w 12192000"/>
              <a:gd name="connsiteY449" fmla="*/ 3914757 h 4454665"/>
              <a:gd name="connsiteX450" fmla="*/ 10985474 w 12192000"/>
              <a:gd name="connsiteY450" fmla="*/ 3904204 h 4454665"/>
              <a:gd name="connsiteX451" fmla="*/ 10978433 w 12192000"/>
              <a:gd name="connsiteY451" fmla="*/ 3897169 h 4454665"/>
              <a:gd name="connsiteX452" fmla="*/ 10950264 w 12192000"/>
              <a:gd name="connsiteY452" fmla="*/ 3897169 h 4454665"/>
              <a:gd name="connsiteX453" fmla="*/ 10943222 w 12192000"/>
              <a:gd name="connsiteY453" fmla="*/ 3904204 h 4454665"/>
              <a:gd name="connsiteX454" fmla="*/ 10943222 w 12192000"/>
              <a:gd name="connsiteY454" fmla="*/ 4080087 h 4454665"/>
              <a:gd name="connsiteX455" fmla="*/ 10950264 w 12192000"/>
              <a:gd name="connsiteY455" fmla="*/ 4087122 h 4454665"/>
              <a:gd name="connsiteX456" fmla="*/ 10978433 w 12192000"/>
              <a:gd name="connsiteY456" fmla="*/ 4087122 h 4454665"/>
              <a:gd name="connsiteX457" fmla="*/ 10985474 w 12192000"/>
              <a:gd name="connsiteY457" fmla="*/ 4080087 h 4454665"/>
              <a:gd name="connsiteX458" fmla="*/ 10985474 w 12192000"/>
              <a:gd name="connsiteY458" fmla="*/ 3956969 h 4454665"/>
              <a:gd name="connsiteX459" fmla="*/ 11038289 w 12192000"/>
              <a:gd name="connsiteY459" fmla="*/ 3935863 h 4454665"/>
              <a:gd name="connsiteX460" fmla="*/ 11045332 w 12192000"/>
              <a:gd name="connsiteY460" fmla="*/ 3928828 h 4454665"/>
              <a:gd name="connsiteX461" fmla="*/ 11045332 w 12192000"/>
              <a:gd name="connsiteY461" fmla="*/ 3900687 h 4454665"/>
              <a:gd name="connsiteX462" fmla="*/ 11041811 w 12192000"/>
              <a:gd name="connsiteY462" fmla="*/ 3897169 h 4454665"/>
              <a:gd name="connsiteX463" fmla="*/ 11038289 w 12192000"/>
              <a:gd name="connsiteY463" fmla="*/ 3893651 h 4454665"/>
              <a:gd name="connsiteX464" fmla="*/ 10831647 w 12192000"/>
              <a:gd name="connsiteY464" fmla="*/ 3889620 h 4454665"/>
              <a:gd name="connsiteX465" fmla="*/ 10761417 w 12192000"/>
              <a:gd name="connsiteY465" fmla="*/ 3896691 h 4454665"/>
              <a:gd name="connsiteX466" fmla="*/ 10754394 w 12192000"/>
              <a:gd name="connsiteY466" fmla="*/ 3903763 h 4454665"/>
              <a:gd name="connsiteX467" fmla="*/ 10754394 w 12192000"/>
              <a:gd name="connsiteY467" fmla="*/ 3928512 h 4454665"/>
              <a:gd name="connsiteX468" fmla="*/ 10757905 w 12192000"/>
              <a:gd name="connsiteY468" fmla="*/ 3935584 h 4454665"/>
              <a:gd name="connsiteX469" fmla="*/ 10761417 w 12192000"/>
              <a:gd name="connsiteY469" fmla="*/ 3935584 h 4454665"/>
              <a:gd name="connsiteX470" fmla="*/ 10828136 w 12192000"/>
              <a:gd name="connsiteY470" fmla="*/ 3932048 h 4454665"/>
              <a:gd name="connsiteX471" fmla="*/ 10852717 w 12192000"/>
              <a:gd name="connsiteY471" fmla="*/ 3956798 h 4454665"/>
              <a:gd name="connsiteX472" fmla="*/ 10852717 w 12192000"/>
              <a:gd name="connsiteY472" fmla="*/ 3967405 h 4454665"/>
              <a:gd name="connsiteX473" fmla="*/ 10803555 w 12192000"/>
              <a:gd name="connsiteY473" fmla="*/ 3970941 h 4454665"/>
              <a:gd name="connsiteX474" fmla="*/ 10740347 w 12192000"/>
              <a:gd name="connsiteY474" fmla="*/ 4031046 h 4454665"/>
              <a:gd name="connsiteX475" fmla="*/ 10796532 w 12192000"/>
              <a:gd name="connsiteY475" fmla="*/ 4091152 h 4454665"/>
              <a:gd name="connsiteX476" fmla="*/ 10859740 w 12192000"/>
              <a:gd name="connsiteY476" fmla="*/ 4077009 h 4454665"/>
              <a:gd name="connsiteX477" fmla="*/ 10887833 w 12192000"/>
              <a:gd name="connsiteY477" fmla="*/ 4091152 h 4454665"/>
              <a:gd name="connsiteX478" fmla="*/ 10894855 w 12192000"/>
              <a:gd name="connsiteY478" fmla="*/ 4087616 h 4454665"/>
              <a:gd name="connsiteX479" fmla="*/ 10894855 w 12192000"/>
              <a:gd name="connsiteY479" fmla="*/ 4084081 h 4454665"/>
              <a:gd name="connsiteX480" fmla="*/ 10894855 w 12192000"/>
              <a:gd name="connsiteY480" fmla="*/ 3956798 h 4454665"/>
              <a:gd name="connsiteX481" fmla="*/ 10831647 w 12192000"/>
              <a:gd name="connsiteY481" fmla="*/ 3889620 h 4454665"/>
              <a:gd name="connsiteX482" fmla="*/ 10495822 w 12192000"/>
              <a:gd name="connsiteY482" fmla="*/ 3889619 h 4454665"/>
              <a:gd name="connsiteX483" fmla="*/ 10409835 w 12192000"/>
              <a:gd name="connsiteY483" fmla="*/ 3990386 h 4454665"/>
              <a:gd name="connsiteX484" fmla="*/ 10495822 w 12192000"/>
              <a:gd name="connsiteY484" fmla="*/ 4091152 h 4454665"/>
              <a:gd name="connsiteX485" fmla="*/ 10581809 w 12192000"/>
              <a:gd name="connsiteY485" fmla="*/ 3990386 h 4454665"/>
              <a:gd name="connsiteX486" fmla="*/ 10495822 w 12192000"/>
              <a:gd name="connsiteY486" fmla="*/ 3889619 h 4454665"/>
              <a:gd name="connsiteX487" fmla="*/ 10241892 w 12192000"/>
              <a:gd name="connsiteY487" fmla="*/ 3865436 h 4454665"/>
              <a:gd name="connsiteX488" fmla="*/ 10273241 w 12192000"/>
              <a:gd name="connsiteY488" fmla="*/ 3865436 h 4454665"/>
              <a:gd name="connsiteX489" fmla="*/ 10290657 w 12192000"/>
              <a:gd name="connsiteY489" fmla="*/ 3865436 h 4454665"/>
              <a:gd name="connsiteX490" fmla="*/ 10335940 w 12192000"/>
              <a:gd name="connsiteY490" fmla="*/ 3904400 h 4454665"/>
              <a:gd name="connsiteX491" fmla="*/ 10287174 w 12192000"/>
              <a:gd name="connsiteY491" fmla="*/ 3943362 h 4454665"/>
              <a:gd name="connsiteX492" fmla="*/ 10241892 w 12192000"/>
              <a:gd name="connsiteY492" fmla="*/ 3943362 h 4454665"/>
              <a:gd name="connsiteX493" fmla="*/ 10241892 w 12192000"/>
              <a:gd name="connsiteY493" fmla="*/ 3865436 h 4454665"/>
              <a:gd name="connsiteX494" fmla="*/ 10659063 w 12192000"/>
              <a:gd name="connsiteY494" fmla="*/ 3852001 h 4454665"/>
              <a:gd name="connsiteX495" fmla="*/ 10627410 w 12192000"/>
              <a:gd name="connsiteY495" fmla="*/ 3859035 h 4454665"/>
              <a:gd name="connsiteX496" fmla="*/ 10623893 w 12192000"/>
              <a:gd name="connsiteY496" fmla="*/ 3866069 h 4454665"/>
              <a:gd name="connsiteX497" fmla="*/ 10623893 w 12192000"/>
              <a:gd name="connsiteY497" fmla="*/ 3897721 h 4454665"/>
              <a:gd name="connsiteX498" fmla="*/ 10606308 w 12192000"/>
              <a:gd name="connsiteY498" fmla="*/ 3897721 h 4454665"/>
              <a:gd name="connsiteX499" fmla="*/ 10599275 w 12192000"/>
              <a:gd name="connsiteY499" fmla="*/ 3904755 h 4454665"/>
              <a:gd name="connsiteX500" fmla="*/ 10599275 w 12192000"/>
              <a:gd name="connsiteY500" fmla="*/ 3929373 h 4454665"/>
              <a:gd name="connsiteX501" fmla="*/ 10606308 w 12192000"/>
              <a:gd name="connsiteY501" fmla="*/ 3936407 h 4454665"/>
              <a:gd name="connsiteX502" fmla="*/ 10623893 w 12192000"/>
              <a:gd name="connsiteY502" fmla="*/ 3936407 h 4454665"/>
              <a:gd name="connsiteX503" fmla="*/ 10623893 w 12192000"/>
              <a:gd name="connsiteY503" fmla="*/ 4020814 h 4454665"/>
              <a:gd name="connsiteX504" fmla="*/ 10680164 w 12192000"/>
              <a:gd name="connsiteY504" fmla="*/ 4091152 h 4454665"/>
              <a:gd name="connsiteX505" fmla="*/ 10711817 w 12192000"/>
              <a:gd name="connsiteY505" fmla="*/ 4087636 h 4454665"/>
              <a:gd name="connsiteX506" fmla="*/ 10718851 w 12192000"/>
              <a:gd name="connsiteY506" fmla="*/ 4080601 h 4454665"/>
              <a:gd name="connsiteX507" fmla="*/ 10718851 w 12192000"/>
              <a:gd name="connsiteY507" fmla="*/ 4055983 h 4454665"/>
              <a:gd name="connsiteX508" fmla="*/ 10711817 w 12192000"/>
              <a:gd name="connsiteY508" fmla="*/ 4048949 h 4454665"/>
              <a:gd name="connsiteX509" fmla="*/ 10687198 w 12192000"/>
              <a:gd name="connsiteY509" fmla="*/ 4048949 h 4454665"/>
              <a:gd name="connsiteX510" fmla="*/ 10666096 w 12192000"/>
              <a:gd name="connsiteY510" fmla="*/ 4013780 h 4454665"/>
              <a:gd name="connsiteX511" fmla="*/ 10666096 w 12192000"/>
              <a:gd name="connsiteY511" fmla="*/ 3936407 h 4454665"/>
              <a:gd name="connsiteX512" fmla="*/ 10711817 w 12192000"/>
              <a:gd name="connsiteY512" fmla="*/ 3936407 h 4454665"/>
              <a:gd name="connsiteX513" fmla="*/ 10718851 w 12192000"/>
              <a:gd name="connsiteY513" fmla="*/ 3929373 h 4454665"/>
              <a:gd name="connsiteX514" fmla="*/ 10718851 w 12192000"/>
              <a:gd name="connsiteY514" fmla="*/ 3904755 h 4454665"/>
              <a:gd name="connsiteX515" fmla="*/ 10711817 w 12192000"/>
              <a:gd name="connsiteY515" fmla="*/ 3897721 h 4454665"/>
              <a:gd name="connsiteX516" fmla="*/ 10666096 w 12192000"/>
              <a:gd name="connsiteY516" fmla="*/ 3897721 h 4454665"/>
              <a:gd name="connsiteX517" fmla="*/ 10666096 w 12192000"/>
              <a:gd name="connsiteY517" fmla="*/ 3859035 h 4454665"/>
              <a:gd name="connsiteX518" fmla="*/ 10662580 w 12192000"/>
              <a:gd name="connsiteY518" fmla="*/ 3852001 h 4454665"/>
              <a:gd name="connsiteX519" fmla="*/ 10659063 w 12192000"/>
              <a:gd name="connsiteY519" fmla="*/ 3852001 h 4454665"/>
              <a:gd name="connsiteX520" fmla="*/ 10283668 w 12192000"/>
              <a:gd name="connsiteY520" fmla="*/ 3823787 h 4454665"/>
              <a:gd name="connsiteX521" fmla="*/ 10203208 w 12192000"/>
              <a:gd name="connsiteY521" fmla="*/ 3827298 h 4454665"/>
              <a:gd name="connsiteX522" fmla="*/ 10196211 w 12192000"/>
              <a:gd name="connsiteY522" fmla="*/ 3834320 h 4454665"/>
              <a:gd name="connsiteX523" fmla="*/ 10196211 w 12192000"/>
              <a:gd name="connsiteY523" fmla="*/ 4080100 h 4454665"/>
              <a:gd name="connsiteX524" fmla="*/ 10203208 w 12192000"/>
              <a:gd name="connsiteY524" fmla="*/ 4087122 h 4454665"/>
              <a:gd name="connsiteX525" fmla="*/ 10234693 w 12192000"/>
              <a:gd name="connsiteY525" fmla="*/ 4087122 h 4454665"/>
              <a:gd name="connsiteX526" fmla="*/ 10241689 w 12192000"/>
              <a:gd name="connsiteY526" fmla="*/ 4080100 h 4454665"/>
              <a:gd name="connsiteX527" fmla="*/ 10241689 w 12192000"/>
              <a:gd name="connsiteY527" fmla="*/ 3981788 h 4454665"/>
              <a:gd name="connsiteX528" fmla="*/ 10290665 w 12192000"/>
              <a:gd name="connsiteY528" fmla="*/ 3985299 h 4454665"/>
              <a:gd name="connsiteX529" fmla="*/ 10336143 w 12192000"/>
              <a:gd name="connsiteY529" fmla="*/ 4083611 h 4454665"/>
              <a:gd name="connsiteX530" fmla="*/ 10343139 w 12192000"/>
              <a:gd name="connsiteY530" fmla="*/ 4087122 h 4454665"/>
              <a:gd name="connsiteX531" fmla="*/ 10374624 w 12192000"/>
              <a:gd name="connsiteY531" fmla="*/ 4087122 h 4454665"/>
              <a:gd name="connsiteX532" fmla="*/ 10381620 w 12192000"/>
              <a:gd name="connsiteY532" fmla="*/ 4083611 h 4454665"/>
              <a:gd name="connsiteX533" fmla="*/ 10381620 w 12192000"/>
              <a:gd name="connsiteY533" fmla="*/ 4076589 h 4454665"/>
              <a:gd name="connsiteX534" fmla="*/ 10336143 w 12192000"/>
              <a:gd name="connsiteY534" fmla="*/ 3971255 h 4454665"/>
              <a:gd name="connsiteX535" fmla="*/ 10381620 w 12192000"/>
              <a:gd name="connsiteY535" fmla="*/ 3904543 h 4454665"/>
              <a:gd name="connsiteX536" fmla="*/ 10290665 w 12192000"/>
              <a:gd name="connsiteY536" fmla="*/ 3823787 h 4454665"/>
              <a:gd name="connsiteX537" fmla="*/ 10283668 w 12192000"/>
              <a:gd name="connsiteY537" fmla="*/ 3823787 h 4454665"/>
              <a:gd name="connsiteX538" fmla="*/ 11839186 w 12192000"/>
              <a:gd name="connsiteY538" fmla="*/ 3792865 h 4454665"/>
              <a:gd name="connsiteX539" fmla="*/ 11845722 w 12192000"/>
              <a:gd name="connsiteY539" fmla="*/ 3798596 h 4454665"/>
              <a:gd name="connsiteX540" fmla="*/ 11908470 w 12192000"/>
              <a:gd name="connsiteY540" fmla="*/ 4038420 h 4454665"/>
              <a:gd name="connsiteX541" fmla="*/ 11898012 w 12192000"/>
              <a:gd name="connsiteY541" fmla="*/ 4041947 h 4454665"/>
              <a:gd name="connsiteX542" fmla="*/ 11859666 w 12192000"/>
              <a:gd name="connsiteY542" fmla="*/ 4031366 h 4454665"/>
              <a:gd name="connsiteX543" fmla="*/ 11852694 w 12192000"/>
              <a:gd name="connsiteY543" fmla="*/ 4020786 h 4454665"/>
              <a:gd name="connsiteX544" fmla="*/ 11807377 w 12192000"/>
              <a:gd name="connsiteY544" fmla="*/ 3840918 h 4454665"/>
              <a:gd name="connsiteX545" fmla="*/ 11807377 w 12192000"/>
              <a:gd name="connsiteY545" fmla="*/ 3826811 h 4454665"/>
              <a:gd name="connsiteX546" fmla="*/ 11835264 w 12192000"/>
              <a:gd name="connsiteY546" fmla="*/ 3795069 h 4454665"/>
              <a:gd name="connsiteX547" fmla="*/ 11839186 w 12192000"/>
              <a:gd name="connsiteY547" fmla="*/ 3792865 h 4454665"/>
              <a:gd name="connsiteX548" fmla="*/ 11458923 w 12192000"/>
              <a:gd name="connsiteY548" fmla="*/ 3792865 h 4454665"/>
              <a:gd name="connsiteX549" fmla="*/ 11462885 w 12192000"/>
              <a:gd name="connsiteY549" fmla="*/ 3795069 h 4454665"/>
              <a:gd name="connsiteX550" fmla="*/ 11494585 w 12192000"/>
              <a:gd name="connsiteY550" fmla="*/ 3826811 h 4454665"/>
              <a:gd name="connsiteX551" fmla="*/ 11491063 w 12192000"/>
              <a:gd name="connsiteY551" fmla="*/ 3840918 h 4454665"/>
              <a:gd name="connsiteX552" fmla="*/ 11445274 w 12192000"/>
              <a:gd name="connsiteY552" fmla="*/ 4020786 h 4454665"/>
              <a:gd name="connsiteX553" fmla="*/ 11438229 w 12192000"/>
              <a:gd name="connsiteY553" fmla="*/ 4031366 h 4454665"/>
              <a:gd name="connsiteX554" fmla="*/ 11399484 w 12192000"/>
              <a:gd name="connsiteY554" fmla="*/ 4041947 h 4454665"/>
              <a:gd name="connsiteX555" fmla="*/ 11388917 w 12192000"/>
              <a:gd name="connsiteY555" fmla="*/ 4038420 h 4454665"/>
              <a:gd name="connsiteX556" fmla="*/ 11452318 w 12192000"/>
              <a:gd name="connsiteY556" fmla="*/ 3798596 h 4454665"/>
              <a:gd name="connsiteX557" fmla="*/ 11458923 w 12192000"/>
              <a:gd name="connsiteY557" fmla="*/ 3792865 h 4454665"/>
              <a:gd name="connsiteX558" fmla="*/ 11677605 w 12192000"/>
              <a:gd name="connsiteY558" fmla="*/ 3787511 h 4454665"/>
              <a:gd name="connsiteX559" fmla="*/ 11684592 w 12192000"/>
              <a:gd name="connsiteY559" fmla="*/ 3787511 h 4454665"/>
              <a:gd name="connsiteX560" fmla="*/ 11792882 w 12192000"/>
              <a:gd name="connsiteY560" fmla="*/ 3851080 h 4454665"/>
              <a:gd name="connsiteX561" fmla="*/ 11796375 w 12192000"/>
              <a:gd name="connsiteY561" fmla="*/ 3858144 h 4454665"/>
              <a:gd name="connsiteX562" fmla="*/ 11789388 w 12192000"/>
              <a:gd name="connsiteY562" fmla="*/ 3865207 h 4454665"/>
              <a:gd name="connsiteX563" fmla="*/ 11698565 w 12192000"/>
              <a:gd name="connsiteY563" fmla="*/ 3911118 h 4454665"/>
              <a:gd name="connsiteX564" fmla="*/ 11688084 w 12192000"/>
              <a:gd name="connsiteY564" fmla="*/ 3911118 h 4454665"/>
              <a:gd name="connsiteX565" fmla="*/ 11681098 w 12192000"/>
              <a:gd name="connsiteY565" fmla="*/ 3900523 h 4454665"/>
              <a:gd name="connsiteX566" fmla="*/ 11674112 w 12192000"/>
              <a:gd name="connsiteY566" fmla="*/ 3798107 h 4454665"/>
              <a:gd name="connsiteX567" fmla="*/ 11677605 w 12192000"/>
              <a:gd name="connsiteY567" fmla="*/ 3787511 h 4454665"/>
              <a:gd name="connsiteX568" fmla="*/ 11613922 w 12192000"/>
              <a:gd name="connsiteY568" fmla="*/ 3787511 h 4454665"/>
              <a:gd name="connsiteX569" fmla="*/ 11620908 w 12192000"/>
              <a:gd name="connsiteY569" fmla="*/ 3787511 h 4454665"/>
              <a:gd name="connsiteX570" fmla="*/ 11624401 w 12192000"/>
              <a:gd name="connsiteY570" fmla="*/ 3798107 h 4454665"/>
              <a:gd name="connsiteX571" fmla="*/ 11613922 w 12192000"/>
              <a:gd name="connsiteY571" fmla="*/ 3904054 h 4454665"/>
              <a:gd name="connsiteX572" fmla="*/ 11610428 w 12192000"/>
              <a:gd name="connsiteY572" fmla="*/ 3911118 h 4454665"/>
              <a:gd name="connsiteX573" fmla="*/ 11599949 w 12192000"/>
              <a:gd name="connsiteY573" fmla="*/ 3911118 h 4454665"/>
              <a:gd name="connsiteX574" fmla="*/ 11509124 w 12192000"/>
              <a:gd name="connsiteY574" fmla="*/ 3865207 h 4454665"/>
              <a:gd name="connsiteX575" fmla="*/ 11502138 w 12192000"/>
              <a:gd name="connsiteY575" fmla="*/ 3858144 h 4454665"/>
              <a:gd name="connsiteX576" fmla="*/ 11505632 w 12192000"/>
              <a:gd name="connsiteY576" fmla="*/ 3851080 h 4454665"/>
              <a:gd name="connsiteX577" fmla="*/ 11613922 w 12192000"/>
              <a:gd name="connsiteY577" fmla="*/ 3787511 h 4454665"/>
              <a:gd name="connsiteX578" fmla="*/ 11532772 w 12192000"/>
              <a:gd name="connsiteY578" fmla="*/ 3752579 h 4454665"/>
              <a:gd name="connsiteX579" fmla="*/ 11539758 w 12192000"/>
              <a:gd name="connsiteY579" fmla="*/ 3759969 h 4454665"/>
              <a:gd name="connsiteX580" fmla="*/ 11536265 w 12192000"/>
              <a:gd name="connsiteY580" fmla="*/ 3763664 h 4454665"/>
              <a:gd name="connsiteX581" fmla="*/ 11529278 w 12192000"/>
              <a:gd name="connsiteY581" fmla="*/ 3767359 h 4454665"/>
              <a:gd name="connsiteX582" fmla="*/ 11525785 w 12192000"/>
              <a:gd name="connsiteY582" fmla="*/ 3759969 h 4454665"/>
              <a:gd name="connsiteX583" fmla="*/ 11522292 w 12192000"/>
              <a:gd name="connsiteY583" fmla="*/ 3759969 h 4454665"/>
              <a:gd name="connsiteX584" fmla="*/ 11532772 w 12192000"/>
              <a:gd name="connsiteY584" fmla="*/ 3752579 h 4454665"/>
              <a:gd name="connsiteX585" fmla="*/ 11529297 w 12192000"/>
              <a:gd name="connsiteY585" fmla="*/ 3745382 h 4454665"/>
              <a:gd name="connsiteX586" fmla="*/ 11511543 w 12192000"/>
              <a:gd name="connsiteY586" fmla="*/ 3756034 h 4454665"/>
              <a:gd name="connsiteX587" fmla="*/ 11515094 w 12192000"/>
              <a:gd name="connsiteY587" fmla="*/ 3759585 h 4454665"/>
              <a:gd name="connsiteX588" fmla="*/ 11532848 w 12192000"/>
              <a:gd name="connsiteY588" fmla="*/ 3791543 h 4454665"/>
              <a:gd name="connsiteX589" fmla="*/ 11539950 w 12192000"/>
              <a:gd name="connsiteY589" fmla="*/ 3787991 h 4454665"/>
              <a:gd name="connsiteX590" fmla="*/ 11532848 w 12192000"/>
              <a:gd name="connsiteY590" fmla="*/ 3773788 h 4454665"/>
              <a:gd name="connsiteX591" fmla="*/ 11539950 w 12192000"/>
              <a:gd name="connsiteY591" fmla="*/ 3770238 h 4454665"/>
              <a:gd name="connsiteX592" fmla="*/ 11554153 w 12192000"/>
              <a:gd name="connsiteY592" fmla="*/ 3780890 h 4454665"/>
              <a:gd name="connsiteX593" fmla="*/ 11561255 w 12192000"/>
              <a:gd name="connsiteY593" fmla="*/ 3777339 h 4454665"/>
              <a:gd name="connsiteX594" fmla="*/ 11547052 w 12192000"/>
              <a:gd name="connsiteY594" fmla="*/ 3763136 h 4454665"/>
              <a:gd name="connsiteX595" fmla="*/ 11547052 w 12192000"/>
              <a:gd name="connsiteY595" fmla="*/ 3759585 h 4454665"/>
              <a:gd name="connsiteX596" fmla="*/ 11529297 w 12192000"/>
              <a:gd name="connsiteY596" fmla="*/ 3745382 h 4454665"/>
              <a:gd name="connsiteX597" fmla="*/ 11750205 w 12192000"/>
              <a:gd name="connsiteY597" fmla="*/ 3739144 h 4454665"/>
              <a:gd name="connsiteX598" fmla="*/ 11753748 w 12192000"/>
              <a:gd name="connsiteY598" fmla="*/ 3763328 h 4454665"/>
              <a:gd name="connsiteX599" fmla="*/ 11746663 w 12192000"/>
              <a:gd name="connsiteY599" fmla="*/ 3780602 h 4454665"/>
              <a:gd name="connsiteX600" fmla="*/ 11753748 w 12192000"/>
              <a:gd name="connsiteY600" fmla="*/ 3787511 h 4454665"/>
              <a:gd name="connsiteX601" fmla="*/ 11760832 w 12192000"/>
              <a:gd name="connsiteY601" fmla="*/ 3770237 h 4454665"/>
              <a:gd name="connsiteX602" fmla="*/ 11785626 w 12192000"/>
              <a:gd name="connsiteY602" fmla="*/ 3756418 h 4454665"/>
              <a:gd name="connsiteX603" fmla="*/ 11778543 w 12192000"/>
              <a:gd name="connsiteY603" fmla="*/ 3752963 h 4454665"/>
              <a:gd name="connsiteX604" fmla="*/ 11760832 w 12192000"/>
              <a:gd name="connsiteY604" fmla="*/ 3759873 h 4454665"/>
              <a:gd name="connsiteX605" fmla="*/ 11757290 w 12192000"/>
              <a:gd name="connsiteY605" fmla="*/ 3742598 h 4454665"/>
              <a:gd name="connsiteX606" fmla="*/ 11750205 w 12192000"/>
              <a:gd name="connsiteY606" fmla="*/ 3739144 h 4454665"/>
              <a:gd name="connsiteX607" fmla="*/ 11715224 w 12192000"/>
              <a:gd name="connsiteY607" fmla="*/ 3735114 h 4454665"/>
              <a:gd name="connsiteX608" fmla="*/ 11725705 w 12192000"/>
              <a:gd name="connsiteY608" fmla="*/ 3738473 h 4454665"/>
              <a:gd name="connsiteX609" fmla="*/ 11729197 w 12192000"/>
              <a:gd name="connsiteY609" fmla="*/ 3741832 h 4454665"/>
              <a:gd name="connsiteX610" fmla="*/ 11722211 w 12192000"/>
              <a:gd name="connsiteY610" fmla="*/ 3748549 h 4454665"/>
              <a:gd name="connsiteX611" fmla="*/ 11711731 w 12192000"/>
              <a:gd name="connsiteY611" fmla="*/ 3745190 h 4454665"/>
              <a:gd name="connsiteX612" fmla="*/ 11711731 w 12192000"/>
              <a:gd name="connsiteY612" fmla="*/ 3741832 h 4454665"/>
              <a:gd name="connsiteX613" fmla="*/ 11715224 w 12192000"/>
              <a:gd name="connsiteY613" fmla="*/ 3735114 h 4454665"/>
              <a:gd name="connsiteX614" fmla="*/ 11582079 w 12192000"/>
              <a:gd name="connsiteY614" fmla="*/ 3734609 h 4454665"/>
              <a:gd name="connsiteX615" fmla="*/ 11596187 w 12192000"/>
              <a:gd name="connsiteY615" fmla="*/ 3745190 h 4454665"/>
              <a:gd name="connsiteX616" fmla="*/ 11582079 w 12192000"/>
              <a:gd name="connsiteY616" fmla="*/ 3759297 h 4454665"/>
              <a:gd name="connsiteX617" fmla="*/ 11567972 w 12192000"/>
              <a:gd name="connsiteY617" fmla="*/ 3748717 h 4454665"/>
              <a:gd name="connsiteX618" fmla="*/ 11567972 w 12192000"/>
              <a:gd name="connsiteY618" fmla="*/ 3745190 h 4454665"/>
              <a:gd name="connsiteX619" fmla="*/ 11582079 w 12192000"/>
              <a:gd name="connsiteY619" fmla="*/ 3734609 h 4454665"/>
              <a:gd name="connsiteX620" fmla="*/ 11670081 w 12192000"/>
              <a:gd name="connsiteY620" fmla="*/ 3728395 h 4454665"/>
              <a:gd name="connsiteX621" fmla="*/ 11673440 w 12192000"/>
              <a:gd name="connsiteY621" fmla="*/ 3738875 h 4454665"/>
              <a:gd name="connsiteX622" fmla="*/ 11676799 w 12192000"/>
              <a:gd name="connsiteY622" fmla="*/ 3745862 h 4454665"/>
              <a:gd name="connsiteX623" fmla="*/ 11663363 w 12192000"/>
              <a:gd name="connsiteY623" fmla="*/ 3745862 h 4454665"/>
              <a:gd name="connsiteX624" fmla="*/ 11666722 w 12192000"/>
              <a:gd name="connsiteY624" fmla="*/ 3738875 h 4454665"/>
              <a:gd name="connsiteX625" fmla="*/ 11670081 w 12192000"/>
              <a:gd name="connsiteY625" fmla="*/ 3728395 h 4454665"/>
              <a:gd name="connsiteX626" fmla="*/ 11578609 w 12192000"/>
              <a:gd name="connsiteY626" fmla="*/ 3727879 h 4454665"/>
              <a:gd name="connsiteX627" fmla="*/ 11561254 w 12192000"/>
              <a:gd name="connsiteY627" fmla="*/ 3745449 h 4454665"/>
              <a:gd name="connsiteX628" fmla="*/ 11561254 w 12192000"/>
              <a:gd name="connsiteY628" fmla="*/ 3748962 h 4454665"/>
              <a:gd name="connsiteX629" fmla="*/ 11582079 w 12192000"/>
              <a:gd name="connsiteY629" fmla="*/ 3766532 h 4454665"/>
              <a:gd name="connsiteX630" fmla="*/ 11602904 w 12192000"/>
              <a:gd name="connsiteY630" fmla="*/ 3745449 h 4454665"/>
              <a:gd name="connsiteX631" fmla="*/ 11578609 w 12192000"/>
              <a:gd name="connsiteY631" fmla="*/ 3727879 h 4454665"/>
              <a:gd name="connsiteX632" fmla="*/ 11708922 w 12192000"/>
              <a:gd name="connsiteY632" fmla="*/ 3724365 h 4454665"/>
              <a:gd name="connsiteX633" fmla="*/ 11705380 w 12192000"/>
              <a:gd name="connsiteY633" fmla="*/ 3742119 h 4454665"/>
              <a:gd name="connsiteX634" fmla="*/ 11698296 w 12192000"/>
              <a:gd name="connsiteY634" fmla="*/ 3763424 h 4454665"/>
              <a:gd name="connsiteX635" fmla="*/ 11708922 w 12192000"/>
              <a:gd name="connsiteY635" fmla="*/ 3766975 h 4454665"/>
              <a:gd name="connsiteX636" fmla="*/ 11712464 w 12192000"/>
              <a:gd name="connsiteY636" fmla="*/ 3752772 h 4454665"/>
              <a:gd name="connsiteX637" fmla="*/ 11719548 w 12192000"/>
              <a:gd name="connsiteY637" fmla="*/ 3752772 h 4454665"/>
              <a:gd name="connsiteX638" fmla="*/ 11723090 w 12192000"/>
              <a:gd name="connsiteY638" fmla="*/ 3770526 h 4454665"/>
              <a:gd name="connsiteX639" fmla="*/ 11730175 w 12192000"/>
              <a:gd name="connsiteY639" fmla="*/ 3774077 h 4454665"/>
              <a:gd name="connsiteX640" fmla="*/ 11726632 w 12192000"/>
              <a:gd name="connsiteY640" fmla="*/ 3756323 h 4454665"/>
              <a:gd name="connsiteX641" fmla="*/ 11737259 w 12192000"/>
              <a:gd name="connsiteY641" fmla="*/ 3742119 h 4454665"/>
              <a:gd name="connsiteX642" fmla="*/ 11730175 w 12192000"/>
              <a:gd name="connsiteY642" fmla="*/ 3731467 h 4454665"/>
              <a:gd name="connsiteX643" fmla="*/ 11708922 w 12192000"/>
              <a:gd name="connsiteY643" fmla="*/ 3724365 h 4454665"/>
              <a:gd name="connsiteX644" fmla="*/ 11666295 w 12192000"/>
              <a:gd name="connsiteY644" fmla="*/ 3717647 h 4454665"/>
              <a:gd name="connsiteX645" fmla="*/ 11659211 w 12192000"/>
              <a:gd name="connsiteY645" fmla="*/ 3738731 h 4454665"/>
              <a:gd name="connsiteX646" fmla="*/ 11648585 w 12192000"/>
              <a:gd name="connsiteY646" fmla="*/ 3759814 h 4454665"/>
              <a:gd name="connsiteX647" fmla="*/ 11655669 w 12192000"/>
              <a:gd name="connsiteY647" fmla="*/ 3759814 h 4454665"/>
              <a:gd name="connsiteX648" fmla="*/ 11659211 w 12192000"/>
              <a:gd name="connsiteY648" fmla="*/ 3752786 h 4454665"/>
              <a:gd name="connsiteX649" fmla="*/ 11676922 w 12192000"/>
              <a:gd name="connsiteY649" fmla="*/ 3752786 h 4454665"/>
              <a:gd name="connsiteX650" fmla="*/ 11680464 w 12192000"/>
              <a:gd name="connsiteY650" fmla="*/ 3759814 h 4454665"/>
              <a:gd name="connsiteX651" fmla="*/ 11687548 w 12192000"/>
              <a:gd name="connsiteY651" fmla="*/ 3763328 h 4454665"/>
              <a:gd name="connsiteX652" fmla="*/ 11680464 w 12192000"/>
              <a:gd name="connsiteY652" fmla="*/ 3738731 h 4454665"/>
              <a:gd name="connsiteX653" fmla="*/ 11676922 w 12192000"/>
              <a:gd name="connsiteY653" fmla="*/ 3717647 h 4454665"/>
              <a:gd name="connsiteX654" fmla="*/ 11666295 w 12192000"/>
              <a:gd name="connsiteY654" fmla="*/ 3717647 h 4454665"/>
              <a:gd name="connsiteX655" fmla="*/ 11645898 w 12192000"/>
              <a:gd name="connsiteY655" fmla="*/ 3717647 h 4454665"/>
              <a:gd name="connsiteX656" fmla="*/ 11606934 w 12192000"/>
              <a:gd name="connsiteY656" fmla="*/ 3721118 h 4454665"/>
              <a:gd name="connsiteX657" fmla="*/ 11606934 w 12192000"/>
              <a:gd name="connsiteY657" fmla="*/ 3728059 h 4454665"/>
              <a:gd name="connsiteX658" fmla="*/ 11621103 w 12192000"/>
              <a:gd name="connsiteY658" fmla="*/ 3724589 h 4454665"/>
              <a:gd name="connsiteX659" fmla="*/ 11624645 w 12192000"/>
              <a:gd name="connsiteY659" fmla="*/ 3759297 h 4454665"/>
              <a:gd name="connsiteX660" fmla="*/ 11635271 w 12192000"/>
              <a:gd name="connsiteY660" fmla="*/ 3759297 h 4454665"/>
              <a:gd name="connsiteX661" fmla="*/ 11631729 w 12192000"/>
              <a:gd name="connsiteY661" fmla="*/ 3724589 h 4454665"/>
              <a:gd name="connsiteX662" fmla="*/ 11645898 w 12192000"/>
              <a:gd name="connsiteY662" fmla="*/ 3724589 h 4454665"/>
              <a:gd name="connsiteX663" fmla="*/ 11645898 w 12192000"/>
              <a:gd name="connsiteY663" fmla="*/ 3717647 h 4454665"/>
              <a:gd name="connsiteX664" fmla="*/ 11196257 w 12192000"/>
              <a:gd name="connsiteY664" fmla="*/ 3717646 h 4454665"/>
              <a:gd name="connsiteX665" fmla="*/ 11221336 w 12192000"/>
              <a:gd name="connsiteY665" fmla="*/ 3752578 h 4454665"/>
              <a:gd name="connsiteX666" fmla="*/ 11167595 w 12192000"/>
              <a:gd name="connsiteY666" fmla="*/ 3752578 h 4454665"/>
              <a:gd name="connsiteX667" fmla="*/ 11196257 w 12192000"/>
              <a:gd name="connsiteY667" fmla="*/ 3717646 h 4454665"/>
              <a:gd name="connsiteX668" fmla="*/ 11648585 w 12192000"/>
              <a:gd name="connsiteY668" fmla="*/ 3710930 h 4454665"/>
              <a:gd name="connsiteX669" fmla="*/ 11813539 w 12192000"/>
              <a:gd name="connsiteY669" fmla="*/ 3766821 h 4454665"/>
              <a:gd name="connsiteX670" fmla="*/ 11817049 w 12192000"/>
              <a:gd name="connsiteY670" fmla="*/ 3780794 h 4454665"/>
              <a:gd name="connsiteX671" fmla="*/ 11788972 w 12192000"/>
              <a:gd name="connsiteY671" fmla="*/ 3812234 h 4454665"/>
              <a:gd name="connsiteX672" fmla="*/ 11774933 w 12192000"/>
              <a:gd name="connsiteY672" fmla="*/ 3812234 h 4454665"/>
              <a:gd name="connsiteX673" fmla="*/ 11648585 w 12192000"/>
              <a:gd name="connsiteY673" fmla="*/ 3766821 h 4454665"/>
              <a:gd name="connsiteX674" fmla="*/ 11522236 w 12192000"/>
              <a:gd name="connsiteY674" fmla="*/ 3812234 h 4454665"/>
              <a:gd name="connsiteX675" fmla="*/ 11508198 w 12192000"/>
              <a:gd name="connsiteY675" fmla="*/ 3812234 h 4454665"/>
              <a:gd name="connsiteX676" fmla="*/ 11480121 w 12192000"/>
              <a:gd name="connsiteY676" fmla="*/ 3780794 h 4454665"/>
              <a:gd name="connsiteX677" fmla="*/ 11483630 w 12192000"/>
              <a:gd name="connsiteY677" fmla="*/ 3766821 h 4454665"/>
              <a:gd name="connsiteX678" fmla="*/ 11648585 w 12192000"/>
              <a:gd name="connsiteY678" fmla="*/ 3710930 h 4454665"/>
              <a:gd name="connsiteX679" fmla="*/ 11196481 w 12192000"/>
              <a:gd name="connsiteY679" fmla="*/ 3710929 h 4454665"/>
              <a:gd name="connsiteX680" fmla="*/ 11158189 w 12192000"/>
              <a:gd name="connsiteY680" fmla="*/ 3759969 h 4454665"/>
              <a:gd name="connsiteX681" fmla="*/ 11199962 w 12192000"/>
              <a:gd name="connsiteY681" fmla="*/ 3809008 h 4454665"/>
              <a:gd name="connsiteX682" fmla="*/ 11227810 w 12192000"/>
              <a:gd name="connsiteY682" fmla="*/ 3802002 h 4454665"/>
              <a:gd name="connsiteX683" fmla="*/ 11227810 w 12192000"/>
              <a:gd name="connsiteY683" fmla="*/ 3791494 h 4454665"/>
              <a:gd name="connsiteX684" fmla="*/ 11199962 w 12192000"/>
              <a:gd name="connsiteY684" fmla="*/ 3798499 h 4454665"/>
              <a:gd name="connsiteX685" fmla="*/ 11168632 w 12192000"/>
              <a:gd name="connsiteY685" fmla="*/ 3763472 h 4454665"/>
              <a:gd name="connsiteX686" fmla="*/ 11234772 w 12192000"/>
              <a:gd name="connsiteY686" fmla="*/ 3763472 h 4454665"/>
              <a:gd name="connsiteX687" fmla="*/ 11234772 w 12192000"/>
              <a:gd name="connsiteY687" fmla="*/ 3756466 h 4454665"/>
              <a:gd name="connsiteX688" fmla="*/ 11196481 w 12192000"/>
              <a:gd name="connsiteY688" fmla="*/ 3710929 h 4454665"/>
              <a:gd name="connsiteX689" fmla="*/ 10947253 w 12192000"/>
              <a:gd name="connsiteY689" fmla="*/ 3674653 h 4454665"/>
              <a:gd name="connsiteX690" fmla="*/ 10947253 w 12192000"/>
              <a:gd name="connsiteY690" fmla="*/ 3685401 h 4454665"/>
              <a:gd name="connsiteX691" fmla="*/ 10986216 w 12192000"/>
              <a:gd name="connsiteY691" fmla="*/ 3685401 h 4454665"/>
              <a:gd name="connsiteX692" fmla="*/ 10986216 w 12192000"/>
              <a:gd name="connsiteY692" fmla="*/ 3804977 h 4454665"/>
              <a:gd name="connsiteX693" fmla="*/ 10999652 w 12192000"/>
              <a:gd name="connsiteY693" fmla="*/ 3804977 h 4454665"/>
              <a:gd name="connsiteX694" fmla="*/ 10999652 w 12192000"/>
              <a:gd name="connsiteY694" fmla="*/ 3685401 h 4454665"/>
              <a:gd name="connsiteX695" fmla="*/ 11038614 w 12192000"/>
              <a:gd name="connsiteY695" fmla="*/ 3685401 h 4454665"/>
              <a:gd name="connsiteX696" fmla="*/ 11038614 w 12192000"/>
              <a:gd name="connsiteY696" fmla="*/ 3674653 h 4454665"/>
              <a:gd name="connsiteX697" fmla="*/ 11060111 w 12192000"/>
              <a:gd name="connsiteY697" fmla="*/ 3663904 h 4454665"/>
              <a:gd name="connsiteX698" fmla="*/ 11060111 w 12192000"/>
              <a:gd name="connsiteY698" fmla="*/ 3804977 h 4454665"/>
              <a:gd name="connsiteX699" fmla="*/ 11070476 w 12192000"/>
              <a:gd name="connsiteY699" fmla="*/ 3804977 h 4454665"/>
              <a:gd name="connsiteX700" fmla="*/ 11070476 w 12192000"/>
              <a:gd name="connsiteY700" fmla="*/ 3755601 h 4454665"/>
              <a:gd name="connsiteX701" fmla="*/ 11098115 w 12192000"/>
              <a:gd name="connsiteY701" fmla="*/ 3716807 h 4454665"/>
              <a:gd name="connsiteX702" fmla="*/ 11118844 w 12192000"/>
              <a:gd name="connsiteY702" fmla="*/ 3748548 h 4454665"/>
              <a:gd name="connsiteX703" fmla="*/ 11118844 w 12192000"/>
              <a:gd name="connsiteY703" fmla="*/ 3804977 h 4454665"/>
              <a:gd name="connsiteX704" fmla="*/ 11132662 w 12192000"/>
              <a:gd name="connsiteY704" fmla="*/ 3804977 h 4454665"/>
              <a:gd name="connsiteX705" fmla="*/ 11132662 w 12192000"/>
              <a:gd name="connsiteY705" fmla="*/ 3748548 h 4454665"/>
              <a:gd name="connsiteX706" fmla="*/ 11101569 w 12192000"/>
              <a:gd name="connsiteY706" fmla="*/ 3709753 h 4454665"/>
              <a:gd name="connsiteX707" fmla="*/ 11070476 w 12192000"/>
              <a:gd name="connsiteY707" fmla="*/ 3727387 h 4454665"/>
              <a:gd name="connsiteX708" fmla="*/ 11070476 w 12192000"/>
              <a:gd name="connsiteY708" fmla="*/ 3663904 h 4454665"/>
              <a:gd name="connsiteX709" fmla="*/ 11060111 w 12192000"/>
              <a:gd name="connsiteY709" fmla="*/ 3663904 h 4454665"/>
              <a:gd name="connsiteX710" fmla="*/ 11638739 w 12192000"/>
              <a:gd name="connsiteY710" fmla="*/ 3639721 h 4454665"/>
              <a:gd name="connsiteX711" fmla="*/ 11624716 w 12192000"/>
              <a:gd name="connsiteY711" fmla="*/ 3692584 h 4454665"/>
              <a:gd name="connsiteX712" fmla="*/ 11600176 w 12192000"/>
              <a:gd name="connsiteY712" fmla="*/ 3696108 h 4454665"/>
              <a:gd name="connsiteX713" fmla="*/ 11575635 w 12192000"/>
              <a:gd name="connsiteY713" fmla="*/ 3650294 h 4454665"/>
              <a:gd name="connsiteX714" fmla="*/ 11572129 w 12192000"/>
              <a:gd name="connsiteY714" fmla="*/ 3650294 h 4454665"/>
              <a:gd name="connsiteX715" fmla="*/ 11551094 w 12192000"/>
              <a:gd name="connsiteY715" fmla="*/ 3653818 h 4454665"/>
              <a:gd name="connsiteX716" fmla="*/ 11551094 w 12192000"/>
              <a:gd name="connsiteY716" fmla="*/ 3657342 h 4454665"/>
              <a:gd name="connsiteX717" fmla="*/ 11547588 w 12192000"/>
              <a:gd name="connsiteY717" fmla="*/ 3682011 h 4454665"/>
              <a:gd name="connsiteX718" fmla="*/ 11551094 w 12192000"/>
              <a:gd name="connsiteY718" fmla="*/ 3710205 h 4454665"/>
              <a:gd name="connsiteX719" fmla="*/ 11530059 w 12192000"/>
              <a:gd name="connsiteY719" fmla="*/ 3717253 h 4454665"/>
              <a:gd name="connsiteX720" fmla="*/ 11491495 w 12192000"/>
              <a:gd name="connsiteY720" fmla="*/ 3682011 h 4454665"/>
              <a:gd name="connsiteX721" fmla="*/ 11470460 w 12192000"/>
              <a:gd name="connsiteY721" fmla="*/ 3692584 h 4454665"/>
              <a:gd name="connsiteX722" fmla="*/ 11484484 w 12192000"/>
              <a:gd name="connsiteY722" fmla="*/ 3745446 h 4454665"/>
              <a:gd name="connsiteX723" fmla="*/ 11466954 w 12192000"/>
              <a:gd name="connsiteY723" fmla="*/ 3756019 h 4454665"/>
              <a:gd name="connsiteX724" fmla="*/ 11421379 w 12192000"/>
              <a:gd name="connsiteY724" fmla="*/ 3731350 h 4454665"/>
              <a:gd name="connsiteX725" fmla="*/ 11403850 w 12192000"/>
              <a:gd name="connsiteY725" fmla="*/ 3745446 h 4454665"/>
              <a:gd name="connsiteX726" fmla="*/ 11403850 w 12192000"/>
              <a:gd name="connsiteY726" fmla="*/ 3748970 h 4454665"/>
              <a:gd name="connsiteX727" fmla="*/ 11431896 w 12192000"/>
              <a:gd name="connsiteY727" fmla="*/ 3794785 h 4454665"/>
              <a:gd name="connsiteX728" fmla="*/ 11417873 w 12192000"/>
              <a:gd name="connsiteY728" fmla="*/ 3812406 h 4454665"/>
              <a:gd name="connsiteX729" fmla="*/ 11365286 w 12192000"/>
              <a:gd name="connsiteY729" fmla="*/ 3798309 h 4454665"/>
              <a:gd name="connsiteX730" fmla="*/ 11354768 w 12192000"/>
              <a:gd name="connsiteY730" fmla="*/ 3819454 h 4454665"/>
              <a:gd name="connsiteX731" fmla="*/ 11389827 w 12192000"/>
              <a:gd name="connsiteY731" fmla="*/ 3858221 h 4454665"/>
              <a:gd name="connsiteX732" fmla="*/ 11382815 w 12192000"/>
              <a:gd name="connsiteY732" fmla="*/ 3879365 h 4454665"/>
              <a:gd name="connsiteX733" fmla="*/ 11330228 w 12192000"/>
              <a:gd name="connsiteY733" fmla="*/ 3879365 h 4454665"/>
              <a:gd name="connsiteX734" fmla="*/ 11323216 w 12192000"/>
              <a:gd name="connsiteY734" fmla="*/ 3900510 h 4454665"/>
              <a:gd name="connsiteX735" fmla="*/ 11368791 w 12192000"/>
              <a:gd name="connsiteY735" fmla="*/ 3928704 h 4454665"/>
              <a:gd name="connsiteX736" fmla="*/ 11365286 w 12192000"/>
              <a:gd name="connsiteY736" fmla="*/ 3949848 h 4454665"/>
              <a:gd name="connsiteX737" fmla="*/ 11316205 w 12192000"/>
              <a:gd name="connsiteY737" fmla="*/ 3963946 h 4454665"/>
              <a:gd name="connsiteX738" fmla="*/ 11312698 w 12192000"/>
              <a:gd name="connsiteY738" fmla="*/ 3963946 h 4454665"/>
              <a:gd name="connsiteX739" fmla="*/ 11312698 w 12192000"/>
              <a:gd name="connsiteY739" fmla="*/ 3978042 h 4454665"/>
              <a:gd name="connsiteX740" fmla="*/ 11312698 w 12192000"/>
              <a:gd name="connsiteY740" fmla="*/ 3988615 h 4454665"/>
              <a:gd name="connsiteX741" fmla="*/ 11316205 w 12192000"/>
              <a:gd name="connsiteY741" fmla="*/ 3988615 h 4454665"/>
              <a:gd name="connsiteX742" fmla="*/ 11365286 w 12192000"/>
              <a:gd name="connsiteY742" fmla="*/ 4002712 h 4454665"/>
              <a:gd name="connsiteX743" fmla="*/ 11368791 w 12192000"/>
              <a:gd name="connsiteY743" fmla="*/ 4023857 h 4454665"/>
              <a:gd name="connsiteX744" fmla="*/ 11323216 w 12192000"/>
              <a:gd name="connsiteY744" fmla="*/ 4052050 h 4454665"/>
              <a:gd name="connsiteX745" fmla="*/ 11323216 w 12192000"/>
              <a:gd name="connsiteY745" fmla="*/ 4055574 h 4454665"/>
              <a:gd name="connsiteX746" fmla="*/ 11330228 w 12192000"/>
              <a:gd name="connsiteY746" fmla="*/ 4076719 h 4454665"/>
              <a:gd name="connsiteX747" fmla="*/ 11382815 w 12192000"/>
              <a:gd name="connsiteY747" fmla="*/ 4076719 h 4454665"/>
              <a:gd name="connsiteX748" fmla="*/ 11393332 w 12192000"/>
              <a:gd name="connsiteY748" fmla="*/ 4097865 h 4454665"/>
              <a:gd name="connsiteX749" fmla="*/ 11354768 w 12192000"/>
              <a:gd name="connsiteY749" fmla="*/ 4133106 h 4454665"/>
              <a:gd name="connsiteX750" fmla="*/ 11354768 w 12192000"/>
              <a:gd name="connsiteY750" fmla="*/ 4136630 h 4454665"/>
              <a:gd name="connsiteX751" fmla="*/ 11365286 w 12192000"/>
              <a:gd name="connsiteY751" fmla="*/ 4154251 h 4454665"/>
              <a:gd name="connsiteX752" fmla="*/ 11417873 w 12192000"/>
              <a:gd name="connsiteY752" fmla="*/ 4140154 h 4454665"/>
              <a:gd name="connsiteX753" fmla="*/ 11431896 w 12192000"/>
              <a:gd name="connsiteY753" fmla="*/ 4161300 h 4454665"/>
              <a:gd name="connsiteX754" fmla="*/ 11403850 w 12192000"/>
              <a:gd name="connsiteY754" fmla="*/ 4207114 h 4454665"/>
              <a:gd name="connsiteX755" fmla="*/ 11421379 w 12192000"/>
              <a:gd name="connsiteY755" fmla="*/ 4221210 h 4454665"/>
              <a:gd name="connsiteX756" fmla="*/ 11466954 w 12192000"/>
              <a:gd name="connsiteY756" fmla="*/ 4196542 h 4454665"/>
              <a:gd name="connsiteX757" fmla="*/ 11484484 w 12192000"/>
              <a:gd name="connsiteY757" fmla="*/ 4210638 h 4454665"/>
              <a:gd name="connsiteX758" fmla="*/ 11473966 w 12192000"/>
              <a:gd name="connsiteY758" fmla="*/ 4259976 h 4454665"/>
              <a:gd name="connsiteX759" fmla="*/ 11473966 w 12192000"/>
              <a:gd name="connsiteY759" fmla="*/ 4263501 h 4454665"/>
              <a:gd name="connsiteX760" fmla="*/ 11491495 w 12192000"/>
              <a:gd name="connsiteY760" fmla="*/ 4274073 h 4454665"/>
              <a:gd name="connsiteX761" fmla="*/ 11495001 w 12192000"/>
              <a:gd name="connsiteY761" fmla="*/ 4274073 h 4454665"/>
              <a:gd name="connsiteX762" fmla="*/ 11530059 w 12192000"/>
              <a:gd name="connsiteY762" fmla="*/ 4235307 h 4454665"/>
              <a:gd name="connsiteX763" fmla="*/ 11551094 w 12192000"/>
              <a:gd name="connsiteY763" fmla="*/ 4245880 h 4454665"/>
              <a:gd name="connsiteX764" fmla="*/ 11547588 w 12192000"/>
              <a:gd name="connsiteY764" fmla="*/ 4270549 h 4454665"/>
              <a:gd name="connsiteX765" fmla="*/ 11551094 w 12192000"/>
              <a:gd name="connsiteY765" fmla="*/ 4298743 h 4454665"/>
              <a:gd name="connsiteX766" fmla="*/ 11572129 w 12192000"/>
              <a:gd name="connsiteY766" fmla="*/ 4305791 h 4454665"/>
              <a:gd name="connsiteX767" fmla="*/ 11575635 w 12192000"/>
              <a:gd name="connsiteY767" fmla="*/ 4305791 h 4454665"/>
              <a:gd name="connsiteX768" fmla="*/ 11600176 w 12192000"/>
              <a:gd name="connsiteY768" fmla="*/ 4259976 h 4454665"/>
              <a:gd name="connsiteX769" fmla="*/ 11624716 w 12192000"/>
              <a:gd name="connsiteY769" fmla="*/ 4259976 h 4454665"/>
              <a:gd name="connsiteX770" fmla="*/ 11638739 w 12192000"/>
              <a:gd name="connsiteY770" fmla="*/ 4312839 h 4454665"/>
              <a:gd name="connsiteX771" fmla="*/ 11659774 w 12192000"/>
              <a:gd name="connsiteY771" fmla="*/ 4312839 h 4454665"/>
              <a:gd name="connsiteX772" fmla="*/ 11663280 w 12192000"/>
              <a:gd name="connsiteY772" fmla="*/ 4312839 h 4454665"/>
              <a:gd name="connsiteX773" fmla="*/ 11677303 w 12192000"/>
              <a:gd name="connsiteY773" fmla="*/ 4259976 h 4454665"/>
              <a:gd name="connsiteX774" fmla="*/ 11698339 w 12192000"/>
              <a:gd name="connsiteY774" fmla="*/ 4259976 h 4454665"/>
              <a:gd name="connsiteX775" fmla="*/ 11722879 w 12192000"/>
              <a:gd name="connsiteY775" fmla="*/ 4305791 h 4454665"/>
              <a:gd name="connsiteX776" fmla="*/ 11726385 w 12192000"/>
              <a:gd name="connsiteY776" fmla="*/ 4305791 h 4454665"/>
              <a:gd name="connsiteX777" fmla="*/ 11747420 w 12192000"/>
              <a:gd name="connsiteY777" fmla="*/ 4298743 h 4454665"/>
              <a:gd name="connsiteX778" fmla="*/ 11750925 w 12192000"/>
              <a:gd name="connsiteY778" fmla="*/ 4270549 h 4454665"/>
              <a:gd name="connsiteX779" fmla="*/ 11747420 w 12192000"/>
              <a:gd name="connsiteY779" fmla="*/ 4245880 h 4454665"/>
              <a:gd name="connsiteX780" fmla="*/ 11768454 w 12192000"/>
              <a:gd name="connsiteY780" fmla="*/ 4235307 h 4454665"/>
              <a:gd name="connsiteX781" fmla="*/ 11807019 w 12192000"/>
              <a:gd name="connsiteY781" fmla="*/ 4274073 h 4454665"/>
              <a:gd name="connsiteX782" fmla="*/ 11824547 w 12192000"/>
              <a:gd name="connsiteY782" fmla="*/ 4263501 h 4454665"/>
              <a:gd name="connsiteX783" fmla="*/ 11828054 w 12192000"/>
              <a:gd name="connsiteY783" fmla="*/ 4263501 h 4454665"/>
              <a:gd name="connsiteX784" fmla="*/ 11828054 w 12192000"/>
              <a:gd name="connsiteY784" fmla="*/ 4259976 h 4454665"/>
              <a:gd name="connsiteX785" fmla="*/ 11814030 w 12192000"/>
              <a:gd name="connsiteY785" fmla="*/ 4210638 h 4454665"/>
              <a:gd name="connsiteX786" fmla="*/ 11831559 w 12192000"/>
              <a:gd name="connsiteY786" fmla="*/ 4196542 h 4454665"/>
              <a:gd name="connsiteX787" fmla="*/ 11877135 w 12192000"/>
              <a:gd name="connsiteY787" fmla="*/ 4221210 h 4454665"/>
              <a:gd name="connsiteX788" fmla="*/ 11894664 w 12192000"/>
              <a:gd name="connsiteY788" fmla="*/ 4207114 h 4454665"/>
              <a:gd name="connsiteX789" fmla="*/ 11894664 w 12192000"/>
              <a:gd name="connsiteY789" fmla="*/ 4203590 h 4454665"/>
              <a:gd name="connsiteX790" fmla="*/ 11866617 w 12192000"/>
              <a:gd name="connsiteY790" fmla="*/ 4157775 h 4454665"/>
              <a:gd name="connsiteX791" fmla="*/ 11880641 w 12192000"/>
              <a:gd name="connsiteY791" fmla="*/ 4140154 h 4454665"/>
              <a:gd name="connsiteX792" fmla="*/ 11933228 w 12192000"/>
              <a:gd name="connsiteY792" fmla="*/ 4154251 h 4454665"/>
              <a:gd name="connsiteX793" fmla="*/ 11943746 w 12192000"/>
              <a:gd name="connsiteY793" fmla="*/ 4136630 h 4454665"/>
              <a:gd name="connsiteX794" fmla="*/ 11943746 w 12192000"/>
              <a:gd name="connsiteY794" fmla="*/ 4133106 h 4454665"/>
              <a:gd name="connsiteX795" fmla="*/ 11908688 w 12192000"/>
              <a:gd name="connsiteY795" fmla="*/ 4094340 h 4454665"/>
              <a:gd name="connsiteX796" fmla="*/ 11915699 w 12192000"/>
              <a:gd name="connsiteY796" fmla="*/ 4076719 h 4454665"/>
              <a:gd name="connsiteX797" fmla="*/ 11968286 w 12192000"/>
              <a:gd name="connsiteY797" fmla="*/ 4076719 h 4454665"/>
              <a:gd name="connsiteX798" fmla="*/ 11968286 w 12192000"/>
              <a:gd name="connsiteY798" fmla="*/ 4073195 h 4454665"/>
              <a:gd name="connsiteX799" fmla="*/ 11975298 w 12192000"/>
              <a:gd name="connsiteY799" fmla="*/ 4052050 h 4454665"/>
              <a:gd name="connsiteX800" fmla="*/ 11929722 w 12192000"/>
              <a:gd name="connsiteY800" fmla="*/ 4023857 h 4454665"/>
              <a:gd name="connsiteX801" fmla="*/ 11933228 w 12192000"/>
              <a:gd name="connsiteY801" fmla="*/ 4002712 h 4454665"/>
              <a:gd name="connsiteX802" fmla="*/ 11982310 w 12192000"/>
              <a:gd name="connsiteY802" fmla="*/ 3988615 h 4454665"/>
              <a:gd name="connsiteX803" fmla="*/ 11985815 w 12192000"/>
              <a:gd name="connsiteY803" fmla="*/ 3978042 h 4454665"/>
              <a:gd name="connsiteX804" fmla="*/ 11982310 w 12192000"/>
              <a:gd name="connsiteY804" fmla="*/ 3967470 h 4454665"/>
              <a:gd name="connsiteX805" fmla="*/ 11982310 w 12192000"/>
              <a:gd name="connsiteY805" fmla="*/ 3963946 h 4454665"/>
              <a:gd name="connsiteX806" fmla="*/ 11933228 w 12192000"/>
              <a:gd name="connsiteY806" fmla="*/ 3949848 h 4454665"/>
              <a:gd name="connsiteX807" fmla="*/ 11929722 w 12192000"/>
              <a:gd name="connsiteY807" fmla="*/ 3928704 h 4454665"/>
              <a:gd name="connsiteX808" fmla="*/ 11975298 w 12192000"/>
              <a:gd name="connsiteY808" fmla="*/ 3904035 h 4454665"/>
              <a:gd name="connsiteX809" fmla="*/ 11975298 w 12192000"/>
              <a:gd name="connsiteY809" fmla="*/ 3900510 h 4454665"/>
              <a:gd name="connsiteX810" fmla="*/ 11968286 w 12192000"/>
              <a:gd name="connsiteY810" fmla="*/ 3879365 h 4454665"/>
              <a:gd name="connsiteX811" fmla="*/ 11915699 w 12192000"/>
              <a:gd name="connsiteY811" fmla="*/ 3879365 h 4454665"/>
              <a:gd name="connsiteX812" fmla="*/ 11908688 w 12192000"/>
              <a:gd name="connsiteY812" fmla="*/ 3858221 h 4454665"/>
              <a:gd name="connsiteX813" fmla="*/ 11943746 w 12192000"/>
              <a:gd name="connsiteY813" fmla="*/ 3819454 h 4454665"/>
              <a:gd name="connsiteX814" fmla="*/ 11933228 w 12192000"/>
              <a:gd name="connsiteY814" fmla="*/ 3801833 h 4454665"/>
              <a:gd name="connsiteX815" fmla="*/ 11933228 w 12192000"/>
              <a:gd name="connsiteY815" fmla="*/ 3798309 h 4454665"/>
              <a:gd name="connsiteX816" fmla="*/ 11880641 w 12192000"/>
              <a:gd name="connsiteY816" fmla="*/ 3812406 h 4454665"/>
              <a:gd name="connsiteX817" fmla="*/ 11866617 w 12192000"/>
              <a:gd name="connsiteY817" fmla="*/ 3794785 h 4454665"/>
              <a:gd name="connsiteX818" fmla="*/ 11894664 w 12192000"/>
              <a:gd name="connsiteY818" fmla="*/ 3748970 h 4454665"/>
              <a:gd name="connsiteX819" fmla="*/ 11877135 w 12192000"/>
              <a:gd name="connsiteY819" fmla="*/ 3731350 h 4454665"/>
              <a:gd name="connsiteX820" fmla="*/ 11831559 w 12192000"/>
              <a:gd name="connsiteY820" fmla="*/ 3759544 h 4454665"/>
              <a:gd name="connsiteX821" fmla="*/ 11814030 w 12192000"/>
              <a:gd name="connsiteY821" fmla="*/ 3745446 h 4454665"/>
              <a:gd name="connsiteX822" fmla="*/ 11828054 w 12192000"/>
              <a:gd name="connsiteY822" fmla="*/ 3692584 h 4454665"/>
              <a:gd name="connsiteX823" fmla="*/ 11807019 w 12192000"/>
              <a:gd name="connsiteY823" fmla="*/ 3682011 h 4454665"/>
              <a:gd name="connsiteX824" fmla="*/ 11768454 w 12192000"/>
              <a:gd name="connsiteY824" fmla="*/ 3717253 h 4454665"/>
              <a:gd name="connsiteX825" fmla="*/ 11747420 w 12192000"/>
              <a:gd name="connsiteY825" fmla="*/ 3710205 h 4454665"/>
              <a:gd name="connsiteX826" fmla="*/ 11750925 w 12192000"/>
              <a:gd name="connsiteY826" fmla="*/ 3682011 h 4454665"/>
              <a:gd name="connsiteX827" fmla="*/ 11747420 w 12192000"/>
              <a:gd name="connsiteY827" fmla="*/ 3657342 h 4454665"/>
              <a:gd name="connsiteX828" fmla="*/ 11747420 w 12192000"/>
              <a:gd name="connsiteY828" fmla="*/ 3653818 h 4454665"/>
              <a:gd name="connsiteX829" fmla="*/ 11726385 w 12192000"/>
              <a:gd name="connsiteY829" fmla="*/ 3650294 h 4454665"/>
              <a:gd name="connsiteX830" fmla="*/ 11722879 w 12192000"/>
              <a:gd name="connsiteY830" fmla="*/ 3650294 h 4454665"/>
              <a:gd name="connsiteX831" fmla="*/ 11698339 w 12192000"/>
              <a:gd name="connsiteY831" fmla="*/ 3696108 h 4454665"/>
              <a:gd name="connsiteX832" fmla="*/ 11673798 w 12192000"/>
              <a:gd name="connsiteY832" fmla="*/ 3692584 h 4454665"/>
              <a:gd name="connsiteX833" fmla="*/ 11659774 w 12192000"/>
              <a:gd name="connsiteY833" fmla="*/ 3639721 h 4454665"/>
              <a:gd name="connsiteX834" fmla="*/ 11638739 w 12192000"/>
              <a:gd name="connsiteY834" fmla="*/ 3639721 h 4454665"/>
              <a:gd name="connsiteX835" fmla="*/ 0 w 12192000"/>
              <a:gd name="connsiteY835" fmla="*/ 0 h 4454665"/>
              <a:gd name="connsiteX836" fmla="*/ 12192000 w 12192000"/>
              <a:gd name="connsiteY836" fmla="*/ 0 h 4454665"/>
              <a:gd name="connsiteX837" fmla="*/ 12192000 w 12192000"/>
              <a:gd name="connsiteY837" fmla="*/ 4454665 h 4454665"/>
              <a:gd name="connsiteX838" fmla="*/ 0 w 12192000"/>
              <a:gd name="connsiteY838" fmla="*/ 4454665 h 44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4454665">
                <a:moveTo>
                  <a:pt x="11946675" y="4274241"/>
                </a:moveTo>
                <a:lnTo>
                  <a:pt x="11952788" y="4274241"/>
                </a:lnTo>
                <a:cubicBezTo>
                  <a:pt x="11955414" y="4274241"/>
                  <a:pt x="11957212" y="4274433"/>
                  <a:pt x="11958183" y="4274816"/>
                </a:cubicBezTo>
                <a:cubicBezTo>
                  <a:pt x="11959154" y="4275199"/>
                  <a:pt x="11959913" y="4275780"/>
                  <a:pt x="11960461" y="4276559"/>
                </a:cubicBezTo>
                <a:cubicBezTo>
                  <a:pt x="11961008" y="4277339"/>
                  <a:pt x="11961281" y="4278222"/>
                  <a:pt x="11961281" y="4279206"/>
                </a:cubicBezTo>
                <a:cubicBezTo>
                  <a:pt x="11961281" y="4280738"/>
                  <a:pt x="11960713" y="4281968"/>
                  <a:pt x="11959578" y="4282898"/>
                </a:cubicBezTo>
                <a:cubicBezTo>
                  <a:pt x="11958443" y="4283829"/>
                  <a:pt x="11956316" y="4284293"/>
                  <a:pt x="11953198" y="4284293"/>
                </a:cubicBezTo>
                <a:lnTo>
                  <a:pt x="11946675" y="4284293"/>
                </a:lnTo>
                <a:close/>
                <a:moveTo>
                  <a:pt x="11941300" y="4269729"/>
                </a:moveTo>
                <a:lnTo>
                  <a:pt x="11941300" y="4303043"/>
                </a:lnTo>
                <a:lnTo>
                  <a:pt x="11946675" y="4303043"/>
                </a:lnTo>
                <a:lnTo>
                  <a:pt x="11946675" y="4288889"/>
                </a:lnTo>
                <a:lnTo>
                  <a:pt x="11949834" y="4288889"/>
                </a:lnTo>
                <a:cubicBezTo>
                  <a:pt x="11951722" y="4288889"/>
                  <a:pt x="11953158" y="4289271"/>
                  <a:pt x="11954142" y="4290037"/>
                </a:cubicBezTo>
                <a:cubicBezTo>
                  <a:pt x="11955564" y="4291076"/>
                  <a:pt x="11957438" y="4293661"/>
                  <a:pt x="11959762" y="4297791"/>
                </a:cubicBezTo>
                <a:lnTo>
                  <a:pt x="11962717" y="4303043"/>
                </a:lnTo>
                <a:lnTo>
                  <a:pt x="11969281" y="4303043"/>
                </a:lnTo>
                <a:lnTo>
                  <a:pt x="11965220" y="4296519"/>
                </a:lnTo>
                <a:cubicBezTo>
                  <a:pt x="11963277" y="4293428"/>
                  <a:pt x="11961636" y="4291227"/>
                  <a:pt x="11960296" y="4289914"/>
                </a:cubicBezTo>
                <a:cubicBezTo>
                  <a:pt x="11959585" y="4289231"/>
                  <a:pt x="11958641" y="4288642"/>
                  <a:pt x="11957466" y="4288150"/>
                </a:cubicBezTo>
                <a:cubicBezTo>
                  <a:pt x="11960337" y="4287931"/>
                  <a:pt x="11962642" y="4286919"/>
                  <a:pt x="11964378" y="4285114"/>
                </a:cubicBezTo>
                <a:cubicBezTo>
                  <a:pt x="11966115" y="4283309"/>
                  <a:pt x="11966983" y="4281189"/>
                  <a:pt x="11966983" y="4278755"/>
                </a:cubicBezTo>
                <a:cubicBezTo>
                  <a:pt x="11966983" y="4277032"/>
                  <a:pt x="11966464" y="4275404"/>
                  <a:pt x="11965424" y="4273872"/>
                </a:cubicBezTo>
                <a:cubicBezTo>
                  <a:pt x="11964385" y="4272340"/>
                  <a:pt x="11962990" y="4271267"/>
                  <a:pt x="11961239" y="4270652"/>
                </a:cubicBezTo>
                <a:cubicBezTo>
                  <a:pt x="11959489" y="4270036"/>
                  <a:pt x="11956658" y="4269729"/>
                  <a:pt x="11952747" y="4269729"/>
                </a:cubicBezTo>
                <a:close/>
                <a:moveTo>
                  <a:pt x="10902089" y="4267158"/>
                </a:moveTo>
                <a:cubicBezTo>
                  <a:pt x="10902089" y="4267158"/>
                  <a:pt x="10902089" y="4267158"/>
                  <a:pt x="10905603" y="4267158"/>
                </a:cubicBezTo>
                <a:lnTo>
                  <a:pt x="10905603" y="4270699"/>
                </a:lnTo>
                <a:cubicBezTo>
                  <a:pt x="10905603" y="4281326"/>
                  <a:pt x="10905603" y="4306121"/>
                  <a:pt x="10877492" y="4306121"/>
                </a:cubicBezTo>
                <a:cubicBezTo>
                  <a:pt x="10866950" y="4306121"/>
                  <a:pt x="10859922" y="4302579"/>
                  <a:pt x="10859922" y="4288411"/>
                </a:cubicBezTo>
                <a:cubicBezTo>
                  <a:pt x="10859922" y="4267158"/>
                  <a:pt x="10884520" y="4267158"/>
                  <a:pt x="10902089" y="4267158"/>
                </a:cubicBezTo>
                <a:close/>
                <a:moveTo>
                  <a:pt x="11954881" y="4260087"/>
                </a:moveTo>
                <a:cubicBezTo>
                  <a:pt x="11959202" y="4260087"/>
                  <a:pt x="11963428" y="4261202"/>
                  <a:pt x="11967558" y="4263431"/>
                </a:cubicBezTo>
                <a:cubicBezTo>
                  <a:pt x="11971688" y="4265660"/>
                  <a:pt x="11974909" y="4268847"/>
                  <a:pt x="11977220" y="4272990"/>
                </a:cubicBezTo>
                <a:cubicBezTo>
                  <a:pt x="11979531" y="4277134"/>
                  <a:pt x="11980687" y="4281449"/>
                  <a:pt x="11980687" y="4285934"/>
                </a:cubicBezTo>
                <a:cubicBezTo>
                  <a:pt x="11980687" y="4290393"/>
                  <a:pt x="11979552" y="4294667"/>
                  <a:pt x="11977282" y="4298755"/>
                </a:cubicBezTo>
                <a:cubicBezTo>
                  <a:pt x="11975012" y="4302845"/>
                  <a:pt x="11971825" y="4306031"/>
                  <a:pt x="11967722" y="4308315"/>
                </a:cubicBezTo>
                <a:cubicBezTo>
                  <a:pt x="11963619" y="4310599"/>
                  <a:pt x="11959339" y="4311741"/>
                  <a:pt x="11954881" y="4311741"/>
                </a:cubicBezTo>
                <a:cubicBezTo>
                  <a:pt x="11950422" y="4311741"/>
                  <a:pt x="11946142" y="4310599"/>
                  <a:pt x="11942039" y="4308315"/>
                </a:cubicBezTo>
                <a:cubicBezTo>
                  <a:pt x="11937936" y="4306031"/>
                  <a:pt x="11934742" y="4302845"/>
                  <a:pt x="11932459" y="4298755"/>
                </a:cubicBezTo>
                <a:cubicBezTo>
                  <a:pt x="11930175" y="4294667"/>
                  <a:pt x="11929033" y="4290393"/>
                  <a:pt x="11929033" y="4285934"/>
                </a:cubicBezTo>
                <a:cubicBezTo>
                  <a:pt x="11929033" y="4281449"/>
                  <a:pt x="11930195" y="4277134"/>
                  <a:pt x="11932521" y="4272990"/>
                </a:cubicBezTo>
                <a:cubicBezTo>
                  <a:pt x="11934846" y="4268847"/>
                  <a:pt x="11938066" y="4265660"/>
                  <a:pt x="11942183" y="4263431"/>
                </a:cubicBezTo>
                <a:cubicBezTo>
                  <a:pt x="11946299" y="4261202"/>
                  <a:pt x="11950532" y="4260087"/>
                  <a:pt x="11954881" y="4260087"/>
                </a:cubicBezTo>
                <a:close/>
                <a:moveTo>
                  <a:pt x="11954881" y="4254959"/>
                </a:moveTo>
                <a:cubicBezTo>
                  <a:pt x="11949684" y="4254959"/>
                  <a:pt x="11944610" y="4256292"/>
                  <a:pt x="11939660" y="4258959"/>
                </a:cubicBezTo>
                <a:cubicBezTo>
                  <a:pt x="11934709" y="4261625"/>
                  <a:pt x="11930845" y="4265441"/>
                  <a:pt x="11928069" y="4270406"/>
                </a:cubicBezTo>
                <a:cubicBezTo>
                  <a:pt x="11925293" y="4275369"/>
                  <a:pt x="11923904" y="4280546"/>
                  <a:pt x="11923904" y="4285934"/>
                </a:cubicBezTo>
                <a:cubicBezTo>
                  <a:pt x="11923904" y="4291268"/>
                  <a:pt x="11925272" y="4296397"/>
                  <a:pt x="11928007" y="4301320"/>
                </a:cubicBezTo>
                <a:cubicBezTo>
                  <a:pt x="11930743" y="4306243"/>
                  <a:pt x="11934565" y="4310066"/>
                  <a:pt x="11939474" y="4312787"/>
                </a:cubicBezTo>
                <a:cubicBezTo>
                  <a:pt x="11944385" y="4315508"/>
                  <a:pt x="11949519" y="4316869"/>
                  <a:pt x="11954881" y="4316869"/>
                </a:cubicBezTo>
                <a:cubicBezTo>
                  <a:pt x="11960242" y="4316869"/>
                  <a:pt x="11965376" y="4315508"/>
                  <a:pt x="11970287" y="4312787"/>
                </a:cubicBezTo>
                <a:cubicBezTo>
                  <a:pt x="11975196" y="4310066"/>
                  <a:pt x="11979011" y="4306243"/>
                  <a:pt x="11981733" y="4301320"/>
                </a:cubicBezTo>
                <a:cubicBezTo>
                  <a:pt x="11984454" y="4296397"/>
                  <a:pt x="11985815" y="4291268"/>
                  <a:pt x="11985815" y="4285934"/>
                </a:cubicBezTo>
                <a:cubicBezTo>
                  <a:pt x="11985815" y="4280546"/>
                  <a:pt x="11984434" y="4275369"/>
                  <a:pt x="11981671" y="4270406"/>
                </a:cubicBezTo>
                <a:cubicBezTo>
                  <a:pt x="11978909" y="4265441"/>
                  <a:pt x="11975052" y="4261625"/>
                  <a:pt x="11970101" y="4258959"/>
                </a:cubicBezTo>
                <a:cubicBezTo>
                  <a:pt x="11965151" y="4256292"/>
                  <a:pt x="11960077" y="4254959"/>
                  <a:pt x="11954881" y="4254959"/>
                </a:cubicBezTo>
                <a:close/>
                <a:moveTo>
                  <a:pt x="11091685" y="4225507"/>
                </a:moveTo>
                <a:cubicBezTo>
                  <a:pt x="11109123" y="4225507"/>
                  <a:pt x="11123259" y="4243553"/>
                  <a:pt x="11123259" y="4265814"/>
                </a:cubicBezTo>
                <a:cubicBezTo>
                  <a:pt x="11123259" y="4288075"/>
                  <a:pt x="11109123" y="4306120"/>
                  <a:pt x="11091685" y="4306120"/>
                </a:cubicBezTo>
                <a:cubicBezTo>
                  <a:pt x="11074247" y="4306120"/>
                  <a:pt x="11060111" y="4288075"/>
                  <a:pt x="11060111" y="4265814"/>
                </a:cubicBezTo>
                <a:cubicBezTo>
                  <a:pt x="11060111" y="4243553"/>
                  <a:pt x="11074247" y="4225507"/>
                  <a:pt x="11091685" y="4225507"/>
                </a:cubicBezTo>
                <a:close/>
                <a:moveTo>
                  <a:pt x="10781998" y="4225507"/>
                </a:moveTo>
                <a:cubicBezTo>
                  <a:pt x="10797580" y="4225507"/>
                  <a:pt x="10810212" y="4243553"/>
                  <a:pt x="10810212" y="4265814"/>
                </a:cubicBezTo>
                <a:cubicBezTo>
                  <a:pt x="10810212" y="4288075"/>
                  <a:pt x="10797580" y="4306120"/>
                  <a:pt x="10781998" y="4306120"/>
                </a:cubicBezTo>
                <a:cubicBezTo>
                  <a:pt x="10766415" y="4306120"/>
                  <a:pt x="10753783" y="4288075"/>
                  <a:pt x="10753783" y="4265814"/>
                </a:cubicBezTo>
                <a:cubicBezTo>
                  <a:pt x="10753783" y="4243553"/>
                  <a:pt x="10766415" y="4225507"/>
                  <a:pt x="10781998" y="4225507"/>
                </a:cubicBezTo>
                <a:close/>
                <a:moveTo>
                  <a:pt x="10469622" y="4225507"/>
                </a:moveTo>
                <a:cubicBezTo>
                  <a:pt x="10487060" y="4225507"/>
                  <a:pt x="10501196" y="4243553"/>
                  <a:pt x="10501196" y="4265814"/>
                </a:cubicBezTo>
                <a:cubicBezTo>
                  <a:pt x="10501196" y="4288075"/>
                  <a:pt x="10487060" y="4306120"/>
                  <a:pt x="10469622" y="4306120"/>
                </a:cubicBezTo>
                <a:cubicBezTo>
                  <a:pt x="10452185" y="4306120"/>
                  <a:pt x="10438048" y="4288075"/>
                  <a:pt x="10438048" y="4265814"/>
                </a:cubicBezTo>
                <a:cubicBezTo>
                  <a:pt x="10438048" y="4243553"/>
                  <a:pt x="10452185" y="4225507"/>
                  <a:pt x="10469622" y="4225507"/>
                </a:cubicBezTo>
                <a:close/>
                <a:moveTo>
                  <a:pt x="11014562" y="4220260"/>
                </a:moveTo>
                <a:lnTo>
                  <a:pt x="11014562" y="4316220"/>
                </a:lnTo>
                <a:lnTo>
                  <a:pt x="11026851" y="4316220"/>
                </a:lnTo>
                <a:lnTo>
                  <a:pt x="11026851" y="4220260"/>
                </a:lnTo>
                <a:close/>
                <a:moveTo>
                  <a:pt x="11158189" y="4218790"/>
                </a:moveTo>
                <a:cubicBezTo>
                  <a:pt x="11158189" y="4225756"/>
                  <a:pt x="11158189" y="4236206"/>
                  <a:pt x="11158189" y="4243173"/>
                </a:cubicBezTo>
                <a:lnTo>
                  <a:pt x="11158189" y="4312838"/>
                </a:lnTo>
                <a:cubicBezTo>
                  <a:pt x="11158189" y="4312838"/>
                  <a:pt x="11158189" y="4312838"/>
                  <a:pt x="11172009" y="4312838"/>
                </a:cubicBezTo>
                <a:cubicBezTo>
                  <a:pt x="11172009" y="4312838"/>
                  <a:pt x="11172009" y="4312838"/>
                  <a:pt x="11172009" y="4260589"/>
                </a:cubicBezTo>
                <a:cubicBezTo>
                  <a:pt x="11172009" y="4246656"/>
                  <a:pt x="11178918" y="4225756"/>
                  <a:pt x="11199648" y="4225756"/>
                </a:cubicBezTo>
                <a:cubicBezTo>
                  <a:pt x="11213466" y="4225756"/>
                  <a:pt x="11220377" y="4239689"/>
                  <a:pt x="11220377" y="4257106"/>
                </a:cubicBezTo>
                <a:cubicBezTo>
                  <a:pt x="11220377" y="4257106"/>
                  <a:pt x="11220377" y="4257106"/>
                  <a:pt x="11220377" y="4312838"/>
                </a:cubicBezTo>
                <a:cubicBezTo>
                  <a:pt x="11220377" y="4312838"/>
                  <a:pt x="11220377" y="4312838"/>
                  <a:pt x="11230741" y="4312838"/>
                </a:cubicBezTo>
                <a:cubicBezTo>
                  <a:pt x="11230741" y="4312838"/>
                  <a:pt x="11230741" y="4312838"/>
                  <a:pt x="11230741" y="4253622"/>
                </a:cubicBezTo>
                <a:cubicBezTo>
                  <a:pt x="11230741" y="4232723"/>
                  <a:pt x="11223831" y="4218790"/>
                  <a:pt x="11199648" y="4218790"/>
                </a:cubicBezTo>
                <a:cubicBezTo>
                  <a:pt x="11182373" y="4218790"/>
                  <a:pt x="11175464" y="4229239"/>
                  <a:pt x="11168554" y="4236206"/>
                </a:cubicBezTo>
                <a:cubicBezTo>
                  <a:pt x="11168554" y="4236206"/>
                  <a:pt x="11168554" y="4236206"/>
                  <a:pt x="11168554" y="4218790"/>
                </a:cubicBezTo>
                <a:cubicBezTo>
                  <a:pt x="11168554" y="4218790"/>
                  <a:pt x="11168554" y="4218790"/>
                  <a:pt x="11158189" y="4218790"/>
                </a:cubicBezTo>
                <a:close/>
                <a:moveTo>
                  <a:pt x="11088997" y="4218790"/>
                </a:moveTo>
                <a:cubicBezTo>
                  <a:pt x="11064881" y="4218790"/>
                  <a:pt x="11045332" y="4240745"/>
                  <a:pt x="11045332" y="4267830"/>
                </a:cubicBezTo>
                <a:cubicBezTo>
                  <a:pt x="11045332" y="4294914"/>
                  <a:pt x="11064881" y="4316869"/>
                  <a:pt x="11088997" y="4316869"/>
                </a:cubicBezTo>
                <a:cubicBezTo>
                  <a:pt x="11113113" y="4316869"/>
                  <a:pt x="11132662" y="4294914"/>
                  <a:pt x="11132662" y="4267830"/>
                </a:cubicBezTo>
                <a:cubicBezTo>
                  <a:pt x="11132662" y="4240745"/>
                  <a:pt x="11113113" y="4218790"/>
                  <a:pt x="11088997" y="4218790"/>
                </a:cubicBezTo>
                <a:close/>
                <a:moveTo>
                  <a:pt x="10883851" y="4218790"/>
                </a:moveTo>
                <a:cubicBezTo>
                  <a:pt x="10876813" y="4218790"/>
                  <a:pt x="10862738" y="4218790"/>
                  <a:pt x="10855700" y="4222293"/>
                </a:cubicBezTo>
                <a:cubicBezTo>
                  <a:pt x="10855700" y="4222293"/>
                  <a:pt x="10855700" y="4222293"/>
                  <a:pt x="10855700" y="4236304"/>
                </a:cubicBezTo>
                <a:cubicBezTo>
                  <a:pt x="10866257" y="4229299"/>
                  <a:pt x="10873294" y="4225796"/>
                  <a:pt x="10883851" y="4225796"/>
                </a:cubicBezTo>
                <a:cubicBezTo>
                  <a:pt x="10901445" y="4225796"/>
                  <a:pt x="10904964" y="4236304"/>
                  <a:pt x="10904964" y="4250316"/>
                </a:cubicBezTo>
                <a:cubicBezTo>
                  <a:pt x="10904964" y="4250316"/>
                  <a:pt x="10904964" y="4250316"/>
                  <a:pt x="10904964" y="4257321"/>
                </a:cubicBezTo>
                <a:cubicBezTo>
                  <a:pt x="10880332" y="4257321"/>
                  <a:pt x="10845144" y="4257321"/>
                  <a:pt x="10845144" y="4288846"/>
                </a:cubicBezTo>
                <a:cubicBezTo>
                  <a:pt x="10845144" y="4299355"/>
                  <a:pt x="10848663" y="4316869"/>
                  <a:pt x="10876813" y="4316869"/>
                </a:cubicBezTo>
                <a:cubicBezTo>
                  <a:pt x="10887370" y="4316869"/>
                  <a:pt x="10901445" y="4309863"/>
                  <a:pt x="10904964" y="4299355"/>
                </a:cubicBezTo>
                <a:cubicBezTo>
                  <a:pt x="10904964" y="4299355"/>
                  <a:pt x="10904964" y="4299355"/>
                  <a:pt x="10908483" y="4299355"/>
                </a:cubicBezTo>
                <a:lnTo>
                  <a:pt x="10908483" y="4313366"/>
                </a:lnTo>
                <a:cubicBezTo>
                  <a:pt x="10908483" y="4313366"/>
                  <a:pt x="10908483" y="4313366"/>
                  <a:pt x="10919039" y="4313366"/>
                </a:cubicBezTo>
                <a:cubicBezTo>
                  <a:pt x="10919039" y="4309863"/>
                  <a:pt x="10919039" y="4302858"/>
                  <a:pt x="10919039" y="4295852"/>
                </a:cubicBezTo>
                <a:cubicBezTo>
                  <a:pt x="10919039" y="4295852"/>
                  <a:pt x="10919039" y="4295852"/>
                  <a:pt x="10919039" y="4253819"/>
                </a:cubicBezTo>
                <a:cubicBezTo>
                  <a:pt x="10919039" y="4229299"/>
                  <a:pt x="10908483" y="4218790"/>
                  <a:pt x="10883851" y="4218790"/>
                </a:cubicBezTo>
                <a:close/>
                <a:moveTo>
                  <a:pt x="10642268" y="4218790"/>
                </a:moveTo>
                <a:cubicBezTo>
                  <a:pt x="10642268" y="4225756"/>
                  <a:pt x="10642268" y="4236206"/>
                  <a:pt x="10642268" y="4243173"/>
                </a:cubicBezTo>
                <a:lnTo>
                  <a:pt x="10642268" y="4312838"/>
                </a:lnTo>
                <a:cubicBezTo>
                  <a:pt x="10642268" y="4312838"/>
                  <a:pt x="10642268" y="4312838"/>
                  <a:pt x="10656343" y="4312838"/>
                </a:cubicBezTo>
                <a:cubicBezTo>
                  <a:pt x="10656343" y="4312838"/>
                  <a:pt x="10656343" y="4312838"/>
                  <a:pt x="10656343" y="4260589"/>
                </a:cubicBezTo>
                <a:cubicBezTo>
                  <a:pt x="10656343" y="4246656"/>
                  <a:pt x="10663381" y="4225756"/>
                  <a:pt x="10684494" y="4225756"/>
                </a:cubicBezTo>
                <a:cubicBezTo>
                  <a:pt x="10698569" y="4225756"/>
                  <a:pt x="10705607" y="4239689"/>
                  <a:pt x="10705607" y="4257106"/>
                </a:cubicBezTo>
                <a:cubicBezTo>
                  <a:pt x="10705607" y="4257106"/>
                  <a:pt x="10705607" y="4257106"/>
                  <a:pt x="10705607" y="4312838"/>
                </a:cubicBezTo>
                <a:cubicBezTo>
                  <a:pt x="10705607" y="4312838"/>
                  <a:pt x="10705607" y="4312838"/>
                  <a:pt x="10716163" y="4312838"/>
                </a:cubicBezTo>
                <a:cubicBezTo>
                  <a:pt x="10716163" y="4312838"/>
                  <a:pt x="10716163" y="4312838"/>
                  <a:pt x="10716163" y="4253622"/>
                </a:cubicBezTo>
                <a:cubicBezTo>
                  <a:pt x="10716163" y="4232723"/>
                  <a:pt x="10709125" y="4218790"/>
                  <a:pt x="10684494" y="4218790"/>
                </a:cubicBezTo>
                <a:cubicBezTo>
                  <a:pt x="10666900" y="4218790"/>
                  <a:pt x="10659862" y="4229239"/>
                  <a:pt x="10652824" y="4236206"/>
                </a:cubicBezTo>
                <a:cubicBezTo>
                  <a:pt x="10652824" y="4236206"/>
                  <a:pt x="10652824" y="4236206"/>
                  <a:pt x="10652824" y="4218790"/>
                </a:cubicBezTo>
                <a:cubicBezTo>
                  <a:pt x="10652824" y="4218790"/>
                  <a:pt x="10652824" y="4218790"/>
                  <a:pt x="10642268" y="4218790"/>
                </a:cubicBezTo>
                <a:close/>
                <a:moveTo>
                  <a:pt x="10540159" y="4218790"/>
                </a:moveTo>
                <a:cubicBezTo>
                  <a:pt x="10540159" y="4218790"/>
                  <a:pt x="10540159" y="4218790"/>
                  <a:pt x="10540159" y="4281840"/>
                </a:cubicBezTo>
                <a:cubicBezTo>
                  <a:pt x="10540159" y="4302858"/>
                  <a:pt x="10547196" y="4316869"/>
                  <a:pt x="10571828" y="4316869"/>
                </a:cubicBezTo>
                <a:cubicBezTo>
                  <a:pt x="10589422" y="4316869"/>
                  <a:pt x="10596460" y="4306360"/>
                  <a:pt x="10603498" y="4299355"/>
                </a:cubicBezTo>
                <a:cubicBezTo>
                  <a:pt x="10603498" y="4299355"/>
                  <a:pt x="10603498" y="4299355"/>
                  <a:pt x="10603498" y="4313366"/>
                </a:cubicBezTo>
                <a:cubicBezTo>
                  <a:pt x="10603498" y="4313366"/>
                  <a:pt x="10603498" y="4313366"/>
                  <a:pt x="10614054" y="4313366"/>
                </a:cubicBezTo>
                <a:cubicBezTo>
                  <a:pt x="10614054" y="4306360"/>
                  <a:pt x="10614054" y="4299355"/>
                  <a:pt x="10614054" y="4292349"/>
                </a:cubicBezTo>
                <a:lnTo>
                  <a:pt x="10614054" y="4218790"/>
                </a:lnTo>
                <a:cubicBezTo>
                  <a:pt x="10614054" y="4218790"/>
                  <a:pt x="10614054" y="4218790"/>
                  <a:pt x="10599979" y="4218790"/>
                </a:cubicBezTo>
                <a:cubicBezTo>
                  <a:pt x="10599979" y="4218790"/>
                  <a:pt x="10599979" y="4218790"/>
                  <a:pt x="10599979" y="4271332"/>
                </a:cubicBezTo>
                <a:cubicBezTo>
                  <a:pt x="10599979" y="4288846"/>
                  <a:pt x="10592941" y="4306360"/>
                  <a:pt x="10571828" y="4306360"/>
                </a:cubicBezTo>
                <a:cubicBezTo>
                  <a:pt x="10557753" y="4306360"/>
                  <a:pt x="10550715" y="4295852"/>
                  <a:pt x="10550715" y="4278338"/>
                </a:cubicBezTo>
                <a:cubicBezTo>
                  <a:pt x="10550715" y="4278338"/>
                  <a:pt x="10550715" y="4278338"/>
                  <a:pt x="10550715" y="4218790"/>
                </a:cubicBezTo>
                <a:cubicBezTo>
                  <a:pt x="10550715" y="4218790"/>
                  <a:pt x="10550715" y="4218790"/>
                  <a:pt x="10540159" y="4218790"/>
                </a:cubicBezTo>
                <a:close/>
                <a:moveTo>
                  <a:pt x="10471637" y="4218790"/>
                </a:moveTo>
                <a:cubicBezTo>
                  <a:pt x="10447151" y="4218790"/>
                  <a:pt x="10427300" y="4240745"/>
                  <a:pt x="10427300" y="4267830"/>
                </a:cubicBezTo>
                <a:cubicBezTo>
                  <a:pt x="10427300" y="4294914"/>
                  <a:pt x="10447151" y="4316869"/>
                  <a:pt x="10471637" y="4316869"/>
                </a:cubicBezTo>
                <a:cubicBezTo>
                  <a:pt x="10496124" y="4316869"/>
                  <a:pt x="10515975" y="4294914"/>
                  <a:pt x="10515975" y="4267830"/>
                </a:cubicBezTo>
                <a:cubicBezTo>
                  <a:pt x="10515975" y="4240745"/>
                  <a:pt x="10496124" y="4218790"/>
                  <a:pt x="10471637" y="4218790"/>
                </a:cubicBezTo>
                <a:close/>
                <a:moveTo>
                  <a:pt x="11655303" y="4204011"/>
                </a:moveTo>
                <a:lnTo>
                  <a:pt x="11659333" y="4214760"/>
                </a:lnTo>
                <a:lnTo>
                  <a:pt x="11663364" y="4221478"/>
                </a:lnTo>
                <a:lnTo>
                  <a:pt x="11648585" y="4221478"/>
                </a:lnTo>
                <a:lnTo>
                  <a:pt x="11652616" y="4214760"/>
                </a:lnTo>
                <a:close/>
                <a:moveTo>
                  <a:pt x="11659446" y="4193263"/>
                </a:moveTo>
                <a:cubicBezTo>
                  <a:pt x="11659446" y="4193263"/>
                  <a:pt x="11659446" y="4193263"/>
                  <a:pt x="11649032" y="4196777"/>
                </a:cubicBezTo>
                <a:cubicBezTo>
                  <a:pt x="11649032" y="4196777"/>
                  <a:pt x="11649032" y="4196777"/>
                  <a:pt x="11645562" y="4214347"/>
                </a:cubicBezTo>
                <a:cubicBezTo>
                  <a:pt x="11645562" y="4214347"/>
                  <a:pt x="11645562" y="4214347"/>
                  <a:pt x="11635149" y="4235429"/>
                </a:cubicBezTo>
                <a:cubicBezTo>
                  <a:pt x="11638620" y="4235429"/>
                  <a:pt x="11642091" y="4235429"/>
                  <a:pt x="11645562" y="4238943"/>
                </a:cubicBezTo>
                <a:cubicBezTo>
                  <a:pt x="11645562" y="4238943"/>
                  <a:pt x="11645562" y="4238943"/>
                  <a:pt x="11645562" y="4228402"/>
                </a:cubicBezTo>
                <a:cubicBezTo>
                  <a:pt x="11645562" y="4228402"/>
                  <a:pt x="11645562" y="4228402"/>
                  <a:pt x="11666387" y="4228402"/>
                </a:cubicBezTo>
                <a:cubicBezTo>
                  <a:pt x="11666387" y="4228402"/>
                  <a:pt x="11666387" y="4228402"/>
                  <a:pt x="11666387" y="4235429"/>
                </a:cubicBezTo>
                <a:cubicBezTo>
                  <a:pt x="11669858" y="4235429"/>
                  <a:pt x="11673329" y="4235429"/>
                  <a:pt x="11676800" y="4235429"/>
                </a:cubicBezTo>
                <a:cubicBezTo>
                  <a:pt x="11676800" y="4235429"/>
                  <a:pt x="11676800" y="4235429"/>
                  <a:pt x="11666387" y="4214347"/>
                </a:cubicBezTo>
                <a:lnTo>
                  <a:pt x="11659446" y="4196777"/>
                </a:lnTo>
                <a:cubicBezTo>
                  <a:pt x="11659446" y="4196777"/>
                  <a:pt x="11659446" y="4196777"/>
                  <a:pt x="11659446" y="4193263"/>
                </a:cubicBezTo>
                <a:close/>
                <a:moveTo>
                  <a:pt x="10964451" y="4193262"/>
                </a:moveTo>
                <a:cubicBezTo>
                  <a:pt x="10964451" y="4193262"/>
                  <a:pt x="10964451" y="4193262"/>
                  <a:pt x="10953971" y="4196794"/>
                </a:cubicBezTo>
                <a:cubicBezTo>
                  <a:pt x="10953971" y="4196794"/>
                  <a:pt x="10953971" y="4196794"/>
                  <a:pt x="10953971" y="4217983"/>
                </a:cubicBezTo>
                <a:cubicBezTo>
                  <a:pt x="10953971" y="4217983"/>
                  <a:pt x="10953971" y="4217983"/>
                  <a:pt x="10936505" y="4217983"/>
                </a:cubicBezTo>
                <a:cubicBezTo>
                  <a:pt x="10936505" y="4217983"/>
                  <a:pt x="10936505" y="4217983"/>
                  <a:pt x="10936505" y="4228578"/>
                </a:cubicBezTo>
                <a:cubicBezTo>
                  <a:pt x="10936505" y="4228578"/>
                  <a:pt x="10936505" y="4228578"/>
                  <a:pt x="10953971" y="4228578"/>
                </a:cubicBezTo>
                <a:cubicBezTo>
                  <a:pt x="10953971" y="4228578"/>
                  <a:pt x="10953971" y="4228578"/>
                  <a:pt x="10953971" y="4285084"/>
                </a:cubicBezTo>
                <a:cubicBezTo>
                  <a:pt x="10953971" y="4302742"/>
                  <a:pt x="10953971" y="4316868"/>
                  <a:pt x="10974931" y="4316868"/>
                </a:cubicBezTo>
                <a:cubicBezTo>
                  <a:pt x="10981917" y="4316868"/>
                  <a:pt x="10985410" y="4316868"/>
                  <a:pt x="10988904" y="4313337"/>
                </a:cubicBezTo>
                <a:cubicBezTo>
                  <a:pt x="10988904" y="4313337"/>
                  <a:pt x="10988904" y="4313337"/>
                  <a:pt x="10988904" y="4302742"/>
                </a:cubicBezTo>
                <a:cubicBezTo>
                  <a:pt x="10985410" y="4306273"/>
                  <a:pt x="10981917" y="4306273"/>
                  <a:pt x="10978424" y="4306273"/>
                </a:cubicBezTo>
                <a:cubicBezTo>
                  <a:pt x="10967944" y="4306273"/>
                  <a:pt x="10964451" y="4299211"/>
                  <a:pt x="10964451" y="4292147"/>
                </a:cubicBezTo>
                <a:cubicBezTo>
                  <a:pt x="10964451" y="4292147"/>
                  <a:pt x="10964451" y="4292147"/>
                  <a:pt x="10964451" y="4228578"/>
                </a:cubicBezTo>
                <a:cubicBezTo>
                  <a:pt x="10964451" y="4228578"/>
                  <a:pt x="10964451" y="4228578"/>
                  <a:pt x="10985410" y="4228578"/>
                </a:cubicBezTo>
                <a:lnTo>
                  <a:pt x="10985410" y="4217983"/>
                </a:lnTo>
                <a:cubicBezTo>
                  <a:pt x="10985410" y="4217983"/>
                  <a:pt x="10985410" y="4217983"/>
                  <a:pt x="10964451" y="4217983"/>
                </a:cubicBezTo>
                <a:cubicBezTo>
                  <a:pt x="10964451" y="4217983"/>
                  <a:pt x="10964451" y="4217983"/>
                  <a:pt x="10964451" y="4193262"/>
                </a:cubicBezTo>
                <a:close/>
                <a:moveTo>
                  <a:pt x="11599881" y="4190576"/>
                </a:moveTo>
                <a:cubicBezTo>
                  <a:pt x="11589469" y="4232742"/>
                  <a:pt x="11589469" y="4232742"/>
                  <a:pt x="11589469" y="4232742"/>
                </a:cubicBezTo>
                <a:cubicBezTo>
                  <a:pt x="11592940" y="4232742"/>
                  <a:pt x="11596410" y="4232742"/>
                  <a:pt x="11599881" y="4232742"/>
                </a:cubicBezTo>
                <a:cubicBezTo>
                  <a:pt x="11603352" y="4208146"/>
                  <a:pt x="11603352" y="4208146"/>
                  <a:pt x="11603352" y="4208146"/>
                </a:cubicBezTo>
                <a:cubicBezTo>
                  <a:pt x="11617236" y="4236256"/>
                  <a:pt x="11617236" y="4236256"/>
                  <a:pt x="11617236" y="4236256"/>
                </a:cubicBezTo>
                <a:cubicBezTo>
                  <a:pt x="11620707" y="4236256"/>
                  <a:pt x="11624178" y="4236256"/>
                  <a:pt x="11624178" y="4236256"/>
                </a:cubicBezTo>
                <a:cubicBezTo>
                  <a:pt x="11631119" y="4194090"/>
                  <a:pt x="11631119" y="4194090"/>
                  <a:pt x="11631119" y="4194090"/>
                </a:cubicBezTo>
                <a:cubicBezTo>
                  <a:pt x="11627648" y="4194090"/>
                  <a:pt x="11624178" y="4194090"/>
                  <a:pt x="11624178" y="4194090"/>
                </a:cubicBezTo>
                <a:cubicBezTo>
                  <a:pt x="11620707" y="4222201"/>
                  <a:pt x="11620707" y="4222201"/>
                  <a:pt x="11620707" y="4222201"/>
                </a:cubicBezTo>
                <a:cubicBezTo>
                  <a:pt x="11606824" y="4190576"/>
                  <a:pt x="11606824" y="4190576"/>
                  <a:pt x="11606824" y="4190576"/>
                </a:cubicBezTo>
                <a:cubicBezTo>
                  <a:pt x="11603352" y="4190576"/>
                  <a:pt x="11603352" y="4190576"/>
                  <a:pt x="11599881" y="4190576"/>
                </a:cubicBezTo>
                <a:close/>
                <a:moveTo>
                  <a:pt x="11709044" y="4186546"/>
                </a:moveTo>
                <a:cubicBezTo>
                  <a:pt x="11695071" y="4190097"/>
                  <a:pt x="11684592" y="4193647"/>
                  <a:pt x="11674112" y="4193647"/>
                </a:cubicBezTo>
                <a:cubicBezTo>
                  <a:pt x="11674112" y="4200749"/>
                  <a:pt x="11674112" y="4200749"/>
                  <a:pt x="11674112" y="4200749"/>
                </a:cubicBezTo>
                <a:cubicBezTo>
                  <a:pt x="11681098" y="4200749"/>
                  <a:pt x="11684592" y="4200749"/>
                  <a:pt x="11688084" y="4200749"/>
                </a:cubicBezTo>
                <a:cubicBezTo>
                  <a:pt x="11695071" y="4236257"/>
                  <a:pt x="11695071" y="4236257"/>
                  <a:pt x="11695071" y="4236257"/>
                </a:cubicBezTo>
                <a:cubicBezTo>
                  <a:pt x="11702057" y="4232706"/>
                  <a:pt x="11702057" y="4232706"/>
                  <a:pt x="11702057" y="4232706"/>
                </a:cubicBezTo>
                <a:cubicBezTo>
                  <a:pt x="11695071" y="4197198"/>
                  <a:pt x="11695071" y="4197198"/>
                  <a:pt x="11695071" y="4197198"/>
                </a:cubicBezTo>
                <a:cubicBezTo>
                  <a:pt x="11702057" y="4197198"/>
                  <a:pt x="11705551" y="4197198"/>
                  <a:pt x="11709044" y="4193647"/>
                </a:cubicBezTo>
                <a:close/>
                <a:moveTo>
                  <a:pt x="11564748" y="4186546"/>
                </a:moveTo>
                <a:cubicBezTo>
                  <a:pt x="11564748" y="4186546"/>
                  <a:pt x="11564748" y="4186546"/>
                  <a:pt x="11575228" y="4189905"/>
                </a:cubicBezTo>
                <a:cubicBezTo>
                  <a:pt x="11578720" y="4189905"/>
                  <a:pt x="11578720" y="4193264"/>
                  <a:pt x="11578720" y="4193264"/>
                </a:cubicBezTo>
                <a:cubicBezTo>
                  <a:pt x="11578720" y="4193264"/>
                  <a:pt x="11578720" y="4196622"/>
                  <a:pt x="11578720" y="4196622"/>
                </a:cubicBezTo>
                <a:cubicBezTo>
                  <a:pt x="11578720" y="4196622"/>
                  <a:pt x="11575228" y="4199981"/>
                  <a:pt x="11571734" y="4199981"/>
                </a:cubicBezTo>
                <a:cubicBezTo>
                  <a:pt x="11571734" y="4199981"/>
                  <a:pt x="11571734" y="4199981"/>
                  <a:pt x="11561254" y="4196622"/>
                </a:cubicBezTo>
                <a:cubicBezTo>
                  <a:pt x="11561254" y="4196622"/>
                  <a:pt x="11561254" y="4196622"/>
                  <a:pt x="11564748" y="4193264"/>
                </a:cubicBezTo>
                <a:cubicBezTo>
                  <a:pt x="11564748" y="4193264"/>
                  <a:pt x="11564748" y="4193264"/>
                  <a:pt x="11564748" y="4186546"/>
                </a:cubicBezTo>
                <a:close/>
                <a:moveTo>
                  <a:pt x="11014562" y="4184660"/>
                </a:moveTo>
                <a:lnTo>
                  <a:pt x="11014562" y="4198354"/>
                </a:lnTo>
                <a:lnTo>
                  <a:pt x="11026851" y="4198354"/>
                </a:lnTo>
                <a:lnTo>
                  <a:pt x="11026851" y="4184660"/>
                </a:lnTo>
                <a:close/>
                <a:moveTo>
                  <a:pt x="11715762" y="4182514"/>
                </a:moveTo>
                <a:cubicBezTo>
                  <a:pt x="11729582" y="4225508"/>
                  <a:pt x="11729582" y="4225508"/>
                  <a:pt x="11729582" y="4225508"/>
                </a:cubicBezTo>
                <a:cubicBezTo>
                  <a:pt x="11733036" y="4221925"/>
                  <a:pt x="11736491" y="4221925"/>
                  <a:pt x="11739946" y="4221925"/>
                </a:cubicBezTo>
                <a:cubicBezTo>
                  <a:pt x="11726127" y="4182514"/>
                  <a:pt x="11726127" y="4182514"/>
                  <a:pt x="11726127" y="4182514"/>
                </a:cubicBezTo>
                <a:cubicBezTo>
                  <a:pt x="11722671" y="4182514"/>
                  <a:pt x="11719217" y="4182514"/>
                  <a:pt x="11715762" y="4182514"/>
                </a:cubicBezTo>
                <a:close/>
                <a:moveTo>
                  <a:pt x="10346688" y="4182514"/>
                </a:moveTo>
                <a:lnTo>
                  <a:pt x="10346688" y="4312838"/>
                </a:lnTo>
                <a:lnTo>
                  <a:pt x="10361467" y="4312838"/>
                </a:lnTo>
                <a:lnTo>
                  <a:pt x="10361467" y="4253722"/>
                </a:lnTo>
                <a:lnTo>
                  <a:pt x="10407148" y="4253722"/>
                </a:lnTo>
                <a:lnTo>
                  <a:pt x="10407148" y="4242974"/>
                </a:lnTo>
                <a:lnTo>
                  <a:pt x="10361467" y="4242974"/>
                </a:lnTo>
                <a:lnTo>
                  <a:pt x="10361467" y="4193262"/>
                </a:lnTo>
                <a:lnTo>
                  <a:pt x="10409835" y="4193262"/>
                </a:lnTo>
                <a:lnTo>
                  <a:pt x="10409835" y="4182514"/>
                </a:lnTo>
                <a:close/>
                <a:moveTo>
                  <a:pt x="11561143" y="4175797"/>
                </a:moveTo>
                <a:cubicBezTo>
                  <a:pt x="11561143" y="4175797"/>
                  <a:pt x="11561143" y="4175797"/>
                  <a:pt x="11554200" y="4193264"/>
                </a:cubicBezTo>
                <a:cubicBezTo>
                  <a:pt x="11554200" y="4193264"/>
                  <a:pt x="11554200" y="4193264"/>
                  <a:pt x="11554200" y="4196756"/>
                </a:cubicBezTo>
                <a:cubicBezTo>
                  <a:pt x="11554200" y="4196756"/>
                  <a:pt x="11554200" y="4196756"/>
                  <a:pt x="11543788" y="4214223"/>
                </a:cubicBezTo>
                <a:cubicBezTo>
                  <a:pt x="11547259" y="4217716"/>
                  <a:pt x="11550730" y="4217716"/>
                  <a:pt x="11554200" y="4217716"/>
                </a:cubicBezTo>
                <a:cubicBezTo>
                  <a:pt x="11554200" y="4217716"/>
                  <a:pt x="11554200" y="4217716"/>
                  <a:pt x="11557671" y="4203743"/>
                </a:cubicBezTo>
                <a:cubicBezTo>
                  <a:pt x="11557671" y="4203743"/>
                  <a:pt x="11557671" y="4203743"/>
                  <a:pt x="11568084" y="4207237"/>
                </a:cubicBezTo>
                <a:cubicBezTo>
                  <a:pt x="11568084" y="4207237"/>
                  <a:pt x="11568084" y="4207237"/>
                  <a:pt x="11568084" y="4224702"/>
                </a:cubicBezTo>
                <a:cubicBezTo>
                  <a:pt x="11571555" y="4224702"/>
                  <a:pt x="11575026" y="4228196"/>
                  <a:pt x="11578497" y="4228196"/>
                </a:cubicBezTo>
                <a:cubicBezTo>
                  <a:pt x="11578497" y="4228196"/>
                  <a:pt x="11578497" y="4228196"/>
                  <a:pt x="11575026" y="4207237"/>
                </a:cubicBezTo>
                <a:cubicBezTo>
                  <a:pt x="11581968" y="4207237"/>
                  <a:pt x="11585438" y="4200250"/>
                  <a:pt x="11585438" y="4196756"/>
                </a:cubicBezTo>
                <a:cubicBezTo>
                  <a:pt x="11585438" y="4196756"/>
                  <a:pt x="11585438" y="4193264"/>
                  <a:pt x="11585438" y="4193264"/>
                </a:cubicBezTo>
                <a:cubicBezTo>
                  <a:pt x="11585438" y="4189770"/>
                  <a:pt x="11585438" y="4186277"/>
                  <a:pt x="11578497" y="4182784"/>
                </a:cubicBezTo>
                <a:cubicBezTo>
                  <a:pt x="11578497" y="4182784"/>
                  <a:pt x="11578497" y="4182784"/>
                  <a:pt x="11561143" y="4175797"/>
                </a:cubicBezTo>
                <a:close/>
                <a:moveTo>
                  <a:pt x="11766241" y="4173090"/>
                </a:moveTo>
                <a:cubicBezTo>
                  <a:pt x="11769696" y="4173531"/>
                  <a:pt x="11773151" y="4175294"/>
                  <a:pt x="11774878" y="4178821"/>
                </a:cubicBezTo>
                <a:cubicBezTo>
                  <a:pt x="11774878" y="4182348"/>
                  <a:pt x="11774878" y="4185874"/>
                  <a:pt x="11774878" y="4185874"/>
                </a:cubicBezTo>
                <a:cubicBezTo>
                  <a:pt x="11774878" y="4189401"/>
                  <a:pt x="11774878" y="4192929"/>
                  <a:pt x="11771423" y="4196455"/>
                </a:cubicBezTo>
                <a:cubicBezTo>
                  <a:pt x="11771423" y="4196455"/>
                  <a:pt x="11771423" y="4196455"/>
                  <a:pt x="11767968" y="4199982"/>
                </a:cubicBezTo>
                <a:cubicBezTo>
                  <a:pt x="11764514" y="4199982"/>
                  <a:pt x="11757604" y="4199982"/>
                  <a:pt x="11754149" y="4196455"/>
                </a:cubicBezTo>
                <a:cubicBezTo>
                  <a:pt x="11750694" y="4196455"/>
                  <a:pt x="11750694" y="4192929"/>
                  <a:pt x="11750694" y="4192929"/>
                </a:cubicBezTo>
                <a:cubicBezTo>
                  <a:pt x="11750694" y="4192929"/>
                  <a:pt x="11750694" y="4189401"/>
                  <a:pt x="11750694" y="4185874"/>
                </a:cubicBezTo>
                <a:cubicBezTo>
                  <a:pt x="11750694" y="4182348"/>
                  <a:pt x="11750694" y="4178821"/>
                  <a:pt x="11757604" y="4175294"/>
                </a:cubicBezTo>
                <a:cubicBezTo>
                  <a:pt x="11759332" y="4173531"/>
                  <a:pt x="11762786" y="4172649"/>
                  <a:pt x="11766241" y="4173090"/>
                </a:cubicBezTo>
                <a:close/>
                <a:moveTo>
                  <a:pt x="10810738" y="4171765"/>
                </a:moveTo>
                <a:cubicBezTo>
                  <a:pt x="10810738" y="4171765"/>
                  <a:pt x="10810738" y="4171765"/>
                  <a:pt x="10810738" y="4235469"/>
                </a:cubicBezTo>
                <a:cubicBezTo>
                  <a:pt x="10810738" y="4228391"/>
                  <a:pt x="10800048" y="4217773"/>
                  <a:pt x="10782231" y="4217773"/>
                </a:cubicBezTo>
                <a:cubicBezTo>
                  <a:pt x="10753724" y="4217773"/>
                  <a:pt x="10743034" y="4239008"/>
                  <a:pt x="10743034" y="4267321"/>
                </a:cubicBezTo>
                <a:cubicBezTo>
                  <a:pt x="10743034" y="4295634"/>
                  <a:pt x="10753724" y="4316868"/>
                  <a:pt x="10782231" y="4316868"/>
                </a:cubicBezTo>
                <a:cubicBezTo>
                  <a:pt x="10796484" y="4316868"/>
                  <a:pt x="10803611" y="4313329"/>
                  <a:pt x="10810738" y="4299172"/>
                </a:cubicBezTo>
                <a:cubicBezTo>
                  <a:pt x="10810738" y="4299172"/>
                  <a:pt x="10810738" y="4299172"/>
                  <a:pt x="10810738" y="4313329"/>
                </a:cubicBezTo>
                <a:cubicBezTo>
                  <a:pt x="10810738" y="4313329"/>
                  <a:pt x="10810738" y="4313329"/>
                  <a:pt x="10824991" y="4313329"/>
                </a:cubicBezTo>
                <a:lnTo>
                  <a:pt x="10824991" y="4171765"/>
                </a:lnTo>
                <a:cubicBezTo>
                  <a:pt x="10824991" y="4171765"/>
                  <a:pt x="10824991" y="4171765"/>
                  <a:pt x="10810738" y="4171765"/>
                </a:cubicBezTo>
                <a:close/>
                <a:moveTo>
                  <a:pt x="11768161" y="4166249"/>
                </a:moveTo>
                <a:cubicBezTo>
                  <a:pt x="11762338" y="4164954"/>
                  <a:pt x="11756068" y="4165817"/>
                  <a:pt x="11750694" y="4169272"/>
                </a:cubicBezTo>
                <a:cubicBezTo>
                  <a:pt x="11743528" y="4172727"/>
                  <a:pt x="11739946" y="4179637"/>
                  <a:pt x="11739946" y="4186546"/>
                </a:cubicBezTo>
                <a:cubicBezTo>
                  <a:pt x="11739946" y="4190001"/>
                  <a:pt x="11743528" y="4193456"/>
                  <a:pt x="11743528" y="4196911"/>
                </a:cubicBezTo>
                <a:cubicBezTo>
                  <a:pt x="11750694" y="4207276"/>
                  <a:pt x="11765025" y="4210730"/>
                  <a:pt x="11772191" y="4203821"/>
                </a:cubicBezTo>
                <a:cubicBezTo>
                  <a:pt x="11779357" y="4203821"/>
                  <a:pt x="11779357" y="4200366"/>
                  <a:pt x="11782939" y="4196911"/>
                </a:cubicBezTo>
                <a:cubicBezTo>
                  <a:pt x="11782939" y="4193456"/>
                  <a:pt x="11782939" y="4190001"/>
                  <a:pt x="11782939" y="4186546"/>
                </a:cubicBezTo>
                <a:cubicBezTo>
                  <a:pt x="11782939" y="4183092"/>
                  <a:pt x="11782939" y="4179637"/>
                  <a:pt x="11782939" y="4176182"/>
                </a:cubicBezTo>
                <a:cubicBezTo>
                  <a:pt x="11779357" y="4170999"/>
                  <a:pt x="11773982" y="4167545"/>
                  <a:pt x="11768161" y="4166249"/>
                </a:cubicBezTo>
                <a:close/>
                <a:moveTo>
                  <a:pt x="11525909" y="4158331"/>
                </a:moveTo>
                <a:cubicBezTo>
                  <a:pt x="11504825" y="4193263"/>
                  <a:pt x="11504825" y="4193263"/>
                  <a:pt x="11504825" y="4193263"/>
                </a:cubicBezTo>
                <a:cubicBezTo>
                  <a:pt x="11511853" y="4200249"/>
                  <a:pt x="11518881" y="4203743"/>
                  <a:pt x="11529423" y="4210729"/>
                </a:cubicBezTo>
                <a:cubicBezTo>
                  <a:pt x="11532937" y="4203743"/>
                  <a:pt x="11532937" y="4203743"/>
                  <a:pt x="11532937" y="4203743"/>
                </a:cubicBezTo>
                <a:cubicBezTo>
                  <a:pt x="11515367" y="4193263"/>
                  <a:pt x="11515367" y="4193263"/>
                  <a:pt x="11515367" y="4193263"/>
                </a:cubicBezTo>
                <a:cubicBezTo>
                  <a:pt x="11522395" y="4182784"/>
                  <a:pt x="11522395" y="4182784"/>
                  <a:pt x="11522395" y="4182784"/>
                </a:cubicBezTo>
                <a:cubicBezTo>
                  <a:pt x="11532937" y="4189770"/>
                  <a:pt x="11532937" y="4189770"/>
                  <a:pt x="11532937" y="4189770"/>
                </a:cubicBezTo>
                <a:cubicBezTo>
                  <a:pt x="11536450" y="4182784"/>
                  <a:pt x="11536450" y="4182784"/>
                  <a:pt x="11536450" y="4182784"/>
                </a:cubicBezTo>
                <a:cubicBezTo>
                  <a:pt x="11532937" y="4182784"/>
                  <a:pt x="11529423" y="4179290"/>
                  <a:pt x="11525909" y="4175797"/>
                </a:cubicBezTo>
                <a:lnTo>
                  <a:pt x="11529423" y="4168811"/>
                </a:lnTo>
                <a:cubicBezTo>
                  <a:pt x="11536450" y="4172303"/>
                  <a:pt x="11539964" y="4175797"/>
                  <a:pt x="11546992" y="4179290"/>
                </a:cubicBezTo>
                <a:cubicBezTo>
                  <a:pt x="11550506" y="4172303"/>
                  <a:pt x="11550506" y="4172303"/>
                  <a:pt x="11550506" y="4172303"/>
                </a:cubicBezTo>
                <a:cubicBezTo>
                  <a:pt x="11543478" y="4168811"/>
                  <a:pt x="11532937" y="4161824"/>
                  <a:pt x="11525909" y="4158331"/>
                </a:cubicBezTo>
                <a:close/>
                <a:moveTo>
                  <a:pt x="11803361" y="4130117"/>
                </a:moveTo>
                <a:cubicBezTo>
                  <a:pt x="11799868" y="4133643"/>
                  <a:pt x="11799868" y="4133643"/>
                  <a:pt x="11796375" y="4137170"/>
                </a:cubicBezTo>
                <a:cubicBezTo>
                  <a:pt x="11813840" y="4154804"/>
                  <a:pt x="11813840" y="4154804"/>
                  <a:pt x="11813840" y="4154804"/>
                </a:cubicBezTo>
                <a:cubicBezTo>
                  <a:pt x="11785895" y="4147751"/>
                  <a:pt x="11785895" y="4147751"/>
                  <a:pt x="11785895" y="4147751"/>
                </a:cubicBezTo>
                <a:cubicBezTo>
                  <a:pt x="11782402" y="4147751"/>
                  <a:pt x="11782402" y="4151277"/>
                  <a:pt x="11778908" y="4151277"/>
                </a:cubicBezTo>
                <a:cubicBezTo>
                  <a:pt x="11803361" y="4186546"/>
                  <a:pt x="11803361" y="4186546"/>
                  <a:pt x="11803361" y="4186546"/>
                </a:cubicBezTo>
                <a:cubicBezTo>
                  <a:pt x="11806854" y="4183019"/>
                  <a:pt x="11806854" y="4183019"/>
                  <a:pt x="11810348" y="4179492"/>
                </a:cubicBezTo>
                <a:cubicBezTo>
                  <a:pt x="11796375" y="4158331"/>
                  <a:pt x="11796375" y="4158331"/>
                  <a:pt x="11796375" y="4158331"/>
                </a:cubicBezTo>
                <a:cubicBezTo>
                  <a:pt x="11824320" y="4168911"/>
                  <a:pt x="11824320" y="4168911"/>
                  <a:pt x="11824320" y="4168911"/>
                </a:cubicBezTo>
                <a:cubicBezTo>
                  <a:pt x="11827814" y="4165385"/>
                  <a:pt x="11827814" y="4165385"/>
                  <a:pt x="11831307" y="4161858"/>
                </a:cubicBezTo>
                <a:cubicBezTo>
                  <a:pt x="11803361" y="4130117"/>
                  <a:pt x="11803361" y="4130117"/>
                  <a:pt x="11803361" y="4130117"/>
                </a:cubicBezTo>
                <a:close/>
                <a:moveTo>
                  <a:pt x="11495008" y="4130117"/>
                </a:moveTo>
                <a:cubicBezTo>
                  <a:pt x="11495008" y="4130117"/>
                  <a:pt x="11495008" y="4130117"/>
                  <a:pt x="11487980" y="4133630"/>
                </a:cubicBezTo>
                <a:cubicBezTo>
                  <a:pt x="11491494" y="4137144"/>
                  <a:pt x="11495008" y="4140658"/>
                  <a:pt x="11498522" y="4144172"/>
                </a:cubicBezTo>
                <a:cubicBezTo>
                  <a:pt x="11498522" y="4144172"/>
                  <a:pt x="11498522" y="4144172"/>
                  <a:pt x="11473924" y="4168769"/>
                </a:cubicBezTo>
                <a:cubicBezTo>
                  <a:pt x="11473924" y="4168769"/>
                  <a:pt x="11473924" y="4168769"/>
                  <a:pt x="11480952" y="4175797"/>
                </a:cubicBezTo>
                <a:cubicBezTo>
                  <a:pt x="11480952" y="4175797"/>
                  <a:pt x="11480952" y="4175797"/>
                  <a:pt x="11505548" y="4151200"/>
                </a:cubicBezTo>
                <a:cubicBezTo>
                  <a:pt x="11509062" y="4151200"/>
                  <a:pt x="11512576" y="4154713"/>
                  <a:pt x="11516090" y="4158227"/>
                </a:cubicBezTo>
                <a:cubicBezTo>
                  <a:pt x="11516090" y="4158227"/>
                  <a:pt x="11516090" y="4158227"/>
                  <a:pt x="11519604" y="4151200"/>
                </a:cubicBezTo>
                <a:cubicBezTo>
                  <a:pt x="11509062" y="4144172"/>
                  <a:pt x="11502036" y="4137144"/>
                  <a:pt x="11495008" y="4130117"/>
                </a:cubicBezTo>
                <a:close/>
                <a:moveTo>
                  <a:pt x="11824589" y="4119368"/>
                </a:moveTo>
                <a:lnTo>
                  <a:pt x="11842055" y="4126086"/>
                </a:lnTo>
                <a:lnTo>
                  <a:pt x="11842055" y="4130117"/>
                </a:lnTo>
                <a:lnTo>
                  <a:pt x="11835337" y="4136835"/>
                </a:lnTo>
                <a:lnTo>
                  <a:pt x="11831307" y="4130117"/>
                </a:lnTo>
                <a:close/>
                <a:moveTo>
                  <a:pt x="11820942" y="4112650"/>
                </a:moveTo>
                <a:lnTo>
                  <a:pt x="11813840" y="4119592"/>
                </a:lnTo>
                <a:cubicBezTo>
                  <a:pt x="11813840" y="4119592"/>
                  <a:pt x="11813840" y="4119592"/>
                  <a:pt x="11820942" y="4130004"/>
                </a:cubicBezTo>
                <a:cubicBezTo>
                  <a:pt x="11820942" y="4130004"/>
                  <a:pt x="11820942" y="4130004"/>
                  <a:pt x="11838696" y="4154300"/>
                </a:cubicBezTo>
                <a:cubicBezTo>
                  <a:pt x="11838696" y="4154300"/>
                  <a:pt x="11842247" y="4150830"/>
                  <a:pt x="11842247" y="4150830"/>
                </a:cubicBezTo>
                <a:cubicBezTo>
                  <a:pt x="11842247" y="4150830"/>
                  <a:pt x="11842247" y="4150830"/>
                  <a:pt x="11838696" y="4143888"/>
                </a:cubicBezTo>
                <a:cubicBezTo>
                  <a:pt x="11838696" y="4143888"/>
                  <a:pt x="11838696" y="4143888"/>
                  <a:pt x="11849349" y="4130004"/>
                </a:cubicBezTo>
                <a:cubicBezTo>
                  <a:pt x="11849349" y="4130004"/>
                  <a:pt x="11849349" y="4130004"/>
                  <a:pt x="11856450" y="4130004"/>
                </a:cubicBezTo>
                <a:cubicBezTo>
                  <a:pt x="11860002" y="4130004"/>
                  <a:pt x="11860002" y="4130004"/>
                  <a:pt x="11860002" y="4130004"/>
                </a:cubicBezTo>
                <a:cubicBezTo>
                  <a:pt x="11860002" y="4126533"/>
                  <a:pt x="11863552" y="4126533"/>
                  <a:pt x="11863552" y="4123062"/>
                </a:cubicBezTo>
                <a:cubicBezTo>
                  <a:pt x="11863552" y="4123062"/>
                  <a:pt x="11863552" y="4123062"/>
                  <a:pt x="11820942" y="4112650"/>
                </a:cubicBezTo>
                <a:close/>
                <a:moveTo>
                  <a:pt x="11466198" y="4097871"/>
                </a:moveTo>
                <a:cubicBezTo>
                  <a:pt x="11430930" y="4122951"/>
                  <a:pt x="11430930" y="4122951"/>
                  <a:pt x="11430930" y="4122951"/>
                </a:cubicBezTo>
                <a:cubicBezTo>
                  <a:pt x="11434457" y="4126534"/>
                  <a:pt x="11434457" y="4126534"/>
                  <a:pt x="11437984" y="4130117"/>
                </a:cubicBezTo>
                <a:cubicBezTo>
                  <a:pt x="11459145" y="4115786"/>
                  <a:pt x="11459145" y="4115786"/>
                  <a:pt x="11459145" y="4115786"/>
                </a:cubicBezTo>
                <a:cubicBezTo>
                  <a:pt x="11448564" y="4144447"/>
                  <a:pt x="11448564" y="4144447"/>
                  <a:pt x="11448564" y="4144447"/>
                </a:cubicBezTo>
                <a:cubicBezTo>
                  <a:pt x="11452091" y="4148031"/>
                  <a:pt x="11452091" y="4148031"/>
                  <a:pt x="11455618" y="4151613"/>
                </a:cubicBezTo>
                <a:cubicBezTo>
                  <a:pt x="11487359" y="4122951"/>
                  <a:pt x="11487359" y="4122951"/>
                  <a:pt x="11487359" y="4122951"/>
                </a:cubicBezTo>
                <a:cubicBezTo>
                  <a:pt x="11487359" y="4119368"/>
                  <a:pt x="11483833" y="4119368"/>
                  <a:pt x="11483833" y="4115786"/>
                </a:cubicBezTo>
                <a:cubicBezTo>
                  <a:pt x="11462672" y="4133699"/>
                  <a:pt x="11462672" y="4133699"/>
                  <a:pt x="11462672" y="4133699"/>
                </a:cubicBezTo>
                <a:cubicBezTo>
                  <a:pt x="11473252" y="4105037"/>
                  <a:pt x="11473252" y="4105037"/>
                  <a:pt x="11473252" y="4105037"/>
                </a:cubicBezTo>
                <a:cubicBezTo>
                  <a:pt x="11469725" y="4101454"/>
                  <a:pt x="11469725" y="4101454"/>
                  <a:pt x="11466198" y="4097871"/>
                </a:cubicBezTo>
                <a:close/>
                <a:moveTo>
                  <a:pt x="11835338" y="4087123"/>
                </a:moveTo>
                <a:lnTo>
                  <a:pt x="11831307" y="4095184"/>
                </a:lnTo>
                <a:lnTo>
                  <a:pt x="11870270" y="4115338"/>
                </a:lnTo>
                <a:lnTo>
                  <a:pt x="11883706" y="4091154"/>
                </a:lnTo>
                <a:lnTo>
                  <a:pt x="11876988" y="4087123"/>
                </a:lnTo>
                <a:lnTo>
                  <a:pt x="11866239" y="4105933"/>
                </a:lnTo>
                <a:close/>
                <a:moveTo>
                  <a:pt x="11459634" y="4084436"/>
                </a:moveTo>
                <a:cubicBezTo>
                  <a:pt x="11424212" y="4105598"/>
                  <a:pt x="11424212" y="4105598"/>
                  <a:pt x="11424212" y="4105598"/>
                </a:cubicBezTo>
                <a:cubicBezTo>
                  <a:pt x="11424212" y="4105598"/>
                  <a:pt x="11424212" y="4109124"/>
                  <a:pt x="11427754" y="4112651"/>
                </a:cubicBezTo>
                <a:cubicBezTo>
                  <a:pt x="11463176" y="4091490"/>
                  <a:pt x="11463176" y="4091490"/>
                  <a:pt x="11463176" y="4091490"/>
                </a:cubicBezTo>
                <a:cubicBezTo>
                  <a:pt x="11463176" y="4087963"/>
                  <a:pt x="11459634" y="4087963"/>
                  <a:pt x="11459634" y="4084436"/>
                </a:cubicBezTo>
                <a:close/>
                <a:moveTo>
                  <a:pt x="11450927" y="4050826"/>
                </a:moveTo>
                <a:cubicBezTo>
                  <a:pt x="11452683" y="4051267"/>
                  <a:pt x="11454437" y="4053030"/>
                  <a:pt x="11456192" y="4056557"/>
                </a:cubicBezTo>
                <a:cubicBezTo>
                  <a:pt x="11487785" y="4134148"/>
                  <a:pt x="11561500" y="4187050"/>
                  <a:pt x="11649257" y="4187050"/>
                </a:cubicBezTo>
                <a:cubicBezTo>
                  <a:pt x="11737012" y="4187050"/>
                  <a:pt x="11810728" y="4134148"/>
                  <a:pt x="11842320" y="4056557"/>
                </a:cubicBezTo>
                <a:cubicBezTo>
                  <a:pt x="11844075" y="4053030"/>
                  <a:pt x="11845831" y="4051267"/>
                  <a:pt x="11847586" y="4050826"/>
                </a:cubicBezTo>
                <a:cubicBezTo>
                  <a:pt x="11849340" y="4050386"/>
                  <a:pt x="11851096" y="4051267"/>
                  <a:pt x="11852851" y="4053030"/>
                </a:cubicBezTo>
                <a:cubicBezTo>
                  <a:pt x="11852851" y="4053030"/>
                  <a:pt x="11852851" y="4053030"/>
                  <a:pt x="11891464" y="4063611"/>
                </a:cubicBezTo>
                <a:cubicBezTo>
                  <a:pt x="11894974" y="4067138"/>
                  <a:pt x="11898484" y="4070664"/>
                  <a:pt x="11898484" y="4074191"/>
                </a:cubicBezTo>
                <a:cubicBezTo>
                  <a:pt x="11859871" y="4176469"/>
                  <a:pt x="11761585" y="4247006"/>
                  <a:pt x="11649257" y="4247006"/>
                </a:cubicBezTo>
                <a:cubicBezTo>
                  <a:pt x="11536929" y="4247006"/>
                  <a:pt x="11438641" y="4176469"/>
                  <a:pt x="11400028" y="4077719"/>
                </a:cubicBezTo>
                <a:cubicBezTo>
                  <a:pt x="11400028" y="4070664"/>
                  <a:pt x="11400028" y="4067138"/>
                  <a:pt x="11407049" y="4063611"/>
                </a:cubicBezTo>
                <a:cubicBezTo>
                  <a:pt x="11407049" y="4063611"/>
                  <a:pt x="11407049" y="4063611"/>
                  <a:pt x="11445662" y="4053030"/>
                </a:cubicBezTo>
                <a:cubicBezTo>
                  <a:pt x="11447417" y="4051267"/>
                  <a:pt x="11449172" y="4050386"/>
                  <a:pt x="11450927" y="4050826"/>
                </a:cubicBezTo>
                <a:close/>
                <a:moveTo>
                  <a:pt x="11603442" y="4044988"/>
                </a:moveTo>
                <a:cubicBezTo>
                  <a:pt x="11606935" y="4041442"/>
                  <a:pt x="11610428" y="4041442"/>
                  <a:pt x="11613922" y="4044988"/>
                </a:cubicBezTo>
                <a:cubicBezTo>
                  <a:pt x="11613922" y="4044988"/>
                  <a:pt x="11617414" y="4048534"/>
                  <a:pt x="11617414" y="4052079"/>
                </a:cubicBezTo>
                <a:cubicBezTo>
                  <a:pt x="11617414" y="4052079"/>
                  <a:pt x="11624401" y="4154898"/>
                  <a:pt x="11624401" y="4154898"/>
                </a:cubicBezTo>
                <a:cubicBezTo>
                  <a:pt x="11624401" y="4161989"/>
                  <a:pt x="11624401" y="4165535"/>
                  <a:pt x="11620908" y="4165535"/>
                </a:cubicBezTo>
                <a:cubicBezTo>
                  <a:pt x="11620908" y="4169080"/>
                  <a:pt x="11617414" y="4169080"/>
                  <a:pt x="11613922" y="4165535"/>
                </a:cubicBezTo>
                <a:cubicBezTo>
                  <a:pt x="11568509" y="4154898"/>
                  <a:pt x="11537070" y="4137171"/>
                  <a:pt x="11505632" y="4101715"/>
                </a:cubicBezTo>
                <a:cubicBezTo>
                  <a:pt x="11502138" y="4101715"/>
                  <a:pt x="11502138" y="4098170"/>
                  <a:pt x="11502138" y="4098170"/>
                </a:cubicBezTo>
                <a:cubicBezTo>
                  <a:pt x="11502138" y="4094625"/>
                  <a:pt x="11502138" y="4094625"/>
                  <a:pt x="11502138" y="4094625"/>
                </a:cubicBezTo>
                <a:cubicBezTo>
                  <a:pt x="11502138" y="4091080"/>
                  <a:pt x="11505632" y="4091080"/>
                  <a:pt x="11509124" y="4091080"/>
                </a:cubicBezTo>
                <a:cubicBezTo>
                  <a:pt x="11509124" y="4091080"/>
                  <a:pt x="11509124" y="4091080"/>
                  <a:pt x="11603442" y="4044988"/>
                </a:cubicBezTo>
                <a:close/>
                <a:moveTo>
                  <a:pt x="11688084" y="4041442"/>
                </a:moveTo>
                <a:cubicBezTo>
                  <a:pt x="11691578" y="4041442"/>
                  <a:pt x="11695071" y="4041442"/>
                  <a:pt x="11698565" y="4041442"/>
                </a:cubicBezTo>
                <a:cubicBezTo>
                  <a:pt x="11698565" y="4041442"/>
                  <a:pt x="11698565" y="4041442"/>
                  <a:pt x="11789388" y="4087353"/>
                </a:cubicBezTo>
                <a:cubicBezTo>
                  <a:pt x="11792882" y="4090885"/>
                  <a:pt x="11796375" y="4090885"/>
                  <a:pt x="11796375" y="4094417"/>
                </a:cubicBezTo>
                <a:cubicBezTo>
                  <a:pt x="11796375" y="4097948"/>
                  <a:pt x="11796375" y="4097948"/>
                  <a:pt x="11792882" y="4101480"/>
                </a:cubicBezTo>
                <a:cubicBezTo>
                  <a:pt x="11761442" y="4136796"/>
                  <a:pt x="11730003" y="4154454"/>
                  <a:pt x="11684592" y="4165049"/>
                </a:cubicBezTo>
                <a:cubicBezTo>
                  <a:pt x="11681098" y="4165049"/>
                  <a:pt x="11677605" y="4165049"/>
                  <a:pt x="11677605" y="4165049"/>
                </a:cubicBezTo>
                <a:cubicBezTo>
                  <a:pt x="11674112" y="4161517"/>
                  <a:pt x="11674112" y="4157985"/>
                  <a:pt x="11674112" y="4154454"/>
                </a:cubicBezTo>
                <a:cubicBezTo>
                  <a:pt x="11674112" y="4154454"/>
                  <a:pt x="11674112" y="4154454"/>
                  <a:pt x="11684592" y="4052038"/>
                </a:cubicBezTo>
                <a:cubicBezTo>
                  <a:pt x="11684592" y="4048506"/>
                  <a:pt x="11684592" y="4044974"/>
                  <a:pt x="11688084" y="4041442"/>
                </a:cubicBezTo>
                <a:close/>
                <a:moveTo>
                  <a:pt x="10810283" y="4002478"/>
                </a:moveTo>
                <a:lnTo>
                  <a:pt x="10851862" y="4002478"/>
                </a:lnTo>
                <a:cubicBezTo>
                  <a:pt x="10851862" y="4002478"/>
                  <a:pt x="10851862" y="4002478"/>
                  <a:pt x="10851862" y="4045088"/>
                </a:cubicBezTo>
                <a:cubicBezTo>
                  <a:pt x="10851862" y="4045088"/>
                  <a:pt x="10824142" y="4052190"/>
                  <a:pt x="10803353" y="4052190"/>
                </a:cubicBezTo>
                <a:cubicBezTo>
                  <a:pt x="10786028" y="4052190"/>
                  <a:pt x="10786028" y="4037987"/>
                  <a:pt x="10786028" y="4027334"/>
                </a:cubicBezTo>
                <a:cubicBezTo>
                  <a:pt x="10786028" y="4013131"/>
                  <a:pt x="10792958" y="4006029"/>
                  <a:pt x="10810283" y="4002478"/>
                </a:cubicBezTo>
                <a:close/>
                <a:moveTo>
                  <a:pt x="10494479" y="3932613"/>
                </a:moveTo>
                <a:cubicBezTo>
                  <a:pt x="10525716" y="3932613"/>
                  <a:pt x="10536128" y="3946681"/>
                  <a:pt x="10536128" y="3988885"/>
                </a:cubicBezTo>
                <a:cubicBezTo>
                  <a:pt x="10536128" y="4027570"/>
                  <a:pt x="10529187" y="4052189"/>
                  <a:pt x="10494479" y="4052189"/>
                </a:cubicBezTo>
                <a:cubicBezTo>
                  <a:pt x="10459770" y="4052189"/>
                  <a:pt x="10452829" y="4031088"/>
                  <a:pt x="10452829" y="3988885"/>
                </a:cubicBezTo>
                <a:cubicBezTo>
                  <a:pt x="10452829" y="3946681"/>
                  <a:pt x="10463241" y="3932613"/>
                  <a:pt x="10494479" y="3932613"/>
                </a:cubicBezTo>
                <a:close/>
                <a:moveTo>
                  <a:pt x="11639005" y="3928584"/>
                </a:moveTo>
                <a:cubicBezTo>
                  <a:pt x="11639005" y="3928584"/>
                  <a:pt x="11639005" y="3928584"/>
                  <a:pt x="11660034" y="3928584"/>
                </a:cubicBezTo>
                <a:cubicBezTo>
                  <a:pt x="11660034" y="3928584"/>
                  <a:pt x="11660034" y="3935677"/>
                  <a:pt x="11660034" y="3939224"/>
                </a:cubicBezTo>
                <a:cubicBezTo>
                  <a:pt x="11677559" y="3942771"/>
                  <a:pt x="11691578" y="3960506"/>
                  <a:pt x="11691578" y="3978241"/>
                </a:cubicBezTo>
                <a:cubicBezTo>
                  <a:pt x="11691578" y="3999523"/>
                  <a:pt x="11670549" y="4017258"/>
                  <a:pt x="11649519" y="4017258"/>
                </a:cubicBezTo>
                <a:cubicBezTo>
                  <a:pt x="11628490" y="4017258"/>
                  <a:pt x="11610966" y="3999523"/>
                  <a:pt x="11610966" y="3978241"/>
                </a:cubicBezTo>
                <a:cubicBezTo>
                  <a:pt x="11610966" y="3960506"/>
                  <a:pt x="11621480" y="3942771"/>
                  <a:pt x="11639005" y="3939224"/>
                </a:cubicBezTo>
                <a:cubicBezTo>
                  <a:pt x="11639005" y="3939224"/>
                  <a:pt x="11639005" y="3928584"/>
                  <a:pt x="11639005" y="3928584"/>
                </a:cubicBezTo>
                <a:close/>
                <a:moveTo>
                  <a:pt x="11649257" y="3917835"/>
                </a:moveTo>
                <a:cubicBezTo>
                  <a:pt x="11616236" y="3917835"/>
                  <a:pt x="11589469" y="3944904"/>
                  <a:pt x="11589469" y="3978295"/>
                </a:cubicBezTo>
                <a:cubicBezTo>
                  <a:pt x="11589469" y="4011686"/>
                  <a:pt x="11616236" y="4038755"/>
                  <a:pt x="11649257" y="4038755"/>
                </a:cubicBezTo>
                <a:cubicBezTo>
                  <a:pt x="11682277" y="4038755"/>
                  <a:pt x="11709045" y="4011686"/>
                  <a:pt x="11709045" y="3978295"/>
                </a:cubicBezTo>
                <a:cubicBezTo>
                  <a:pt x="11709045" y="3944904"/>
                  <a:pt x="11682277" y="3917835"/>
                  <a:pt x="11649257" y="3917835"/>
                </a:cubicBezTo>
                <a:close/>
                <a:moveTo>
                  <a:pt x="11649257" y="3911118"/>
                </a:moveTo>
                <a:cubicBezTo>
                  <a:pt x="11685987" y="3911118"/>
                  <a:pt x="11715763" y="3941194"/>
                  <a:pt x="11715763" y="3978295"/>
                </a:cubicBezTo>
                <a:cubicBezTo>
                  <a:pt x="11715763" y="4015397"/>
                  <a:pt x="11685987" y="4045473"/>
                  <a:pt x="11649257" y="4045473"/>
                </a:cubicBezTo>
                <a:cubicBezTo>
                  <a:pt x="11612526" y="4045473"/>
                  <a:pt x="11582751" y="4015397"/>
                  <a:pt x="11582751" y="3978295"/>
                </a:cubicBezTo>
                <a:cubicBezTo>
                  <a:pt x="11582751" y="3941194"/>
                  <a:pt x="11612526" y="3911118"/>
                  <a:pt x="11649257" y="3911118"/>
                </a:cubicBezTo>
                <a:close/>
                <a:moveTo>
                  <a:pt x="11824549" y="3908431"/>
                </a:moveTo>
                <a:cubicBezTo>
                  <a:pt x="11828050" y="3908431"/>
                  <a:pt x="11828050" y="3911957"/>
                  <a:pt x="11828050" y="3915484"/>
                </a:cubicBezTo>
                <a:cubicBezTo>
                  <a:pt x="11842055" y="3957806"/>
                  <a:pt x="11842055" y="3996601"/>
                  <a:pt x="11828050" y="4038923"/>
                </a:cubicBezTo>
                <a:cubicBezTo>
                  <a:pt x="11828050" y="4045977"/>
                  <a:pt x="11828050" y="4045977"/>
                  <a:pt x="11824549" y="4045977"/>
                </a:cubicBezTo>
                <a:cubicBezTo>
                  <a:pt x="11821047" y="4049504"/>
                  <a:pt x="11817546" y="4045977"/>
                  <a:pt x="11817546" y="4045977"/>
                </a:cubicBezTo>
                <a:lnTo>
                  <a:pt x="11730012" y="3986021"/>
                </a:lnTo>
                <a:cubicBezTo>
                  <a:pt x="11726510" y="3982494"/>
                  <a:pt x="11726510" y="3978967"/>
                  <a:pt x="11726510" y="3978967"/>
                </a:cubicBezTo>
                <a:cubicBezTo>
                  <a:pt x="11726510" y="3975441"/>
                  <a:pt x="11726510" y="3971914"/>
                  <a:pt x="11730012" y="3968386"/>
                </a:cubicBezTo>
                <a:cubicBezTo>
                  <a:pt x="11730012" y="3968386"/>
                  <a:pt x="11730012" y="3968386"/>
                  <a:pt x="11814044" y="3911957"/>
                </a:cubicBezTo>
                <a:cubicBezTo>
                  <a:pt x="11821047" y="3908431"/>
                  <a:pt x="11824549" y="3908431"/>
                  <a:pt x="11824549" y="3908431"/>
                </a:cubicBezTo>
                <a:close/>
                <a:moveTo>
                  <a:pt x="11473964" y="3908431"/>
                </a:moveTo>
                <a:cubicBezTo>
                  <a:pt x="11477466" y="3908431"/>
                  <a:pt x="11480967" y="3908431"/>
                  <a:pt x="11480967" y="3911957"/>
                </a:cubicBezTo>
                <a:lnTo>
                  <a:pt x="11568501" y="3968386"/>
                </a:lnTo>
                <a:cubicBezTo>
                  <a:pt x="11572002" y="3971914"/>
                  <a:pt x="11572002" y="3975441"/>
                  <a:pt x="11572002" y="3978967"/>
                </a:cubicBezTo>
                <a:cubicBezTo>
                  <a:pt x="11572002" y="3982494"/>
                  <a:pt x="11572002" y="3986021"/>
                  <a:pt x="11568501" y="3986021"/>
                </a:cubicBezTo>
                <a:cubicBezTo>
                  <a:pt x="11568501" y="3986021"/>
                  <a:pt x="11568501" y="3986021"/>
                  <a:pt x="11480967" y="4045977"/>
                </a:cubicBezTo>
                <a:cubicBezTo>
                  <a:pt x="11477466" y="4045977"/>
                  <a:pt x="11473964" y="4049504"/>
                  <a:pt x="11473964" y="4045977"/>
                </a:cubicBezTo>
                <a:cubicBezTo>
                  <a:pt x="11470463" y="4045977"/>
                  <a:pt x="11470463" y="4042450"/>
                  <a:pt x="11466961" y="4042450"/>
                </a:cubicBezTo>
                <a:cubicBezTo>
                  <a:pt x="11456457" y="3996601"/>
                  <a:pt x="11456457" y="3957806"/>
                  <a:pt x="11466961" y="3915484"/>
                </a:cubicBezTo>
                <a:cubicBezTo>
                  <a:pt x="11470463" y="3911957"/>
                  <a:pt x="11470463" y="3908431"/>
                  <a:pt x="11473964" y="3908431"/>
                </a:cubicBezTo>
                <a:close/>
                <a:moveTo>
                  <a:pt x="11070316" y="3897682"/>
                </a:moveTo>
                <a:cubicBezTo>
                  <a:pt x="11070316" y="3901208"/>
                  <a:pt x="11066828" y="3901208"/>
                  <a:pt x="11070316" y="3904735"/>
                </a:cubicBezTo>
                <a:cubicBezTo>
                  <a:pt x="11112166" y="4066969"/>
                  <a:pt x="11112166" y="4066969"/>
                  <a:pt x="11112166" y="4066969"/>
                </a:cubicBezTo>
                <a:cubicBezTo>
                  <a:pt x="11112166" y="4074023"/>
                  <a:pt x="11119141" y="4088130"/>
                  <a:pt x="11133091" y="4088130"/>
                </a:cubicBezTo>
                <a:cubicBezTo>
                  <a:pt x="11143554" y="4088130"/>
                  <a:pt x="11143554" y="4088130"/>
                  <a:pt x="11143554" y="4088130"/>
                </a:cubicBezTo>
                <a:cubicBezTo>
                  <a:pt x="11140066" y="4091657"/>
                  <a:pt x="11140066" y="4091657"/>
                  <a:pt x="11140066" y="4095183"/>
                </a:cubicBezTo>
                <a:cubicBezTo>
                  <a:pt x="11136578" y="4105763"/>
                  <a:pt x="11133091" y="4116344"/>
                  <a:pt x="11112166" y="4116344"/>
                </a:cubicBezTo>
                <a:cubicBezTo>
                  <a:pt x="11077291" y="4112818"/>
                  <a:pt x="11077291" y="4112818"/>
                  <a:pt x="11077291" y="4112818"/>
                </a:cubicBezTo>
                <a:cubicBezTo>
                  <a:pt x="11077291" y="4112818"/>
                  <a:pt x="11073804" y="4112818"/>
                  <a:pt x="11073804" y="4116344"/>
                </a:cubicBezTo>
                <a:cubicBezTo>
                  <a:pt x="11070316" y="4116344"/>
                  <a:pt x="11070316" y="4119871"/>
                  <a:pt x="11070316" y="4119871"/>
                </a:cubicBezTo>
                <a:cubicBezTo>
                  <a:pt x="11070316" y="4141032"/>
                  <a:pt x="11070316" y="4141032"/>
                  <a:pt x="11070316" y="4141032"/>
                </a:cubicBezTo>
                <a:cubicBezTo>
                  <a:pt x="11070316" y="4144559"/>
                  <a:pt x="11073804" y="4144559"/>
                  <a:pt x="11077291" y="4148086"/>
                </a:cubicBezTo>
                <a:cubicBezTo>
                  <a:pt x="11087754" y="4148086"/>
                  <a:pt x="11108678" y="4151612"/>
                  <a:pt x="11122628" y="4151612"/>
                </a:cubicBezTo>
                <a:cubicBezTo>
                  <a:pt x="11126116" y="4151612"/>
                  <a:pt x="11126116" y="4151612"/>
                  <a:pt x="11126116" y="4151612"/>
                </a:cubicBezTo>
                <a:cubicBezTo>
                  <a:pt x="11154016" y="4151612"/>
                  <a:pt x="11171453" y="4133978"/>
                  <a:pt x="11181916" y="4098710"/>
                </a:cubicBezTo>
                <a:cubicBezTo>
                  <a:pt x="11192378" y="4059915"/>
                  <a:pt x="11206329" y="4007013"/>
                  <a:pt x="11213303" y="3968218"/>
                </a:cubicBezTo>
                <a:cubicBezTo>
                  <a:pt x="11220279" y="3950584"/>
                  <a:pt x="11223766" y="3936476"/>
                  <a:pt x="11227253" y="3925896"/>
                </a:cubicBezTo>
                <a:cubicBezTo>
                  <a:pt x="11230741" y="3904735"/>
                  <a:pt x="11230741" y="3904735"/>
                  <a:pt x="11230741" y="3904735"/>
                </a:cubicBezTo>
                <a:cubicBezTo>
                  <a:pt x="11230741" y="3901208"/>
                  <a:pt x="11230741" y="3901208"/>
                  <a:pt x="11230741" y="3897682"/>
                </a:cubicBezTo>
                <a:cubicBezTo>
                  <a:pt x="11227253" y="3897682"/>
                  <a:pt x="11227253" y="3897682"/>
                  <a:pt x="11223766" y="3897682"/>
                </a:cubicBezTo>
                <a:cubicBezTo>
                  <a:pt x="11195866" y="3897682"/>
                  <a:pt x="11195866" y="3897682"/>
                  <a:pt x="11195866" y="3897682"/>
                </a:cubicBezTo>
                <a:cubicBezTo>
                  <a:pt x="11192378" y="3897682"/>
                  <a:pt x="11188891" y="3897682"/>
                  <a:pt x="11188891" y="3901208"/>
                </a:cubicBezTo>
                <a:cubicBezTo>
                  <a:pt x="11150528" y="4045808"/>
                  <a:pt x="11150528" y="4045808"/>
                  <a:pt x="11150528" y="4045808"/>
                </a:cubicBezTo>
                <a:cubicBezTo>
                  <a:pt x="11147041" y="4045808"/>
                  <a:pt x="11147041" y="4045808"/>
                  <a:pt x="11147041" y="4045808"/>
                </a:cubicBezTo>
                <a:cubicBezTo>
                  <a:pt x="11112166" y="3901208"/>
                  <a:pt x="11112166" y="3901208"/>
                  <a:pt x="11112166" y="3901208"/>
                </a:cubicBezTo>
                <a:cubicBezTo>
                  <a:pt x="11108678" y="3897682"/>
                  <a:pt x="11108678" y="3897682"/>
                  <a:pt x="11105191" y="3897682"/>
                </a:cubicBezTo>
                <a:cubicBezTo>
                  <a:pt x="11077291" y="3897682"/>
                  <a:pt x="11077291" y="3897682"/>
                  <a:pt x="11077291" y="3897682"/>
                </a:cubicBezTo>
                <a:cubicBezTo>
                  <a:pt x="11073804" y="3897682"/>
                  <a:pt x="11070316" y="3897682"/>
                  <a:pt x="11070316" y="3897682"/>
                </a:cubicBezTo>
                <a:close/>
                <a:moveTo>
                  <a:pt x="11038289" y="3893651"/>
                </a:moveTo>
                <a:cubicBezTo>
                  <a:pt x="11017163" y="3893651"/>
                  <a:pt x="10999559" y="3907722"/>
                  <a:pt x="10985474" y="3914757"/>
                </a:cubicBezTo>
                <a:cubicBezTo>
                  <a:pt x="10985474" y="3904204"/>
                  <a:pt x="10985474" y="3904204"/>
                  <a:pt x="10985474" y="3904204"/>
                </a:cubicBezTo>
                <a:cubicBezTo>
                  <a:pt x="10985474" y="3897169"/>
                  <a:pt x="10981954" y="3897169"/>
                  <a:pt x="10978433" y="3897169"/>
                </a:cubicBezTo>
                <a:cubicBezTo>
                  <a:pt x="10950264" y="3897169"/>
                  <a:pt x="10950264" y="3897169"/>
                  <a:pt x="10950264" y="3897169"/>
                </a:cubicBezTo>
                <a:cubicBezTo>
                  <a:pt x="10946743" y="3897169"/>
                  <a:pt x="10943222" y="3897169"/>
                  <a:pt x="10943222" y="3904204"/>
                </a:cubicBezTo>
                <a:cubicBezTo>
                  <a:pt x="10943222" y="4080087"/>
                  <a:pt x="10943222" y="4080087"/>
                  <a:pt x="10943222" y="4080087"/>
                </a:cubicBezTo>
                <a:cubicBezTo>
                  <a:pt x="10943222" y="4083605"/>
                  <a:pt x="10946743" y="4087122"/>
                  <a:pt x="10950264" y="4087122"/>
                </a:cubicBezTo>
                <a:cubicBezTo>
                  <a:pt x="10978433" y="4087122"/>
                  <a:pt x="10978433" y="4087122"/>
                  <a:pt x="10978433" y="4087122"/>
                </a:cubicBezTo>
                <a:cubicBezTo>
                  <a:pt x="10981954" y="4087122"/>
                  <a:pt x="10985474" y="4083605"/>
                  <a:pt x="10985474" y="4080087"/>
                </a:cubicBezTo>
                <a:cubicBezTo>
                  <a:pt x="10985474" y="3956969"/>
                  <a:pt x="10985474" y="3956969"/>
                  <a:pt x="10985474" y="3956969"/>
                </a:cubicBezTo>
                <a:cubicBezTo>
                  <a:pt x="10992517" y="3953451"/>
                  <a:pt x="11013643" y="3935863"/>
                  <a:pt x="11038289" y="3935863"/>
                </a:cubicBezTo>
                <a:cubicBezTo>
                  <a:pt x="11041811" y="3932345"/>
                  <a:pt x="11045332" y="3932345"/>
                  <a:pt x="11045332" y="3928828"/>
                </a:cubicBezTo>
                <a:cubicBezTo>
                  <a:pt x="11045332" y="3900687"/>
                  <a:pt x="11045332" y="3900687"/>
                  <a:pt x="11045332" y="3900687"/>
                </a:cubicBezTo>
                <a:cubicBezTo>
                  <a:pt x="11045332" y="3900687"/>
                  <a:pt x="11045332" y="3897169"/>
                  <a:pt x="11041811" y="3897169"/>
                </a:cubicBezTo>
                <a:cubicBezTo>
                  <a:pt x="11041811" y="3893651"/>
                  <a:pt x="11038289" y="3893651"/>
                  <a:pt x="11038289" y="3893651"/>
                </a:cubicBezTo>
                <a:close/>
                <a:moveTo>
                  <a:pt x="10831647" y="3889620"/>
                </a:moveTo>
                <a:cubicBezTo>
                  <a:pt x="10810578" y="3889620"/>
                  <a:pt x="10775463" y="3896691"/>
                  <a:pt x="10761417" y="3896691"/>
                </a:cubicBezTo>
                <a:cubicBezTo>
                  <a:pt x="10757905" y="3896691"/>
                  <a:pt x="10754394" y="3900227"/>
                  <a:pt x="10754394" y="3903763"/>
                </a:cubicBezTo>
                <a:cubicBezTo>
                  <a:pt x="10754394" y="3903763"/>
                  <a:pt x="10754394" y="3903763"/>
                  <a:pt x="10754394" y="3928512"/>
                </a:cubicBezTo>
                <a:cubicBezTo>
                  <a:pt x="10754394" y="3932048"/>
                  <a:pt x="10754394" y="3932048"/>
                  <a:pt x="10757905" y="3935584"/>
                </a:cubicBezTo>
                <a:cubicBezTo>
                  <a:pt x="10757905" y="3935584"/>
                  <a:pt x="10761417" y="3935584"/>
                  <a:pt x="10761417" y="3935584"/>
                </a:cubicBezTo>
                <a:cubicBezTo>
                  <a:pt x="10778974" y="3935584"/>
                  <a:pt x="10807067" y="3932048"/>
                  <a:pt x="10828136" y="3932048"/>
                </a:cubicBezTo>
                <a:cubicBezTo>
                  <a:pt x="10842182" y="3932048"/>
                  <a:pt x="10852717" y="3942655"/>
                  <a:pt x="10852717" y="3956798"/>
                </a:cubicBezTo>
                <a:cubicBezTo>
                  <a:pt x="10852717" y="3956798"/>
                  <a:pt x="10852717" y="3956798"/>
                  <a:pt x="10852717" y="3967405"/>
                </a:cubicBezTo>
                <a:cubicBezTo>
                  <a:pt x="10852717" y="3967405"/>
                  <a:pt x="10852717" y="3967405"/>
                  <a:pt x="10803555" y="3970941"/>
                </a:cubicBezTo>
                <a:cubicBezTo>
                  <a:pt x="10761417" y="3974476"/>
                  <a:pt x="10740347" y="3992154"/>
                  <a:pt x="10740347" y="4031046"/>
                </a:cubicBezTo>
                <a:cubicBezTo>
                  <a:pt x="10740347" y="4069938"/>
                  <a:pt x="10761417" y="4091152"/>
                  <a:pt x="10796532" y="4091152"/>
                </a:cubicBezTo>
                <a:cubicBezTo>
                  <a:pt x="10824625" y="4091152"/>
                  <a:pt x="10859740" y="4077009"/>
                  <a:pt x="10859740" y="4077009"/>
                </a:cubicBezTo>
                <a:cubicBezTo>
                  <a:pt x="10866763" y="4084081"/>
                  <a:pt x="10873786" y="4087616"/>
                  <a:pt x="10887833" y="4091152"/>
                </a:cubicBezTo>
                <a:cubicBezTo>
                  <a:pt x="10891344" y="4091152"/>
                  <a:pt x="10891344" y="4091152"/>
                  <a:pt x="10894855" y="4087616"/>
                </a:cubicBezTo>
                <a:cubicBezTo>
                  <a:pt x="10894855" y="4087616"/>
                  <a:pt x="10894855" y="4084081"/>
                  <a:pt x="10894855" y="4084081"/>
                </a:cubicBezTo>
                <a:cubicBezTo>
                  <a:pt x="10894855" y="4084081"/>
                  <a:pt x="10894855" y="4084081"/>
                  <a:pt x="10894855" y="3956798"/>
                </a:cubicBezTo>
                <a:cubicBezTo>
                  <a:pt x="10894855" y="3910834"/>
                  <a:pt x="10873786" y="3889620"/>
                  <a:pt x="10831647" y="3889620"/>
                </a:cubicBezTo>
                <a:close/>
                <a:moveTo>
                  <a:pt x="10495822" y="3889619"/>
                </a:moveTo>
                <a:cubicBezTo>
                  <a:pt x="10448333" y="3889619"/>
                  <a:pt x="10409835" y="3934734"/>
                  <a:pt x="10409835" y="3990386"/>
                </a:cubicBezTo>
                <a:cubicBezTo>
                  <a:pt x="10409835" y="4046038"/>
                  <a:pt x="10448333" y="4091152"/>
                  <a:pt x="10495822" y="4091152"/>
                </a:cubicBezTo>
                <a:cubicBezTo>
                  <a:pt x="10543311" y="4091152"/>
                  <a:pt x="10581809" y="4046038"/>
                  <a:pt x="10581809" y="3990386"/>
                </a:cubicBezTo>
                <a:cubicBezTo>
                  <a:pt x="10581809" y="3934734"/>
                  <a:pt x="10543311" y="3889619"/>
                  <a:pt x="10495822" y="3889619"/>
                </a:cubicBezTo>
                <a:close/>
                <a:moveTo>
                  <a:pt x="10241892" y="3865436"/>
                </a:moveTo>
                <a:cubicBezTo>
                  <a:pt x="10248859" y="3865436"/>
                  <a:pt x="10255825" y="3865436"/>
                  <a:pt x="10273241" y="3865436"/>
                </a:cubicBezTo>
                <a:cubicBezTo>
                  <a:pt x="10273241" y="3865436"/>
                  <a:pt x="10273241" y="3865436"/>
                  <a:pt x="10290657" y="3865436"/>
                </a:cubicBezTo>
                <a:cubicBezTo>
                  <a:pt x="10322007" y="3865436"/>
                  <a:pt x="10335940" y="3886689"/>
                  <a:pt x="10335940" y="3904400"/>
                </a:cubicBezTo>
                <a:cubicBezTo>
                  <a:pt x="10335940" y="3929194"/>
                  <a:pt x="10318523" y="3943362"/>
                  <a:pt x="10287174" y="3943362"/>
                </a:cubicBezTo>
                <a:cubicBezTo>
                  <a:pt x="10266274" y="3943362"/>
                  <a:pt x="10248859" y="3943362"/>
                  <a:pt x="10241892" y="3943362"/>
                </a:cubicBezTo>
                <a:cubicBezTo>
                  <a:pt x="10241892" y="3943362"/>
                  <a:pt x="10241892" y="3943362"/>
                  <a:pt x="10241892" y="3865436"/>
                </a:cubicBezTo>
                <a:close/>
                <a:moveTo>
                  <a:pt x="10659063" y="3852001"/>
                </a:moveTo>
                <a:cubicBezTo>
                  <a:pt x="10659063" y="3852001"/>
                  <a:pt x="10659063" y="3852001"/>
                  <a:pt x="10627410" y="3859035"/>
                </a:cubicBezTo>
                <a:cubicBezTo>
                  <a:pt x="10623893" y="3859035"/>
                  <a:pt x="10623893" y="3862552"/>
                  <a:pt x="10623893" y="3866069"/>
                </a:cubicBezTo>
                <a:cubicBezTo>
                  <a:pt x="10623893" y="3866069"/>
                  <a:pt x="10623893" y="3866069"/>
                  <a:pt x="10623893" y="3897721"/>
                </a:cubicBezTo>
                <a:cubicBezTo>
                  <a:pt x="10623893" y="3897721"/>
                  <a:pt x="10623893" y="3897721"/>
                  <a:pt x="10606308" y="3897721"/>
                </a:cubicBezTo>
                <a:cubicBezTo>
                  <a:pt x="10602792" y="3897721"/>
                  <a:pt x="10599275" y="3897721"/>
                  <a:pt x="10599275" y="3904755"/>
                </a:cubicBezTo>
                <a:cubicBezTo>
                  <a:pt x="10599275" y="3904755"/>
                  <a:pt x="10599275" y="3904755"/>
                  <a:pt x="10599275" y="3929373"/>
                </a:cubicBezTo>
                <a:cubicBezTo>
                  <a:pt x="10599275" y="3932891"/>
                  <a:pt x="10602792" y="3936407"/>
                  <a:pt x="10606308" y="3936407"/>
                </a:cubicBezTo>
                <a:cubicBezTo>
                  <a:pt x="10606308" y="3936407"/>
                  <a:pt x="10606308" y="3936407"/>
                  <a:pt x="10623893" y="3936407"/>
                </a:cubicBezTo>
                <a:cubicBezTo>
                  <a:pt x="10623893" y="3936407"/>
                  <a:pt x="10623893" y="3936407"/>
                  <a:pt x="10623893" y="4020814"/>
                </a:cubicBezTo>
                <a:cubicBezTo>
                  <a:pt x="10623893" y="4073567"/>
                  <a:pt x="10637961" y="4091152"/>
                  <a:pt x="10680164" y="4091152"/>
                </a:cubicBezTo>
                <a:cubicBezTo>
                  <a:pt x="10690715" y="4091152"/>
                  <a:pt x="10701266" y="4087636"/>
                  <a:pt x="10711817" y="4087636"/>
                </a:cubicBezTo>
                <a:cubicBezTo>
                  <a:pt x="10715334" y="4087636"/>
                  <a:pt x="10718851" y="4084119"/>
                  <a:pt x="10718851" y="4080601"/>
                </a:cubicBezTo>
                <a:cubicBezTo>
                  <a:pt x="10718851" y="4080601"/>
                  <a:pt x="10718851" y="4080601"/>
                  <a:pt x="10718851" y="4055983"/>
                </a:cubicBezTo>
                <a:cubicBezTo>
                  <a:pt x="10718851" y="4052466"/>
                  <a:pt x="10715334" y="4048949"/>
                  <a:pt x="10711817" y="4048949"/>
                </a:cubicBezTo>
                <a:cubicBezTo>
                  <a:pt x="10704783" y="4048949"/>
                  <a:pt x="10694232" y="4048949"/>
                  <a:pt x="10687198" y="4048949"/>
                </a:cubicBezTo>
                <a:cubicBezTo>
                  <a:pt x="10666096" y="4048949"/>
                  <a:pt x="10666096" y="4041915"/>
                  <a:pt x="10666096" y="4013780"/>
                </a:cubicBezTo>
                <a:cubicBezTo>
                  <a:pt x="10666096" y="4013780"/>
                  <a:pt x="10666096" y="4013780"/>
                  <a:pt x="10666096" y="3936407"/>
                </a:cubicBezTo>
                <a:cubicBezTo>
                  <a:pt x="10666096" y="3936407"/>
                  <a:pt x="10666096" y="3936407"/>
                  <a:pt x="10711817" y="3936407"/>
                </a:cubicBezTo>
                <a:cubicBezTo>
                  <a:pt x="10715334" y="3936407"/>
                  <a:pt x="10718851" y="3932891"/>
                  <a:pt x="10718851" y="3929373"/>
                </a:cubicBezTo>
                <a:cubicBezTo>
                  <a:pt x="10718851" y="3929373"/>
                  <a:pt x="10718851" y="3929373"/>
                  <a:pt x="10718851" y="3904755"/>
                </a:cubicBezTo>
                <a:cubicBezTo>
                  <a:pt x="10718851" y="3897721"/>
                  <a:pt x="10715334" y="3897721"/>
                  <a:pt x="10711817" y="3897721"/>
                </a:cubicBezTo>
                <a:cubicBezTo>
                  <a:pt x="10711817" y="3897721"/>
                  <a:pt x="10711817" y="3897721"/>
                  <a:pt x="10666096" y="3897721"/>
                </a:cubicBezTo>
                <a:cubicBezTo>
                  <a:pt x="10666096" y="3897721"/>
                  <a:pt x="10666096" y="3897721"/>
                  <a:pt x="10666096" y="3859035"/>
                </a:cubicBezTo>
                <a:cubicBezTo>
                  <a:pt x="10666096" y="3855518"/>
                  <a:pt x="10666096" y="3855518"/>
                  <a:pt x="10662580" y="3852001"/>
                </a:cubicBezTo>
                <a:cubicBezTo>
                  <a:pt x="10662580" y="3852001"/>
                  <a:pt x="10659063" y="3852001"/>
                  <a:pt x="10659063" y="3852001"/>
                </a:cubicBezTo>
                <a:close/>
                <a:moveTo>
                  <a:pt x="10283668" y="3823787"/>
                </a:moveTo>
                <a:cubicBezTo>
                  <a:pt x="10273174" y="3823787"/>
                  <a:pt x="10241689" y="3823787"/>
                  <a:pt x="10203208" y="3827298"/>
                </a:cubicBezTo>
                <a:cubicBezTo>
                  <a:pt x="10199710" y="3827298"/>
                  <a:pt x="10196211" y="3830809"/>
                  <a:pt x="10196211" y="3834320"/>
                </a:cubicBezTo>
                <a:cubicBezTo>
                  <a:pt x="10196211" y="3834320"/>
                  <a:pt x="10196211" y="3834320"/>
                  <a:pt x="10196211" y="4080100"/>
                </a:cubicBezTo>
                <a:cubicBezTo>
                  <a:pt x="10196211" y="4083611"/>
                  <a:pt x="10199710" y="4087122"/>
                  <a:pt x="10203208" y="4087122"/>
                </a:cubicBezTo>
                <a:cubicBezTo>
                  <a:pt x="10203208" y="4087122"/>
                  <a:pt x="10203208" y="4087122"/>
                  <a:pt x="10234693" y="4087122"/>
                </a:cubicBezTo>
                <a:cubicBezTo>
                  <a:pt x="10238191" y="4087122"/>
                  <a:pt x="10241689" y="4083611"/>
                  <a:pt x="10241689" y="4080100"/>
                </a:cubicBezTo>
                <a:cubicBezTo>
                  <a:pt x="10241689" y="4080100"/>
                  <a:pt x="10241689" y="4080100"/>
                  <a:pt x="10241689" y="3981788"/>
                </a:cubicBezTo>
                <a:cubicBezTo>
                  <a:pt x="10252184" y="3985299"/>
                  <a:pt x="10269675" y="3985299"/>
                  <a:pt x="10290665" y="3985299"/>
                </a:cubicBezTo>
                <a:cubicBezTo>
                  <a:pt x="10290665" y="3985299"/>
                  <a:pt x="10290665" y="3985299"/>
                  <a:pt x="10336143" y="4083611"/>
                </a:cubicBezTo>
                <a:cubicBezTo>
                  <a:pt x="10336143" y="4083611"/>
                  <a:pt x="10339641" y="4087122"/>
                  <a:pt x="10343139" y="4087122"/>
                </a:cubicBezTo>
                <a:cubicBezTo>
                  <a:pt x="10343139" y="4087122"/>
                  <a:pt x="10343139" y="4087122"/>
                  <a:pt x="10374624" y="4087122"/>
                </a:cubicBezTo>
                <a:cubicBezTo>
                  <a:pt x="10378122" y="4087122"/>
                  <a:pt x="10381620" y="4083611"/>
                  <a:pt x="10381620" y="4083611"/>
                </a:cubicBezTo>
                <a:cubicBezTo>
                  <a:pt x="10381620" y="4080100"/>
                  <a:pt x="10381620" y="4080100"/>
                  <a:pt x="10381620" y="4076589"/>
                </a:cubicBezTo>
                <a:lnTo>
                  <a:pt x="10336143" y="3971255"/>
                </a:lnTo>
                <a:cubicBezTo>
                  <a:pt x="10367627" y="3957210"/>
                  <a:pt x="10381620" y="3936143"/>
                  <a:pt x="10381620" y="3904543"/>
                </a:cubicBezTo>
                <a:cubicBezTo>
                  <a:pt x="10381620" y="3865920"/>
                  <a:pt x="10364129" y="3823787"/>
                  <a:pt x="10290665" y="3823787"/>
                </a:cubicBezTo>
                <a:cubicBezTo>
                  <a:pt x="10290665" y="3823787"/>
                  <a:pt x="10287167" y="3823787"/>
                  <a:pt x="10283668" y="3823787"/>
                </a:cubicBezTo>
                <a:close/>
                <a:moveTo>
                  <a:pt x="11839186" y="3792865"/>
                </a:moveTo>
                <a:cubicBezTo>
                  <a:pt x="11841365" y="3793306"/>
                  <a:pt x="11843980" y="3795069"/>
                  <a:pt x="11845722" y="3798596"/>
                </a:cubicBezTo>
                <a:cubicBezTo>
                  <a:pt x="11901498" y="3855026"/>
                  <a:pt x="11929385" y="3946723"/>
                  <a:pt x="11908470" y="4038420"/>
                </a:cubicBezTo>
                <a:cubicBezTo>
                  <a:pt x="11908470" y="4041947"/>
                  <a:pt x="11904984" y="4045473"/>
                  <a:pt x="11898012" y="4041947"/>
                </a:cubicBezTo>
                <a:cubicBezTo>
                  <a:pt x="11898012" y="4041947"/>
                  <a:pt x="11898012" y="4041947"/>
                  <a:pt x="11859666" y="4031366"/>
                </a:cubicBezTo>
                <a:cubicBezTo>
                  <a:pt x="11856180" y="4031366"/>
                  <a:pt x="11852694" y="4027839"/>
                  <a:pt x="11852694" y="4020786"/>
                </a:cubicBezTo>
                <a:cubicBezTo>
                  <a:pt x="11866638" y="3946723"/>
                  <a:pt x="11849208" y="3886766"/>
                  <a:pt x="11807377" y="3840918"/>
                </a:cubicBezTo>
                <a:cubicBezTo>
                  <a:pt x="11800405" y="3837392"/>
                  <a:pt x="11800405" y="3830337"/>
                  <a:pt x="11807377" y="3826811"/>
                </a:cubicBezTo>
                <a:cubicBezTo>
                  <a:pt x="11807377" y="3826811"/>
                  <a:pt x="11807377" y="3826811"/>
                  <a:pt x="11835264" y="3795069"/>
                </a:cubicBezTo>
                <a:cubicBezTo>
                  <a:pt x="11835264" y="3793306"/>
                  <a:pt x="11837008" y="3792424"/>
                  <a:pt x="11839186" y="3792865"/>
                </a:cubicBezTo>
                <a:close/>
                <a:moveTo>
                  <a:pt x="11458923" y="3792865"/>
                </a:moveTo>
                <a:cubicBezTo>
                  <a:pt x="11461124" y="3792424"/>
                  <a:pt x="11462885" y="3793306"/>
                  <a:pt x="11462885" y="3795069"/>
                </a:cubicBezTo>
                <a:cubicBezTo>
                  <a:pt x="11462885" y="3795069"/>
                  <a:pt x="11462885" y="3795069"/>
                  <a:pt x="11494585" y="3826811"/>
                </a:cubicBezTo>
                <a:cubicBezTo>
                  <a:pt x="11498108" y="3830337"/>
                  <a:pt x="11498108" y="3837392"/>
                  <a:pt x="11491063" y="3840918"/>
                </a:cubicBezTo>
                <a:cubicBezTo>
                  <a:pt x="11448796" y="3886766"/>
                  <a:pt x="11431184" y="3946723"/>
                  <a:pt x="11445274" y="4020786"/>
                </a:cubicBezTo>
                <a:cubicBezTo>
                  <a:pt x="11445274" y="4027839"/>
                  <a:pt x="11441752" y="4031366"/>
                  <a:pt x="11438229" y="4031366"/>
                </a:cubicBezTo>
                <a:cubicBezTo>
                  <a:pt x="11438229" y="4031366"/>
                  <a:pt x="11438229" y="4031366"/>
                  <a:pt x="11399484" y="4041947"/>
                </a:cubicBezTo>
                <a:cubicBezTo>
                  <a:pt x="11392439" y="4045473"/>
                  <a:pt x="11388917" y="4041947"/>
                  <a:pt x="11388917" y="4038420"/>
                </a:cubicBezTo>
                <a:cubicBezTo>
                  <a:pt x="11367783" y="3946723"/>
                  <a:pt x="11395962" y="3855026"/>
                  <a:pt x="11452318" y="3798596"/>
                </a:cubicBezTo>
                <a:cubicBezTo>
                  <a:pt x="11454079" y="3795069"/>
                  <a:pt x="11456721" y="3793306"/>
                  <a:pt x="11458923" y="3792865"/>
                </a:cubicBezTo>
                <a:close/>
                <a:moveTo>
                  <a:pt x="11677605" y="3787511"/>
                </a:moveTo>
                <a:cubicBezTo>
                  <a:pt x="11681098" y="3787511"/>
                  <a:pt x="11681098" y="3787511"/>
                  <a:pt x="11684592" y="3787511"/>
                </a:cubicBezTo>
                <a:cubicBezTo>
                  <a:pt x="11730003" y="3798107"/>
                  <a:pt x="11761442" y="3815764"/>
                  <a:pt x="11792882" y="3851080"/>
                </a:cubicBezTo>
                <a:cubicBezTo>
                  <a:pt x="11796375" y="3854612"/>
                  <a:pt x="11796375" y="3854612"/>
                  <a:pt x="11796375" y="3858144"/>
                </a:cubicBezTo>
                <a:cubicBezTo>
                  <a:pt x="11796375" y="3861675"/>
                  <a:pt x="11792882" y="3861675"/>
                  <a:pt x="11789388" y="3865207"/>
                </a:cubicBezTo>
                <a:cubicBezTo>
                  <a:pt x="11789388" y="3865207"/>
                  <a:pt x="11789388" y="3865207"/>
                  <a:pt x="11698565" y="3911118"/>
                </a:cubicBezTo>
                <a:cubicBezTo>
                  <a:pt x="11695071" y="3911118"/>
                  <a:pt x="11691578" y="3911118"/>
                  <a:pt x="11688084" y="3911118"/>
                </a:cubicBezTo>
                <a:cubicBezTo>
                  <a:pt x="11684592" y="3907586"/>
                  <a:pt x="11684592" y="3904054"/>
                  <a:pt x="11681098" y="3900523"/>
                </a:cubicBezTo>
                <a:cubicBezTo>
                  <a:pt x="11681098" y="3900523"/>
                  <a:pt x="11681098" y="3900523"/>
                  <a:pt x="11674112" y="3798107"/>
                </a:cubicBezTo>
                <a:cubicBezTo>
                  <a:pt x="11674112" y="3794575"/>
                  <a:pt x="11674112" y="3791043"/>
                  <a:pt x="11677605" y="3787511"/>
                </a:cubicBezTo>
                <a:close/>
                <a:moveTo>
                  <a:pt x="11613922" y="3787511"/>
                </a:moveTo>
                <a:cubicBezTo>
                  <a:pt x="11617414" y="3787511"/>
                  <a:pt x="11617414" y="3787511"/>
                  <a:pt x="11620908" y="3787511"/>
                </a:cubicBezTo>
                <a:cubicBezTo>
                  <a:pt x="11620908" y="3791043"/>
                  <a:pt x="11624401" y="3794575"/>
                  <a:pt x="11624401" y="3798107"/>
                </a:cubicBezTo>
                <a:cubicBezTo>
                  <a:pt x="11624401" y="3798107"/>
                  <a:pt x="11624401" y="3798107"/>
                  <a:pt x="11613922" y="3904054"/>
                </a:cubicBezTo>
                <a:cubicBezTo>
                  <a:pt x="11613922" y="3907586"/>
                  <a:pt x="11613922" y="3911118"/>
                  <a:pt x="11610428" y="3911118"/>
                </a:cubicBezTo>
                <a:cubicBezTo>
                  <a:pt x="11606935" y="3911118"/>
                  <a:pt x="11603442" y="3911118"/>
                  <a:pt x="11599949" y="3911118"/>
                </a:cubicBezTo>
                <a:cubicBezTo>
                  <a:pt x="11599949" y="3911118"/>
                  <a:pt x="11599949" y="3911118"/>
                  <a:pt x="11509124" y="3865207"/>
                </a:cubicBezTo>
                <a:cubicBezTo>
                  <a:pt x="11505632" y="3865207"/>
                  <a:pt x="11502138" y="3861675"/>
                  <a:pt x="11502138" y="3858144"/>
                </a:cubicBezTo>
                <a:cubicBezTo>
                  <a:pt x="11502138" y="3858144"/>
                  <a:pt x="11502138" y="3854612"/>
                  <a:pt x="11505632" y="3851080"/>
                </a:cubicBezTo>
                <a:cubicBezTo>
                  <a:pt x="11537070" y="3819296"/>
                  <a:pt x="11568509" y="3798107"/>
                  <a:pt x="11613922" y="3787511"/>
                </a:cubicBezTo>
                <a:close/>
                <a:moveTo>
                  <a:pt x="11532772" y="3752579"/>
                </a:moveTo>
                <a:cubicBezTo>
                  <a:pt x="11536265" y="3752579"/>
                  <a:pt x="11539758" y="3756274"/>
                  <a:pt x="11539758" y="3759969"/>
                </a:cubicBezTo>
                <a:cubicBezTo>
                  <a:pt x="11539758" y="3763664"/>
                  <a:pt x="11539758" y="3763664"/>
                  <a:pt x="11536265" y="3763664"/>
                </a:cubicBezTo>
                <a:cubicBezTo>
                  <a:pt x="11536265" y="3763664"/>
                  <a:pt x="11536265" y="3763664"/>
                  <a:pt x="11529278" y="3767359"/>
                </a:cubicBezTo>
                <a:cubicBezTo>
                  <a:pt x="11529278" y="3767359"/>
                  <a:pt x="11529278" y="3767359"/>
                  <a:pt x="11525785" y="3759969"/>
                </a:cubicBezTo>
                <a:cubicBezTo>
                  <a:pt x="11525785" y="3759969"/>
                  <a:pt x="11525785" y="3759969"/>
                  <a:pt x="11522292" y="3759969"/>
                </a:cubicBezTo>
                <a:cubicBezTo>
                  <a:pt x="11525785" y="3756274"/>
                  <a:pt x="11529278" y="3756274"/>
                  <a:pt x="11532772" y="3752579"/>
                </a:cubicBezTo>
                <a:close/>
                <a:moveTo>
                  <a:pt x="11529297" y="3745382"/>
                </a:moveTo>
                <a:cubicBezTo>
                  <a:pt x="11525746" y="3748932"/>
                  <a:pt x="11518645" y="3752484"/>
                  <a:pt x="11511543" y="3756034"/>
                </a:cubicBezTo>
                <a:cubicBezTo>
                  <a:pt x="11511543" y="3756034"/>
                  <a:pt x="11511543" y="3756034"/>
                  <a:pt x="11515094" y="3759585"/>
                </a:cubicBezTo>
                <a:lnTo>
                  <a:pt x="11532848" y="3791543"/>
                </a:lnTo>
                <a:cubicBezTo>
                  <a:pt x="11536399" y="3791543"/>
                  <a:pt x="11536399" y="3787991"/>
                  <a:pt x="11539950" y="3787991"/>
                </a:cubicBezTo>
                <a:cubicBezTo>
                  <a:pt x="11539950" y="3787991"/>
                  <a:pt x="11539950" y="3787991"/>
                  <a:pt x="11532848" y="3773788"/>
                </a:cubicBezTo>
                <a:cubicBezTo>
                  <a:pt x="11532848" y="3773788"/>
                  <a:pt x="11532848" y="3773788"/>
                  <a:pt x="11539950" y="3770238"/>
                </a:cubicBezTo>
                <a:cubicBezTo>
                  <a:pt x="11539950" y="3770238"/>
                  <a:pt x="11539950" y="3770238"/>
                  <a:pt x="11554153" y="3780890"/>
                </a:cubicBezTo>
                <a:cubicBezTo>
                  <a:pt x="11557704" y="3777339"/>
                  <a:pt x="11557704" y="3777339"/>
                  <a:pt x="11561255" y="3777339"/>
                </a:cubicBezTo>
                <a:cubicBezTo>
                  <a:pt x="11561255" y="3777339"/>
                  <a:pt x="11561255" y="3777339"/>
                  <a:pt x="11547052" y="3763136"/>
                </a:cubicBezTo>
                <a:cubicBezTo>
                  <a:pt x="11547052" y="3763136"/>
                  <a:pt x="11547052" y="3763136"/>
                  <a:pt x="11547052" y="3759585"/>
                </a:cubicBezTo>
                <a:cubicBezTo>
                  <a:pt x="11550602" y="3752484"/>
                  <a:pt x="11539950" y="3741831"/>
                  <a:pt x="11529297" y="3745382"/>
                </a:cubicBezTo>
                <a:close/>
                <a:moveTo>
                  <a:pt x="11750205" y="3739144"/>
                </a:moveTo>
                <a:cubicBezTo>
                  <a:pt x="11753748" y="3763328"/>
                  <a:pt x="11753748" y="3763328"/>
                  <a:pt x="11753748" y="3763328"/>
                </a:cubicBezTo>
                <a:cubicBezTo>
                  <a:pt x="11746663" y="3780602"/>
                  <a:pt x="11746663" y="3780602"/>
                  <a:pt x="11746663" y="3780602"/>
                </a:cubicBezTo>
                <a:lnTo>
                  <a:pt x="11753748" y="3787511"/>
                </a:lnTo>
                <a:cubicBezTo>
                  <a:pt x="11760832" y="3770237"/>
                  <a:pt x="11760832" y="3770237"/>
                  <a:pt x="11760832" y="3770237"/>
                </a:cubicBezTo>
                <a:cubicBezTo>
                  <a:pt x="11785626" y="3756418"/>
                  <a:pt x="11785626" y="3756418"/>
                  <a:pt x="11785626" y="3756418"/>
                </a:cubicBezTo>
                <a:cubicBezTo>
                  <a:pt x="11785626" y="3756418"/>
                  <a:pt x="11782084" y="3752963"/>
                  <a:pt x="11778543" y="3752963"/>
                </a:cubicBezTo>
                <a:cubicBezTo>
                  <a:pt x="11760832" y="3759873"/>
                  <a:pt x="11760832" y="3759873"/>
                  <a:pt x="11760832" y="3759873"/>
                </a:cubicBezTo>
                <a:cubicBezTo>
                  <a:pt x="11757290" y="3742598"/>
                  <a:pt x="11757290" y="3742598"/>
                  <a:pt x="11757290" y="3742598"/>
                </a:cubicBezTo>
                <a:cubicBezTo>
                  <a:pt x="11753748" y="3739144"/>
                  <a:pt x="11753748" y="3739144"/>
                  <a:pt x="11750205" y="3739144"/>
                </a:cubicBezTo>
                <a:close/>
                <a:moveTo>
                  <a:pt x="11715224" y="3735114"/>
                </a:moveTo>
                <a:cubicBezTo>
                  <a:pt x="11718717" y="3735114"/>
                  <a:pt x="11722211" y="3735114"/>
                  <a:pt x="11725705" y="3738473"/>
                </a:cubicBezTo>
                <a:cubicBezTo>
                  <a:pt x="11725705" y="3738473"/>
                  <a:pt x="11729197" y="3738473"/>
                  <a:pt x="11729197" y="3741832"/>
                </a:cubicBezTo>
                <a:cubicBezTo>
                  <a:pt x="11729197" y="3745190"/>
                  <a:pt x="11725705" y="3748549"/>
                  <a:pt x="11722211" y="3748549"/>
                </a:cubicBezTo>
                <a:cubicBezTo>
                  <a:pt x="11722211" y="3748549"/>
                  <a:pt x="11722211" y="3748549"/>
                  <a:pt x="11711731" y="3745190"/>
                </a:cubicBezTo>
                <a:lnTo>
                  <a:pt x="11711731" y="3741832"/>
                </a:lnTo>
                <a:cubicBezTo>
                  <a:pt x="11711731" y="3741832"/>
                  <a:pt x="11711731" y="3741832"/>
                  <a:pt x="11715224" y="3735114"/>
                </a:cubicBezTo>
                <a:close/>
                <a:moveTo>
                  <a:pt x="11582079" y="3734609"/>
                </a:moveTo>
                <a:cubicBezTo>
                  <a:pt x="11589134" y="3731082"/>
                  <a:pt x="11596187" y="3738137"/>
                  <a:pt x="11596187" y="3745190"/>
                </a:cubicBezTo>
                <a:cubicBezTo>
                  <a:pt x="11596187" y="3752244"/>
                  <a:pt x="11589134" y="3759297"/>
                  <a:pt x="11582079" y="3759297"/>
                </a:cubicBezTo>
                <a:cubicBezTo>
                  <a:pt x="11575026" y="3759297"/>
                  <a:pt x="11567972" y="3755771"/>
                  <a:pt x="11567972" y="3748717"/>
                </a:cubicBezTo>
                <a:cubicBezTo>
                  <a:pt x="11567972" y="3748717"/>
                  <a:pt x="11567972" y="3748717"/>
                  <a:pt x="11567972" y="3745190"/>
                </a:cubicBezTo>
                <a:cubicBezTo>
                  <a:pt x="11567972" y="3738137"/>
                  <a:pt x="11575026" y="3734609"/>
                  <a:pt x="11582079" y="3734609"/>
                </a:cubicBezTo>
                <a:close/>
                <a:moveTo>
                  <a:pt x="11670081" y="3728395"/>
                </a:moveTo>
                <a:cubicBezTo>
                  <a:pt x="11670081" y="3728395"/>
                  <a:pt x="11670081" y="3728395"/>
                  <a:pt x="11673440" y="3738875"/>
                </a:cubicBezTo>
                <a:cubicBezTo>
                  <a:pt x="11673440" y="3738875"/>
                  <a:pt x="11673440" y="3738875"/>
                  <a:pt x="11676799" y="3745862"/>
                </a:cubicBezTo>
                <a:cubicBezTo>
                  <a:pt x="11673440" y="3745862"/>
                  <a:pt x="11666722" y="3745862"/>
                  <a:pt x="11663363" y="3745862"/>
                </a:cubicBezTo>
                <a:lnTo>
                  <a:pt x="11666722" y="3738875"/>
                </a:lnTo>
                <a:cubicBezTo>
                  <a:pt x="11666722" y="3738875"/>
                  <a:pt x="11666722" y="3738875"/>
                  <a:pt x="11670081" y="3728395"/>
                </a:cubicBezTo>
                <a:close/>
                <a:moveTo>
                  <a:pt x="11578609" y="3727879"/>
                </a:moveTo>
                <a:cubicBezTo>
                  <a:pt x="11568195" y="3727879"/>
                  <a:pt x="11561254" y="3734907"/>
                  <a:pt x="11561254" y="3745449"/>
                </a:cubicBezTo>
                <a:cubicBezTo>
                  <a:pt x="11561254" y="3748962"/>
                  <a:pt x="11561254" y="3748962"/>
                  <a:pt x="11561254" y="3748962"/>
                </a:cubicBezTo>
                <a:cubicBezTo>
                  <a:pt x="11561254" y="3759504"/>
                  <a:pt x="11571666" y="3770046"/>
                  <a:pt x="11582079" y="3766532"/>
                </a:cubicBezTo>
                <a:cubicBezTo>
                  <a:pt x="11595963" y="3766532"/>
                  <a:pt x="11602904" y="3759504"/>
                  <a:pt x="11602904" y="3745449"/>
                </a:cubicBezTo>
                <a:cubicBezTo>
                  <a:pt x="11602904" y="3734907"/>
                  <a:pt x="11592492" y="3724365"/>
                  <a:pt x="11578609" y="3727879"/>
                </a:cubicBezTo>
                <a:close/>
                <a:moveTo>
                  <a:pt x="11708922" y="3724365"/>
                </a:moveTo>
                <a:cubicBezTo>
                  <a:pt x="11708922" y="3724365"/>
                  <a:pt x="11708922" y="3724365"/>
                  <a:pt x="11705380" y="3742119"/>
                </a:cubicBezTo>
                <a:cubicBezTo>
                  <a:pt x="11705380" y="3742119"/>
                  <a:pt x="11705380" y="3742119"/>
                  <a:pt x="11698296" y="3763424"/>
                </a:cubicBezTo>
                <a:cubicBezTo>
                  <a:pt x="11701837" y="3766975"/>
                  <a:pt x="11705380" y="3766975"/>
                  <a:pt x="11708922" y="3766975"/>
                </a:cubicBezTo>
                <a:lnTo>
                  <a:pt x="11712464" y="3752772"/>
                </a:lnTo>
                <a:cubicBezTo>
                  <a:pt x="11712464" y="3752772"/>
                  <a:pt x="11712464" y="3752772"/>
                  <a:pt x="11719548" y="3752772"/>
                </a:cubicBezTo>
                <a:cubicBezTo>
                  <a:pt x="11719548" y="3752772"/>
                  <a:pt x="11719548" y="3752772"/>
                  <a:pt x="11723090" y="3770526"/>
                </a:cubicBezTo>
                <a:cubicBezTo>
                  <a:pt x="11726632" y="3774077"/>
                  <a:pt x="11726632" y="3774077"/>
                  <a:pt x="11730175" y="3774077"/>
                </a:cubicBezTo>
                <a:cubicBezTo>
                  <a:pt x="11730175" y="3774077"/>
                  <a:pt x="11730175" y="3774077"/>
                  <a:pt x="11726632" y="3756323"/>
                </a:cubicBezTo>
                <a:cubicBezTo>
                  <a:pt x="11733717" y="3752772"/>
                  <a:pt x="11737259" y="3745670"/>
                  <a:pt x="11737259" y="3742119"/>
                </a:cubicBezTo>
                <a:cubicBezTo>
                  <a:pt x="11737259" y="3735018"/>
                  <a:pt x="11733717" y="3731467"/>
                  <a:pt x="11730175" y="3731467"/>
                </a:cubicBezTo>
                <a:cubicBezTo>
                  <a:pt x="11723090" y="3727916"/>
                  <a:pt x="11716006" y="3724365"/>
                  <a:pt x="11708922" y="3724365"/>
                </a:cubicBezTo>
                <a:close/>
                <a:moveTo>
                  <a:pt x="11666295" y="3717647"/>
                </a:moveTo>
                <a:cubicBezTo>
                  <a:pt x="11666295" y="3717647"/>
                  <a:pt x="11666295" y="3717647"/>
                  <a:pt x="11659211" y="3738731"/>
                </a:cubicBezTo>
                <a:cubicBezTo>
                  <a:pt x="11659211" y="3738731"/>
                  <a:pt x="11659211" y="3738731"/>
                  <a:pt x="11648585" y="3759814"/>
                </a:cubicBezTo>
                <a:cubicBezTo>
                  <a:pt x="11652127" y="3759814"/>
                  <a:pt x="11652127" y="3759814"/>
                  <a:pt x="11655669" y="3759814"/>
                </a:cubicBezTo>
                <a:lnTo>
                  <a:pt x="11659211" y="3752786"/>
                </a:lnTo>
                <a:cubicBezTo>
                  <a:pt x="11666295" y="3752786"/>
                  <a:pt x="11669838" y="3752786"/>
                  <a:pt x="11676922" y="3752786"/>
                </a:cubicBezTo>
                <a:cubicBezTo>
                  <a:pt x="11676922" y="3752786"/>
                  <a:pt x="11676922" y="3752786"/>
                  <a:pt x="11680464" y="3759814"/>
                </a:cubicBezTo>
                <a:cubicBezTo>
                  <a:pt x="11684006" y="3759814"/>
                  <a:pt x="11684006" y="3763328"/>
                  <a:pt x="11687548" y="3763328"/>
                </a:cubicBezTo>
                <a:cubicBezTo>
                  <a:pt x="11687548" y="3763328"/>
                  <a:pt x="11687548" y="3763328"/>
                  <a:pt x="11680464" y="3738731"/>
                </a:cubicBezTo>
                <a:cubicBezTo>
                  <a:pt x="11680464" y="3738731"/>
                  <a:pt x="11680464" y="3738731"/>
                  <a:pt x="11676922" y="3717647"/>
                </a:cubicBezTo>
                <a:cubicBezTo>
                  <a:pt x="11676922" y="3717647"/>
                  <a:pt x="11676922" y="3717647"/>
                  <a:pt x="11666295" y="3717647"/>
                </a:cubicBezTo>
                <a:close/>
                <a:moveTo>
                  <a:pt x="11645898" y="3717647"/>
                </a:moveTo>
                <a:cubicBezTo>
                  <a:pt x="11628187" y="3717647"/>
                  <a:pt x="11621103" y="3717647"/>
                  <a:pt x="11606934" y="3721118"/>
                </a:cubicBezTo>
                <a:cubicBezTo>
                  <a:pt x="11606934" y="3728059"/>
                  <a:pt x="11606934" y="3728059"/>
                  <a:pt x="11606934" y="3728059"/>
                </a:cubicBezTo>
                <a:lnTo>
                  <a:pt x="11621103" y="3724589"/>
                </a:lnTo>
                <a:cubicBezTo>
                  <a:pt x="11624645" y="3759297"/>
                  <a:pt x="11624645" y="3759297"/>
                  <a:pt x="11624645" y="3759297"/>
                </a:cubicBezTo>
                <a:cubicBezTo>
                  <a:pt x="11635271" y="3759297"/>
                  <a:pt x="11635271" y="3759297"/>
                  <a:pt x="11635271" y="3759297"/>
                </a:cubicBezTo>
                <a:cubicBezTo>
                  <a:pt x="11631729" y="3724589"/>
                  <a:pt x="11631729" y="3724589"/>
                  <a:pt x="11631729" y="3724589"/>
                </a:cubicBezTo>
                <a:cubicBezTo>
                  <a:pt x="11645898" y="3724589"/>
                  <a:pt x="11645898" y="3724589"/>
                  <a:pt x="11645898" y="3724589"/>
                </a:cubicBezTo>
                <a:cubicBezTo>
                  <a:pt x="11645898" y="3717647"/>
                  <a:pt x="11645898" y="3717647"/>
                  <a:pt x="11645898" y="3717647"/>
                </a:cubicBezTo>
                <a:close/>
                <a:moveTo>
                  <a:pt x="11196257" y="3717646"/>
                </a:moveTo>
                <a:cubicBezTo>
                  <a:pt x="11214171" y="3717646"/>
                  <a:pt x="11221336" y="3735113"/>
                  <a:pt x="11221336" y="3752578"/>
                </a:cubicBezTo>
                <a:lnTo>
                  <a:pt x="11167595" y="3752578"/>
                </a:lnTo>
                <a:cubicBezTo>
                  <a:pt x="11167595" y="3735113"/>
                  <a:pt x="11178343" y="3717646"/>
                  <a:pt x="11196257" y="3717646"/>
                </a:cubicBezTo>
                <a:close/>
                <a:moveTo>
                  <a:pt x="11648585" y="3710930"/>
                </a:moveTo>
                <a:cubicBezTo>
                  <a:pt x="11711759" y="3710930"/>
                  <a:pt x="11767914" y="3731889"/>
                  <a:pt x="11813539" y="3766821"/>
                </a:cubicBezTo>
                <a:cubicBezTo>
                  <a:pt x="11820558" y="3773808"/>
                  <a:pt x="11820558" y="3777301"/>
                  <a:pt x="11817049" y="3780794"/>
                </a:cubicBezTo>
                <a:cubicBezTo>
                  <a:pt x="11817049" y="3780794"/>
                  <a:pt x="11817049" y="3780794"/>
                  <a:pt x="11788972" y="3812234"/>
                </a:cubicBezTo>
                <a:cubicBezTo>
                  <a:pt x="11785462" y="3815726"/>
                  <a:pt x="11781952" y="3815726"/>
                  <a:pt x="11774933" y="3812234"/>
                </a:cubicBezTo>
                <a:cubicBezTo>
                  <a:pt x="11739837" y="3784288"/>
                  <a:pt x="11694210" y="3766821"/>
                  <a:pt x="11648585" y="3766821"/>
                </a:cubicBezTo>
                <a:cubicBezTo>
                  <a:pt x="11599450" y="3766821"/>
                  <a:pt x="11557334" y="3784288"/>
                  <a:pt x="11522236" y="3812234"/>
                </a:cubicBezTo>
                <a:cubicBezTo>
                  <a:pt x="11515217" y="3815726"/>
                  <a:pt x="11511708" y="3815726"/>
                  <a:pt x="11508198" y="3812234"/>
                </a:cubicBezTo>
                <a:cubicBezTo>
                  <a:pt x="11508198" y="3812234"/>
                  <a:pt x="11508198" y="3812234"/>
                  <a:pt x="11480121" y="3780794"/>
                </a:cubicBezTo>
                <a:cubicBezTo>
                  <a:pt x="11476611" y="3777301"/>
                  <a:pt x="11476611" y="3773808"/>
                  <a:pt x="11483630" y="3766821"/>
                </a:cubicBezTo>
                <a:cubicBezTo>
                  <a:pt x="11529256" y="3731889"/>
                  <a:pt x="11585411" y="3710930"/>
                  <a:pt x="11648585" y="3710930"/>
                </a:cubicBezTo>
                <a:close/>
                <a:moveTo>
                  <a:pt x="11196481" y="3710929"/>
                </a:moveTo>
                <a:cubicBezTo>
                  <a:pt x="11172113" y="3710929"/>
                  <a:pt x="11158189" y="3728443"/>
                  <a:pt x="11158189" y="3759969"/>
                </a:cubicBezTo>
                <a:cubicBezTo>
                  <a:pt x="11158189" y="3787991"/>
                  <a:pt x="11168632" y="3809008"/>
                  <a:pt x="11199962" y="3809008"/>
                </a:cubicBezTo>
                <a:cubicBezTo>
                  <a:pt x="11206924" y="3809008"/>
                  <a:pt x="11220848" y="3805505"/>
                  <a:pt x="11227810" y="3802002"/>
                </a:cubicBezTo>
                <a:lnTo>
                  <a:pt x="11227810" y="3791494"/>
                </a:lnTo>
                <a:cubicBezTo>
                  <a:pt x="11220848" y="3794997"/>
                  <a:pt x="11210404" y="3798499"/>
                  <a:pt x="11199962" y="3798499"/>
                </a:cubicBezTo>
                <a:cubicBezTo>
                  <a:pt x="11179076" y="3798499"/>
                  <a:pt x="11168632" y="3780985"/>
                  <a:pt x="11168632" y="3763472"/>
                </a:cubicBezTo>
                <a:cubicBezTo>
                  <a:pt x="11168632" y="3763472"/>
                  <a:pt x="11168632" y="3763472"/>
                  <a:pt x="11234772" y="3763472"/>
                </a:cubicBezTo>
                <a:cubicBezTo>
                  <a:pt x="11234772" y="3763472"/>
                  <a:pt x="11234772" y="3763472"/>
                  <a:pt x="11234772" y="3756466"/>
                </a:cubicBezTo>
                <a:cubicBezTo>
                  <a:pt x="11234772" y="3731946"/>
                  <a:pt x="11224329" y="3710929"/>
                  <a:pt x="11196481" y="3710929"/>
                </a:cubicBezTo>
                <a:close/>
                <a:moveTo>
                  <a:pt x="10947253" y="3674653"/>
                </a:moveTo>
                <a:lnTo>
                  <a:pt x="10947253" y="3685401"/>
                </a:lnTo>
                <a:lnTo>
                  <a:pt x="10986216" y="3685401"/>
                </a:lnTo>
                <a:lnTo>
                  <a:pt x="10986216" y="3804977"/>
                </a:lnTo>
                <a:lnTo>
                  <a:pt x="10999652" y="3804977"/>
                </a:lnTo>
                <a:lnTo>
                  <a:pt x="10999652" y="3685401"/>
                </a:lnTo>
                <a:lnTo>
                  <a:pt x="11038614" y="3685401"/>
                </a:lnTo>
                <a:lnTo>
                  <a:pt x="11038614" y="3674653"/>
                </a:lnTo>
                <a:close/>
                <a:moveTo>
                  <a:pt x="11060111" y="3663904"/>
                </a:moveTo>
                <a:lnTo>
                  <a:pt x="11060111" y="3804977"/>
                </a:lnTo>
                <a:cubicBezTo>
                  <a:pt x="11060111" y="3804977"/>
                  <a:pt x="11060111" y="3804977"/>
                  <a:pt x="11070476" y="3804977"/>
                </a:cubicBezTo>
                <a:cubicBezTo>
                  <a:pt x="11070476" y="3804977"/>
                  <a:pt x="11070476" y="3804977"/>
                  <a:pt x="11070476" y="3755601"/>
                </a:cubicBezTo>
                <a:cubicBezTo>
                  <a:pt x="11070476" y="3737967"/>
                  <a:pt x="11077385" y="3716807"/>
                  <a:pt x="11098115" y="3716807"/>
                </a:cubicBezTo>
                <a:cubicBezTo>
                  <a:pt x="11118844" y="3716807"/>
                  <a:pt x="11118844" y="3730914"/>
                  <a:pt x="11118844" y="3748548"/>
                </a:cubicBezTo>
                <a:cubicBezTo>
                  <a:pt x="11118844" y="3748548"/>
                  <a:pt x="11118844" y="3748548"/>
                  <a:pt x="11118844" y="3804977"/>
                </a:cubicBezTo>
                <a:cubicBezTo>
                  <a:pt x="11118844" y="3804977"/>
                  <a:pt x="11118844" y="3804977"/>
                  <a:pt x="11132662" y="3804977"/>
                </a:cubicBezTo>
                <a:cubicBezTo>
                  <a:pt x="11132662" y="3804977"/>
                  <a:pt x="11132662" y="3804977"/>
                  <a:pt x="11132662" y="3748548"/>
                </a:cubicBezTo>
                <a:cubicBezTo>
                  <a:pt x="11132662" y="3723860"/>
                  <a:pt x="11125753" y="3709753"/>
                  <a:pt x="11101569" y="3709753"/>
                </a:cubicBezTo>
                <a:cubicBezTo>
                  <a:pt x="11087750" y="3709753"/>
                  <a:pt x="11077385" y="3716807"/>
                  <a:pt x="11070476" y="3727387"/>
                </a:cubicBezTo>
                <a:cubicBezTo>
                  <a:pt x="11070476" y="3727387"/>
                  <a:pt x="11070476" y="3727387"/>
                  <a:pt x="11070476" y="3663904"/>
                </a:cubicBezTo>
                <a:cubicBezTo>
                  <a:pt x="11070476" y="3663904"/>
                  <a:pt x="11070476" y="3663904"/>
                  <a:pt x="11060111" y="3663904"/>
                </a:cubicBezTo>
                <a:close/>
                <a:moveTo>
                  <a:pt x="11638739" y="3639721"/>
                </a:moveTo>
                <a:cubicBezTo>
                  <a:pt x="11628222" y="3657342"/>
                  <a:pt x="11624716" y="3674963"/>
                  <a:pt x="11624716" y="3692584"/>
                </a:cubicBezTo>
                <a:cubicBezTo>
                  <a:pt x="11621210" y="3692584"/>
                  <a:pt x="11603681" y="3696108"/>
                  <a:pt x="11600176" y="3696108"/>
                </a:cubicBezTo>
                <a:cubicBezTo>
                  <a:pt x="11596669" y="3678487"/>
                  <a:pt x="11586152" y="3660866"/>
                  <a:pt x="11575635" y="3650294"/>
                </a:cubicBezTo>
                <a:cubicBezTo>
                  <a:pt x="11575635" y="3650294"/>
                  <a:pt x="11575635" y="3650294"/>
                  <a:pt x="11572129" y="3650294"/>
                </a:cubicBezTo>
                <a:cubicBezTo>
                  <a:pt x="11565117" y="3650294"/>
                  <a:pt x="11558106" y="3653818"/>
                  <a:pt x="11551094" y="3653818"/>
                </a:cubicBezTo>
                <a:cubicBezTo>
                  <a:pt x="11551094" y="3653818"/>
                  <a:pt x="11551094" y="3653818"/>
                  <a:pt x="11551094" y="3657342"/>
                </a:cubicBezTo>
                <a:cubicBezTo>
                  <a:pt x="11547588" y="3664391"/>
                  <a:pt x="11547588" y="3671439"/>
                  <a:pt x="11547588" y="3682011"/>
                </a:cubicBezTo>
                <a:cubicBezTo>
                  <a:pt x="11547588" y="3692584"/>
                  <a:pt x="11547588" y="3699632"/>
                  <a:pt x="11551094" y="3710205"/>
                </a:cubicBezTo>
                <a:cubicBezTo>
                  <a:pt x="11547588" y="3710205"/>
                  <a:pt x="11530059" y="3717253"/>
                  <a:pt x="11530059" y="3717253"/>
                </a:cubicBezTo>
                <a:cubicBezTo>
                  <a:pt x="11519542" y="3703156"/>
                  <a:pt x="11505518" y="3689060"/>
                  <a:pt x="11491495" y="3682011"/>
                </a:cubicBezTo>
                <a:cubicBezTo>
                  <a:pt x="11484484" y="3682011"/>
                  <a:pt x="11477472" y="3689060"/>
                  <a:pt x="11470460" y="3692584"/>
                </a:cubicBezTo>
                <a:cubicBezTo>
                  <a:pt x="11470460" y="3710205"/>
                  <a:pt x="11473966" y="3727826"/>
                  <a:pt x="11484484" y="3745446"/>
                </a:cubicBezTo>
                <a:cubicBezTo>
                  <a:pt x="11480978" y="3745446"/>
                  <a:pt x="11470460" y="3756019"/>
                  <a:pt x="11466954" y="3756019"/>
                </a:cubicBezTo>
                <a:cubicBezTo>
                  <a:pt x="11456437" y="3745446"/>
                  <a:pt x="11438908" y="3734874"/>
                  <a:pt x="11421379" y="3731350"/>
                </a:cubicBezTo>
                <a:cubicBezTo>
                  <a:pt x="11414367" y="3734874"/>
                  <a:pt x="11407356" y="3741922"/>
                  <a:pt x="11403850" y="3745446"/>
                </a:cubicBezTo>
                <a:cubicBezTo>
                  <a:pt x="11403850" y="3745446"/>
                  <a:pt x="11403850" y="3745446"/>
                  <a:pt x="11403850" y="3748970"/>
                </a:cubicBezTo>
                <a:cubicBezTo>
                  <a:pt x="11407356" y="3763068"/>
                  <a:pt x="11417873" y="3780688"/>
                  <a:pt x="11431896" y="3794785"/>
                </a:cubicBezTo>
                <a:cubicBezTo>
                  <a:pt x="11428390" y="3794785"/>
                  <a:pt x="11417873" y="3812406"/>
                  <a:pt x="11417873" y="3812406"/>
                </a:cubicBezTo>
                <a:cubicBezTo>
                  <a:pt x="11400344" y="3805357"/>
                  <a:pt x="11382815" y="3798309"/>
                  <a:pt x="11365286" y="3798309"/>
                </a:cubicBezTo>
                <a:cubicBezTo>
                  <a:pt x="11361780" y="3805357"/>
                  <a:pt x="11354768" y="3812406"/>
                  <a:pt x="11354768" y="3819454"/>
                </a:cubicBezTo>
                <a:cubicBezTo>
                  <a:pt x="11361780" y="3833551"/>
                  <a:pt x="11375803" y="3847647"/>
                  <a:pt x="11389827" y="3858221"/>
                </a:cubicBezTo>
                <a:cubicBezTo>
                  <a:pt x="11389827" y="3861745"/>
                  <a:pt x="11382815" y="3875841"/>
                  <a:pt x="11382815" y="3879365"/>
                </a:cubicBezTo>
                <a:cubicBezTo>
                  <a:pt x="11365286" y="3872317"/>
                  <a:pt x="11344251" y="3872317"/>
                  <a:pt x="11330228" y="3879365"/>
                </a:cubicBezTo>
                <a:cubicBezTo>
                  <a:pt x="11326722" y="3886414"/>
                  <a:pt x="11323216" y="3893462"/>
                  <a:pt x="11323216" y="3900510"/>
                </a:cubicBezTo>
                <a:cubicBezTo>
                  <a:pt x="11333733" y="3914607"/>
                  <a:pt x="11351262" y="3921655"/>
                  <a:pt x="11368791" y="3928704"/>
                </a:cubicBezTo>
                <a:cubicBezTo>
                  <a:pt x="11368791" y="3932228"/>
                  <a:pt x="11365286" y="3946324"/>
                  <a:pt x="11365286" y="3949848"/>
                </a:cubicBezTo>
                <a:cubicBezTo>
                  <a:pt x="11347757" y="3949848"/>
                  <a:pt x="11330228" y="3956897"/>
                  <a:pt x="11316205" y="3963946"/>
                </a:cubicBezTo>
                <a:cubicBezTo>
                  <a:pt x="11316205" y="3963946"/>
                  <a:pt x="11316205" y="3963946"/>
                  <a:pt x="11312698" y="3963946"/>
                </a:cubicBezTo>
                <a:cubicBezTo>
                  <a:pt x="11312698" y="3967470"/>
                  <a:pt x="11312698" y="3970994"/>
                  <a:pt x="11312698" y="3978042"/>
                </a:cubicBezTo>
                <a:cubicBezTo>
                  <a:pt x="11312698" y="3981566"/>
                  <a:pt x="11312698" y="3985090"/>
                  <a:pt x="11312698" y="3988615"/>
                </a:cubicBezTo>
                <a:cubicBezTo>
                  <a:pt x="11312698" y="3988615"/>
                  <a:pt x="11312698" y="3988615"/>
                  <a:pt x="11316205" y="3988615"/>
                </a:cubicBezTo>
                <a:cubicBezTo>
                  <a:pt x="11330228" y="3999188"/>
                  <a:pt x="11347757" y="4002712"/>
                  <a:pt x="11365286" y="4002712"/>
                </a:cubicBezTo>
                <a:cubicBezTo>
                  <a:pt x="11365286" y="4006236"/>
                  <a:pt x="11368791" y="4023857"/>
                  <a:pt x="11368791" y="4023857"/>
                </a:cubicBezTo>
                <a:cubicBezTo>
                  <a:pt x="11351262" y="4030905"/>
                  <a:pt x="11333733" y="4041477"/>
                  <a:pt x="11323216" y="4052050"/>
                </a:cubicBezTo>
                <a:cubicBezTo>
                  <a:pt x="11323216" y="4052050"/>
                  <a:pt x="11323216" y="4052050"/>
                  <a:pt x="11323216" y="4055574"/>
                </a:cubicBezTo>
                <a:cubicBezTo>
                  <a:pt x="11323216" y="4059099"/>
                  <a:pt x="11326722" y="4069671"/>
                  <a:pt x="11330228" y="4076719"/>
                </a:cubicBezTo>
                <a:cubicBezTo>
                  <a:pt x="11347757" y="4080243"/>
                  <a:pt x="11365286" y="4080243"/>
                  <a:pt x="11382815" y="4076719"/>
                </a:cubicBezTo>
                <a:cubicBezTo>
                  <a:pt x="11382815" y="4076719"/>
                  <a:pt x="11389827" y="4094340"/>
                  <a:pt x="11393332" y="4097865"/>
                </a:cubicBezTo>
                <a:cubicBezTo>
                  <a:pt x="11375803" y="4104913"/>
                  <a:pt x="11361780" y="4119009"/>
                  <a:pt x="11354768" y="4133106"/>
                </a:cubicBezTo>
                <a:cubicBezTo>
                  <a:pt x="11354768" y="4133106"/>
                  <a:pt x="11354768" y="4133106"/>
                  <a:pt x="11354768" y="4136630"/>
                </a:cubicBezTo>
                <a:cubicBezTo>
                  <a:pt x="11358274" y="4140154"/>
                  <a:pt x="11361780" y="4150727"/>
                  <a:pt x="11365286" y="4154251"/>
                </a:cubicBezTo>
                <a:cubicBezTo>
                  <a:pt x="11382815" y="4154251"/>
                  <a:pt x="11400344" y="4150727"/>
                  <a:pt x="11417873" y="4140154"/>
                </a:cubicBezTo>
                <a:cubicBezTo>
                  <a:pt x="11417873" y="4143679"/>
                  <a:pt x="11428390" y="4157775"/>
                  <a:pt x="11431896" y="4161300"/>
                </a:cubicBezTo>
                <a:cubicBezTo>
                  <a:pt x="11417873" y="4171872"/>
                  <a:pt x="11410861" y="4189492"/>
                  <a:pt x="11403850" y="4207114"/>
                </a:cubicBezTo>
                <a:cubicBezTo>
                  <a:pt x="11410861" y="4210638"/>
                  <a:pt x="11414367" y="4217686"/>
                  <a:pt x="11421379" y="4221210"/>
                </a:cubicBezTo>
                <a:cubicBezTo>
                  <a:pt x="11438908" y="4217686"/>
                  <a:pt x="11456437" y="4210638"/>
                  <a:pt x="11466954" y="4196542"/>
                </a:cubicBezTo>
                <a:cubicBezTo>
                  <a:pt x="11470460" y="4196542"/>
                  <a:pt x="11484484" y="4210638"/>
                  <a:pt x="11484484" y="4210638"/>
                </a:cubicBezTo>
                <a:cubicBezTo>
                  <a:pt x="11477472" y="4224734"/>
                  <a:pt x="11473966" y="4245880"/>
                  <a:pt x="11473966" y="4259976"/>
                </a:cubicBezTo>
                <a:cubicBezTo>
                  <a:pt x="11473966" y="4259976"/>
                  <a:pt x="11473966" y="4263501"/>
                  <a:pt x="11473966" y="4263501"/>
                </a:cubicBezTo>
                <a:cubicBezTo>
                  <a:pt x="11477472" y="4267025"/>
                  <a:pt x="11484484" y="4270549"/>
                  <a:pt x="11491495" y="4274073"/>
                </a:cubicBezTo>
                <a:cubicBezTo>
                  <a:pt x="11491495" y="4274073"/>
                  <a:pt x="11491495" y="4274073"/>
                  <a:pt x="11495001" y="4274073"/>
                </a:cubicBezTo>
                <a:cubicBezTo>
                  <a:pt x="11509024" y="4267025"/>
                  <a:pt x="11523047" y="4252928"/>
                  <a:pt x="11530059" y="4235307"/>
                </a:cubicBezTo>
                <a:cubicBezTo>
                  <a:pt x="11533564" y="4238831"/>
                  <a:pt x="11547588" y="4242356"/>
                  <a:pt x="11551094" y="4245880"/>
                </a:cubicBezTo>
                <a:cubicBezTo>
                  <a:pt x="11547588" y="4252928"/>
                  <a:pt x="11547588" y="4263501"/>
                  <a:pt x="11547588" y="4270549"/>
                </a:cubicBezTo>
                <a:cubicBezTo>
                  <a:pt x="11547588" y="4281121"/>
                  <a:pt x="11547588" y="4288170"/>
                  <a:pt x="11551094" y="4298743"/>
                </a:cubicBezTo>
                <a:cubicBezTo>
                  <a:pt x="11558106" y="4302267"/>
                  <a:pt x="11565117" y="4302267"/>
                  <a:pt x="11572129" y="4305791"/>
                </a:cubicBezTo>
                <a:cubicBezTo>
                  <a:pt x="11572129" y="4305791"/>
                  <a:pt x="11572129" y="4305791"/>
                  <a:pt x="11575635" y="4305791"/>
                </a:cubicBezTo>
                <a:cubicBezTo>
                  <a:pt x="11586152" y="4291694"/>
                  <a:pt x="11596669" y="4274073"/>
                  <a:pt x="11600176" y="4259976"/>
                </a:cubicBezTo>
                <a:cubicBezTo>
                  <a:pt x="11603681" y="4259976"/>
                  <a:pt x="11621210" y="4259976"/>
                  <a:pt x="11624716" y="4259976"/>
                </a:cubicBezTo>
                <a:cubicBezTo>
                  <a:pt x="11624716" y="4281121"/>
                  <a:pt x="11628222" y="4298743"/>
                  <a:pt x="11638739" y="4312839"/>
                </a:cubicBezTo>
                <a:cubicBezTo>
                  <a:pt x="11645751" y="4312839"/>
                  <a:pt x="11656268" y="4312839"/>
                  <a:pt x="11659774" y="4312839"/>
                </a:cubicBezTo>
                <a:cubicBezTo>
                  <a:pt x="11659774" y="4312839"/>
                  <a:pt x="11659774" y="4312839"/>
                  <a:pt x="11663280" y="4312839"/>
                </a:cubicBezTo>
                <a:cubicBezTo>
                  <a:pt x="11670291" y="4298743"/>
                  <a:pt x="11677303" y="4281121"/>
                  <a:pt x="11677303" y="4259976"/>
                </a:cubicBezTo>
                <a:cubicBezTo>
                  <a:pt x="11677303" y="4259976"/>
                  <a:pt x="11694832" y="4259976"/>
                  <a:pt x="11698339" y="4259976"/>
                </a:cubicBezTo>
                <a:cubicBezTo>
                  <a:pt x="11701844" y="4274073"/>
                  <a:pt x="11712361" y="4291694"/>
                  <a:pt x="11722879" y="4305791"/>
                </a:cubicBezTo>
                <a:cubicBezTo>
                  <a:pt x="11722879" y="4305791"/>
                  <a:pt x="11722879" y="4305791"/>
                  <a:pt x="11726385" y="4305791"/>
                </a:cubicBezTo>
                <a:cubicBezTo>
                  <a:pt x="11733396" y="4302267"/>
                  <a:pt x="11740408" y="4302267"/>
                  <a:pt x="11747420" y="4298743"/>
                </a:cubicBezTo>
                <a:cubicBezTo>
                  <a:pt x="11750925" y="4288170"/>
                  <a:pt x="11750925" y="4281121"/>
                  <a:pt x="11750925" y="4270549"/>
                </a:cubicBezTo>
                <a:cubicBezTo>
                  <a:pt x="11750925" y="4263501"/>
                  <a:pt x="11750925" y="4252928"/>
                  <a:pt x="11747420" y="4245880"/>
                </a:cubicBezTo>
                <a:cubicBezTo>
                  <a:pt x="11750925" y="4242356"/>
                  <a:pt x="11764949" y="4235307"/>
                  <a:pt x="11768454" y="4235307"/>
                </a:cubicBezTo>
                <a:cubicBezTo>
                  <a:pt x="11778972" y="4252928"/>
                  <a:pt x="11789490" y="4263501"/>
                  <a:pt x="11807019" y="4274073"/>
                </a:cubicBezTo>
                <a:cubicBezTo>
                  <a:pt x="11814030" y="4270549"/>
                  <a:pt x="11821042" y="4267025"/>
                  <a:pt x="11824547" y="4263501"/>
                </a:cubicBezTo>
                <a:cubicBezTo>
                  <a:pt x="11824547" y="4263501"/>
                  <a:pt x="11824547" y="4263501"/>
                  <a:pt x="11828054" y="4263501"/>
                </a:cubicBezTo>
                <a:cubicBezTo>
                  <a:pt x="11828054" y="4263501"/>
                  <a:pt x="11828054" y="4259976"/>
                  <a:pt x="11828054" y="4259976"/>
                </a:cubicBezTo>
                <a:cubicBezTo>
                  <a:pt x="11828054" y="4242356"/>
                  <a:pt x="11821042" y="4224734"/>
                  <a:pt x="11814030" y="4210638"/>
                </a:cubicBezTo>
                <a:cubicBezTo>
                  <a:pt x="11814030" y="4207114"/>
                  <a:pt x="11828054" y="4196542"/>
                  <a:pt x="11831559" y="4196542"/>
                </a:cubicBezTo>
                <a:cubicBezTo>
                  <a:pt x="11842076" y="4207114"/>
                  <a:pt x="11859606" y="4217686"/>
                  <a:pt x="11877135" y="4221210"/>
                </a:cubicBezTo>
                <a:cubicBezTo>
                  <a:pt x="11884146" y="4217686"/>
                  <a:pt x="11891158" y="4210638"/>
                  <a:pt x="11894664" y="4207114"/>
                </a:cubicBezTo>
                <a:cubicBezTo>
                  <a:pt x="11894664" y="4207114"/>
                  <a:pt x="11894664" y="4207114"/>
                  <a:pt x="11894664" y="4203590"/>
                </a:cubicBezTo>
                <a:cubicBezTo>
                  <a:pt x="11891158" y="4189492"/>
                  <a:pt x="11880641" y="4171872"/>
                  <a:pt x="11866617" y="4157775"/>
                </a:cubicBezTo>
                <a:cubicBezTo>
                  <a:pt x="11870123" y="4157775"/>
                  <a:pt x="11880641" y="4143679"/>
                  <a:pt x="11880641" y="4140154"/>
                </a:cubicBezTo>
                <a:cubicBezTo>
                  <a:pt x="11898170" y="4150727"/>
                  <a:pt x="11915699" y="4154251"/>
                  <a:pt x="11933228" y="4154251"/>
                </a:cubicBezTo>
                <a:cubicBezTo>
                  <a:pt x="11936734" y="4147203"/>
                  <a:pt x="11940239" y="4140154"/>
                  <a:pt x="11943746" y="4136630"/>
                </a:cubicBezTo>
                <a:cubicBezTo>
                  <a:pt x="11943746" y="4136630"/>
                  <a:pt x="11943746" y="4136630"/>
                  <a:pt x="11943746" y="4133106"/>
                </a:cubicBezTo>
                <a:cubicBezTo>
                  <a:pt x="11936734" y="4119009"/>
                  <a:pt x="11922710" y="4104913"/>
                  <a:pt x="11908688" y="4094340"/>
                </a:cubicBezTo>
                <a:cubicBezTo>
                  <a:pt x="11908688" y="4094340"/>
                  <a:pt x="11915699" y="4076719"/>
                  <a:pt x="11915699" y="4076719"/>
                </a:cubicBezTo>
                <a:cubicBezTo>
                  <a:pt x="11933228" y="4080243"/>
                  <a:pt x="11950757" y="4080243"/>
                  <a:pt x="11968286" y="4076719"/>
                </a:cubicBezTo>
                <a:cubicBezTo>
                  <a:pt x="11968286" y="4076719"/>
                  <a:pt x="11968286" y="4076719"/>
                  <a:pt x="11968286" y="4073195"/>
                </a:cubicBezTo>
                <a:cubicBezTo>
                  <a:pt x="11971792" y="4069671"/>
                  <a:pt x="11975298" y="4059099"/>
                  <a:pt x="11975298" y="4052050"/>
                </a:cubicBezTo>
                <a:cubicBezTo>
                  <a:pt x="11961275" y="4037953"/>
                  <a:pt x="11947251" y="4030905"/>
                  <a:pt x="11929722" y="4023857"/>
                </a:cubicBezTo>
                <a:cubicBezTo>
                  <a:pt x="11929722" y="4023857"/>
                  <a:pt x="11929722" y="4006236"/>
                  <a:pt x="11933228" y="4002712"/>
                </a:cubicBezTo>
                <a:cubicBezTo>
                  <a:pt x="11950757" y="4002712"/>
                  <a:pt x="11968286" y="3999188"/>
                  <a:pt x="11982310" y="3988615"/>
                </a:cubicBezTo>
                <a:cubicBezTo>
                  <a:pt x="11985815" y="3985090"/>
                  <a:pt x="11985815" y="3981566"/>
                  <a:pt x="11985815" y="3978042"/>
                </a:cubicBezTo>
                <a:cubicBezTo>
                  <a:pt x="11985815" y="3974518"/>
                  <a:pt x="11985815" y="3970994"/>
                  <a:pt x="11982310" y="3967470"/>
                </a:cubicBezTo>
                <a:cubicBezTo>
                  <a:pt x="11982310" y="3967470"/>
                  <a:pt x="11982310" y="3967470"/>
                  <a:pt x="11982310" y="3963946"/>
                </a:cubicBezTo>
                <a:cubicBezTo>
                  <a:pt x="11968286" y="3956897"/>
                  <a:pt x="11950757" y="3949848"/>
                  <a:pt x="11933228" y="3949848"/>
                </a:cubicBezTo>
                <a:cubicBezTo>
                  <a:pt x="11933228" y="3949848"/>
                  <a:pt x="11929722" y="3932228"/>
                  <a:pt x="11929722" y="3928704"/>
                </a:cubicBezTo>
                <a:cubicBezTo>
                  <a:pt x="11947251" y="3925180"/>
                  <a:pt x="11964780" y="3914607"/>
                  <a:pt x="11975298" y="3904035"/>
                </a:cubicBezTo>
                <a:cubicBezTo>
                  <a:pt x="11975298" y="3904035"/>
                  <a:pt x="11975298" y="3904035"/>
                  <a:pt x="11975298" y="3900510"/>
                </a:cubicBezTo>
                <a:cubicBezTo>
                  <a:pt x="11975298" y="3893462"/>
                  <a:pt x="11971792" y="3886414"/>
                  <a:pt x="11968286" y="3879365"/>
                </a:cubicBezTo>
                <a:cubicBezTo>
                  <a:pt x="11950757" y="3875841"/>
                  <a:pt x="11933228" y="3875841"/>
                  <a:pt x="11915699" y="3879365"/>
                </a:cubicBezTo>
                <a:cubicBezTo>
                  <a:pt x="11915699" y="3875841"/>
                  <a:pt x="11908688" y="3861745"/>
                  <a:pt x="11908688" y="3858221"/>
                </a:cubicBezTo>
                <a:cubicBezTo>
                  <a:pt x="11922710" y="3847647"/>
                  <a:pt x="11936734" y="3837075"/>
                  <a:pt x="11943746" y="3819454"/>
                </a:cubicBezTo>
                <a:cubicBezTo>
                  <a:pt x="11943746" y="3812406"/>
                  <a:pt x="11936734" y="3805357"/>
                  <a:pt x="11933228" y="3801833"/>
                </a:cubicBezTo>
                <a:cubicBezTo>
                  <a:pt x="11933228" y="3801833"/>
                  <a:pt x="11933228" y="3801833"/>
                  <a:pt x="11933228" y="3798309"/>
                </a:cubicBezTo>
                <a:cubicBezTo>
                  <a:pt x="11915699" y="3798309"/>
                  <a:pt x="11898170" y="3805357"/>
                  <a:pt x="11880641" y="3812406"/>
                </a:cubicBezTo>
                <a:cubicBezTo>
                  <a:pt x="11880641" y="3812406"/>
                  <a:pt x="11870123" y="3798309"/>
                  <a:pt x="11866617" y="3794785"/>
                </a:cubicBezTo>
                <a:cubicBezTo>
                  <a:pt x="11880641" y="3780688"/>
                  <a:pt x="11891158" y="3766592"/>
                  <a:pt x="11894664" y="3748970"/>
                </a:cubicBezTo>
                <a:cubicBezTo>
                  <a:pt x="11891158" y="3741922"/>
                  <a:pt x="11884146" y="3734874"/>
                  <a:pt x="11877135" y="3731350"/>
                </a:cubicBezTo>
                <a:cubicBezTo>
                  <a:pt x="11859606" y="3734874"/>
                  <a:pt x="11845583" y="3745446"/>
                  <a:pt x="11831559" y="3759544"/>
                </a:cubicBezTo>
                <a:cubicBezTo>
                  <a:pt x="11828054" y="3756019"/>
                  <a:pt x="11814030" y="3745446"/>
                  <a:pt x="11814030" y="3745446"/>
                </a:cubicBezTo>
                <a:cubicBezTo>
                  <a:pt x="11821042" y="3727826"/>
                  <a:pt x="11828054" y="3710205"/>
                  <a:pt x="11828054" y="3692584"/>
                </a:cubicBezTo>
                <a:cubicBezTo>
                  <a:pt x="11821042" y="3689060"/>
                  <a:pt x="11814030" y="3682011"/>
                  <a:pt x="11807019" y="3682011"/>
                </a:cubicBezTo>
                <a:cubicBezTo>
                  <a:pt x="11792995" y="3689060"/>
                  <a:pt x="11778972" y="3703156"/>
                  <a:pt x="11768454" y="3717253"/>
                </a:cubicBezTo>
                <a:cubicBezTo>
                  <a:pt x="11764949" y="3717253"/>
                  <a:pt x="11750925" y="3710205"/>
                  <a:pt x="11747420" y="3710205"/>
                </a:cubicBezTo>
                <a:cubicBezTo>
                  <a:pt x="11750925" y="3699632"/>
                  <a:pt x="11750925" y="3692584"/>
                  <a:pt x="11750925" y="3682011"/>
                </a:cubicBezTo>
                <a:cubicBezTo>
                  <a:pt x="11750925" y="3671439"/>
                  <a:pt x="11750925" y="3664391"/>
                  <a:pt x="11747420" y="3657342"/>
                </a:cubicBezTo>
                <a:cubicBezTo>
                  <a:pt x="11747420" y="3657342"/>
                  <a:pt x="11747420" y="3657342"/>
                  <a:pt x="11747420" y="3653818"/>
                </a:cubicBezTo>
                <a:cubicBezTo>
                  <a:pt x="11740408" y="3653818"/>
                  <a:pt x="11733396" y="3650294"/>
                  <a:pt x="11726385" y="3650294"/>
                </a:cubicBezTo>
                <a:cubicBezTo>
                  <a:pt x="11726385" y="3650294"/>
                  <a:pt x="11726385" y="3650294"/>
                  <a:pt x="11722879" y="3650294"/>
                </a:cubicBezTo>
                <a:cubicBezTo>
                  <a:pt x="11712361" y="3660866"/>
                  <a:pt x="11701844" y="3678487"/>
                  <a:pt x="11698339" y="3696108"/>
                </a:cubicBezTo>
                <a:cubicBezTo>
                  <a:pt x="11694832" y="3696108"/>
                  <a:pt x="11677303" y="3692584"/>
                  <a:pt x="11673798" y="3692584"/>
                </a:cubicBezTo>
                <a:cubicBezTo>
                  <a:pt x="11673798" y="3674963"/>
                  <a:pt x="11670291" y="3657342"/>
                  <a:pt x="11659774" y="3639721"/>
                </a:cubicBezTo>
                <a:cubicBezTo>
                  <a:pt x="11652763" y="3639721"/>
                  <a:pt x="11645751" y="3639721"/>
                  <a:pt x="11638739" y="3639721"/>
                </a:cubicBezTo>
                <a:close/>
                <a:moveTo>
                  <a:pt x="0" y="0"/>
                </a:moveTo>
                <a:lnTo>
                  <a:pt x="12192000" y="0"/>
                </a:lnTo>
                <a:lnTo>
                  <a:pt x="12192000" y="4454665"/>
                </a:lnTo>
                <a:lnTo>
                  <a:pt x="0" y="4454665"/>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274320" rtlCol="0" anchor="b">
            <a:noAutofit/>
          </a:bodyPr>
          <a:lstStyle/>
          <a:p>
            <a:pPr algn="l"/>
            <a:r>
              <a:rPr lang="en-US" dirty="0">
                <a:solidFill>
                  <a:schemeClr val="lt1">
                    <a:alpha val="0"/>
                  </a:schemeClr>
                </a:solidFill>
              </a:rPr>
              <a:t>z</a:t>
            </a:r>
          </a:p>
        </p:txBody>
      </p:sp>
      <p:sp>
        <p:nvSpPr>
          <p:cNvPr id="13" name="Text Placeholder 11">
            <a:extLst>
              <a:ext uri="{FF2B5EF4-FFF2-40B4-BE49-F238E27FC236}">
                <a16:creationId xmlns:a16="http://schemas.microsoft.com/office/drawing/2014/main" id="{9D3472EC-3332-4840-B3B3-3F529B60B0CF}"/>
              </a:ext>
            </a:extLst>
          </p:cNvPr>
          <p:cNvSpPr>
            <a:spLocks noGrp="1"/>
          </p:cNvSpPr>
          <p:nvPr>
            <p:ph type="body" sz="quarter" idx="14" hasCustomPrompt="1"/>
          </p:nvPr>
        </p:nvSpPr>
        <p:spPr>
          <a:xfrm>
            <a:off x="296333" y="593866"/>
            <a:ext cx="11065934" cy="635000"/>
          </a:xfrm>
        </p:spPr>
        <p:txBody>
          <a:bodyPr>
            <a:normAutofit/>
          </a:bodyPr>
          <a:lstStyle>
            <a:lvl1pPr marL="0" indent="0" algn="l">
              <a:buNone/>
              <a:defRPr sz="4400" b="1" cap="all" baseline="0">
                <a:solidFill>
                  <a:srgbClr val="01B0E3"/>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296333" y="1338932"/>
            <a:ext cx="11065934" cy="465667"/>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Slide Number Placeholder 5">
            <a:extLst>
              <a:ext uri="{FF2B5EF4-FFF2-40B4-BE49-F238E27FC236}">
                <a16:creationId xmlns:a16="http://schemas.microsoft.com/office/drawing/2014/main" id="{77FD9FF6-D0F7-4D4C-BFE7-449EBFDC2056}"/>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19391390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28-Jun-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a:t>
            </a:fld>
            <a:endParaRPr lang="en-US" dirty="0"/>
          </a:p>
        </p:txBody>
      </p:sp>
    </p:spTree>
    <p:extLst>
      <p:ext uri="{BB962C8B-B14F-4D97-AF65-F5344CB8AC3E}">
        <p14:creationId xmlns:p14="http://schemas.microsoft.com/office/powerpoint/2010/main" val="32909235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61D0F0E6-22D0-49A2-8945-52AEAD9041CD}"/>
              </a:ext>
            </a:extLst>
          </p:cNvPr>
          <p:cNvSpPr>
            <a:spLocks noGrp="1"/>
          </p:cNvSpPr>
          <p:nvPr>
            <p:ph type="pic" sz="quarter" idx="13"/>
          </p:nvPr>
        </p:nvSpPr>
        <p:spPr>
          <a:xfrm>
            <a:off x="0" y="0"/>
            <a:ext cx="12192000" cy="6858000"/>
          </a:xfrm>
          <a:custGeom>
            <a:avLst/>
            <a:gdLst>
              <a:gd name="connsiteX0" fmla="*/ 6602777 w 12192000"/>
              <a:gd name="connsiteY0" fmla="*/ 6116155 h 6858000"/>
              <a:gd name="connsiteX1" fmla="*/ 6612980 w 12192000"/>
              <a:gd name="connsiteY1" fmla="*/ 6116155 h 6858000"/>
              <a:gd name="connsiteX2" fmla="*/ 6617061 w 12192000"/>
              <a:gd name="connsiteY2" fmla="*/ 6124493 h 6858000"/>
              <a:gd name="connsiteX3" fmla="*/ 6623183 w 12192000"/>
              <a:gd name="connsiteY3" fmla="*/ 6226637 h 6858000"/>
              <a:gd name="connsiteX4" fmla="*/ 6621142 w 12192000"/>
              <a:gd name="connsiteY4" fmla="*/ 6237059 h 6858000"/>
              <a:gd name="connsiteX5" fmla="*/ 6615021 w 12192000"/>
              <a:gd name="connsiteY5" fmla="*/ 6237059 h 6858000"/>
              <a:gd name="connsiteX6" fmla="*/ 6508908 w 12192000"/>
              <a:gd name="connsiteY6" fmla="*/ 6174523 h 6858000"/>
              <a:gd name="connsiteX7" fmla="*/ 6504827 w 12192000"/>
              <a:gd name="connsiteY7" fmla="*/ 6168270 h 6858000"/>
              <a:gd name="connsiteX8" fmla="*/ 6504827 w 12192000"/>
              <a:gd name="connsiteY8" fmla="*/ 6166184 h 6858000"/>
              <a:gd name="connsiteX9" fmla="*/ 6510948 w 12192000"/>
              <a:gd name="connsiteY9" fmla="*/ 6162015 h 6858000"/>
              <a:gd name="connsiteX10" fmla="*/ 6602777 w 12192000"/>
              <a:gd name="connsiteY10" fmla="*/ 6116155 h 6858000"/>
              <a:gd name="connsiteX11" fmla="*/ 6685511 w 12192000"/>
              <a:gd name="connsiteY11" fmla="*/ 6114071 h 6858000"/>
              <a:gd name="connsiteX12" fmla="*/ 6695813 w 12192000"/>
              <a:gd name="connsiteY12" fmla="*/ 6114071 h 6858000"/>
              <a:gd name="connsiteX13" fmla="*/ 6786472 w 12192000"/>
              <a:gd name="connsiteY13" fmla="*/ 6159837 h 6858000"/>
              <a:gd name="connsiteX14" fmla="*/ 6794714 w 12192000"/>
              <a:gd name="connsiteY14" fmla="*/ 6166078 h 6858000"/>
              <a:gd name="connsiteX15" fmla="*/ 6790593 w 12192000"/>
              <a:gd name="connsiteY15" fmla="*/ 6172318 h 6858000"/>
              <a:gd name="connsiteX16" fmla="*/ 6683451 w 12192000"/>
              <a:gd name="connsiteY16" fmla="*/ 6234726 h 6858000"/>
              <a:gd name="connsiteX17" fmla="*/ 6675208 w 12192000"/>
              <a:gd name="connsiteY17" fmla="*/ 6234726 h 6858000"/>
              <a:gd name="connsiteX18" fmla="*/ 6673148 w 12192000"/>
              <a:gd name="connsiteY18" fmla="*/ 6226405 h 6858000"/>
              <a:gd name="connsiteX19" fmla="*/ 6681390 w 12192000"/>
              <a:gd name="connsiteY19" fmla="*/ 6122392 h 6858000"/>
              <a:gd name="connsiteX20" fmla="*/ 6685511 w 12192000"/>
              <a:gd name="connsiteY20" fmla="*/ 6114071 h 6858000"/>
              <a:gd name="connsiteX21" fmla="*/ 5867776 w 12192000"/>
              <a:gd name="connsiteY21" fmla="*/ 6074328 h 6858000"/>
              <a:gd name="connsiteX22" fmla="*/ 5867776 w 12192000"/>
              <a:gd name="connsiteY22" fmla="*/ 6117531 h 6858000"/>
              <a:gd name="connsiteX23" fmla="*/ 5819888 w 12192000"/>
              <a:gd name="connsiteY23" fmla="*/ 6125760 h 6858000"/>
              <a:gd name="connsiteX24" fmla="*/ 5801149 w 12192000"/>
              <a:gd name="connsiteY24" fmla="*/ 6101073 h 6858000"/>
              <a:gd name="connsiteX25" fmla="*/ 5826134 w 12192000"/>
              <a:gd name="connsiteY25" fmla="*/ 6076386 h 6858000"/>
              <a:gd name="connsiteX26" fmla="*/ 5518276 w 12192000"/>
              <a:gd name="connsiteY26" fmla="*/ 6004194 h 6858000"/>
              <a:gd name="connsiteX27" fmla="*/ 5559186 w 12192000"/>
              <a:gd name="connsiteY27" fmla="*/ 6064393 h 6858000"/>
              <a:gd name="connsiteX28" fmla="*/ 5518276 w 12192000"/>
              <a:gd name="connsiteY28" fmla="*/ 6124591 h 6858000"/>
              <a:gd name="connsiteX29" fmla="*/ 5477363 w 12192000"/>
              <a:gd name="connsiteY29" fmla="*/ 6064393 h 6858000"/>
              <a:gd name="connsiteX30" fmla="*/ 5518276 w 12192000"/>
              <a:gd name="connsiteY30" fmla="*/ 6004194 h 6858000"/>
              <a:gd name="connsiteX31" fmla="*/ 6672498 w 12192000"/>
              <a:gd name="connsiteY31" fmla="*/ 5995882 h 6858000"/>
              <a:gd name="connsiteX32" fmla="*/ 6681491 w 12192000"/>
              <a:gd name="connsiteY32" fmla="*/ 5996921 h 6858000"/>
              <a:gd name="connsiteX33" fmla="*/ 6708215 w 12192000"/>
              <a:gd name="connsiteY33" fmla="*/ 6048872 h 6858000"/>
              <a:gd name="connsiteX34" fmla="*/ 6648601 w 12192000"/>
              <a:gd name="connsiteY34" fmla="*/ 6107057 h 6858000"/>
              <a:gd name="connsiteX35" fmla="*/ 6588987 w 12192000"/>
              <a:gd name="connsiteY35" fmla="*/ 6048872 h 6858000"/>
              <a:gd name="connsiteX36" fmla="*/ 6615711 w 12192000"/>
              <a:gd name="connsiteY36" fmla="*/ 5999000 h 6858000"/>
              <a:gd name="connsiteX37" fmla="*/ 6632156 w 12192000"/>
              <a:gd name="connsiteY37" fmla="*/ 6001077 h 6858000"/>
              <a:gd name="connsiteX38" fmla="*/ 6630100 w 12192000"/>
              <a:gd name="connsiteY38" fmla="*/ 6017702 h 6858000"/>
              <a:gd name="connsiteX39" fmla="*/ 6613655 w 12192000"/>
              <a:gd name="connsiteY39" fmla="*/ 6048872 h 6858000"/>
              <a:gd name="connsiteX40" fmla="*/ 6648601 w 12192000"/>
              <a:gd name="connsiteY40" fmla="*/ 6084199 h 6858000"/>
              <a:gd name="connsiteX41" fmla="*/ 6683547 w 12192000"/>
              <a:gd name="connsiteY41" fmla="*/ 6048872 h 6858000"/>
              <a:gd name="connsiteX42" fmla="*/ 6667102 w 12192000"/>
              <a:gd name="connsiteY42" fmla="*/ 6017702 h 6858000"/>
              <a:gd name="connsiteX43" fmla="*/ 6665047 w 12192000"/>
              <a:gd name="connsiteY43" fmla="*/ 6001077 h 6858000"/>
              <a:gd name="connsiteX44" fmla="*/ 6672498 w 12192000"/>
              <a:gd name="connsiteY44" fmla="*/ 5995882 h 6858000"/>
              <a:gd name="connsiteX45" fmla="*/ 6821432 w 12192000"/>
              <a:gd name="connsiteY45" fmla="*/ 5980816 h 6858000"/>
              <a:gd name="connsiteX46" fmla="*/ 6825565 w 12192000"/>
              <a:gd name="connsiteY46" fmla="*/ 5987045 h 6858000"/>
              <a:gd name="connsiteX47" fmla="*/ 6825565 w 12192000"/>
              <a:gd name="connsiteY47" fmla="*/ 6111612 h 6858000"/>
              <a:gd name="connsiteX48" fmla="*/ 6821432 w 12192000"/>
              <a:gd name="connsiteY48" fmla="*/ 6117840 h 6858000"/>
              <a:gd name="connsiteX49" fmla="*/ 6813166 w 12192000"/>
              <a:gd name="connsiteY49" fmla="*/ 6115764 h 6858000"/>
              <a:gd name="connsiteX50" fmla="*/ 6728441 w 12192000"/>
              <a:gd name="connsiteY50" fmla="*/ 6057632 h 6858000"/>
              <a:gd name="connsiteX51" fmla="*/ 6722242 w 12192000"/>
              <a:gd name="connsiteY51" fmla="*/ 6049328 h 6858000"/>
              <a:gd name="connsiteX52" fmla="*/ 6728441 w 12192000"/>
              <a:gd name="connsiteY52" fmla="*/ 6041024 h 6858000"/>
              <a:gd name="connsiteX53" fmla="*/ 6813166 w 12192000"/>
              <a:gd name="connsiteY53" fmla="*/ 5982893 h 6858000"/>
              <a:gd name="connsiteX54" fmla="*/ 6821432 w 12192000"/>
              <a:gd name="connsiteY54" fmla="*/ 5980816 h 6858000"/>
              <a:gd name="connsiteX55" fmla="*/ 6475604 w 12192000"/>
              <a:gd name="connsiteY55" fmla="*/ 5980816 h 6858000"/>
              <a:gd name="connsiteX56" fmla="*/ 6483787 w 12192000"/>
              <a:gd name="connsiteY56" fmla="*/ 5984968 h 6858000"/>
              <a:gd name="connsiteX57" fmla="*/ 6567656 w 12192000"/>
              <a:gd name="connsiteY57" fmla="*/ 6041024 h 6858000"/>
              <a:gd name="connsiteX58" fmla="*/ 6573792 w 12192000"/>
              <a:gd name="connsiteY58" fmla="*/ 6049328 h 6858000"/>
              <a:gd name="connsiteX59" fmla="*/ 6567656 w 12192000"/>
              <a:gd name="connsiteY59" fmla="*/ 6057632 h 6858000"/>
              <a:gd name="connsiteX60" fmla="*/ 6483787 w 12192000"/>
              <a:gd name="connsiteY60" fmla="*/ 6115764 h 6858000"/>
              <a:gd name="connsiteX61" fmla="*/ 6475604 w 12192000"/>
              <a:gd name="connsiteY61" fmla="*/ 6117840 h 6858000"/>
              <a:gd name="connsiteX62" fmla="*/ 6471513 w 12192000"/>
              <a:gd name="connsiteY62" fmla="*/ 6111612 h 6858000"/>
              <a:gd name="connsiteX63" fmla="*/ 6471513 w 12192000"/>
              <a:gd name="connsiteY63" fmla="*/ 5987045 h 6858000"/>
              <a:gd name="connsiteX64" fmla="*/ 6475604 w 12192000"/>
              <a:gd name="connsiteY64" fmla="*/ 5980816 h 6858000"/>
              <a:gd name="connsiteX65" fmla="*/ 6087559 w 12192000"/>
              <a:gd name="connsiteY65" fmla="*/ 5970296 h 6858000"/>
              <a:gd name="connsiteX66" fmla="*/ 6081400 w 12192000"/>
              <a:gd name="connsiteY66" fmla="*/ 5972374 h 6858000"/>
              <a:gd name="connsiteX67" fmla="*/ 6079347 w 12192000"/>
              <a:gd name="connsiteY67" fmla="*/ 5978604 h 6858000"/>
              <a:gd name="connsiteX68" fmla="*/ 6120408 w 12192000"/>
              <a:gd name="connsiteY68" fmla="*/ 6136455 h 6858000"/>
              <a:gd name="connsiteX69" fmla="*/ 6145045 w 12192000"/>
              <a:gd name="connsiteY69" fmla="*/ 6157224 h 6858000"/>
              <a:gd name="connsiteX70" fmla="*/ 6153257 w 12192000"/>
              <a:gd name="connsiteY70" fmla="*/ 6157224 h 6858000"/>
              <a:gd name="connsiteX71" fmla="*/ 6149151 w 12192000"/>
              <a:gd name="connsiteY71" fmla="*/ 6165532 h 6858000"/>
              <a:gd name="connsiteX72" fmla="*/ 6149151 w 12192000"/>
              <a:gd name="connsiteY72" fmla="*/ 6167609 h 6858000"/>
              <a:gd name="connsiteX73" fmla="*/ 6124515 w 12192000"/>
              <a:gd name="connsiteY73" fmla="*/ 6186302 h 6858000"/>
              <a:gd name="connsiteX74" fmla="*/ 6089612 w 12192000"/>
              <a:gd name="connsiteY74" fmla="*/ 6184225 h 6858000"/>
              <a:gd name="connsiteX75" fmla="*/ 6083453 w 12192000"/>
              <a:gd name="connsiteY75" fmla="*/ 6186302 h 6858000"/>
              <a:gd name="connsiteX76" fmla="*/ 6081400 w 12192000"/>
              <a:gd name="connsiteY76" fmla="*/ 6190456 h 6858000"/>
              <a:gd name="connsiteX77" fmla="*/ 6081400 w 12192000"/>
              <a:gd name="connsiteY77" fmla="*/ 6209149 h 6858000"/>
              <a:gd name="connsiteX78" fmla="*/ 6087559 w 12192000"/>
              <a:gd name="connsiteY78" fmla="*/ 6215380 h 6858000"/>
              <a:gd name="connsiteX79" fmla="*/ 6134780 w 12192000"/>
              <a:gd name="connsiteY79" fmla="*/ 6221610 h 6858000"/>
              <a:gd name="connsiteX80" fmla="*/ 6136833 w 12192000"/>
              <a:gd name="connsiteY80" fmla="*/ 6221610 h 6858000"/>
              <a:gd name="connsiteX81" fmla="*/ 6190213 w 12192000"/>
              <a:gd name="connsiteY81" fmla="*/ 6169686 h 6858000"/>
              <a:gd name="connsiteX82" fmla="*/ 6223062 w 12192000"/>
              <a:gd name="connsiteY82" fmla="*/ 6040914 h 6858000"/>
              <a:gd name="connsiteX83" fmla="*/ 6235380 w 12192000"/>
              <a:gd name="connsiteY83" fmla="*/ 5999374 h 6858000"/>
              <a:gd name="connsiteX84" fmla="*/ 6239487 w 12192000"/>
              <a:gd name="connsiteY84" fmla="*/ 5978604 h 6858000"/>
              <a:gd name="connsiteX85" fmla="*/ 6237434 w 12192000"/>
              <a:gd name="connsiteY85" fmla="*/ 5972374 h 6858000"/>
              <a:gd name="connsiteX86" fmla="*/ 6233327 w 12192000"/>
              <a:gd name="connsiteY86" fmla="*/ 5970296 h 6858000"/>
              <a:gd name="connsiteX87" fmla="*/ 6204584 w 12192000"/>
              <a:gd name="connsiteY87" fmla="*/ 5970296 h 6858000"/>
              <a:gd name="connsiteX88" fmla="*/ 6198425 w 12192000"/>
              <a:gd name="connsiteY88" fmla="*/ 5974451 h 6858000"/>
              <a:gd name="connsiteX89" fmla="*/ 6161469 w 12192000"/>
              <a:gd name="connsiteY89" fmla="*/ 6115685 h 6858000"/>
              <a:gd name="connsiteX90" fmla="*/ 6159417 w 12192000"/>
              <a:gd name="connsiteY90" fmla="*/ 6115685 h 6858000"/>
              <a:gd name="connsiteX91" fmla="*/ 6120408 w 12192000"/>
              <a:gd name="connsiteY91" fmla="*/ 5974451 h 6858000"/>
              <a:gd name="connsiteX92" fmla="*/ 6114249 w 12192000"/>
              <a:gd name="connsiteY92" fmla="*/ 5970296 h 6858000"/>
              <a:gd name="connsiteX93" fmla="*/ 6087559 w 12192000"/>
              <a:gd name="connsiteY93" fmla="*/ 5970296 h 6858000"/>
              <a:gd name="connsiteX94" fmla="*/ 6047787 w 12192000"/>
              <a:gd name="connsiteY94" fmla="*/ 5967959 h 6858000"/>
              <a:gd name="connsiteX95" fmla="*/ 5998692 w 12192000"/>
              <a:gd name="connsiteY95" fmla="*/ 5988768 h 6858000"/>
              <a:gd name="connsiteX96" fmla="*/ 5998692 w 12192000"/>
              <a:gd name="connsiteY96" fmla="*/ 5976283 h 6858000"/>
              <a:gd name="connsiteX97" fmla="*/ 5992556 w 12192000"/>
              <a:gd name="connsiteY97" fmla="*/ 5970040 h 6858000"/>
              <a:gd name="connsiteX98" fmla="*/ 5963918 w 12192000"/>
              <a:gd name="connsiteY98" fmla="*/ 5970040 h 6858000"/>
              <a:gd name="connsiteX99" fmla="*/ 5957781 w 12192000"/>
              <a:gd name="connsiteY99" fmla="*/ 5976283 h 6858000"/>
              <a:gd name="connsiteX100" fmla="*/ 5957781 w 12192000"/>
              <a:gd name="connsiteY100" fmla="*/ 6151078 h 6858000"/>
              <a:gd name="connsiteX101" fmla="*/ 5963918 w 12192000"/>
              <a:gd name="connsiteY101" fmla="*/ 6157321 h 6858000"/>
              <a:gd name="connsiteX102" fmla="*/ 5992556 w 12192000"/>
              <a:gd name="connsiteY102" fmla="*/ 6157321 h 6858000"/>
              <a:gd name="connsiteX103" fmla="*/ 5998692 w 12192000"/>
              <a:gd name="connsiteY103" fmla="*/ 6151078 h 6858000"/>
              <a:gd name="connsiteX104" fmla="*/ 5998692 w 12192000"/>
              <a:gd name="connsiteY104" fmla="*/ 6030386 h 6858000"/>
              <a:gd name="connsiteX105" fmla="*/ 6049832 w 12192000"/>
              <a:gd name="connsiteY105" fmla="*/ 6007496 h 6858000"/>
              <a:gd name="connsiteX106" fmla="*/ 6055969 w 12192000"/>
              <a:gd name="connsiteY106" fmla="*/ 6001253 h 6858000"/>
              <a:gd name="connsiteX107" fmla="*/ 6055969 w 12192000"/>
              <a:gd name="connsiteY107" fmla="*/ 5974202 h 6858000"/>
              <a:gd name="connsiteX108" fmla="*/ 6053923 w 12192000"/>
              <a:gd name="connsiteY108" fmla="*/ 5970040 h 6858000"/>
              <a:gd name="connsiteX109" fmla="*/ 6047787 w 12192000"/>
              <a:gd name="connsiteY109" fmla="*/ 5967959 h 6858000"/>
              <a:gd name="connsiteX110" fmla="*/ 5846879 w 12192000"/>
              <a:gd name="connsiteY110" fmla="*/ 5964452 h 6858000"/>
              <a:gd name="connsiteX111" fmla="*/ 5776523 w 12192000"/>
              <a:gd name="connsiteY111" fmla="*/ 5972770 h 6858000"/>
              <a:gd name="connsiteX112" fmla="*/ 5770315 w 12192000"/>
              <a:gd name="connsiteY112" fmla="*/ 5979008 h 6858000"/>
              <a:gd name="connsiteX113" fmla="*/ 5772384 w 12192000"/>
              <a:gd name="connsiteY113" fmla="*/ 6003961 h 6858000"/>
              <a:gd name="connsiteX114" fmla="*/ 5774454 w 12192000"/>
              <a:gd name="connsiteY114" fmla="*/ 6008120 h 6858000"/>
              <a:gd name="connsiteX115" fmla="*/ 5778592 w 12192000"/>
              <a:gd name="connsiteY115" fmla="*/ 6010199 h 6858000"/>
              <a:gd name="connsiteX116" fmla="*/ 5844809 w 12192000"/>
              <a:gd name="connsiteY116" fmla="*/ 6006040 h 6858000"/>
              <a:gd name="connsiteX117" fmla="*/ 5867571 w 12192000"/>
              <a:gd name="connsiteY117" fmla="*/ 6028914 h 6858000"/>
              <a:gd name="connsiteX118" fmla="*/ 5867571 w 12192000"/>
              <a:gd name="connsiteY118" fmla="*/ 6041390 h 6858000"/>
              <a:gd name="connsiteX119" fmla="*/ 5822047 w 12192000"/>
              <a:gd name="connsiteY119" fmla="*/ 6045549 h 6858000"/>
              <a:gd name="connsiteX120" fmla="*/ 5757900 w 12192000"/>
              <a:gd name="connsiteY120" fmla="*/ 6101693 h 6858000"/>
              <a:gd name="connsiteX121" fmla="*/ 5813770 w 12192000"/>
              <a:gd name="connsiteY121" fmla="*/ 6161996 h 6858000"/>
              <a:gd name="connsiteX122" fmla="*/ 5873779 w 12192000"/>
              <a:gd name="connsiteY122" fmla="*/ 6149520 h 6858000"/>
              <a:gd name="connsiteX123" fmla="*/ 5902750 w 12192000"/>
              <a:gd name="connsiteY123" fmla="*/ 6161996 h 6858000"/>
              <a:gd name="connsiteX124" fmla="*/ 5908957 w 12192000"/>
              <a:gd name="connsiteY124" fmla="*/ 6159917 h 6858000"/>
              <a:gd name="connsiteX125" fmla="*/ 5911026 w 12192000"/>
              <a:gd name="connsiteY125" fmla="*/ 6153679 h 6858000"/>
              <a:gd name="connsiteX126" fmla="*/ 5911026 w 12192000"/>
              <a:gd name="connsiteY126" fmla="*/ 6028914 h 6858000"/>
              <a:gd name="connsiteX127" fmla="*/ 5846879 w 12192000"/>
              <a:gd name="connsiteY127" fmla="*/ 5964452 h 6858000"/>
              <a:gd name="connsiteX128" fmla="*/ 5518274 w 12192000"/>
              <a:gd name="connsiteY128" fmla="*/ 5964452 h 6858000"/>
              <a:gd name="connsiteX129" fmla="*/ 5434114 w 12192000"/>
              <a:gd name="connsiteY129" fmla="*/ 6063224 h 6858000"/>
              <a:gd name="connsiteX130" fmla="*/ 5518274 w 12192000"/>
              <a:gd name="connsiteY130" fmla="*/ 6161996 h 6858000"/>
              <a:gd name="connsiteX131" fmla="*/ 5602435 w 12192000"/>
              <a:gd name="connsiteY131" fmla="*/ 6063224 h 6858000"/>
              <a:gd name="connsiteX132" fmla="*/ 5518274 w 12192000"/>
              <a:gd name="connsiteY132" fmla="*/ 5964452 h 6858000"/>
              <a:gd name="connsiteX133" fmla="*/ 5302320 w 12192000"/>
              <a:gd name="connsiteY133" fmla="*/ 5938736 h 6858000"/>
              <a:gd name="connsiteX134" fmla="*/ 5318685 w 12192000"/>
              <a:gd name="connsiteY134" fmla="*/ 5938736 h 6858000"/>
              <a:gd name="connsiteX135" fmla="*/ 5361642 w 12192000"/>
              <a:gd name="connsiteY135" fmla="*/ 5978478 h 6858000"/>
              <a:gd name="connsiteX136" fmla="*/ 5316640 w 12192000"/>
              <a:gd name="connsiteY136" fmla="*/ 6016129 h 6858000"/>
              <a:gd name="connsiteX137" fmla="*/ 5271637 w 12192000"/>
              <a:gd name="connsiteY137" fmla="*/ 6016129 h 6858000"/>
              <a:gd name="connsiteX138" fmla="*/ 5271637 w 12192000"/>
              <a:gd name="connsiteY138" fmla="*/ 5940828 h 6858000"/>
              <a:gd name="connsiteX139" fmla="*/ 5302320 w 12192000"/>
              <a:gd name="connsiteY139" fmla="*/ 5938736 h 6858000"/>
              <a:gd name="connsiteX140" fmla="*/ 5678557 w 12192000"/>
              <a:gd name="connsiteY140" fmla="*/ 5927047 h 6858000"/>
              <a:gd name="connsiteX141" fmla="*/ 5649847 w 12192000"/>
              <a:gd name="connsiteY141" fmla="*/ 5933291 h 6858000"/>
              <a:gd name="connsiteX142" fmla="*/ 5643695 w 12192000"/>
              <a:gd name="connsiteY142" fmla="*/ 5939535 h 6858000"/>
              <a:gd name="connsiteX143" fmla="*/ 5643695 w 12192000"/>
              <a:gd name="connsiteY143" fmla="*/ 5970757 h 6858000"/>
              <a:gd name="connsiteX144" fmla="*/ 5627290 w 12192000"/>
              <a:gd name="connsiteY144" fmla="*/ 5970757 h 6858000"/>
              <a:gd name="connsiteX145" fmla="*/ 5621138 w 12192000"/>
              <a:gd name="connsiteY145" fmla="*/ 5977002 h 6858000"/>
              <a:gd name="connsiteX146" fmla="*/ 5621138 w 12192000"/>
              <a:gd name="connsiteY146" fmla="*/ 6001980 h 6858000"/>
              <a:gd name="connsiteX147" fmla="*/ 5627290 w 12192000"/>
              <a:gd name="connsiteY147" fmla="*/ 6008224 h 6858000"/>
              <a:gd name="connsiteX148" fmla="*/ 5643695 w 12192000"/>
              <a:gd name="connsiteY148" fmla="*/ 6008224 h 6858000"/>
              <a:gd name="connsiteX149" fmla="*/ 5643695 w 12192000"/>
              <a:gd name="connsiteY149" fmla="*/ 6091483 h 6858000"/>
              <a:gd name="connsiteX150" fmla="*/ 5699064 w 12192000"/>
              <a:gd name="connsiteY150" fmla="*/ 6164334 h 6858000"/>
              <a:gd name="connsiteX151" fmla="*/ 5731875 w 12192000"/>
              <a:gd name="connsiteY151" fmla="*/ 6160171 h 6858000"/>
              <a:gd name="connsiteX152" fmla="*/ 5738028 w 12192000"/>
              <a:gd name="connsiteY152" fmla="*/ 6151845 h 6858000"/>
              <a:gd name="connsiteX153" fmla="*/ 5735977 w 12192000"/>
              <a:gd name="connsiteY153" fmla="*/ 6128949 h 6858000"/>
              <a:gd name="connsiteX154" fmla="*/ 5729824 w 12192000"/>
              <a:gd name="connsiteY154" fmla="*/ 6120623 h 6858000"/>
              <a:gd name="connsiteX155" fmla="*/ 5705217 w 12192000"/>
              <a:gd name="connsiteY155" fmla="*/ 6122705 h 6858000"/>
              <a:gd name="connsiteX156" fmla="*/ 5686761 w 12192000"/>
              <a:gd name="connsiteY156" fmla="*/ 6085238 h 6858000"/>
              <a:gd name="connsiteX157" fmla="*/ 5686761 w 12192000"/>
              <a:gd name="connsiteY157" fmla="*/ 6008224 h 6858000"/>
              <a:gd name="connsiteX158" fmla="*/ 5729824 w 12192000"/>
              <a:gd name="connsiteY158" fmla="*/ 6008224 h 6858000"/>
              <a:gd name="connsiteX159" fmla="*/ 5735977 w 12192000"/>
              <a:gd name="connsiteY159" fmla="*/ 6001980 h 6858000"/>
              <a:gd name="connsiteX160" fmla="*/ 5735977 w 12192000"/>
              <a:gd name="connsiteY160" fmla="*/ 5977002 h 6858000"/>
              <a:gd name="connsiteX161" fmla="*/ 5729824 w 12192000"/>
              <a:gd name="connsiteY161" fmla="*/ 5970757 h 6858000"/>
              <a:gd name="connsiteX162" fmla="*/ 5686761 w 12192000"/>
              <a:gd name="connsiteY162" fmla="*/ 5970757 h 6858000"/>
              <a:gd name="connsiteX163" fmla="*/ 5686761 w 12192000"/>
              <a:gd name="connsiteY163" fmla="*/ 5933291 h 6858000"/>
              <a:gd name="connsiteX164" fmla="*/ 5684709 w 12192000"/>
              <a:gd name="connsiteY164" fmla="*/ 5927047 h 6858000"/>
              <a:gd name="connsiteX165" fmla="*/ 5678557 w 12192000"/>
              <a:gd name="connsiteY165" fmla="*/ 5927047 h 6858000"/>
              <a:gd name="connsiteX166" fmla="*/ 5312653 w 12192000"/>
              <a:gd name="connsiteY166" fmla="*/ 5897825 h 6858000"/>
              <a:gd name="connsiteX167" fmla="*/ 5232236 w 12192000"/>
              <a:gd name="connsiteY167" fmla="*/ 5901977 h 6858000"/>
              <a:gd name="connsiteX168" fmla="*/ 5226049 w 12192000"/>
              <a:gd name="connsiteY168" fmla="*/ 5910281 h 6858000"/>
              <a:gd name="connsiteX169" fmla="*/ 5226049 w 12192000"/>
              <a:gd name="connsiteY169" fmla="*/ 6151093 h 6858000"/>
              <a:gd name="connsiteX170" fmla="*/ 5234297 w 12192000"/>
              <a:gd name="connsiteY170" fmla="*/ 6157321 h 6858000"/>
              <a:gd name="connsiteX171" fmla="*/ 5263165 w 12192000"/>
              <a:gd name="connsiteY171" fmla="*/ 6157321 h 6858000"/>
              <a:gd name="connsiteX172" fmla="*/ 5271414 w 12192000"/>
              <a:gd name="connsiteY172" fmla="*/ 6151093 h 6858000"/>
              <a:gd name="connsiteX173" fmla="*/ 5271414 w 12192000"/>
              <a:gd name="connsiteY173" fmla="*/ 6055599 h 6858000"/>
              <a:gd name="connsiteX174" fmla="*/ 5320901 w 12192000"/>
              <a:gd name="connsiteY174" fmla="*/ 6057674 h 6858000"/>
              <a:gd name="connsiteX175" fmla="*/ 5362142 w 12192000"/>
              <a:gd name="connsiteY175" fmla="*/ 6153168 h 6858000"/>
              <a:gd name="connsiteX176" fmla="*/ 5368327 w 12192000"/>
              <a:gd name="connsiteY176" fmla="*/ 6157321 h 6858000"/>
              <a:gd name="connsiteX177" fmla="*/ 5401320 w 12192000"/>
              <a:gd name="connsiteY177" fmla="*/ 6157321 h 6858000"/>
              <a:gd name="connsiteX178" fmla="*/ 5407505 w 12192000"/>
              <a:gd name="connsiteY178" fmla="*/ 6155245 h 6858000"/>
              <a:gd name="connsiteX179" fmla="*/ 5409567 w 12192000"/>
              <a:gd name="connsiteY179" fmla="*/ 6149017 h 6858000"/>
              <a:gd name="connsiteX180" fmla="*/ 5362142 w 12192000"/>
              <a:gd name="connsiteY180" fmla="*/ 6045219 h 6858000"/>
              <a:gd name="connsiteX181" fmla="*/ 5407505 w 12192000"/>
              <a:gd name="connsiteY181" fmla="*/ 5976711 h 6858000"/>
              <a:gd name="connsiteX182" fmla="*/ 5318839 w 12192000"/>
              <a:gd name="connsiteY182" fmla="*/ 5897825 h 6858000"/>
              <a:gd name="connsiteX183" fmla="*/ 5312653 w 12192000"/>
              <a:gd name="connsiteY183" fmla="*/ 5897825 h 6858000"/>
              <a:gd name="connsiteX184" fmla="*/ 6675208 w 12192000"/>
              <a:gd name="connsiteY184" fmla="*/ 5864819 h 6858000"/>
              <a:gd name="connsiteX185" fmla="*/ 6683451 w 12192000"/>
              <a:gd name="connsiteY185" fmla="*/ 5864819 h 6858000"/>
              <a:gd name="connsiteX186" fmla="*/ 6790593 w 12192000"/>
              <a:gd name="connsiteY186" fmla="*/ 5926632 h 6858000"/>
              <a:gd name="connsiteX187" fmla="*/ 6794714 w 12192000"/>
              <a:gd name="connsiteY187" fmla="*/ 5932813 h 6858000"/>
              <a:gd name="connsiteX188" fmla="*/ 6786472 w 12192000"/>
              <a:gd name="connsiteY188" fmla="*/ 5938994 h 6858000"/>
              <a:gd name="connsiteX189" fmla="*/ 6695813 w 12192000"/>
              <a:gd name="connsiteY189" fmla="*/ 5982263 h 6858000"/>
              <a:gd name="connsiteX190" fmla="*/ 6685511 w 12192000"/>
              <a:gd name="connsiteY190" fmla="*/ 5984323 h 6858000"/>
              <a:gd name="connsiteX191" fmla="*/ 6681390 w 12192000"/>
              <a:gd name="connsiteY191" fmla="*/ 5974021 h 6858000"/>
              <a:gd name="connsiteX192" fmla="*/ 6673148 w 12192000"/>
              <a:gd name="connsiteY192" fmla="*/ 5873060 h 6858000"/>
              <a:gd name="connsiteX193" fmla="*/ 6675208 w 12192000"/>
              <a:gd name="connsiteY193" fmla="*/ 5864819 h 6858000"/>
              <a:gd name="connsiteX194" fmla="*/ 6617873 w 12192000"/>
              <a:gd name="connsiteY194" fmla="*/ 5864048 h 6858000"/>
              <a:gd name="connsiteX195" fmla="*/ 6621994 w 12192000"/>
              <a:gd name="connsiteY195" fmla="*/ 5864823 h 6858000"/>
              <a:gd name="connsiteX196" fmla="*/ 6624054 w 12192000"/>
              <a:gd name="connsiteY196" fmla="*/ 5875148 h 6858000"/>
              <a:gd name="connsiteX197" fmla="*/ 6615813 w 12192000"/>
              <a:gd name="connsiteY197" fmla="*/ 5976336 h 6858000"/>
              <a:gd name="connsiteX198" fmla="*/ 6611692 w 12192000"/>
              <a:gd name="connsiteY198" fmla="*/ 5984596 h 6858000"/>
              <a:gd name="connsiteX199" fmla="*/ 6601390 w 12192000"/>
              <a:gd name="connsiteY199" fmla="*/ 5984596 h 6858000"/>
              <a:gd name="connsiteX200" fmla="*/ 6510730 w 12192000"/>
              <a:gd name="connsiteY200" fmla="*/ 5939165 h 6858000"/>
              <a:gd name="connsiteX201" fmla="*/ 6502489 w 12192000"/>
              <a:gd name="connsiteY201" fmla="*/ 5932970 h 6858000"/>
              <a:gd name="connsiteX202" fmla="*/ 6506610 w 12192000"/>
              <a:gd name="connsiteY202" fmla="*/ 5926774 h 6858000"/>
              <a:gd name="connsiteX203" fmla="*/ 6613752 w 12192000"/>
              <a:gd name="connsiteY203" fmla="*/ 5864823 h 6858000"/>
              <a:gd name="connsiteX204" fmla="*/ 6617873 w 12192000"/>
              <a:gd name="connsiteY204" fmla="*/ 5864048 h 6858000"/>
              <a:gd name="connsiteX205" fmla="*/ 6649186 w 12192000"/>
              <a:gd name="connsiteY205" fmla="*/ 5828859 h 6858000"/>
              <a:gd name="connsiteX206" fmla="*/ 6432355 w 12192000"/>
              <a:gd name="connsiteY206" fmla="*/ 6048029 h 6858000"/>
              <a:gd name="connsiteX207" fmla="*/ 6649186 w 12192000"/>
              <a:gd name="connsiteY207" fmla="*/ 6267198 h 6858000"/>
              <a:gd name="connsiteX208" fmla="*/ 6866018 w 12192000"/>
              <a:gd name="connsiteY208" fmla="*/ 6048029 h 6858000"/>
              <a:gd name="connsiteX209" fmla="*/ 6649186 w 12192000"/>
              <a:gd name="connsiteY209" fmla="*/ 5828859 h 6858000"/>
              <a:gd name="connsiteX210" fmla="*/ 6648602 w 12192000"/>
              <a:gd name="connsiteY210" fmla="*/ 5797300 h 6858000"/>
              <a:gd name="connsiteX211" fmla="*/ 6895240 w 12192000"/>
              <a:gd name="connsiteY211" fmla="*/ 6046861 h 6858000"/>
              <a:gd name="connsiteX212" fmla="*/ 6648602 w 12192000"/>
              <a:gd name="connsiteY212" fmla="*/ 6296422 h 6858000"/>
              <a:gd name="connsiteX213" fmla="*/ 6401963 w 12192000"/>
              <a:gd name="connsiteY213" fmla="*/ 6046861 h 6858000"/>
              <a:gd name="connsiteX214" fmla="*/ 6648602 w 12192000"/>
              <a:gd name="connsiteY214" fmla="*/ 5797300 h 6858000"/>
              <a:gd name="connsiteX215" fmla="*/ 6635678 w 12192000"/>
              <a:gd name="connsiteY215" fmla="*/ 5718724 h 6858000"/>
              <a:gd name="connsiteX216" fmla="*/ 6623339 w 12192000"/>
              <a:gd name="connsiteY216" fmla="*/ 5768607 h 6858000"/>
              <a:gd name="connsiteX217" fmla="*/ 6600717 w 12192000"/>
              <a:gd name="connsiteY217" fmla="*/ 5772764 h 6858000"/>
              <a:gd name="connsiteX218" fmla="*/ 6573982 w 12192000"/>
              <a:gd name="connsiteY218" fmla="*/ 5727038 h 6858000"/>
              <a:gd name="connsiteX219" fmla="*/ 6573982 w 12192000"/>
              <a:gd name="connsiteY219" fmla="*/ 5724959 h 6858000"/>
              <a:gd name="connsiteX220" fmla="*/ 6571926 w 12192000"/>
              <a:gd name="connsiteY220" fmla="*/ 5727038 h 6858000"/>
              <a:gd name="connsiteX221" fmla="*/ 6551360 w 12192000"/>
              <a:gd name="connsiteY221" fmla="*/ 5731195 h 6858000"/>
              <a:gd name="connsiteX222" fmla="*/ 6551360 w 12192000"/>
              <a:gd name="connsiteY222" fmla="*/ 5733273 h 6858000"/>
              <a:gd name="connsiteX223" fmla="*/ 6547247 w 12192000"/>
              <a:gd name="connsiteY223" fmla="*/ 5758215 h 6858000"/>
              <a:gd name="connsiteX224" fmla="*/ 6551360 w 12192000"/>
              <a:gd name="connsiteY224" fmla="*/ 5785235 h 6858000"/>
              <a:gd name="connsiteX225" fmla="*/ 6530795 w 12192000"/>
              <a:gd name="connsiteY225" fmla="*/ 5793548 h 6858000"/>
              <a:gd name="connsiteX226" fmla="*/ 6493777 w 12192000"/>
              <a:gd name="connsiteY226" fmla="*/ 5758215 h 6858000"/>
              <a:gd name="connsiteX227" fmla="*/ 6493777 w 12192000"/>
              <a:gd name="connsiteY227" fmla="*/ 5756136 h 6858000"/>
              <a:gd name="connsiteX228" fmla="*/ 6491721 w 12192000"/>
              <a:gd name="connsiteY228" fmla="*/ 5756136 h 6858000"/>
              <a:gd name="connsiteX229" fmla="*/ 6473212 w 12192000"/>
              <a:gd name="connsiteY229" fmla="*/ 5768607 h 6858000"/>
              <a:gd name="connsiteX230" fmla="*/ 6473212 w 12192000"/>
              <a:gd name="connsiteY230" fmla="*/ 5770685 h 6858000"/>
              <a:gd name="connsiteX231" fmla="*/ 6485551 w 12192000"/>
              <a:gd name="connsiteY231" fmla="*/ 5820568 h 6858000"/>
              <a:gd name="connsiteX232" fmla="*/ 6469099 w 12192000"/>
              <a:gd name="connsiteY232" fmla="*/ 5833039 h 6858000"/>
              <a:gd name="connsiteX233" fmla="*/ 6425911 w 12192000"/>
              <a:gd name="connsiteY233" fmla="*/ 5806019 h 6858000"/>
              <a:gd name="connsiteX234" fmla="*/ 6423855 w 12192000"/>
              <a:gd name="connsiteY234" fmla="*/ 5806019 h 6858000"/>
              <a:gd name="connsiteX235" fmla="*/ 6423855 w 12192000"/>
              <a:gd name="connsiteY235" fmla="*/ 5808097 h 6858000"/>
              <a:gd name="connsiteX236" fmla="*/ 6407402 w 12192000"/>
              <a:gd name="connsiteY236" fmla="*/ 5822647 h 6858000"/>
              <a:gd name="connsiteX237" fmla="*/ 6407402 w 12192000"/>
              <a:gd name="connsiteY237" fmla="*/ 5824725 h 6858000"/>
              <a:gd name="connsiteX238" fmla="*/ 6434138 w 12192000"/>
              <a:gd name="connsiteY238" fmla="*/ 5870451 h 6858000"/>
              <a:gd name="connsiteX239" fmla="*/ 6419742 w 12192000"/>
              <a:gd name="connsiteY239" fmla="*/ 5887079 h 6858000"/>
              <a:gd name="connsiteX240" fmla="*/ 6370385 w 12192000"/>
              <a:gd name="connsiteY240" fmla="*/ 5874608 h 6858000"/>
              <a:gd name="connsiteX241" fmla="*/ 6368328 w 12192000"/>
              <a:gd name="connsiteY241" fmla="*/ 5874608 h 6858000"/>
              <a:gd name="connsiteX242" fmla="*/ 6358046 w 12192000"/>
              <a:gd name="connsiteY242" fmla="*/ 5893314 h 6858000"/>
              <a:gd name="connsiteX243" fmla="*/ 6358046 w 12192000"/>
              <a:gd name="connsiteY243" fmla="*/ 5895393 h 6858000"/>
              <a:gd name="connsiteX244" fmla="*/ 6395063 w 12192000"/>
              <a:gd name="connsiteY244" fmla="*/ 5932805 h 6858000"/>
              <a:gd name="connsiteX245" fmla="*/ 6386837 w 12192000"/>
              <a:gd name="connsiteY245" fmla="*/ 5951511 h 6858000"/>
              <a:gd name="connsiteX246" fmla="*/ 6335424 w 12192000"/>
              <a:gd name="connsiteY246" fmla="*/ 5951511 h 6858000"/>
              <a:gd name="connsiteX247" fmla="*/ 6333367 w 12192000"/>
              <a:gd name="connsiteY247" fmla="*/ 5951511 h 6858000"/>
              <a:gd name="connsiteX248" fmla="*/ 6333367 w 12192000"/>
              <a:gd name="connsiteY248" fmla="*/ 5953589 h 6858000"/>
              <a:gd name="connsiteX249" fmla="*/ 6327198 w 12192000"/>
              <a:gd name="connsiteY249" fmla="*/ 5974373 h 6858000"/>
              <a:gd name="connsiteX250" fmla="*/ 6329254 w 12192000"/>
              <a:gd name="connsiteY250" fmla="*/ 5976452 h 6858000"/>
              <a:gd name="connsiteX251" fmla="*/ 6372441 w 12192000"/>
              <a:gd name="connsiteY251" fmla="*/ 6001393 h 6858000"/>
              <a:gd name="connsiteX252" fmla="*/ 6370385 w 12192000"/>
              <a:gd name="connsiteY252" fmla="*/ 6024257 h 6858000"/>
              <a:gd name="connsiteX253" fmla="*/ 6321028 w 12192000"/>
              <a:gd name="connsiteY253" fmla="*/ 6036728 h 6858000"/>
              <a:gd name="connsiteX254" fmla="*/ 6318972 w 12192000"/>
              <a:gd name="connsiteY254" fmla="*/ 6036728 h 6858000"/>
              <a:gd name="connsiteX255" fmla="*/ 6318972 w 12192000"/>
              <a:gd name="connsiteY255" fmla="*/ 6038805 h 6858000"/>
              <a:gd name="connsiteX256" fmla="*/ 6318972 w 12192000"/>
              <a:gd name="connsiteY256" fmla="*/ 6049198 h 6858000"/>
              <a:gd name="connsiteX257" fmla="*/ 6318972 w 12192000"/>
              <a:gd name="connsiteY257" fmla="*/ 6059590 h 6858000"/>
              <a:gd name="connsiteX258" fmla="*/ 6318972 w 12192000"/>
              <a:gd name="connsiteY258" fmla="*/ 6061669 h 6858000"/>
              <a:gd name="connsiteX259" fmla="*/ 6321028 w 12192000"/>
              <a:gd name="connsiteY259" fmla="*/ 6061669 h 6858000"/>
              <a:gd name="connsiteX260" fmla="*/ 6370385 w 12192000"/>
              <a:gd name="connsiteY260" fmla="*/ 6074140 h 6858000"/>
              <a:gd name="connsiteX261" fmla="*/ 6374498 w 12192000"/>
              <a:gd name="connsiteY261" fmla="*/ 6097002 h 6858000"/>
              <a:gd name="connsiteX262" fmla="*/ 6329254 w 12192000"/>
              <a:gd name="connsiteY262" fmla="*/ 6124022 h 6858000"/>
              <a:gd name="connsiteX263" fmla="*/ 6327198 w 12192000"/>
              <a:gd name="connsiteY263" fmla="*/ 6124022 h 6858000"/>
              <a:gd name="connsiteX264" fmla="*/ 6327198 w 12192000"/>
              <a:gd name="connsiteY264" fmla="*/ 6126101 h 6858000"/>
              <a:gd name="connsiteX265" fmla="*/ 6333367 w 12192000"/>
              <a:gd name="connsiteY265" fmla="*/ 6146886 h 6858000"/>
              <a:gd name="connsiteX266" fmla="*/ 6335424 w 12192000"/>
              <a:gd name="connsiteY266" fmla="*/ 6146886 h 6858000"/>
              <a:gd name="connsiteX267" fmla="*/ 6386837 w 12192000"/>
              <a:gd name="connsiteY267" fmla="*/ 6146886 h 6858000"/>
              <a:gd name="connsiteX268" fmla="*/ 6395063 w 12192000"/>
              <a:gd name="connsiteY268" fmla="*/ 6167669 h 6858000"/>
              <a:gd name="connsiteX269" fmla="*/ 6358046 w 12192000"/>
              <a:gd name="connsiteY269" fmla="*/ 6205082 h 6858000"/>
              <a:gd name="connsiteX270" fmla="*/ 6358046 w 12192000"/>
              <a:gd name="connsiteY270" fmla="*/ 6207160 h 6858000"/>
              <a:gd name="connsiteX271" fmla="*/ 6370385 w 12192000"/>
              <a:gd name="connsiteY271" fmla="*/ 6225866 h 6858000"/>
              <a:gd name="connsiteX272" fmla="*/ 6421798 w 12192000"/>
              <a:gd name="connsiteY272" fmla="*/ 6211318 h 6858000"/>
              <a:gd name="connsiteX273" fmla="*/ 6434138 w 12192000"/>
              <a:gd name="connsiteY273" fmla="*/ 6230024 h 6858000"/>
              <a:gd name="connsiteX274" fmla="*/ 6407402 w 12192000"/>
              <a:gd name="connsiteY274" fmla="*/ 6275750 h 6858000"/>
              <a:gd name="connsiteX275" fmla="*/ 6409459 w 12192000"/>
              <a:gd name="connsiteY275" fmla="*/ 6277827 h 6858000"/>
              <a:gd name="connsiteX276" fmla="*/ 6423855 w 12192000"/>
              <a:gd name="connsiteY276" fmla="*/ 6292377 h 6858000"/>
              <a:gd name="connsiteX277" fmla="*/ 6425911 w 12192000"/>
              <a:gd name="connsiteY277" fmla="*/ 6292377 h 6858000"/>
              <a:gd name="connsiteX278" fmla="*/ 6471156 w 12192000"/>
              <a:gd name="connsiteY278" fmla="*/ 6265357 h 6858000"/>
              <a:gd name="connsiteX279" fmla="*/ 6487608 w 12192000"/>
              <a:gd name="connsiteY279" fmla="*/ 6279906 h 6858000"/>
              <a:gd name="connsiteX280" fmla="*/ 6475269 w 12192000"/>
              <a:gd name="connsiteY280" fmla="*/ 6329789 h 6858000"/>
              <a:gd name="connsiteX281" fmla="*/ 6475269 w 12192000"/>
              <a:gd name="connsiteY281" fmla="*/ 6331868 h 6858000"/>
              <a:gd name="connsiteX282" fmla="*/ 6493777 w 12192000"/>
              <a:gd name="connsiteY282" fmla="*/ 6342259 h 6858000"/>
              <a:gd name="connsiteX283" fmla="*/ 6493777 w 12192000"/>
              <a:gd name="connsiteY283" fmla="*/ 6344338 h 6858000"/>
              <a:gd name="connsiteX284" fmla="*/ 6495834 w 12192000"/>
              <a:gd name="connsiteY284" fmla="*/ 6342259 h 6858000"/>
              <a:gd name="connsiteX285" fmla="*/ 6532851 w 12192000"/>
              <a:gd name="connsiteY285" fmla="*/ 6304848 h 6858000"/>
              <a:gd name="connsiteX286" fmla="*/ 6551360 w 12192000"/>
              <a:gd name="connsiteY286" fmla="*/ 6313162 h 6858000"/>
              <a:gd name="connsiteX287" fmla="*/ 6549304 w 12192000"/>
              <a:gd name="connsiteY287" fmla="*/ 6340182 h 6858000"/>
              <a:gd name="connsiteX288" fmla="*/ 6551360 w 12192000"/>
              <a:gd name="connsiteY288" fmla="*/ 6365123 h 6858000"/>
              <a:gd name="connsiteX289" fmla="*/ 6551360 w 12192000"/>
              <a:gd name="connsiteY289" fmla="*/ 6367201 h 6858000"/>
              <a:gd name="connsiteX290" fmla="*/ 6553417 w 12192000"/>
              <a:gd name="connsiteY290" fmla="*/ 6367201 h 6858000"/>
              <a:gd name="connsiteX291" fmla="*/ 6573982 w 12192000"/>
              <a:gd name="connsiteY291" fmla="*/ 6373436 h 6858000"/>
              <a:gd name="connsiteX292" fmla="*/ 6576039 w 12192000"/>
              <a:gd name="connsiteY292" fmla="*/ 6373436 h 6858000"/>
              <a:gd name="connsiteX293" fmla="*/ 6600717 w 12192000"/>
              <a:gd name="connsiteY293" fmla="*/ 6327711 h 6858000"/>
              <a:gd name="connsiteX294" fmla="*/ 6623339 w 12192000"/>
              <a:gd name="connsiteY294" fmla="*/ 6329789 h 6858000"/>
              <a:gd name="connsiteX295" fmla="*/ 6635678 w 12192000"/>
              <a:gd name="connsiteY295" fmla="*/ 6381750 h 6858000"/>
              <a:gd name="connsiteX296" fmla="*/ 6637734 w 12192000"/>
              <a:gd name="connsiteY296" fmla="*/ 6381750 h 6858000"/>
              <a:gd name="connsiteX297" fmla="*/ 6658300 w 12192000"/>
              <a:gd name="connsiteY297" fmla="*/ 6381750 h 6858000"/>
              <a:gd name="connsiteX298" fmla="*/ 6660357 w 12192000"/>
              <a:gd name="connsiteY298" fmla="*/ 6381750 h 6858000"/>
              <a:gd name="connsiteX299" fmla="*/ 6674753 w 12192000"/>
              <a:gd name="connsiteY299" fmla="*/ 6329789 h 6858000"/>
              <a:gd name="connsiteX300" fmla="*/ 6695318 w 12192000"/>
              <a:gd name="connsiteY300" fmla="*/ 6327711 h 6858000"/>
              <a:gd name="connsiteX301" fmla="*/ 6722053 w 12192000"/>
              <a:gd name="connsiteY301" fmla="*/ 6373436 h 6858000"/>
              <a:gd name="connsiteX302" fmla="*/ 6742618 w 12192000"/>
              <a:gd name="connsiteY302" fmla="*/ 6367201 h 6858000"/>
              <a:gd name="connsiteX303" fmla="*/ 6744675 w 12192000"/>
              <a:gd name="connsiteY303" fmla="*/ 6367201 h 6858000"/>
              <a:gd name="connsiteX304" fmla="*/ 6746731 w 12192000"/>
              <a:gd name="connsiteY304" fmla="*/ 6340182 h 6858000"/>
              <a:gd name="connsiteX305" fmla="*/ 6744675 w 12192000"/>
              <a:gd name="connsiteY305" fmla="*/ 6313162 h 6858000"/>
              <a:gd name="connsiteX306" fmla="*/ 6765240 w 12192000"/>
              <a:gd name="connsiteY306" fmla="*/ 6304848 h 6858000"/>
              <a:gd name="connsiteX307" fmla="*/ 6802257 w 12192000"/>
              <a:gd name="connsiteY307" fmla="*/ 6342259 h 6858000"/>
              <a:gd name="connsiteX308" fmla="*/ 6820766 w 12192000"/>
              <a:gd name="connsiteY308" fmla="*/ 6331868 h 6858000"/>
              <a:gd name="connsiteX309" fmla="*/ 6822823 w 12192000"/>
              <a:gd name="connsiteY309" fmla="*/ 6329789 h 6858000"/>
              <a:gd name="connsiteX310" fmla="*/ 6822823 w 12192000"/>
              <a:gd name="connsiteY310" fmla="*/ 6327711 h 6858000"/>
              <a:gd name="connsiteX311" fmla="*/ 6808427 w 12192000"/>
              <a:gd name="connsiteY311" fmla="*/ 6279906 h 6858000"/>
              <a:gd name="connsiteX312" fmla="*/ 6824879 w 12192000"/>
              <a:gd name="connsiteY312" fmla="*/ 6265357 h 6858000"/>
              <a:gd name="connsiteX313" fmla="*/ 6870123 w 12192000"/>
              <a:gd name="connsiteY313" fmla="*/ 6292377 h 6858000"/>
              <a:gd name="connsiteX314" fmla="*/ 6872180 w 12192000"/>
              <a:gd name="connsiteY314" fmla="*/ 6292377 h 6858000"/>
              <a:gd name="connsiteX315" fmla="*/ 6886576 w 12192000"/>
              <a:gd name="connsiteY315" fmla="*/ 6275750 h 6858000"/>
              <a:gd name="connsiteX316" fmla="*/ 6888632 w 12192000"/>
              <a:gd name="connsiteY316" fmla="*/ 6275750 h 6858000"/>
              <a:gd name="connsiteX317" fmla="*/ 6861897 w 12192000"/>
              <a:gd name="connsiteY317" fmla="*/ 6230024 h 6858000"/>
              <a:gd name="connsiteX318" fmla="*/ 6874236 w 12192000"/>
              <a:gd name="connsiteY318" fmla="*/ 6211318 h 6858000"/>
              <a:gd name="connsiteX319" fmla="*/ 6925650 w 12192000"/>
              <a:gd name="connsiteY319" fmla="*/ 6225866 h 6858000"/>
              <a:gd name="connsiteX320" fmla="*/ 6927706 w 12192000"/>
              <a:gd name="connsiteY320" fmla="*/ 6223788 h 6858000"/>
              <a:gd name="connsiteX321" fmla="*/ 6937989 w 12192000"/>
              <a:gd name="connsiteY321" fmla="*/ 6205082 h 6858000"/>
              <a:gd name="connsiteX322" fmla="*/ 6937989 w 12192000"/>
              <a:gd name="connsiteY322" fmla="*/ 6203004 h 6858000"/>
              <a:gd name="connsiteX323" fmla="*/ 6900972 w 12192000"/>
              <a:gd name="connsiteY323" fmla="*/ 6167669 h 6858000"/>
              <a:gd name="connsiteX324" fmla="*/ 6909198 w 12192000"/>
              <a:gd name="connsiteY324" fmla="*/ 6146886 h 6858000"/>
              <a:gd name="connsiteX325" fmla="*/ 6960611 w 12192000"/>
              <a:gd name="connsiteY325" fmla="*/ 6146886 h 6858000"/>
              <a:gd name="connsiteX326" fmla="*/ 6962667 w 12192000"/>
              <a:gd name="connsiteY326" fmla="*/ 6146886 h 6858000"/>
              <a:gd name="connsiteX327" fmla="*/ 6966781 w 12192000"/>
              <a:gd name="connsiteY327" fmla="*/ 6126101 h 6858000"/>
              <a:gd name="connsiteX328" fmla="*/ 6966781 w 12192000"/>
              <a:gd name="connsiteY328" fmla="*/ 6124022 h 6858000"/>
              <a:gd name="connsiteX329" fmla="*/ 6921537 w 12192000"/>
              <a:gd name="connsiteY329" fmla="*/ 6097002 h 6858000"/>
              <a:gd name="connsiteX330" fmla="*/ 6925650 w 12192000"/>
              <a:gd name="connsiteY330" fmla="*/ 6076218 h 6858000"/>
              <a:gd name="connsiteX331" fmla="*/ 6975007 w 12192000"/>
              <a:gd name="connsiteY331" fmla="*/ 6061669 h 6858000"/>
              <a:gd name="connsiteX332" fmla="*/ 6977063 w 12192000"/>
              <a:gd name="connsiteY332" fmla="*/ 6061669 h 6858000"/>
              <a:gd name="connsiteX333" fmla="*/ 6977063 w 12192000"/>
              <a:gd name="connsiteY333" fmla="*/ 6049198 h 6858000"/>
              <a:gd name="connsiteX334" fmla="*/ 6977063 w 12192000"/>
              <a:gd name="connsiteY334" fmla="*/ 6038805 h 6858000"/>
              <a:gd name="connsiteX335" fmla="*/ 6975007 w 12192000"/>
              <a:gd name="connsiteY335" fmla="*/ 6038805 h 6858000"/>
              <a:gd name="connsiteX336" fmla="*/ 6925650 w 12192000"/>
              <a:gd name="connsiteY336" fmla="*/ 6024257 h 6858000"/>
              <a:gd name="connsiteX337" fmla="*/ 6923593 w 12192000"/>
              <a:gd name="connsiteY337" fmla="*/ 6003472 h 6858000"/>
              <a:gd name="connsiteX338" fmla="*/ 6966781 w 12192000"/>
              <a:gd name="connsiteY338" fmla="*/ 5976452 h 6858000"/>
              <a:gd name="connsiteX339" fmla="*/ 6968837 w 12192000"/>
              <a:gd name="connsiteY339" fmla="*/ 5976452 h 6858000"/>
              <a:gd name="connsiteX340" fmla="*/ 6968837 w 12192000"/>
              <a:gd name="connsiteY340" fmla="*/ 5974373 h 6858000"/>
              <a:gd name="connsiteX341" fmla="*/ 6962667 w 12192000"/>
              <a:gd name="connsiteY341" fmla="*/ 5953589 h 6858000"/>
              <a:gd name="connsiteX342" fmla="*/ 6960611 w 12192000"/>
              <a:gd name="connsiteY342" fmla="*/ 5953589 h 6858000"/>
              <a:gd name="connsiteX343" fmla="*/ 6909198 w 12192000"/>
              <a:gd name="connsiteY343" fmla="*/ 5953589 h 6858000"/>
              <a:gd name="connsiteX344" fmla="*/ 6900972 w 12192000"/>
              <a:gd name="connsiteY344" fmla="*/ 5932805 h 6858000"/>
              <a:gd name="connsiteX345" fmla="*/ 6937989 w 12192000"/>
              <a:gd name="connsiteY345" fmla="*/ 5895393 h 6858000"/>
              <a:gd name="connsiteX346" fmla="*/ 6937989 w 12192000"/>
              <a:gd name="connsiteY346" fmla="*/ 5893314 h 6858000"/>
              <a:gd name="connsiteX347" fmla="*/ 6927706 w 12192000"/>
              <a:gd name="connsiteY347" fmla="*/ 5874608 h 6858000"/>
              <a:gd name="connsiteX348" fmla="*/ 6925650 w 12192000"/>
              <a:gd name="connsiteY348" fmla="*/ 5874608 h 6858000"/>
              <a:gd name="connsiteX349" fmla="*/ 6876293 w 12192000"/>
              <a:gd name="connsiteY349" fmla="*/ 5887079 h 6858000"/>
              <a:gd name="connsiteX350" fmla="*/ 6861897 w 12192000"/>
              <a:gd name="connsiteY350" fmla="*/ 5870451 h 6858000"/>
              <a:gd name="connsiteX351" fmla="*/ 6888632 w 12192000"/>
              <a:gd name="connsiteY351" fmla="*/ 5824725 h 6858000"/>
              <a:gd name="connsiteX352" fmla="*/ 6888632 w 12192000"/>
              <a:gd name="connsiteY352" fmla="*/ 5822647 h 6858000"/>
              <a:gd name="connsiteX353" fmla="*/ 6872180 w 12192000"/>
              <a:gd name="connsiteY353" fmla="*/ 5808097 h 6858000"/>
              <a:gd name="connsiteX354" fmla="*/ 6826936 w 12192000"/>
              <a:gd name="connsiteY354" fmla="*/ 5833039 h 6858000"/>
              <a:gd name="connsiteX355" fmla="*/ 6808427 w 12192000"/>
              <a:gd name="connsiteY355" fmla="*/ 5820568 h 6858000"/>
              <a:gd name="connsiteX356" fmla="*/ 6822823 w 12192000"/>
              <a:gd name="connsiteY356" fmla="*/ 5770685 h 6858000"/>
              <a:gd name="connsiteX357" fmla="*/ 6822823 w 12192000"/>
              <a:gd name="connsiteY357" fmla="*/ 5768607 h 6858000"/>
              <a:gd name="connsiteX358" fmla="*/ 6804314 w 12192000"/>
              <a:gd name="connsiteY358" fmla="*/ 5758215 h 6858000"/>
              <a:gd name="connsiteX359" fmla="*/ 6802257 w 12192000"/>
              <a:gd name="connsiteY359" fmla="*/ 5756136 h 6858000"/>
              <a:gd name="connsiteX360" fmla="*/ 6802257 w 12192000"/>
              <a:gd name="connsiteY360" fmla="*/ 5758215 h 6858000"/>
              <a:gd name="connsiteX361" fmla="*/ 6765240 w 12192000"/>
              <a:gd name="connsiteY361" fmla="*/ 5793548 h 6858000"/>
              <a:gd name="connsiteX362" fmla="*/ 6744675 w 12192000"/>
              <a:gd name="connsiteY362" fmla="*/ 5785235 h 6858000"/>
              <a:gd name="connsiteX363" fmla="*/ 6748788 w 12192000"/>
              <a:gd name="connsiteY363" fmla="*/ 5758215 h 6858000"/>
              <a:gd name="connsiteX364" fmla="*/ 6744675 w 12192000"/>
              <a:gd name="connsiteY364" fmla="*/ 5733273 h 6858000"/>
              <a:gd name="connsiteX365" fmla="*/ 6744675 w 12192000"/>
              <a:gd name="connsiteY365" fmla="*/ 5731195 h 6858000"/>
              <a:gd name="connsiteX366" fmla="*/ 6742618 w 12192000"/>
              <a:gd name="connsiteY366" fmla="*/ 5731195 h 6858000"/>
              <a:gd name="connsiteX367" fmla="*/ 6722053 w 12192000"/>
              <a:gd name="connsiteY367" fmla="*/ 5727038 h 6858000"/>
              <a:gd name="connsiteX368" fmla="*/ 6695318 w 12192000"/>
              <a:gd name="connsiteY368" fmla="*/ 5772764 h 6858000"/>
              <a:gd name="connsiteX369" fmla="*/ 6672696 w 12192000"/>
              <a:gd name="connsiteY369" fmla="*/ 5768607 h 6858000"/>
              <a:gd name="connsiteX370" fmla="*/ 6660357 w 12192000"/>
              <a:gd name="connsiteY370" fmla="*/ 5718724 h 6858000"/>
              <a:gd name="connsiteX371" fmla="*/ 6658300 w 12192000"/>
              <a:gd name="connsiteY371" fmla="*/ 5718724 h 6858000"/>
              <a:gd name="connsiteX372" fmla="*/ 6637734 w 12192000"/>
              <a:gd name="connsiteY372" fmla="*/ 5718724 h 6858000"/>
              <a:gd name="connsiteX373" fmla="*/ 6635678 w 12192000"/>
              <a:gd name="connsiteY373" fmla="*/ 5718724 h 6858000"/>
              <a:gd name="connsiteX374" fmla="*/ 0 w 12192000"/>
              <a:gd name="connsiteY374" fmla="*/ 0 h 6858000"/>
              <a:gd name="connsiteX375" fmla="*/ 12192000 w 12192000"/>
              <a:gd name="connsiteY375" fmla="*/ 0 h 6858000"/>
              <a:gd name="connsiteX376" fmla="*/ 12192000 w 12192000"/>
              <a:gd name="connsiteY376" fmla="*/ 6858000 h 6858000"/>
              <a:gd name="connsiteX377" fmla="*/ 4539049 w 12192000"/>
              <a:gd name="connsiteY377" fmla="*/ 6858000 h 6858000"/>
              <a:gd name="connsiteX378" fmla="*/ 0 w 12192000"/>
              <a:gd name="connsiteY378" fmla="*/ 6858000 h 6858000"/>
              <a:gd name="connsiteX379" fmla="*/ 0 w 12192000"/>
              <a:gd name="connsiteY379"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12192000" h="6858000">
                <a:moveTo>
                  <a:pt x="6602777" y="6116155"/>
                </a:moveTo>
                <a:cubicBezTo>
                  <a:pt x="6606858" y="6114071"/>
                  <a:pt x="6608899" y="6114071"/>
                  <a:pt x="6612980" y="6116155"/>
                </a:cubicBezTo>
                <a:cubicBezTo>
                  <a:pt x="6615021" y="6118240"/>
                  <a:pt x="6617061" y="6120324"/>
                  <a:pt x="6617061" y="6124493"/>
                </a:cubicBezTo>
                <a:cubicBezTo>
                  <a:pt x="6623183" y="6226637"/>
                  <a:pt x="6623183" y="6226637"/>
                  <a:pt x="6623183" y="6226637"/>
                </a:cubicBezTo>
                <a:cubicBezTo>
                  <a:pt x="6625224" y="6232890"/>
                  <a:pt x="6623183" y="6234975"/>
                  <a:pt x="6621142" y="6237059"/>
                </a:cubicBezTo>
                <a:cubicBezTo>
                  <a:pt x="6619102" y="6239144"/>
                  <a:pt x="6617061" y="6237059"/>
                  <a:pt x="6615021" y="6237059"/>
                </a:cubicBezTo>
                <a:cubicBezTo>
                  <a:pt x="6570127" y="6226637"/>
                  <a:pt x="6539517" y="6207875"/>
                  <a:pt x="6508908" y="6174523"/>
                </a:cubicBezTo>
                <a:cubicBezTo>
                  <a:pt x="6506867" y="6172439"/>
                  <a:pt x="6504827" y="6170354"/>
                  <a:pt x="6504827" y="6168270"/>
                </a:cubicBezTo>
                <a:cubicBezTo>
                  <a:pt x="6504827" y="6168270"/>
                  <a:pt x="6504827" y="6168270"/>
                  <a:pt x="6504827" y="6166184"/>
                </a:cubicBezTo>
                <a:cubicBezTo>
                  <a:pt x="6504827" y="6164100"/>
                  <a:pt x="6508908" y="6162015"/>
                  <a:pt x="6510948" y="6162015"/>
                </a:cubicBezTo>
                <a:cubicBezTo>
                  <a:pt x="6602777" y="6116155"/>
                  <a:pt x="6602777" y="6116155"/>
                  <a:pt x="6602777" y="6116155"/>
                </a:cubicBezTo>
                <a:close/>
                <a:moveTo>
                  <a:pt x="6685511" y="6114071"/>
                </a:moveTo>
                <a:cubicBezTo>
                  <a:pt x="6689631" y="6114071"/>
                  <a:pt x="6691692" y="6114071"/>
                  <a:pt x="6695813" y="6114071"/>
                </a:cubicBezTo>
                <a:cubicBezTo>
                  <a:pt x="6786472" y="6159837"/>
                  <a:pt x="6786472" y="6159837"/>
                  <a:pt x="6786472" y="6159837"/>
                </a:cubicBezTo>
                <a:cubicBezTo>
                  <a:pt x="6790593" y="6161917"/>
                  <a:pt x="6792654" y="6163997"/>
                  <a:pt x="6794714" y="6166078"/>
                </a:cubicBezTo>
                <a:cubicBezTo>
                  <a:pt x="6794714" y="6168158"/>
                  <a:pt x="6792654" y="6170238"/>
                  <a:pt x="6790593" y="6172318"/>
                </a:cubicBezTo>
                <a:cubicBezTo>
                  <a:pt x="6759687" y="6205602"/>
                  <a:pt x="6726720" y="6224325"/>
                  <a:pt x="6683451" y="6234726"/>
                </a:cubicBezTo>
                <a:cubicBezTo>
                  <a:pt x="6679330" y="6236806"/>
                  <a:pt x="6677269" y="6236806"/>
                  <a:pt x="6675208" y="6234726"/>
                </a:cubicBezTo>
                <a:cubicBezTo>
                  <a:pt x="6673148" y="6232646"/>
                  <a:pt x="6673148" y="6228485"/>
                  <a:pt x="6673148" y="6226405"/>
                </a:cubicBezTo>
                <a:cubicBezTo>
                  <a:pt x="6681390" y="6122392"/>
                  <a:pt x="6681390" y="6122392"/>
                  <a:pt x="6681390" y="6122392"/>
                </a:cubicBezTo>
                <a:cubicBezTo>
                  <a:pt x="6681390" y="6120312"/>
                  <a:pt x="6683451" y="6116151"/>
                  <a:pt x="6685511" y="6114071"/>
                </a:cubicBezTo>
                <a:close/>
                <a:moveTo>
                  <a:pt x="5867776" y="6074328"/>
                </a:moveTo>
                <a:cubicBezTo>
                  <a:pt x="5867776" y="6074328"/>
                  <a:pt x="5867776" y="6074328"/>
                  <a:pt x="5867776" y="6117531"/>
                </a:cubicBezTo>
                <a:cubicBezTo>
                  <a:pt x="5867776" y="6117531"/>
                  <a:pt x="5840708" y="6125760"/>
                  <a:pt x="5819888" y="6125760"/>
                </a:cubicBezTo>
                <a:cubicBezTo>
                  <a:pt x="5803231" y="6125760"/>
                  <a:pt x="5801149" y="6109302"/>
                  <a:pt x="5801149" y="6101073"/>
                </a:cubicBezTo>
                <a:cubicBezTo>
                  <a:pt x="5801149" y="6086672"/>
                  <a:pt x="5809477" y="6078443"/>
                  <a:pt x="5826134" y="6076386"/>
                </a:cubicBezTo>
                <a:close/>
                <a:moveTo>
                  <a:pt x="5518276" y="6004194"/>
                </a:moveTo>
                <a:cubicBezTo>
                  <a:pt x="5546913" y="6004194"/>
                  <a:pt x="5559186" y="6020801"/>
                  <a:pt x="5559186" y="6064393"/>
                </a:cubicBezTo>
                <a:cubicBezTo>
                  <a:pt x="5559186" y="6101757"/>
                  <a:pt x="5553050" y="6124591"/>
                  <a:pt x="5518276" y="6124591"/>
                </a:cubicBezTo>
                <a:cubicBezTo>
                  <a:pt x="5483500" y="6124591"/>
                  <a:pt x="5477363" y="6101757"/>
                  <a:pt x="5477363" y="6064393"/>
                </a:cubicBezTo>
                <a:cubicBezTo>
                  <a:pt x="5477363" y="6020801"/>
                  <a:pt x="5487591" y="6004194"/>
                  <a:pt x="5518276" y="6004194"/>
                </a:cubicBezTo>
                <a:close/>
                <a:moveTo>
                  <a:pt x="6672498" y="5995882"/>
                </a:moveTo>
                <a:cubicBezTo>
                  <a:pt x="6675325" y="5995363"/>
                  <a:pt x="6678409" y="5995882"/>
                  <a:pt x="6681491" y="5996921"/>
                </a:cubicBezTo>
                <a:cubicBezTo>
                  <a:pt x="6697937" y="6009390"/>
                  <a:pt x="6708215" y="6028092"/>
                  <a:pt x="6708215" y="6048872"/>
                </a:cubicBezTo>
                <a:cubicBezTo>
                  <a:pt x="6708215" y="6080043"/>
                  <a:pt x="6681491" y="6107057"/>
                  <a:pt x="6648601" y="6107057"/>
                </a:cubicBezTo>
                <a:cubicBezTo>
                  <a:pt x="6615711" y="6107057"/>
                  <a:pt x="6588987" y="6080043"/>
                  <a:pt x="6588987" y="6048872"/>
                </a:cubicBezTo>
                <a:cubicBezTo>
                  <a:pt x="6588987" y="6028092"/>
                  <a:pt x="6599266" y="6009390"/>
                  <a:pt x="6615711" y="5999000"/>
                </a:cubicBezTo>
                <a:cubicBezTo>
                  <a:pt x="6621878" y="5994843"/>
                  <a:pt x="6628045" y="5994843"/>
                  <a:pt x="6632156" y="6001077"/>
                </a:cubicBezTo>
                <a:cubicBezTo>
                  <a:pt x="6636268" y="6007312"/>
                  <a:pt x="6634212" y="6013545"/>
                  <a:pt x="6630100" y="6017702"/>
                </a:cubicBezTo>
                <a:cubicBezTo>
                  <a:pt x="6619822" y="6023936"/>
                  <a:pt x="6613655" y="6036404"/>
                  <a:pt x="6613655" y="6048872"/>
                </a:cubicBezTo>
                <a:cubicBezTo>
                  <a:pt x="6613655" y="6067575"/>
                  <a:pt x="6630100" y="6084199"/>
                  <a:pt x="6648601" y="6084199"/>
                </a:cubicBezTo>
                <a:cubicBezTo>
                  <a:pt x="6667102" y="6084199"/>
                  <a:pt x="6683547" y="6067575"/>
                  <a:pt x="6683547" y="6048872"/>
                </a:cubicBezTo>
                <a:cubicBezTo>
                  <a:pt x="6683547" y="6036404"/>
                  <a:pt x="6677381" y="6023936"/>
                  <a:pt x="6667102" y="6017702"/>
                </a:cubicBezTo>
                <a:cubicBezTo>
                  <a:pt x="6662991" y="6013545"/>
                  <a:pt x="6660935" y="6007312"/>
                  <a:pt x="6665047" y="6001077"/>
                </a:cubicBezTo>
                <a:cubicBezTo>
                  <a:pt x="6667102" y="5997961"/>
                  <a:pt x="6669672" y="5996402"/>
                  <a:pt x="6672498" y="5995882"/>
                </a:cubicBezTo>
                <a:close/>
                <a:moveTo>
                  <a:pt x="6821432" y="5980816"/>
                </a:moveTo>
                <a:cubicBezTo>
                  <a:pt x="6823499" y="5980816"/>
                  <a:pt x="6825565" y="5984968"/>
                  <a:pt x="6825565" y="5987045"/>
                </a:cubicBezTo>
                <a:cubicBezTo>
                  <a:pt x="6837964" y="6030643"/>
                  <a:pt x="6837964" y="6068013"/>
                  <a:pt x="6825565" y="6111612"/>
                </a:cubicBezTo>
                <a:cubicBezTo>
                  <a:pt x="6823499" y="6115764"/>
                  <a:pt x="6823499" y="6117840"/>
                  <a:pt x="6821432" y="6117840"/>
                </a:cubicBezTo>
                <a:cubicBezTo>
                  <a:pt x="6817299" y="6119916"/>
                  <a:pt x="6815233" y="6117840"/>
                  <a:pt x="6813166" y="6115764"/>
                </a:cubicBezTo>
                <a:cubicBezTo>
                  <a:pt x="6728441" y="6057632"/>
                  <a:pt x="6728441" y="6057632"/>
                  <a:pt x="6728441" y="6057632"/>
                </a:cubicBezTo>
                <a:cubicBezTo>
                  <a:pt x="6724308" y="6055557"/>
                  <a:pt x="6722242" y="6053480"/>
                  <a:pt x="6722242" y="6049328"/>
                </a:cubicBezTo>
                <a:cubicBezTo>
                  <a:pt x="6722242" y="6047252"/>
                  <a:pt x="6724308" y="6043100"/>
                  <a:pt x="6728441" y="6041024"/>
                </a:cubicBezTo>
                <a:cubicBezTo>
                  <a:pt x="6813166" y="5982893"/>
                  <a:pt x="6813166" y="5982893"/>
                  <a:pt x="6813166" y="5982893"/>
                </a:cubicBezTo>
                <a:cubicBezTo>
                  <a:pt x="6815233" y="5980816"/>
                  <a:pt x="6819366" y="5980816"/>
                  <a:pt x="6821432" y="5980816"/>
                </a:cubicBezTo>
                <a:close/>
                <a:moveTo>
                  <a:pt x="6475604" y="5980816"/>
                </a:moveTo>
                <a:cubicBezTo>
                  <a:pt x="6479695" y="5980816"/>
                  <a:pt x="6481741" y="5982893"/>
                  <a:pt x="6483787" y="5984968"/>
                </a:cubicBezTo>
                <a:cubicBezTo>
                  <a:pt x="6567656" y="6041024"/>
                  <a:pt x="6567656" y="6041024"/>
                  <a:pt x="6567656" y="6041024"/>
                </a:cubicBezTo>
                <a:cubicBezTo>
                  <a:pt x="6571747" y="6043100"/>
                  <a:pt x="6573792" y="6047252"/>
                  <a:pt x="6573792" y="6049328"/>
                </a:cubicBezTo>
                <a:cubicBezTo>
                  <a:pt x="6573792" y="6053480"/>
                  <a:pt x="6571747" y="6055557"/>
                  <a:pt x="6567656" y="6057632"/>
                </a:cubicBezTo>
                <a:lnTo>
                  <a:pt x="6483787" y="6115764"/>
                </a:lnTo>
                <a:cubicBezTo>
                  <a:pt x="6479695" y="6117840"/>
                  <a:pt x="6477650" y="6119916"/>
                  <a:pt x="6475604" y="6117840"/>
                </a:cubicBezTo>
                <a:cubicBezTo>
                  <a:pt x="6473559" y="6117840"/>
                  <a:pt x="6471513" y="6115764"/>
                  <a:pt x="6471513" y="6111612"/>
                </a:cubicBezTo>
                <a:cubicBezTo>
                  <a:pt x="6459240" y="6068013"/>
                  <a:pt x="6459240" y="6032719"/>
                  <a:pt x="6471513" y="5987045"/>
                </a:cubicBezTo>
                <a:cubicBezTo>
                  <a:pt x="6471513" y="5984968"/>
                  <a:pt x="6473559" y="5982893"/>
                  <a:pt x="6475604" y="5980816"/>
                </a:cubicBezTo>
                <a:close/>
                <a:moveTo>
                  <a:pt x="6087559" y="5970296"/>
                </a:moveTo>
                <a:cubicBezTo>
                  <a:pt x="6085506" y="5970296"/>
                  <a:pt x="6083453" y="5970296"/>
                  <a:pt x="6081400" y="5972374"/>
                </a:cubicBezTo>
                <a:cubicBezTo>
                  <a:pt x="6079347" y="5974451"/>
                  <a:pt x="6079347" y="5976528"/>
                  <a:pt x="6079347" y="5978604"/>
                </a:cubicBezTo>
                <a:cubicBezTo>
                  <a:pt x="6120408" y="6136455"/>
                  <a:pt x="6120408" y="6136455"/>
                  <a:pt x="6120408" y="6136455"/>
                </a:cubicBezTo>
                <a:cubicBezTo>
                  <a:pt x="6122461" y="6144763"/>
                  <a:pt x="6130674" y="6157224"/>
                  <a:pt x="6145045" y="6157224"/>
                </a:cubicBezTo>
                <a:cubicBezTo>
                  <a:pt x="6153257" y="6157224"/>
                  <a:pt x="6153257" y="6157224"/>
                  <a:pt x="6153257" y="6157224"/>
                </a:cubicBezTo>
                <a:cubicBezTo>
                  <a:pt x="6151204" y="6161378"/>
                  <a:pt x="6151204" y="6163456"/>
                  <a:pt x="6149151" y="6165532"/>
                </a:cubicBezTo>
                <a:cubicBezTo>
                  <a:pt x="6149151" y="6167609"/>
                  <a:pt x="6149151" y="6167609"/>
                  <a:pt x="6149151" y="6167609"/>
                </a:cubicBezTo>
                <a:cubicBezTo>
                  <a:pt x="6147098" y="6173841"/>
                  <a:pt x="6145045" y="6186302"/>
                  <a:pt x="6124515" y="6186302"/>
                </a:cubicBezTo>
                <a:cubicBezTo>
                  <a:pt x="6089612" y="6184225"/>
                  <a:pt x="6089612" y="6184225"/>
                  <a:pt x="6089612" y="6184225"/>
                </a:cubicBezTo>
                <a:cubicBezTo>
                  <a:pt x="6087559" y="6182148"/>
                  <a:pt x="6085506" y="6184225"/>
                  <a:pt x="6083453" y="6186302"/>
                </a:cubicBezTo>
                <a:cubicBezTo>
                  <a:pt x="6081400" y="6186302"/>
                  <a:pt x="6081400" y="6188379"/>
                  <a:pt x="6081400" y="6190456"/>
                </a:cubicBezTo>
                <a:cubicBezTo>
                  <a:pt x="6081400" y="6209149"/>
                  <a:pt x="6081400" y="6209149"/>
                  <a:pt x="6081400" y="6209149"/>
                </a:cubicBezTo>
                <a:cubicBezTo>
                  <a:pt x="6081400" y="6213303"/>
                  <a:pt x="6083453" y="6215380"/>
                  <a:pt x="6087559" y="6215380"/>
                </a:cubicBezTo>
                <a:cubicBezTo>
                  <a:pt x="6097825" y="6219533"/>
                  <a:pt x="6118355" y="6221610"/>
                  <a:pt x="6134780" y="6221610"/>
                </a:cubicBezTo>
                <a:cubicBezTo>
                  <a:pt x="6134780" y="6221610"/>
                  <a:pt x="6134780" y="6221610"/>
                  <a:pt x="6136833" y="6221610"/>
                </a:cubicBezTo>
                <a:cubicBezTo>
                  <a:pt x="6163523" y="6221610"/>
                  <a:pt x="6182000" y="6204995"/>
                  <a:pt x="6190213" y="6169686"/>
                </a:cubicBezTo>
                <a:cubicBezTo>
                  <a:pt x="6200478" y="6130223"/>
                  <a:pt x="6214849" y="6078299"/>
                  <a:pt x="6223062" y="6040914"/>
                </a:cubicBezTo>
                <a:cubicBezTo>
                  <a:pt x="6227168" y="6024298"/>
                  <a:pt x="6231274" y="6009759"/>
                  <a:pt x="6235380" y="5999374"/>
                </a:cubicBezTo>
                <a:cubicBezTo>
                  <a:pt x="6239487" y="5978604"/>
                  <a:pt x="6239487" y="5978604"/>
                  <a:pt x="6239487" y="5978604"/>
                </a:cubicBezTo>
                <a:cubicBezTo>
                  <a:pt x="6239487" y="5976528"/>
                  <a:pt x="6239487" y="5974451"/>
                  <a:pt x="6237434" y="5972374"/>
                </a:cubicBezTo>
                <a:cubicBezTo>
                  <a:pt x="6237434" y="5970296"/>
                  <a:pt x="6235380" y="5970296"/>
                  <a:pt x="6233327" y="5970296"/>
                </a:cubicBezTo>
                <a:cubicBezTo>
                  <a:pt x="6204584" y="5970296"/>
                  <a:pt x="6204584" y="5970296"/>
                  <a:pt x="6204584" y="5970296"/>
                </a:cubicBezTo>
                <a:cubicBezTo>
                  <a:pt x="6202531" y="5970296"/>
                  <a:pt x="6198425" y="5972374"/>
                  <a:pt x="6198425" y="5974451"/>
                </a:cubicBezTo>
                <a:cubicBezTo>
                  <a:pt x="6161469" y="6115685"/>
                  <a:pt x="6161469" y="6115685"/>
                  <a:pt x="6161469" y="6115685"/>
                </a:cubicBezTo>
                <a:cubicBezTo>
                  <a:pt x="6159417" y="6115685"/>
                  <a:pt x="6159417" y="6115685"/>
                  <a:pt x="6159417" y="6115685"/>
                </a:cubicBezTo>
                <a:cubicBezTo>
                  <a:pt x="6120408" y="5974451"/>
                  <a:pt x="6120408" y="5974451"/>
                  <a:pt x="6120408" y="5974451"/>
                </a:cubicBezTo>
                <a:cubicBezTo>
                  <a:pt x="6120408" y="5972374"/>
                  <a:pt x="6118355" y="5970296"/>
                  <a:pt x="6114249" y="5970296"/>
                </a:cubicBezTo>
                <a:cubicBezTo>
                  <a:pt x="6087559" y="5970296"/>
                  <a:pt x="6087559" y="5970296"/>
                  <a:pt x="6087559" y="5970296"/>
                </a:cubicBezTo>
                <a:close/>
                <a:moveTo>
                  <a:pt x="6047787" y="5967959"/>
                </a:moveTo>
                <a:cubicBezTo>
                  <a:pt x="6029376" y="5967959"/>
                  <a:pt x="6010966" y="5980444"/>
                  <a:pt x="5998692" y="5988768"/>
                </a:cubicBezTo>
                <a:cubicBezTo>
                  <a:pt x="5998692" y="5976283"/>
                  <a:pt x="5998692" y="5976283"/>
                  <a:pt x="5998692" y="5976283"/>
                </a:cubicBezTo>
                <a:cubicBezTo>
                  <a:pt x="5998692" y="5972120"/>
                  <a:pt x="5996647" y="5970040"/>
                  <a:pt x="5992556" y="5970040"/>
                </a:cubicBezTo>
                <a:cubicBezTo>
                  <a:pt x="5963918" y="5970040"/>
                  <a:pt x="5963918" y="5970040"/>
                  <a:pt x="5963918" y="5970040"/>
                </a:cubicBezTo>
                <a:cubicBezTo>
                  <a:pt x="5959827" y="5970040"/>
                  <a:pt x="5957781" y="5972120"/>
                  <a:pt x="5957781" y="5976283"/>
                </a:cubicBezTo>
                <a:cubicBezTo>
                  <a:pt x="5957781" y="6151078"/>
                  <a:pt x="5957781" y="6151078"/>
                  <a:pt x="5957781" y="6151078"/>
                </a:cubicBezTo>
                <a:cubicBezTo>
                  <a:pt x="5957781" y="6155240"/>
                  <a:pt x="5959827" y="6157321"/>
                  <a:pt x="5963918" y="6157321"/>
                </a:cubicBezTo>
                <a:cubicBezTo>
                  <a:pt x="5992556" y="6157321"/>
                  <a:pt x="5992556" y="6157321"/>
                  <a:pt x="5992556" y="6157321"/>
                </a:cubicBezTo>
                <a:cubicBezTo>
                  <a:pt x="5996647" y="6157321"/>
                  <a:pt x="5998692" y="6155240"/>
                  <a:pt x="5998692" y="6151078"/>
                </a:cubicBezTo>
                <a:cubicBezTo>
                  <a:pt x="5998692" y="6030386"/>
                  <a:pt x="5998692" y="6030386"/>
                  <a:pt x="5998692" y="6030386"/>
                </a:cubicBezTo>
                <a:cubicBezTo>
                  <a:pt x="6006875" y="6024143"/>
                  <a:pt x="6025285" y="6009577"/>
                  <a:pt x="6049832" y="6007496"/>
                </a:cubicBezTo>
                <a:cubicBezTo>
                  <a:pt x="6053923" y="6007496"/>
                  <a:pt x="6055969" y="6003334"/>
                  <a:pt x="6055969" y="6001253"/>
                </a:cubicBezTo>
                <a:cubicBezTo>
                  <a:pt x="6055969" y="5974202"/>
                  <a:pt x="6055969" y="5974202"/>
                  <a:pt x="6055969" y="5974202"/>
                </a:cubicBezTo>
                <a:cubicBezTo>
                  <a:pt x="6055969" y="5972120"/>
                  <a:pt x="6055969" y="5970040"/>
                  <a:pt x="6053923" y="5970040"/>
                </a:cubicBezTo>
                <a:cubicBezTo>
                  <a:pt x="6051878" y="5967959"/>
                  <a:pt x="6049832" y="5967959"/>
                  <a:pt x="6047787" y="5967959"/>
                </a:cubicBezTo>
                <a:close/>
                <a:moveTo>
                  <a:pt x="5846879" y="5964452"/>
                </a:moveTo>
                <a:cubicBezTo>
                  <a:pt x="5826186" y="5964452"/>
                  <a:pt x="5791009" y="5970690"/>
                  <a:pt x="5776523" y="5972770"/>
                </a:cubicBezTo>
                <a:cubicBezTo>
                  <a:pt x="5772384" y="5972770"/>
                  <a:pt x="5770315" y="5976928"/>
                  <a:pt x="5770315" y="5979008"/>
                </a:cubicBezTo>
                <a:cubicBezTo>
                  <a:pt x="5770315" y="5979008"/>
                  <a:pt x="5770315" y="5979008"/>
                  <a:pt x="5772384" y="6003961"/>
                </a:cubicBezTo>
                <a:cubicBezTo>
                  <a:pt x="5772384" y="6006040"/>
                  <a:pt x="5772384" y="6008120"/>
                  <a:pt x="5774454" y="6008120"/>
                </a:cubicBezTo>
                <a:cubicBezTo>
                  <a:pt x="5776523" y="6010199"/>
                  <a:pt x="5776523" y="6010199"/>
                  <a:pt x="5778592" y="6010199"/>
                </a:cubicBezTo>
                <a:cubicBezTo>
                  <a:pt x="5795147" y="6010199"/>
                  <a:pt x="5824116" y="6006040"/>
                  <a:pt x="5844809" y="6006040"/>
                </a:cubicBezTo>
                <a:cubicBezTo>
                  <a:pt x="5859294" y="6006040"/>
                  <a:pt x="5867571" y="6014358"/>
                  <a:pt x="5867571" y="6028914"/>
                </a:cubicBezTo>
                <a:cubicBezTo>
                  <a:pt x="5867571" y="6028914"/>
                  <a:pt x="5867571" y="6028914"/>
                  <a:pt x="5867571" y="6041390"/>
                </a:cubicBezTo>
                <a:cubicBezTo>
                  <a:pt x="5867571" y="6041390"/>
                  <a:pt x="5867571" y="6041390"/>
                  <a:pt x="5822047" y="6045549"/>
                </a:cubicBezTo>
                <a:cubicBezTo>
                  <a:pt x="5776523" y="6047629"/>
                  <a:pt x="5757900" y="6064264"/>
                  <a:pt x="5757900" y="6101693"/>
                </a:cubicBezTo>
                <a:cubicBezTo>
                  <a:pt x="5757900" y="6141202"/>
                  <a:pt x="5778592" y="6161996"/>
                  <a:pt x="5813770" y="6161996"/>
                </a:cubicBezTo>
                <a:cubicBezTo>
                  <a:pt x="5842740" y="6161996"/>
                  <a:pt x="5873779" y="6149520"/>
                  <a:pt x="5873779" y="6149520"/>
                </a:cubicBezTo>
                <a:cubicBezTo>
                  <a:pt x="5882056" y="6155758"/>
                  <a:pt x="5888264" y="6159917"/>
                  <a:pt x="5902750" y="6161996"/>
                </a:cubicBezTo>
                <a:cubicBezTo>
                  <a:pt x="5904818" y="6161996"/>
                  <a:pt x="5906888" y="6161996"/>
                  <a:pt x="5908957" y="6159917"/>
                </a:cubicBezTo>
                <a:cubicBezTo>
                  <a:pt x="5908957" y="6157837"/>
                  <a:pt x="5911026" y="6155758"/>
                  <a:pt x="5911026" y="6153679"/>
                </a:cubicBezTo>
                <a:cubicBezTo>
                  <a:pt x="5911026" y="6153679"/>
                  <a:pt x="5911026" y="6153679"/>
                  <a:pt x="5911026" y="6028914"/>
                </a:cubicBezTo>
                <a:cubicBezTo>
                  <a:pt x="5911026" y="5985246"/>
                  <a:pt x="5890333" y="5964452"/>
                  <a:pt x="5846879" y="5964452"/>
                </a:cubicBezTo>
                <a:close/>
                <a:moveTo>
                  <a:pt x="5518274" y="5964452"/>
                </a:moveTo>
                <a:cubicBezTo>
                  <a:pt x="5471794" y="5964452"/>
                  <a:pt x="5434114" y="6008673"/>
                  <a:pt x="5434114" y="6063224"/>
                </a:cubicBezTo>
                <a:cubicBezTo>
                  <a:pt x="5434114" y="6117775"/>
                  <a:pt x="5471794" y="6161996"/>
                  <a:pt x="5518274" y="6161996"/>
                </a:cubicBezTo>
                <a:cubicBezTo>
                  <a:pt x="5564755" y="6161996"/>
                  <a:pt x="5602435" y="6117775"/>
                  <a:pt x="5602435" y="6063224"/>
                </a:cubicBezTo>
                <a:cubicBezTo>
                  <a:pt x="5602435" y="6008673"/>
                  <a:pt x="5564755" y="5964452"/>
                  <a:pt x="5518274" y="5964452"/>
                </a:cubicBezTo>
                <a:close/>
                <a:moveTo>
                  <a:pt x="5302320" y="5938736"/>
                </a:moveTo>
                <a:cubicBezTo>
                  <a:pt x="5302320" y="5938736"/>
                  <a:pt x="5302320" y="5938736"/>
                  <a:pt x="5318685" y="5938736"/>
                </a:cubicBezTo>
                <a:cubicBezTo>
                  <a:pt x="5349369" y="5938736"/>
                  <a:pt x="5361642" y="5959653"/>
                  <a:pt x="5361642" y="5978478"/>
                </a:cubicBezTo>
                <a:cubicBezTo>
                  <a:pt x="5361642" y="6001488"/>
                  <a:pt x="5343232" y="6016129"/>
                  <a:pt x="5316640" y="6016129"/>
                </a:cubicBezTo>
                <a:cubicBezTo>
                  <a:pt x="5294139" y="6018221"/>
                  <a:pt x="5279820" y="6016129"/>
                  <a:pt x="5271637" y="6016129"/>
                </a:cubicBezTo>
                <a:cubicBezTo>
                  <a:pt x="5271637" y="6016129"/>
                  <a:pt x="5271637" y="6016129"/>
                  <a:pt x="5271637" y="5940828"/>
                </a:cubicBezTo>
                <a:cubicBezTo>
                  <a:pt x="5275728" y="5938736"/>
                  <a:pt x="5285956" y="5938736"/>
                  <a:pt x="5302320" y="5938736"/>
                </a:cubicBezTo>
                <a:close/>
                <a:moveTo>
                  <a:pt x="5678557" y="5927047"/>
                </a:moveTo>
                <a:cubicBezTo>
                  <a:pt x="5678557" y="5927047"/>
                  <a:pt x="5678557" y="5927047"/>
                  <a:pt x="5649847" y="5933291"/>
                </a:cubicBezTo>
                <a:cubicBezTo>
                  <a:pt x="5645746" y="5935373"/>
                  <a:pt x="5643695" y="5937455"/>
                  <a:pt x="5643695" y="5939535"/>
                </a:cubicBezTo>
                <a:cubicBezTo>
                  <a:pt x="5643695" y="5939535"/>
                  <a:pt x="5643695" y="5939535"/>
                  <a:pt x="5643695" y="5970757"/>
                </a:cubicBezTo>
                <a:cubicBezTo>
                  <a:pt x="5643695" y="5970757"/>
                  <a:pt x="5643695" y="5970757"/>
                  <a:pt x="5627290" y="5970757"/>
                </a:cubicBezTo>
                <a:cubicBezTo>
                  <a:pt x="5623188" y="5970757"/>
                  <a:pt x="5621138" y="5972839"/>
                  <a:pt x="5621138" y="5977002"/>
                </a:cubicBezTo>
                <a:cubicBezTo>
                  <a:pt x="5621138" y="5977002"/>
                  <a:pt x="5621138" y="5977002"/>
                  <a:pt x="5621138" y="6001980"/>
                </a:cubicBezTo>
                <a:cubicBezTo>
                  <a:pt x="5621138" y="6006143"/>
                  <a:pt x="5623188" y="6008224"/>
                  <a:pt x="5627290" y="6008224"/>
                </a:cubicBezTo>
                <a:cubicBezTo>
                  <a:pt x="5627290" y="6008224"/>
                  <a:pt x="5627290" y="6008224"/>
                  <a:pt x="5643695" y="6008224"/>
                </a:cubicBezTo>
                <a:cubicBezTo>
                  <a:pt x="5643695" y="6008224"/>
                  <a:pt x="5643695" y="6008224"/>
                  <a:pt x="5643695" y="6091483"/>
                </a:cubicBezTo>
                <a:cubicBezTo>
                  <a:pt x="5643695" y="6147682"/>
                  <a:pt x="5658050" y="6164334"/>
                  <a:pt x="5699064" y="6164334"/>
                </a:cubicBezTo>
                <a:cubicBezTo>
                  <a:pt x="5709318" y="6164334"/>
                  <a:pt x="5721622" y="6160171"/>
                  <a:pt x="5731875" y="6160171"/>
                </a:cubicBezTo>
                <a:cubicBezTo>
                  <a:pt x="5735977" y="6158090"/>
                  <a:pt x="5738028" y="6156008"/>
                  <a:pt x="5738028" y="6151845"/>
                </a:cubicBezTo>
                <a:cubicBezTo>
                  <a:pt x="5738028" y="6151845"/>
                  <a:pt x="5738028" y="6151845"/>
                  <a:pt x="5735977" y="6128949"/>
                </a:cubicBezTo>
                <a:cubicBezTo>
                  <a:pt x="5735977" y="6124786"/>
                  <a:pt x="5733926" y="6120623"/>
                  <a:pt x="5729824" y="6120623"/>
                </a:cubicBezTo>
                <a:cubicBezTo>
                  <a:pt x="5723673" y="6120623"/>
                  <a:pt x="5713419" y="6122705"/>
                  <a:pt x="5705217" y="6122705"/>
                </a:cubicBezTo>
                <a:cubicBezTo>
                  <a:pt x="5686761" y="6122705"/>
                  <a:pt x="5686761" y="6112298"/>
                  <a:pt x="5686761" y="6085238"/>
                </a:cubicBezTo>
                <a:cubicBezTo>
                  <a:pt x="5686761" y="6085238"/>
                  <a:pt x="5686761" y="6085238"/>
                  <a:pt x="5686761" y="6008224"/>
                </a:cubicBezTo>
                <a:cubicBezTo>
                  <a:pt x="5686761" y="6008224"/>
                  <a:pt x="5686761" y="6008224"/>
                  <a:pt x="5729824" y="6008224"/>
                </a:cubicBezTo>
                <a:cubicBezTo>
                  <a:pt x="5733926" y="6008224"/>
                  <a:pt x="5735977" y="6006143"/>
                  <a:pt x="5735977" y="6001980"/>
                </a:cubicBezTo>
                <a:cubicBezTo>
                  <a:pt x="5735977" y="6001980"/>
                  <a:pt x="5735977" y="6001980"/>
                  <a:pt x="5735977" y="5977002"/>
                </a:cubicBezTo>
                <a:cubicBezTo>
                  <a:pt x="5735977" y="5972839"/>
                  <a:pt x="5733926" y="5970757"/>
                  <a:pt x="5729824" y="5970757"/>
                </a:cubicBezTo>
                <a:cubicBezTo>
                  <a:pt x="5729824" y="5970757"/>
                  <a:pt x="5729824" y="5970757"/>
                  <a:pt x="5686761" y="5970757"/>
                </a:cubicBezTo>
                <a:cubicBezTo>
                  <a:pt x="5686761" y="5970757"/>
                  <a:pt x="5686761" y="5970757"/>
                  <a:pt x="5686761" y="5933291"/>
                </a:cubicBezTo>
                <a:cubicBezTo>
                  <a:pt x="5686761" y="5931210"/>
                  <a:pt x="5684709" y="5929128"/>
                  <a:pt x="5684709" y="5927047"/>
                </a:cubicBezTo>
                <a:cubicBezTo>
                  <a:pt x="5682658" y="5927047"/>
                  <a:pt x="5680608" y="5927047"/>
                  <a:pt x="5678557" y="5927047"/>
                </a:cubicBezTo>
                <a:close/>
                <a:moveTo>
                  <a:pt x="5312653" y="5897825"/>
                </a:moveTo>
                <a:cubicBezTo>
                  <a:pt x="5302343" y="5897825"/>
                  <a:pt x="5271414" y="5897825"/>
                  <a:pt x="5232236" y="5901977"/>
                </a:cubicBezTo>
                <a:cubicBezTo>
                  <a:pt x="5230173" y="5901977"/>
                  <a:pt x="5226049" y="5906129"/>
                  <a:pt x="5226049" y="5910281"/>
                </a:cubicBezTo>
                <a:cubicBezTo>
                  <a:pt x="5226049" y="5910281"/>
                  <a:pt x="5226049" y="5910281"/>
                  <a:pt x="5226049" y="6151093"/>
                </a:cubicBezTo>
                <a:cubicBezTo>
                  <a:pt x="5226049" y="6155245"/>
                  <a:pt x="5230173" y="6157321"/>
                  <a:pt x="5234297" y="6157321"/>
                </a:cubicBezTo>
                <a:cubicBezTo>
                  <a:pt x="5234297" y="6157321"/>
                  <a:pt x="5234297" y="6157321"/>
                  <a:pt x="5263165" y="6157321"/>
                </a:cubicBezTo>
                <a:cubicBezTo>
                  <a:pt x="5267290" y="6157321"/>
                  <a:pt x="5271414" y="6155245"/>
                  <a:pt x="5271414" y="6151093"/>
                </a:cubicBezTo>
                <a:cubicBezTo>
                  <a:pt x="5271414" y="6151093"/>
                  <a:pt x="5271414" y="6151093"/>
                  <a:pt x="5271414" y="6055599"/>
                </a:cubicBezTo>
                <a:cubicBezTo>
                  <a:pt x="5279661" y="6055599"/>
                  <a:pt x="5298219" y="6057674"/>
                  <a:pt x="5320901" y="6057674"/>
                </a:cubicBezTo>
                <a:cubicBezTo>
                  <a:pt x="5320901" y="6057674"/>
                  <a:pt x="5320901" y="6057674"/>
                  <a:pt x="5362142" y="6153168"/>
                </a:cubicBezTo>
                <a:cubicBezTo>
                  <a:pt x="5364203" y="6157321"/>
                  <a:pt x="5366265" y="6157321"/>
                  <a:pt x="5368327" y="6157321"/>
                </a:cubicBezTo>
                <a:cubicBezTo>
                  <a:pt x="5368327" y="6157321"/>
                  <a:pt x="5368327" y="6157321"/>
                  <a:pt x="5401320" y="6157321"/>
                </a:cubicBezTo>
                <a:cubicBezTo>
                  <a:pt x="5405443" y="6157321"/>
                  <a:pt x="5407505" y="6157321"/>
                  <a:pt x="5407505" y="6155245"/>
                </a:cubicBezTo>
                <a:cubicBezTo>
                  <a:pt x="5409567" y="6153168"/>
                  <a:pt x="5409567" y="6151093"/>
                  <a:pt x="5409567" y="6149017"/>
                </a:cubicBezTo>
                <a:lnTo>
                  <a:pt x="5362142" y="6045219"/>
                </a:lnTo>
                <a:cubicBezTo>
                  <a:pt x="5393071" y="6030687"/>
                  <a:pt x="5407505" y="6007851"/>
                  <a:pt x="5407505" y="5976711"/>
                </a:cubicBezTo>
                <a:cubicBezTo>
                  <a:pt x="5407505" y="5941420"/>
                  <a:pt x="5391009" y="5897825"/>
                  <a:pt x="5318839" y="5897825"/>
                </a:cubicBezTo>
                <a:cubicBezTo>
                  <a:pt x="5318839" y="5897825"/>
                  <a:pt x="5316777" y="5897825"/>
                  <a:pt x="5312653" y="5897825"/>
                </a:cubicBezTo>
                <a:close/>
                <a:moveTo>
                  <a:pt x="6675208" y="5864819"/>
                </a:moveTo>
                <a:cubicBezTo>
                  <a:pt x="6677269" y="5862758"/>
                  <a:pt x="6681390" y="5862758"/>
                  <a:pt x="6683451" y="5864819"/>
                </a:cubicBezTo>
                <a:cubicBezTo>
                  <a:pt x="6726720" y="5875120"/>
                  <a:pt x="6759687" y="5893664"/>
                  <a:pt x="6790593" y="5926632"/>
                </a:cubicBezTo>
                <a:cubicBezTo>
                  <a:pt x="6792654" y="5928692"/>
                  <a:pt x="6794714" y="5930752"/>
                  <a:pt x="6794714" y="5932813"/>
                </a:cubicBezTo>
                <a:cubicBezTo>
                  <a:pt x="6792654" y="5936933"/>
                  <a:pt x="6790593" y="5936933"/>
                  <a:pt x="6786472" y="5938994"/>
                </a:cubicBezTo>
                <a:cubicBezTo>
                  <a:pt x="6695813" y="5982263"/>
                  <a:pt x="6695813" y="5982263"/>
                  <a:pt x="6695813" y="5982263"/>
                </a:cubicBezTo>
                <a:cubicBezTo>
                  <a:pt x="6691692" y="5984323"/>
                  <a:pt x="6687571" y="5984323"/>
                  <a:pt x="6685511" y="5984323"/>
                </a:cubicBezTo>
                <a:cubicBezTo>
                  <a:pt x="6683451" y="5982263"/>
                  <a:pt x="6681390" y="5978142"/>
                  <a:pt x="6681390" y="5974021"/>
                </a:cubicBezTo>
                <a:cubicBezTo>
                  <a:pt x="6673148" y="5873060"/>
                  <a:pt x="6673148" y="5873060"/>
                  <a:pt x="6673148" y="5873060"/>
                </a:cubicBezTo>
                <a:cubicBezTo>
                  <a:pt x="6673148" y="5868939"/>
                  <a:pt x="6673148" y="5866879"/>
                  <a:pt x="6675208" y="5864819"/>
                </a:cubicBezTo>
                <a:close/>
                <a:moveTo>
                  <a:pt x="6617873" y="5864048"/>
                </a:moveTo>
                <a:cubicBezTo>
                  <a:pt x="6619419" y="5863791"/>
                  <a:pt x="6620964" y="5863791"/>
                  <a:pt x="6621994" y="5864823"/>
                </a:cubicBezTo>
                <a:cubicBezTo>
                  <a:pt x="6621994" y="5866888"/>
                  <a:pt x="6624054" y="5868953"/>
                  <a:pt x="6624054" y="5875148"/>
                </a:cubicBezTo>
                <a:cubicBezTo>
                  <a:pt x="6615813" y="5976336"/>
                  <a:pt x="6615813" y="5976336"/>
                  <a:pt x="6615813" y="5976336"/>
                </a:cubicBezTo>
                <a:cubicBezTo>
                  <a:pt x="6615813" y="5980466"/>
                  <a:pt x="6613752" y="5982531"/>
                  <a:pt x="6611692" y="5984596"/>
                </a:cubicBezTo>
                <a:cubicBezTo>
                  <a:pt x="6607571" y="5986661"/>
                  <a:pt x="6605510" y="5986661"/>
                  <a:pt x="6601390" y="5984596"/>
                </a:cubicBezTo>
                <a:cubicBezTo>
                  <a:pt x="6510730" y="5939165"/>
                  <a:pt x="6510730" y="5939165"/>
                  <a:pt x="6510730" y="5939165"/>
                </a:cubicBezTo>
                <a:cubicBezTo>
                  <a:pt x="6506610" y="5939165"/>
                  <a:pt x="6504549" y="5937100"/>
                  <a:pt x="6502489" y="5932970"/>
                </a:cubicBezTo>
                <a:cubicBezTo>
                  <a:pt x="6502489" y="5930904"/>
                  <a:pt x="6504549" y="5928840"/>
                  <a:pt x="6506610" y="5926774"/>
                </a:cubicBezTo>
                <a:cubicBezTo>
                  <a:pt x="6537516" y="5893734"/>
                  <a:pt x="6570483" y="5875148"/>
                  <a:pt x="6613752" y="5864823"/>
                </a:cubicBezTo>
                <a:cubicBezTo>
                  <a:pt x="6614782" y="5864823"/>
                  <a:pt x="6616328" y="5864307"/>
                  <a:pt x="6617873" y="5864048"/>
                </a:cubicBezTo>
                <a:close/>
                <a:moveTo>
                  <a:pt x="6649186" y="5828859"/>
                </a:moveTo>
                <a:cubicBezTo>
                  <a:pt x="6529433" y="5828859"/>
                  <a:pt x="6432355" y="5926985"/>
                  <a:pt x="6432355" y="6048029"/>
                </a:cubicBezTo>
                <a:cubicBezTo>
                  <a:pt x="6432355" y="6169072"/>
                  <a:pt x="6529433" y="6267198"/>
                  <a:pt x="6649186" y="6267198"/>
                </a:cubicBezTo>
                <a:cubicBezTo>
                  <a:pt x="6768939" y="6267198"/>
                  <a:pt x="6866018" y="6169072"/>
                  <a:pt x="6866018" y="6048029"/>
                </a:cubicBezTo>
                <a:cubicBezTo>
                  <a:pt x="6866018" y="5926985"/>
                  <a:pt x="6768939" y="5828859"/>
                  <a:pt x="6649186" y="5828859"/>
                </a:cubicBezTo>
                <a:close/>
                <a:moveTo>
                  <a:pt x="6648602" y="5797300"/>
                </a:moveTo>
                <a:cubicBezTo>
                  <a:pt x="6784816" y="5797300"/>
                  <a:pt x="6895240" y="5909032"/>
                  <a:pt x="6895240" y="6046861"/>
                </a:cubicBezTo>
                <a:cubicBezTo>
                  <a:pt x="6895240" y="6184689"/>
                  <a:pt x="6784816" y="6296422"/>
                  <a:pt x="6648602" y="6296422"/>
                </a:cubicBezTo>
                <a:cubicBezTo>
                  <a:pt x="6512387" y="6296422"/>
                  <a:pt x="6401963" y="6184689"/>
                  <a:pt x="6401963" y="6046861"/>
                </a:cubicBezTo>
                <a:cubicBezTo>
                  <a:pt x="6401963" y="5909032"/>
                  <a:pt x="6512387" y="5797300"/>
                  <a:pt x="6648602" y="5797300"/>
                </a:cubicBezTo>
                <a:close/>
                <a:moveTo>
                  <a:pt x="6635678" y="5718724"/>
                </a:moveTo>
                <a:cubicBezTo>
                  <a:pt x="6627452" y="5733273"/>
                  <a:pt x="6623339" y="5751979"/>
                  <a:pt x="6623339" y="5768607"/>
                </a:cubicBezTo>
                <a:cubicBezTo>
                  <a:pt x="6619226" y="5768607"/>
                  <a:pt x="6602773" y="5770685"/>
                  <a:pt x="6600717" y="5772764"/>
                </a:cubicBezTo>
                <a:cubicBezTo>
                  <a:pt x="6594547" y="5754058"/>
                  <a:pt x="6586321" y="5737430"/>
                  <a:pt x="6573982" y="5727038"/>
                </a:cubicBezTo>
                <a:cubicBezTo>
                  <a:pt x="6573982" y="5724959"/>
                  <a:pt x="6573982" y="5724959"/>
                  <a:pt x="6573982" y="5724959"/>
                </a:cubicBezTo>
                <a:cubicBezTo>
                  <a:pt x="6571926" y="5727038"/>
                  <a:pt x="6571926" y="5727038"/>
                  <a:pt x="6571926" y="5727038"/>
                </a:cubicBezTo>
                <a:cubicBezTo>
                  <a:pt x="6565756" y="5727038"/>
                  <a:pt x="6557530" y="5729116"/>
                  <a:pt x="6551360" y="5731195"/>
                </a:cubicBezTo>
                <a:cubicBezTo>
                  <a:pt x="6551360" y="5733273"/>
                  <a:pt x="6551360" y="5733273"/>
                  <a:pt x="6551360" y="5733273"/>
                </a:cubicBezTo>
                <a:cubicBezTo>
                  <a:pt x="6549304" y="5741587"/>
                  <a:pt x="6547247" y="5749901"/>
                  <a:pt x="6547247" y="5758215"/>
                </a:cubicBezTo>
                <a:cubicBezTo>
                  <a:pt x="6547247" y="5768607"/>
                  <a:pt x="6549304" y="5776921"/>
                  <a:pt x="6551360" y="5785235"/>
                </a:cubicBezTo>
                <a:cubicBezTo>
                  <a:pt x="6549304" y="5785235"/>
                  <a:pt x="6532851" y="5793548"/>
                  <a:pt x="6530795" y="5793548"/>
                </a:cubicBezTo>
                <a:cubicBezTo>
                  <a:pt x="6520512" y="5778999"/>
                  <a:pt x="6508173" y="5764450"/>
                  <a:pt x="6493777" y="5758215"/>
                </a:cubicBezTo>
                <a:cubicBezTo>
                  <a:pt x="6493777" y="5756136"/>
                  <a:pt x="6493777" y="5756136"/>
                  <a:pt x="6493777" y="5756136"/>
                </a:cubicBezTo>
                <a:cubicBezTo>
                  <a:pt x="6491721" y="5756136"/>
                  <a:pt x="6491721" y="5756136"/>
                  <a:pt x="6491721" y="5756136"/>
                </a:cubicBezTo>
                <a:cubicBezTo>
                  <a:pt x="6485551" y="5760293"/>
                  <a:pt x="6479382" y="5764450"/>
                  <a:pt x="6473212" y="5768607"/>
                </a:cubicBezTo>
                <a:cubicBezTo>
                  <a:pt x="6473212" y="5768607"/>
                  <a:pt x="6473212" y="5770685"/>
                  <a:pt x="6473212" y="5770685"/>
                </a:cubicBezTo>
                <a:cubicBezTo>
                  <a:pt x="6473212" y="5787313"/>
                  <a:pt x="6477325" y="5803941"/>
                  <a:pt x="6485551" y="5820568"/>
                </a:cubicBezTo>
                <a:cubicBezTo>
                  <a:pt x="6483495" y="5822647"/>
                  <a:pt x="6471156" y="5830961"/>
                  <a:pt x="6469099" y="5833039"/>
                </a:cubicBezTo>
                <a:cubicBezTo>
                  <a:pt x="6456760" y="5820568"/>
                  <a:pt x="6440308" y="5810176"/>
                  <a:pt x="6425911" y="5806019"/>
                </a:cubicBezTo>
                <a:cubicBezTo>
                  <a:pt x="6423855" y="5806019"/>
                  <a:pt x="6423855" y="5806019"/>
                  <a:pt x="6423855" y="5806019"/>
                </a:cubicBezTo>
                <a:cubicBezTo>
                  <a:pt x="6423855" y="5808097"/>
                  <a:pt x="6423855" y="5808097"/>
                  <a:pt x="6423855" y="5808097"/>
                </a:cubicBezTo>
                <a:cubicBezTo>
                  <a:pt x="6417685" y="5810176"/>
                  <a:pt x="6411516" y="5816411"/>
                  <a:pt x="6407402" y="5822647"/>
                </a:cubicBezTo>
                <a:cubicBezTo>
                  <a:pt x="6407402" y="5824725"/>
                  <a:pt x="6407402" y="5824725"/>
                  <a:pt x="6407402" y="5824725"/>
                </a:cubicBezTo>
                <a:cubicBezTo>
                  <a:pt x="6411516" y="5839274"/>
                  <a:pt x="6421798" y="5855902"/>
                  <a:pt x="6434138" y="5870451"/>
                </a:cubicBezTo>
                <a:cubicBezTo>
                  <a:pt x="6432082" y="5870451"/>
                  <a:pt x="6421798" y="5885000"/>
                  <a:pt x="6419742" y="5887079"/>
                </a:cubicBezTo>
                <a:cubicBezTo>
                  <a:pt x="6405346" y="5878765"/>
                  <a:pt x="6386837" y="5874608"/>
                  <a:pt x="6370385" y="5874608"/>
                </a:cubicBezTo>
                <a:cubicBezTo>
                  <a:pt x="6368328" y="5874608"/>
                  <a:pt x="6368328" y="5874608"/>
                  <a:pt x="6368328" y="5874608"/>
                </a:cubicBezTo>
                <a:cubicBezTo>
                  <a:pt x="6364215" y="5878765"/>
                  <a:pt x="6360102" y="5887079"/>
                  <a:pt x="6358046" y="5893314"/>
                </a:cubicBezTo>
                <a:cubicBezTo>
                  <a:pt x="6358046" y="5895393"/>
                  <a:pt x="6358046" y="5895393"/>
                  <a:pt x="6358046" y="5895393"/>
                </a:cubicBezTo>
                <a:cubicBezTo>
                  <a:pt x="6366272" y="5909941"/>
                  <a:pt x="6378611" y="5922412"/>
                  <a:pt x="6395063" y="5932805"/>
                </a:cubicBezTo>
                <a:cubicBezTo>
                  <a:pt x="6393007" y="5934883"/>
                  <a:pt x="6386837" y="5949432"/>
                  <a:pt x="6386837" y="5951511"/>
                </a:cubicBezTo>
                <a:cubicBezTo>
                  <a:pt x="6368328" y="5947354"/>
                  <a:pt x="6349820" y="5947354"/>
                  <a:pt x="6335424" y="5951511"/>
                </a:cubicBezTo>
                <a:cubicBezTo>
                  <a:pt x="6333367" y="5951511"/>
                  <a:pt x="6333367" y="5951511"/>
                  <a:pt x="6333367" y="5951511"/>
                </a:cubicBezTo>
                <a:cubicBezTo>
                  <a:pt x="6333367" y="5953589"/>
                  <a:pt x="6333367" y="5953589"/>
                  <a:pt x="6333367" y="5953589"/>
                </a:cubicBezTo>
                <a:cubicBezTo>
                  <a:pt x="6331311" y="5959825"/>
                  <a:pt x="6329254" y="5968138"/>
                  <a:pt x="6327198" y="5974373"/>
                </a:cubicBezTo>
                <a:cubicBezTo>
                  <a:pt x="6329254" y="5976452"/>
                  <a:pt x="6329254" y="5976452"/>
                  <a:pt x="6329254" y="5976452"/>
                </a:cubicBezTo>
                <a:cubicBezTo>
                  <a:pt x="6339537" y="5986844"/>
                  <a:pt x="6355989" y="5997237"/>
                  <a:pt x="6372441" y="6001393"/>
                </a:cubicBezTo>
                <a:cubicBezTo>
                  <a:pt x="6372441" y="6003472"/>
                  <a:pt x="6370385" y="6022178"/>
                  <a:pt x="6370385" y="6024257"/>
                </a:cubicBezTo>
                <a:cubicBezTo>
                  <a:pt x="6351876" y="6024257"/>
                  <a:pt x="6333367" y="6028413"/>
                  <a:pt x="6321028" y="6036728"/>
                </a:cubicBezTo>
                <a:cubicBezTo>
                  <a:pt x="6318972" y="6036728"/>
                  <a:pt x="6318972" y="6036728"/>
                  <a:pt x="6318972" y="6036728"/>
                </a:cubicBezTo>
                <a:cubicBezTo>
                  <a:pt x="6318972" y="6038805"/>
                  <a:pt x="6318972" y="6038805"/>
                  <a:pt x="6318972" y="6038805"/>
                </a:cubicBezTo>
                <a:cubicBezTo>
                  <a:pt x="6318972" y="6040884"/>
                  <a:pt x="6318972" y="6045041"/>
                  <a:pt x="6318972" y="6049198"/>
                </a:cubicBezTo>
                <a:cubicBezTo>
                  <a:pt x="6318972" y="6053355"/>
                  <a:pt x="6318972" y="6057512"/>
                  <a:pt x="6318972" y="6059590"/>
                </a:cubicBezTo>
                <a:cubicBezTo>
                  <a:pt x="6318972" y="6061669"/>
                  <a:pt x="6318972" y="6061669"/>
                  <a:pt x="6318972" y="6061669"/>
                </a:cubicBezTo>
                <a:cubicBezTo>
                  <a:pt x="6321028" y="6061669"/>
                  <a:pt x="6321028" y="6061669"/>
                  <a:pt x="6321028" y="6061669"/>
                </a:cubicBezTo>
                <a:cubicBezTo>
                  <a:pt x="6333367" y="6069983"/>
                  <a:pt x="6351876" y="6074140"/>
                  <a:pt x="6370385" y="6074140"/>
                </a:cubicBezTo>
                <a:cubicBezTo>
                  <a:pt x="6370385" y="6078296"/>
                  <a:pt x="6372441" y="6094924"/>
                  <a:pt x="6374498" y="6097002"/>
                </a:cubicBezTo>
                <a:cubicBezTo>
                  <a:pt x="6355989" y="6103237"/>
                  <a:pt x="6339537" y="6111551"/>
                  <a:pt x="6329254" y="6124022"/>
                </a:cubicBezTo>
                <a:cubicBezTo>
                  <a:pt x="6327198" y="6124022"/>
                  <a:pt x="6327198" y="6124022"/>
                  <a:pt x="6327198" y="6124022"/>
                </a:cubicBezTo>
                <a:cubicBezTo>
                  <a:pt x="6327198" y="6126101"/>
                  <a:pt x="6327198" y="6126101"/>
                  <a:pt x="6327198" y="6126101"/>
                </a:cubicBezTo>
                <a:cubicBezTo>
                  <a:pt x="6329254" y="6132336"/>
                  <a:pt x="6331311" y="6140650"/>
                  <a:pt x="6333367" y="6146886"/>
                </a:cubicBezTo>
                <a:cubicBezTo>
                  <a:pt x="6335424" y="6146886"/>
                  <a:pt x="6335424" y="6146886"/>
                  <a:pt x="6335424" y="6146886"/>
                </a:cubicBezTo>
                <a:cubicBezTo>
                  <a:pt x="6349820" y="6153121"/>
                  <a:pt x="6370385" y="6151042"/>
                  <a:pt x="6386837" y="6146886"/>
                </a:cubicBezTo>
                <a:cubicBezTo>
                  <a:pt x="6386837" y="6148963"/>
                  <a:pt x="6395063" y="6165592"/>
                  <a:pt x="6395063" y="6167669"/>
                </a:cubicBezTo>
                <a:cubicBezTo>
                  <a:pt x="6380668" y="6175983"/>
                  <a:pt x="6366272" y="6190533"/>
                  <a:pt x="6358046" y="6205082"/>
                </a:cubicBezTo>
                <a:cubicBezTo>
                  <a:pt x="6358046" y="6207160"/>
                  <a:pt x="6358046" y="6207160"/>
                  <a:pt x="6358046" y="6207160"/>
                </a:cubicBezTo>
                <a:cubicBezTo>
                  <a:pt x="6360102" y="6211318"/>
                  <a:pt x="6366272" y="6219631"/>
                  <a:pt x="6370385" y="6225866"/>
                </a:cubicBezTo>
                <a:cubicBezTo>
                  <a:pt x="6386837" y="6225866"/>
                  <a:pt x="6405346" y="6221710"/>
                  <a:pt x="6421798" y="6211318"/>
                </a:cubicBezTo>
                <a:cubicBezTo>
                  <a:pt x="6421798" y="6213395"/>
                  <a:pt x="6432082" y="6227945"/>
                  <a:pt x="6434138" y="6230024"/>
                </a:cubicBezTo>
                <a:cubicBezTo>
                  <a:pt x="6421798" y="6242494"/>
                  <a:pt x="6411516" y="6259121"/>
                  <a:pt x="6407402" y="6275750"/>
                </a:cubicBezTo>
                <a:cubicBezTo>
                  <a:pt x="6409459" y="6277827"/>
                  <a:pt x="6409459" y="6277827"/>
                  <a:pt x="6409459" y="6277827"/>
                </a:cubicBezTo>
                <a:cubicBezTo>
                  <a:pt x="6411516" y="6281985"/>
                  <a:pt x="6419742" y="6288220"/>
                  <a:pt x="6423855" y="6292377"/>
                </a:cubicBezTo>
                <a:cubicBezTo>
                  <a:pt x="6425911" y="6292377"/>
                  <a:pt x="6425911" y="6292377"/>
                  <a:pt x="6425911" y="6292377"/>
                </a:cubicBezTo>
                <a:cubicBezTo>
                  <a:pt x="6440308" y="6288220"/>
                  <a:pt x="6456760" y="6279906"/>
                  <a:pt x="6471156" y="6265357"/>
                </a:cubicBezTo>
                <a:cubicBezTo>
                  <a:pt x="6473212" y="6267436"/>
                  <a:pt x="6485551" y="6277827"/>
                  <a:pt x="6487608" y="6279906"/>
                </a:cubicBezTo>
                <a:cubicBezTo>
                  <a:pt x="6479382" y="6296533"/>
                  <a:pt x="6475269" y="6313162"/>
                  <a:pt x="6475269" y="6329789"/>
                </a:cubicBezTo>
                <a:cubicBezTo>
                  <a:pt x="6475269" y="6329789"/>
                  <a:pt x="6475269" y="6331868"/>
                  <a:pt x="6475269" y="6331868"/>
                </a:cubicBezTo>
                <a:cubicBezTo>
                  <a:pt x="6479382" y="6336024"/>
                  <a:pt x="6487608" y="6340182"/>
                  <a:pt x="6493777" y="6342259"/>
                </a:cubicBezTo>
                <a:cubicBezTo>
                  <a:pt x="6493777" y="6344338"/>
                  <a:pt x="6493777" y="6344338"/>
                  <a:pt x="6493777" y="6344338"/>
                </a:cubicBezTo>
                <a:cubicBezTo>
                  <a:pt x="6495834" y="6342259"/>
                  <a:pt x="6495834" y="6342259"/>
                  <a:pt x="6495834" y="6342259"/>
                </a:cubicBezTo>
                <a:cubicBezTo>
                  <a:pt x="6510230" y="6333946"/>
                  <a:pt x="6522569" y="6321475"/>
                  <a:pt x="6532851" y="6304848"/>
                </a:cubicBezTo>
                <a:cubicBezTo>
                  <a:pt x="6534908" y="6306926"/>
                  <a:pt x="6549304" y="6313162"/>
                  <a:pt x="6551360" y="6313162"/>
                </a:cubicBezTo>
                <a:cubicBezTo>
                  <a:pt x="6549304" y="6321475"/>
                  <a:pt x="6549304" y="6331868"/>
                  <a:pt x="6549304" y="6340182"/>
                </a:cubicBezTo>
                <a:cubicBezTo>
                  <a:pt x="6549304" y="6348495"/>
                  <a:pt x="6549304" y="6358888"/>
                  <a:pt x="6551360" y="6365123"/>
                </a:cubicBezTo>
                <a:cubicBezTo>
                  <a:pt x="6551360" y="6367201"/>
                  <a:pt x="6551360" y="6367201"/>
                  <a:pt x="6551360" y="6367201"/>
                </a:cubicBezTo>
                <a:cubicBezTo>
                  <a:pt x="6553417" y="6367201"/>
                  <a:pt x="6553417" y="6367201"/>
                  <a:pt x="6553417" y="6367201"/>
                </a:cubicBezTo>
                <a:cubicBezTo>
                  <a:pt x="6557530" y="6369280"/>
                  <a:pt x="6567812" y="6371358"/>
                  <a:pt x="6573982" y="6373436"/>
                </a:cubicBezTo>
                <a:cubicBezTo>
                  <a:pt x="6576039" y="6373436"/>
                  <a:pt x="6576039" y="6373436"/>
                  <a:pt x="6576039" y="6373436"/>
                </a:cubicBezTo>
                <a:cubicBezTo>
                  <a:pt x="6586321" y="6360966"/>
                  <a:pt x="6596604" y="6344338"/>
                  <a:pt x="6600717" y="6327711"/>
                </a:cubicBezTo>
                <a:cubicBezTo>
                  <a:pt x="6602773" y="6327711"/>
                  <a:pt x="6621282" y="6329789"/>
                  <a:pt x="6623339" y="6329789"/>
                </a:cubicBezTo>
                <a:cubicBezTo>
                  <a:pt x="6623339" y="6348495"/>
                  <a:pt x="6627452" y="6367201"/>
                  <a:pt x="6635678" y="6381750"/>
                </a:cubicBezTo>
                <a:cubicBezTo>
                  <a:pt x="6637734" y="6381750"/>
                  <a:pt x="6637734" y="6381750"/>
                  <a:pt x="6637734" y="6381750"/>
                </a:cubicBezTo>
                <a:cubicBezTo>
                  <a:pt x="6643904" y="6381750"/>
                  <a:pt x="6654187" y="6381750"/>
                  <a:pt x="6658300" y="6381750"/>
                </a:cubicBezTo>
                <a:cubicBezTo>
                  <a:pt x="6660357" y="6381750"/>
                  <a:pt x="6660357" y="6381750"/>
                  <a:pt x="6660357" y="6381750"/>
                </a:cubicBezTo>
                <a:cubicBezTo>
                  <a:pt x="6668583" y="6367201"/>
                  <a:pt x="6672696" y="6348495"/>
                  <a:pt x="6674753" y="6329789"/>
                </a:cubicBezTo>
                <a:cubicBezTo>
                  <a:pt x="6676809" y="6329789"/>
                  <a:pt x="6693261" y="6327711"/>
                  <a:pt x="6695318" y="6327711"/>
                </a:cubicBezTo>
                <a:cubicBezTo>
                  <a:pt x="6699431" y="6344338"/>
                  <a:pt x="6709714" y="6360966"/>
                  <a:pt x="6722053" y="6373436"/>
                </a:cubicBezTo>
                <a:cubicBezTo>
                  <a:pt x="6728222" y="6371358"/>
                  <a:pt x="6738505" y="6369280"/>
                  <a:pt x="6742618" y="6367201"/>
                </a:cubicBezTo>
                <a:cubicBezTo>
                  <a:pt x="6744675" y="6367201"/>
                  <a:pt x="6744675" y="6367201"/>
                  <a:pt x="6744675" y="6367201"/>
                </a:cubicBezTo>
                <a:cubicBezTo>
                  <a:pt x="6746731" y="6358888"/>
                  <a:pt x="6746731" y="6348495"/>
                  <a:pt x="6746731" y="6340182"/>
                </a:cubicBezTo>
                <a:cubicBezTo>
                  <a:pt x="6746731" y="6331868"/>
                  <a:pt x="6746731" y="6321475"/>
                  <a:pt x="6744675" y="6313162"/>
                </a:cubicBezTo>
                <a:cubicBezTo>
                  <a:pt x="6746731" y="6313162"/>
                  <a:pt x="6763183" y="6306926"/>
                  <a:pt x="6765240" y="6304848"/>
                </a:cubicBezTo>
                <a:cubicBezTo>
                  <a:pt x="6773466" y="6321475"/>
                  <a:pt x="6787862" y="6333946"/>
                  <a:pt x="6802257" y="6342259"/>
                </a:cubicBezTo>
                <a:cubicBezTo>
                  <a:pt x="6808427" y="6340182"/>
                  <a:pt x="6816653" y="6336024"/>
                  <a:pt x="6820766" y="6331868"/>
                </a:cubicBezTo>
                <a:cubicBezTo>
                  <a:pt x="6822823" y="6329789"/>
                  <a:pt x="6822823" y="6329789"/>
                  <a:pt x="6822823" y="6329789"/>
                </a:cubicBezTo>
                <a:cubicBezTo>
                  <a:pt x="6822823" y="6329789"/>
                  <a:pt x="6822823" y="6329789"/>
                  <a:pt x="6822823" y="6327711"/>
                </a:cubicBezTo>
                <a:cubicBezTo>
                  <a:pt x="6822823" y="6313162"/>
                  <a:pt x="6816653" y="6294456"/>
                  <a:pt x="6808427" y="6279906"/>
                </a:cubicBezTo>
                <a:cubicBezTo>
                  <a:pt x="6810484" y="6277827"/>
                  <a:pt x="6822823" y="6267436"/>
                  <a:pt x="6824879" y="6265357"/>
                </a:cubicBezTo>
                <a:cubicBezTo>
                  <a:pt x="6839275" y="6277827"/>
                  <a:pt x="6855727" y="6288220"/>
                  <a:pt x="6870123" y="6292377"/>
                </a:cubicBezTo>
                <a:cubicBezTo>
                  <a:pt x="6872180" y="6292377"/>
                  <a:pt x="6872180" y="6292377"/>
                  <a:pt x="6872180" y="6292377"/>
                </a:cubicBezTo>
                <a:cubicBezTo>
                  <a:pt x="6876293" y="6288220"/>
                  <a:pt x="6884519" y="6281985"/>
                  <a:pt x="6886576" y="6275750"/>
                </a:cubicBezTo>
                <a:cubicBezTo>
                  <a:pt x="6888632" y="6275750"/>
                  <a:pt x="6888632" y="6275750"/>
                  <a:pt x="6888632" y="6275750"/>
                </a:cubicBezTo>
                <a:cubicBezTo>
                  <a:pt x="6884519" y="6259121"/>
                  <a:pt x="6874236" y="6242494"/>
                  <a:pt x="6861897" y="6230024"/>
                </a:cubicBezTo>
                <a:cubicBezTo>
                  <a:pt x="6863954" y="6227945"/>
                  <a:pt x="6874236" y="6213395"/>
                  <a:pt x="6874236" y="6211318"/>
                </a:cubicBezTo>
                <a:cubicBezTo>
                  <a:pt x="6890689" y="6219631"/>
                  <a:pt x="6909198" y="6225866"/>
                  <a:pt x="6925650" y="6225866"/>
                </a:cubicBezTo>
                <a:cubicBezTo>
                  <a:pt x="6927706" y="6223788"/>
                  <a:pt x="6927706" y="6223788"/>
                  <a:pt x="6927706" y="6223788"/>
                </a:cubicBezTo>
                <a:cubicBezTo>
                  <a:pt x="6929763" y="6219631"/>
                  <a:pt x="6935933" y="6211318"/>
                  <a:pt x="6937989" y="6205082"/>
                </a:cubicBezTo>
                <a:cubicBezTo>
                  <a:pt x="6937989" y="6203004"/>
                  <a:pt x="6937989" y="6203004"/>
                  <a:pt x="6937989" y="6203004"/>
                </a:cubicBezTo>
                <a:cubicBezTo>
                  <a:pt x="6929763" y="6190533"/>
                  <a:pt x="6915367" y="6175983"/>
                  <a:pt x="6900972" y="6167669"/>
                </a:cubicBezTo>
                <a:cubicBezTo>
                  <a:pt x="6900972" y="6163513"/>
                  <a:pt x="6909198" y="6148963"/>
                  <a:pt x="6909198" y="6146886"/>
                </a:cubicBezTo>
                <a:cubicBezTo>
                  <a:pt x="6925650" y="6151042"/>
                  <a:pt x="6944159" y="6151042"/>
                  <a:pt x="6960611" y="6146886"/>
                </a:cubicBezTo>
                <a:cubicBezTo>
                  <a:pt x="6962667" y="6146886"/>
                  <a:pt x="6962667" y="6146886"/>
                  <a:pt x="6962667" y="6146886"/>
                </a:cubicBezTo>
                <a:cubicBezTo>
                  <a:pt x="6964724" y="6140650"/>
                  <a:pt x="6966781" y="6132336"/>
                  <a:pt x="6966781" y="6126101"/>
                </a:cubicBezTo>
                <a:cubicBezTo>
                  <a:pt x="6966781" y="6124022"/>
                  <a:pt x="6966781" y="6124022"/>
                  <a:pt x="6966781" y="6124022"/>
                </a:cubicBezTo>
                <a:cubicBezTo>
                  <a:pt x="6956498" y="6111551"/>
                  <a:pt x="6940046" y="6103237"/>
                  <a:pt x="6921537" y="6097002"/>
                </a:cubicBezTo>
                <a:cubicBezTo>
                  <a:pt x="6923593" y="6094924"/>
                  <a:pt x="6925650" y="6078296"/>
                  <a:pt x="6925650" y="6076218"/>
                </a:cubicBezTo>
                <a:cubicBezTo>
                  <a:pt x="6944159" y="6076218"/>
                  <a:pt x="6962667" y="6069983"/>
                  <a:pt x="6975007" y="6061669"/>
                </a:cubicBezTo>
                <a:cubicBezTo>
                  <a:pt x="6977063" y="6061669"/>
                  <a:pt x="6977063" y="6061669"/>
                  <a:pt x="6977063" y="6061669"/>
                </a:cubicBezTo>
                <a:cubicBezTo>
                  <a:pt x="6977063" y="6057512"/>
                  <a:pt x="6977063" y="6053355"/>
                  <a:pt x="6977063" y="6049198"/>
                </a:cubicBezTo>
                <a:cubicBezTo>
                  <a:pt x="6977063" y="6047119"/>
                  <a:pt x="6977063" y="6042963"/>
                  <a:pt x="6977063" y="6038805"/>
                </a:cubicBezTo>
                <a:cubicBezTo>
                  <a:pt x="6975007" y="6038805"/>
                  <a:pt x="6975007" y="6038805"/>
                  <a:pt x="6975007" y="6038805"/>
                </a:cubicBezTo>
                <a:cubicBezTo>
                  <a:pt x="6962667" y="6030492"/>
                  <a:pt x="6944159" y="6024257"/>
                  <a:pt x="6925650" y="6024257"/>
                </a:cubicBezTo>
                <a:cubicBezTo>
                  <a:pt x="6925650" y="6022178"/>
                  <a:pt x="6923593" y="6005551"/>
                  <a:pt x="6923593" y="6003472"/>
                </a:cubicBezTo>
                <a:cubicBezTo>
                  <a:pt x="6940046" y="5997237"/>
                  <a:pt x="6956498" y="5988923"/>
                  <a:pt x="6966781" y="5976452"/>
                </a:cubicBezTo>
                <a:cubicBezTo>
                  <a:pt x="6968837" y="5976452"/>
                  <a:pt x="6968837" y="5976452"/>
                  <a:pt x="6968837" y="5976452"/>
                </a:cubicBezTo>
                <a:cubicBezTo>
                  <a:pt x="6968837" y="5974373"/>
                  <a:pt x="6968837" y="5974373"/>
                  <a:pt x="6968837" y="5974373"/>
                </a:cubicBezTo>
                <a:cubicBezTo>
                  <a:pt x="6966781" y="5968138"/>
                  <a:pt x="6964724" y="5959825"/>
                  <a:pt x="6962667" y="5953589"/>
                </a:cubicBezTo>
                <a:cubicBezTo>
                  <a:pt x="6960611" y="5953589"/>
                  <a:pt x="6960611" y="5953589"/>
                  <a:pt x="6960611" y="5953589"/>
                </a:cubicBezTo>
                <a:cubicBezTo>
                  <a:pt x="6946215" y="5947354"/>
                  <a:pt x="6927706" y="5949432"/>
                  <a:pt x="6909198" y="5953589"/>
                </a:cubicBezTo>
                <a:cubicBezTo>
                  <a:pt x="6909198" y="5951511"/>
                  <a:pt x="6903028" y="5934883"/>
                  <a:pt x="6900972" y="5932805"/>
                </a:cubicBezTo>
                <a:cubicBezTo>
                  <a:pt x="6917424" y="5924491"/>
                  <a:pt x="6929763" y="5909941"/>
                  <a:pt x="6937989" y="5895393"/>
                </a:cubicBezTo>
                <a:cubicBezTo>
                  <a:pt x="6937989" y="5893314"/>
                  <a:pt x="6937989" y="5893314"/>
                  <a:pt x="6937989" y="5893314"/>
                </a:cubicBezTo>
                <a:cubicBezTo>
                  <a:pt x="6935933" y="5889157"/>
                  <a:pt x="6931820" y="5880843"/>
                  <a:pt x="6927706" y="5874608"/>
                </a:cubicBezTo>
                <a:cubicBezTo>
                  <a:pt x="6925650" y="5874608"/>
                  <a:pt x="6925650" y="5874608"/>
                  <a:pt x="6925650" y="5874608"/>
                </a:cubicBezTo>
                <a:cubicBezTo>
                  <a:pt x="6909198" y="5874608"/>
                  <a:pt x="6890689" y="5878765"/>
                  <a:pt x="6876293" y="5887079"/>
                </a:cubicBezTo>
                <a:cubicBezTo>
                  <a:pt x="6874236" y="5887079"/>
                  <a:pt x="6863954" y="5872529"/>
                  <a:pt x="6861897" y="5870451"/>
                </a:cubicBezTo>
                <a:cubicBezTo>
                  <a:pt x="6874236" y="5857980"/>
                  <a:pt x="6884519" y="5841353"/>
                  <a:pt x="6888632" y="5824725"/>
                </a:cubicBezTo>
                <a:cubicBezTo>
                  <a:pt x="6888632" y="5822647"/>
                  <a:pt x="6888632" y="5822647"/>
                  <a:pt x="6888632" y="5822647"/>
                </a:cubicBezTo>
                <a:cubicBezTo>
                  <a:pt x="6884519" y="5818490"/>
                  <a:pt x="6878350" y="5812254"/>
                  <a:pt x="6872180" y="5808097"/>
                </a:cubicBezTo>
                <a:cubicBezTo>
                  <a:pt x="6855727" y="5812254"/>
                  <a:pt x="6839275" y="5820568"/>
                  <a:pt x="6826936" y="5833039"/>
                </a:cubicBezTo>
                <a:cubicBezTo>
                  <a:pt x="6824879" y="5833039"/>
                  <a:pt x="6810484" y="5822647"/>
                  <a:pt x="6808427" y="5820568"/>
                </a:cubicBezTo>
                <a:cubicBezTo>
                  <a:pt x="6818710" y="5803941"/>
                  <a:pt x="6822823" y="5787313"/>
                  <a:pt x="6822823" y="5770685"/>
                </a:cubicBezTo>
                <a:cubicBezTo>
                  <a:pt x="6822823" y="5770685"/>
                  <a:pt x="6822823" y="5768607"/>
                  <a:pt x="6822823" y="5768607"/>
                </a:cubicBezTo>
                <a:cubicBezTo>
                  <a:pt x="6816653" y="5764450"/>
                  <a:pt x="6808427" y="5760293"/>
                  <a:pt x="6804314" y="5758215"/>
                </a:cubicBezTo>
                <a:cubicBezTo>
                  <a:pt x="6802257" y="5756136"/>
                  <a:pt x="6802257" y="5756136"/>
                  <a:pt x="6802257" y="5756136"/>
                </a:cubicBezTo>
                <a:cubicBezTo>
                  <a:pt x="6802257" y="5758215"/>
                  <a:pt x="6802257" y="5758215"/>
                  <a:pt x="6802257" y="5758215"/>
                </a:cubicBezTo>
                <a:cubicBezTo>
                  <a:pt x="6787862" y="5764450"/>
                  <a:pt x="6775523" y="5778999"/>
                  <a:pt x="6765240" y="5793548"/>
                </a:cubicBezTo>
                <a:cubicBezTo>
                  <a:pt x="6763183" y="5793548"/>
                  <a:pt x="6746731" y="5787313"/>
                  <a:pt x="6744675" y="5785235"/>
                </a:cubicBezTo>
                <a:cubicBezTo>
                  <a:pt x="6746731" y="5776921"/>
                  <a:pt x="6748788" y="5768607"/>
                  <a:pt x="6748788" y="5758215"/>
                </a:cubicBezTo>
                <a:cubicBezTo>
                  <a:pt x="6748788" y="5749901"/>
                  <a:pt x="6746731" y="5741587"/>
                  <a:pt x="6744675" y="5733273"/>
                </a:cubicBezTo>
                <a:cubicBezTo>
                  <a:pt x="6744675" y="5731195"/>
                  <a:pt x="6744675" y="5731195"/>
                  <a:pt x="6744675" y="5731195"/>
                </a:cubicBezTo>
                <a:cubicBezTo>
                  <a:pt x="6742618" y="5731195"/>
                  <a:pt x="6742618" y="5731195"/>
                  <a:pt x="6742618" y="5731195"/>
                </a:cubicBezTo>
                <a:cubicBezTo>
                  <a:pt x="6738505" y="5729116"/>
                  <a:pt x="6730279" y="5727038"/>
                  <a:pt x="6722053" y="5727038"/>
                </a:cubicBezTo>
                <a:cubicBezTo>
                  <a:pt x="6709714" y="5737430"/>
                  <a:pt x="6699431" y="5754058"/>
                  <a:pt x="6695318" y="5772764"/>
                </a:cubicBezTo>
                <a:cubicBezTo>
                  <a:pt x="6693261" y="5770685"/>
                  <a:pt x="6676809" y="5768607"/>
                  <a:pt x="6672696" y="5768607"/>
                </a:cubicBezTo>
                <a:cubicBezTo>
                  <a:pt x="6672696" y="5751979"/>
                  <a:pt x="6668583" y="5733273"/>
                  <a:pt x="6660357" y="5718724"/>
                </a:cubicBezTo>
                <a:cubicBezTo>
                  <a:pt x="6658300" y="5718724"/>
                  <a:pt x="6658300" y="5718724"/>
                  <a:pt x="6658300" y="5718724"/>
                </a:cubicBezTo>
                <a:cubicBezTo>
                  <a:pt x="6652131" y="5716645"/>
                  <a:pt x="6643904" y="5716645"/>
                  <a:pt x="6637734" y="5718724"/>
                </a:cubicBezTo>
                <a:cubicBezTo>
                  <a:pt x="6635678" y="5718724"/>
                  <a:pt x="6635678" y="5718724"/>
                  <a:pt x="6635678" y="5718724"/>
                </a:cubicBezTo>
                <a:close/>
                <a:moveTo>
                  <a:pt x="0" y="0"/>
                </a:moveTo>
                <a:lnTo>
                  <a:pt x="12192000" y="0"/>
                </a:lnTo>
                <a:lnTo>
                  <a:pt x="12192000" y="6858000"/>
                </a:lnTo>
                <a:lnTo>
                  <a:pt x="4539049" y="6858000"/>
                </a:lnTo>
                <a:lnTo>
                  <a:pt x="0" y="6858000"/>
                </a:lnTo>
                <a:lnTo>
                  <a:pt x="0" y="6273113"/>
                </a:lnTo>
                <a:close/>
              </a:path>
            </a:pathLst>
          </a:custGeom>
        </p:spPr>
        <p:txBody>
          <a:bodyPr wrap="square">
            <a:noAutofit/>
          </a:bodyPr>
          <a:lstStyle/>
          <a:p>
            <a:endParaRPr lang="en-US" dirty="0"/>
          </a:p>
        </p:txBody>
      </p:sp>
      <p:sp>
        <p:nvSpPr>
          <p:cNvPr id="7" name="Text Placeholder 6">
            <a:extLst>
              <a:ext uri="{FF2B5EF4-FFF2-40B4-BE49-F238E27FC236}">
                <a16:creationId xmlns:a16="http://schemas.microsoft.com/office/drawing/2014/main" id="{23834558-27F1-4188-B277-0880D2CE052B}"/>
              </a:ext>
            </a:extLst>
          </p:cNvPr>
          <p:cNvSpPr>
            <a:spLocks noGrp="1"/>
          </p:cNvSpPr>
          <p:nvPr>
            <p:ph type="body" sz="quarter" idx="14" hasCustomPrompt="1"/>
          </p:nvPr>
        </p:nvSpPr>
        <p:spPr>
          <a:xfrm>
            <a:off x="0" y="0"/>
            <a:ext cx="12192000" cy="6858000"/>
          </a:xfrm>
          <a:custGeom>
            <a:avLst/>
            <a:gdLst>
              <a:gd name="connsiteX0" fmla="*/ 6602777 w 12192000"/>
              <a:gd name="connsiteY0" fmla="*/ 6116155 h 6858000"/>
              <a:gd name="connsiteX1" fmla="*/ 6612980 w 12192000"/>
              <a:gd name="connsiteY1" fmla="*/ 6116155 h 6858000"/>
              <a:gd name="connsiteX2" fmla="*/ 6617061 w 12192000"/>
              <a:gd name="connsiteY2" fmla="*/ 6124493 h 6858000"/>
              <a:gd name="connsiteX3" fmla="*/ 6623183 w 12192000"/>
              <a:gd name="connsiteY3" fmla="*/ 6226637 h 6858000"/>
              <a:gd name="connsiteX4" fmla="*/ 6621142 w 12192000"/>
              <a:gd name="connsiteY4" fmla="*/ 6237059 h 6858000"/>
              <a:gd name="connsiteX5" fmla="*/ 6615021 w 12192000"/>
              <a:gd name="connsiteY5" fmla="*/ 6237059 h 6858000"/>
              <a:gd name="connsiteX6" fmla="*/ 6508908 w 12192000"/>
              <a:gd name="connsiteY6" fmla="*/ 6174523 h 6858000"/>
              <a:gd name="connsiteX7" fmla="*/ 6504827 w 12192000"/>
              <a:gd name="connsiteY7" fmla="*/ 6168270 h 6858000"/>
              <a:gd name="connsiteX8" fmla="*/ 6504827 w 12192000"/>
              <a:gd name="connsiteY8" fmla="*/ 6166184 h 6858000"/>
              <a:gd name="connsiteX9" fmla="*/ 6510948 w 12192000"/>
              <a:gd name="connsiteY9" fmla="*/ 6162015 h 6858000"/>
              <a:gd name="connsiteX10" fmla="*/ 6602777 w 12192000"/>
              <a:gd name="connsiteY10" fmla="*/ 6116155 h 6858000"/>
              <a:gd name="connsiteX11" fmla="*/ 6685511 w 12192000"/>
              <a:gd name="connsiteY11" fmla="*/ 6114071 h 6858000"/>
              <a:gd name="connsiteX12" fmla="*/ 6695813 w 12192000"/>
              <a:gd name="connsiteY12" fmla="*/ 6114071 h 6858000"/>
              <a:gd name="connsiteX13" fmla="*/ 6786472 w 12192000"/>
              <a:gd name="connsiteY13" fmla="*/ 6159837 h 6858000"/>
              <a:gd name="connsiteX14" fmla="*/ 6794714 w 12192000"/>
              <a:gd name="connsiteY14" fmla="*/ 6166078 h 6858000"/>
              <a:gd name="connsiteX15" fmla="*/ 6790593 w 12192000"/>
              <a:gd name="connsiteY15" fmla="*/ 6172318 h 6858000"/>
              <a:gd name="connsiteX16" fmla="*/ 6683451 w 12192000"/>
              <a:gd name="connsiteY16" fmla="*/ 6234726 h 6858000"/>
              <a:gd name="connsiteX17" fmla="*/ 6675208 w 12192000"/>
              <a:gd name="connsiteY17" fmla="*/ 6234726 h 6858000"/>
              <a:gd name="connsiteX18" fmla="*/ 6673148 w 12192000"/>
              <a:gd name="connsiteY18" fmla="*/ 6226405 h 6858000"/>
              <a:gd name="connsiteX19" fmla="*/ 6681390 w 12192000"/>
              <a:gd name="connsiteY19" fmla="*/ 6122392 h 6858000"/>
              <a:gd name="connsiteX20" fmla="*/ 6685511 w 12192000"/>
              <a:gd name="connsiteY20" fmla="*/ 6114071 h 6858000"/>
              <a:gd name="connsiteX21" fmla="*/ 5867776 w 12192000"/>
              <a:gd name="connsiteY21" fmla="*/ 6074328 h 6858000"/>
              <a:gd name="connsiteX22" fmla="*/ 5867776 w 12192000"/>
              <a:gd name="connsiteY22" fmla="*/ 6117531 h 6858000"/>
              <a:gd name="connsiteX23" fmla="*/ 5819888 w 12192000"/>
              <a:gd name="connsiteY23" fmla="*/ 6125760 h 6858000"/>
              <a:gd name="connsiteX24" fmla="*/ 5801149 w 12192000"/>
              <a:gd name="connsiteY24" fmla="*/ 6101073 h 6858000"/>
              <a:gd name="connsiteX25" fmla="*/ 5826134 w 12192000"/>
              <a:gd name="connsiteY25" fmla="*/ 6076386 h 6858000"/>
              <a:gd name="connsiteX26" fmla="*/ 5518276 w 12192000"/>
              <a:gd name="connsiteY26" fmla="*/ 6004194 h 6858000"/>
              <a:gd name="connsiteX27" fmla="*/ 5559186 w 12192000"/>
              <a:gd name="connsiteY27" fmla="*/ 6064393 h 6858000"/>
              <a:gd name="connsiteX28" fmla="*/ 5518276 w 12192000"/>
              <a:gd name="connsiteY28" fmla="*/ 6124591 h 6858000"/>
              <a:gd name="connsiteX29" fmla="*/ 5477363 w 12192000"/>
              <a:gd name="connsiteY29" fmla="*/ 6064393 h 6858000"/>
              <a:gd name="connsiteX30" fmla="*/ 5518276 w 12192000"/>
              <a:gd name="connsiteY30" fmla="*/ 6004194 h 6858000"/>
              <a:gd name="connsiteX31" fmla="*/ 6672498 w 12192000"/>
              <a:gd name="connsiteY31" fmla="*/ 5995882 h 6858000"/>
              <a:gd name="connsiteX32" fmla="*/ 6681491 w 12192000"/>
              <a:gd name="connsiteY32" fmla="*/ 5996921 h 6858000"/>
              <a:gd name="connsiteX33" fmla="*/ 6708215 w 12192000"/>
              <a:gd name="connsiteY33" fmla="*/ 6048872 h 6858000"/>
              <a:gd name="connsiteX34" fmla="*/ 6648601 w 12192000"/>
              <a:gd name="connsiteY34" fmla="*/ 6107057 h 6858000"/>
              <a:gd name="connsiteX35" fmla="*/ 6588987 w 12192000"/>
              <a:gd name="connsiteY35" fmla="*/ 6048872 h 6858000"/>
              <a:gd name="connsiteX36" fmla="*/ 6615711 w 12192000"/>
              <a:gd name="connsiteY36" fmla="*/ 5999000 h 6858000"/>
              <a:gd name="connsiteX37" fmla="*/ 6632156 w 12192000"/>
              <a:gd name="connsiteY37" fmla="*/ 6001077 h 6858000"/>
              <a:gd name="connsiteX38" fmla="*/ 6630100 w 12192000"/>
              <a:gd name="connsiteY38" fmla="*/ 6017702 h 6858000"/>
              <a:gd name="connsiteX39" fmla="*/ 6613655 w 12192000"/>
              <a:gd name="connsiteY39" fmla="*/ 6048872 h 6858000"/>
              <a:gd name="connsiteX40" fmla="*/ 6648601 w 12192000"/>
              <a:gd name="connsiteY40" fmla="*/ 6084199 h 6858000"/>
              <a:gd name="connsiteX41" fmla="*/ 6683547 w 12192000"/>
              <a:gd name="connsiteY41" fmla="*/ 6048872 h 6858000"/>
              <a:gd name="connsiteX42" fmla="*/ 6667102 w 12192000"/>
              <a:gd name="connsiteY42" fmla="*/ 6017702 h 6858000"/>
              <a:gd name="connsiteX43" fmla="*/ 6665047 w 12192000"/>
              <a:gd name="connsiteY43" fmla="*/ 6001077 h 6858000"/>
              <a:gd name="connsiteX44" fmla="*/ 6672498 w 12192000"/>
              <a:gd name="connsiteY44" fmla="*/ 5995882 h 6858000"/>
              <a:gd name="connsiteX45" fmla="*/ 6821432 w 12192000"/>
              <a:gd name="connsiteY45" fmla="*/ 5980816 h 6858000"/>
              <a:gd name="connsiteX46" fmla="*/ 6825565 w 12192000"/>
              <a:gd name="connsiteY46" fmla="*/ 5987045 h 6858000"/>
              <a:gd name="connsiteX47" fmla="*/ 6825565 w 12192000"/>
              <a:gd name="connsiteY47" fmla="*/ 6111612 h 6858000"/>
              <a:gd name="connsiteX48" fmla="*/ 6821432 w 12192000"/>
              <a:gd name="connsiteY48" fmla="*/ 6117840 h 6858000"/>
              <a:gd name="connsiteX49" fmla="*/ 6813166 w 12192000"/>
              <a:gd name="connsiteY49" fmla="*/ 6115764 h 6858000"/>
              <a:gd name="connsiteX50" fmla="*/ 6728441 w 12192000"/>
              <a:gd name="connsiteY50" fmla="*/ 6057632 h 6858000"/>
              <a:gd name="connsiteX51" fmla="*/ 6722242 w 12192000"/>
              <a:gd name="connsiteY51" fmla="*/ 6049328 h 6858000"/>
              <a:gd name="connsiteX52" fmla="*/ 6728441 w 12192000"/>
              <a:gd name="connsiteY52" fmla="*/ 6041024 h 6858000"/>
              <a:gd name="connsiteX53" fmla="*/ 6813166 w 12192000"/>
              <a:gd name="connsiteY53" fmla="*/ 5982893 h 6858000"/>
              <a:gd name="connsiteX54" fmla="*/ 6821432 w 12192000"/>
              <a:gd name="connsiteY54" fmla="*/ 5980816 h 6858000"/>
              <a:gd name="connsiteX55" fmla="*/ 6475604 w 12192000"/>
              <a:gd name="connsiteY55" fmla="*/ 5980816 h 6858000"/>
              <a:gd name="connsiteX56" fmla="*/ 6483787 w 12192000"/>
              <a:gd name="connsiteY56" fmla="*/ 5984968 h 6858000"/>
              <a:gd name="connsiteX57" fmla="*/ 6567656 w 12192000"/>
              <a:gd name="connsiteY57" fmla="*/ 6041024 h 6858000"/>
              <a:gd name="connsiteX58" fmla="*/ 6573792 w 12192000"/>
              <a:gd name="connsiteY58" fmla="*/ 6049328 h 6858000"/>
              <a:gd name="connsiteX59" fmla="*/ 6567656 w 12192000"/>
              <a:gd name="connsiteY59" fmla="*/ 6057632 h 6858000"/>
              <a:gd name="connsiteX60" fmla="*/ 6483787 w 12192000"/>
              <a:gd name="connsiteY60" fmla="*/ 6115764 h 6858000"/>
              <a:gd name="connsiteX61" fmla="*/ 6475604 w 12192000"/>
              <a:gd name="connsiteY61" fmla="*/ 6117840 h 6858000"/>
              <a:gd name="connsiteX62" fmla="*/ 6471513 w 12192000"/>
              <a:gd name="connsiteY62" fmla="*/ 6111612 h 6858000"/>
              <a:gd name="connsiteX63" fmla="*/ 6471513 w 12192000"/>
              <a:gd name="connsiteY63" fmla="*/ 5987045 h 6858000"/>
              <a:gd name="connsiteX64" fmla="*/ 6475604 w 12192000"/>
              <a:gd name="connsiteY64" fmla="*/ 5980816 h 6858000"/>
              <a:gd name="connsiteX65" fmla="*/ 6087559 w 12192000"/>
              <a:gd name="connsiteY65" fmla="*/ 5970296 h 6858000"/>
              <a:gd name="connsiteX66" fmla="*/ 6081400 w 12192000"/>
              <a:gd name="connsiteY66" fmla="*/ 5972374 h 6858000"/>
              <a:gd name="connsiteX67" fmla="*/ 6079347 w 12192000"/>
              <a:gd name="connsiteY67" fmla="*/ 5978604 h 6858000"/>
              <a:gd name="connsiteX68" fmla="*/ 6120408 w 12192000"/>
              <a:gd name="connsiteY68" fmla="*/ 6136455 h 6858000"/>
              <a:gd name="connsiteX69" fmla="*/ 6145045 w 12192000"/>
              <a:gd name="connsiteY69" fmla="*/ 6157224 h 6858000"/>
              <a:gd name="connsiteX70" fmla="*/ 6153257 w 12192000"/>
              <a:gd name="connsiteY70" fmla="*/ 6157224 h 6858000"/>
              <a:gd name="connsiteX71" fmla="*/ 6149151 w 12192000"/>
              <a:gd name="connsiteY71" fmla="*/ 6165532 h 6858000"/>
              <a:gd name="connsiteX72" fmla="*/ 6149151 w 12192000"/>
              <a:gd name="connsiteY72" fmla="*/ 6167609 h 6858000"/>
              <a:gd name="connsiteX73" fmla="*/ 6124515 w 12192000"/>
              <a:gd name="connsiteY73" fmla="*/ 6186302 h 6858000"/>
              <a:gd name="connsiteX74" fmla="*/ 6089612 w 12192000"/>
              <a:gd name="connsiteY74" fmla="*/ 6184225 h 6858000"/>
              <a:gd name="connsiteX75" fmla="*/ 6083453 w 12192000"/>
              <a:gd name="connsiteY75" fmla="*/ 6186302 h 6858000"/>
              <a:gd name="connsiteX76" fmla="*/ 6081400 w 12192000"/>
              <a:gd name="connsiteY76" fmla="*/ 6190456 h 6858000"/>
              <a:gd name="connsiteX77" fmla="*/ 6081400 w 12192000"/>
              <a:gd name="connsiteY77" fmla="*/ 6209149 h 6858000"/>
              <a:gd name="connsiteX78" fmla="*/ 6087559 w 12192000"/>
              <a:gd name="connsiteY78" fmla="*/ 6215380 h 6858000"/>
              <a:gd name="connsiteX79" fmla="*/ 6134780 w 12192000"/>
              <a:gd name="connsiteY79" fmla="*/ 6221610 h 6858000"/>
              <a:gd name="connsiteX80" fmla="*/ 6136833 w 12192000"/>
              <a:gd name="connsiteY80" fmla="*/ 6221610 h 6858000"/>
              <a:gd name="connsiteX81" fmla="*/ 6190213 w 12192000"/>
              <a:gd name="connsiteY81" fmla="*/ 6169686 h 6858000"/>
              <a:gd name="connsiteX82" fmla="*/ 6223062 w 12192000"/>
              <a:gd name="connsiteY82" fmla="*/ 6040914 h 6858000"/>
              <a:gd name="connsiteX83" fmla="*/ 6235380 w 12192000"/>
              <a:gd name="connsiteY83" fmla="*/ 5999374 h 6858000"/>
              <a:gd name="connsiteX84" fmla="*/ 6239487 w 12192000"/>
              <a:gd name="connsiteY84" fmla="*/ 5978604 h 6858000"/>
              <a:gd name="connsiteX85" fmla="*/ 6237434 w 12192000"/>
              <a:gd name="connsiteY85" fmla="*/ 5972374 h 6858000"/>
              <a:gd name="connsiteX86" fmla="*/ 6233327 w 12192000"/>
              <a:gd name="connsiteY86" fmla="*/ 5970296 h 6858000"/>
              <a:gd name="connsiteX87" fmla="*/ 6204584 w 12192000"/>
              <a:gd name="connsiteY87" fmla="*/ 5970296 h 6858000"/>
              <a:gd name="connsiteX88" fmla="*/ 6198425 w 12192000"/>
              <a:gd name="connsiteY88" fmla="*/ 5974451 h 6858000"/>
              <a:gd name="connsiteX89" fmla="*/ 6161469 w 12192000"/>
              <a:gd name="connsiteY89" fmla="*/ 6115685 h 6858000"/>
              <a:gd name="connsiteX90" fmla="*/ 6159417 w 12192000"/>
              <a:gd name="connsiteY90" fmla="*/ 6115685 h 6858000"/>
              <a:gd name="connsiteX91" fmla="*/ 6120408 w 12192000"/>
              <a:gd name="connsiteY91" fmla="*/ 5974451 h 6858000"/>
              <a:gd name="connsiteX92" fmla="*/ 6114249 w 12192000"/>
              <a:gd name="connsiteY92" fmla="*/ 5970296 h 6858000"/>
              <a:gd name="connsiteX93" fmla="*/ 6087559 w 12192000"/>
              <a:gd name="connsiteY93" fmla="*/ 5970296 h 6858000"/>
              <a:gd name="connsiteX94" fmla="*/ 6047787 w 12192000"/>
              <a:gd name="connsiteY94" fmla="*/ 5967959 h 6858000"/>
              <a:gd name="connsiteX95" fmla="*/ 5998692 w 12192000"/>
              <a:gd name="connsiteY95" fmla="*/ 5988768 h 6858000"/>
              <a:gd name="connsiteX96" fmla="*/ 5998692 w 12192000"/>
              <a:gd name="connsiteY96" fmla="*/ 5976283 h 6858000"/>
              <a:gd name="connsiteX97" fmla="*/ 5992556 w 12192000"/>
              <a:gd name="connsiteY97" fmla="*/ 5970040 h 6858000"/>
              <a:gd name="connsiteX98" fmla="*/ 5963918 w 12192000"/>
              <a:gd name="connsiteY98" fmla="*/ 5970040 h 6858000"/>
              <a:gd name="connsiteX99" fmla="*/ 5957781 w 12192000"/>
              <a:gd name="connsiteY99" fmla="*/ 5976283 h 6858000"/>
              <a:gd name="connsiteX100" fmla="*/ 5957781 w 12192000"/>
              <a:gd name="connsiteY100" fmla="*/ 6151078 h 6858000"/>
              <a:gd name="connsiteX101" fmla="*/ 5963918 w 12192000"/>
              <a:gd name="connsiteY101" fmla="*/ 6157321 h 6858000"/>
              <a:gd name="connsiteX102" fmla="*/ 5992556 w 12192000"/>
              <a:gd name="connsiteY102" fmla="*/ 6157321 h 6858000"/>
              <a:gd name="connsiteX103" fmla="*/ 5998692 w 12192000"/>
              <a:gd name="connsiteY103" fmla="*/ 6151078 h 6858000"/>
              <a:gd name="connsiteX104" fmla="*/ 5998692 w 12192000"/>
              <a:gd name="connsiteY104" fmla="*/ 6030386 h 6858000"/>
              <a:gd name="connsiteX105" fmla="*/ 6049832 w 12192000"/>
              <a:gd name="connsiteY105" fmla="*/ 6007496 h 6858000"/>
              <a:gd name="connsiteX106" fmla="*/ 6055969 w 12192000"/>
              <a:gd name="connsiteY106" fmla="*/ 6001253 h 6858000"/>
              <a:gd name="connsiteX107" fmla="*/ 6055969 w 12192000"/>
              <a:gd name="connsiteY107" fmla="*/ 5974202 h 6858000"/>
              <a:gd name="connsiteX108" fmla="*/ 6053923 w 12192000"/>
              <a:gd name="connsiteY108" fmla="*/ 5970040 h 6858000"/>
              <a:gd name="connsiteX109" fmla="*/ 6047787 w 12192000"/>
              <a:gd name="connsiteY109" fmla="*/ 5967959 h 6858000"/>
              <a:gd name="connsiteX110" fmla="*/ 5846879 w 12192000"/>
              <a:gd name="connsiteY110" fmla="*/ 5964452 h 6858000"/>
              <a:gd name="connsiteX111" fmla="*/ 5776523 w 12192000"/>
              <a:gd name="connsiteY111" fmla="*/ 5972770 h 6858000"/>
              <a:gd name="connsiteX112" fmla="*/ 5770315 w 12192000"/>
              <a:gd name="connsiteY112" fmla="*/ 5979008 h 6858000"/>
              <a:gd name="connsiteX113" fmla="*/ 5772384 w 12192000"/>
              <a:gd name="connsiteY113" fmla="*/ 6003961 h 6858000"/>
              <a:gd name="connsiteX114" fmla="*/ 5774454 w 12192000"/>
              <a:gd name="connsiteY114" fmla="*/ 6008120 h 6858000"/>
              <a:gd name="connsiteX115" fmla="*/ 5778592 w 12192000"/>
              <a:gd name="connsiteY115" fmla="*/ 6010199 h 6858000"/>
              <a:gd name="connsiteX116" fmla="*/ 5844809 w 12192000"/>
              <a:gd name="connsiteY116" fmla="*/ 6006040 h 6858000"/>
              <a:gd name="connsiteX117" fmla="*/ 5867571 w 12192000"/>
              <a:gd name="connsiteY117" fmla="*/ 6028914 h 6858000"/>
              <a:gd name="connsiteX118" fmla="*/ 5867571 w 12192000"/>
              <a:gd name="connsiteY118" fmla="*/ 6041390 h 6858000"/>
              <a:gd name="connsiteX119" fmla="*/ 5822047 w 12192000"/>
              <a:gd name="connsiteY119" fmla="*/ 6045549 h 6858000"/>
              <a:gd name="connsiteX120" fmla="*/ 5757900 w 12192000"/>
              <a:gd name="connsiteY120" fmla="*/ 6101693 h 6858000"/>
              <a:gd name="connsiteX121" fmla="*/ 5813770 w 12192000"/>
              <a:gd name="connsiteY121" fmla="*/ 6161996 h 6858000"/>
              <a:gd name="connsiteX122" fmla="*/ 5873779 w 12192000"/>
              <a:gd name="connsiteY122" fmla="*/ 6149520 h 6858000"/>
              <a:gd name="connsiteX123" fmla="*/ 5902750 w 12192000"/>
              <a:gd name="connsiteY123" fmla="*/ 6161996 h 6858000"/>
              <a:gd name="connsiteX124" fmla="*/ 5908957 w 12192000"/>
              <a:gd name="connsiteY124" fmla="*/ 6159917 h 6858000"/>
              <a:gd name="connsiteX125" fmla="*/ 5911026 w 12192000"/>
              <a:gd name="connsiteY125" fmla="*/ 6153679 h 6858000"/>
              <a:gd name="connsiteX126" fmla="*/ 5911026 w 12192000"/>
              <a:gd name="connsiteY126" fmla="*/ 6028914 h 6858000"/>
              <a:gd name="connsiteX127" fmla="*/ 5846879 w 12192000"/>
              <a:gd name="connsiteY127" fmla="*/ 5964452 h 6858000"/>
              <a:gd name="connsiteX128" fmla="*/ 5518274 w 12192000"/>
              <a:gd name="connsiteY128" fmla="*/ 5964452 h 6858000"/>
              <a:gd name="connsiteX129" fmla="*/ 5434114 w 12192000"/>
              <a:gd name="connsiteY129" fmla="*/ 6063224 h 6858000"/>
              <a:gd name="connsiteX130" fmla="*/ 5518274 w 12192000"/>
              <a:gd name="connsiteY130" fmla="*/ 6161996 h 6858000"/>
              <a:gd name="connsiteX131" fmla="*/ 5602435 w 12192000"/>
              <a:gd name="connsiteY131" fmla="*/ 6063224 h 6858000"/>
              <a:gd name="connsiteX132" fmla="*/ 5518274 w 12192000"/>
              <a:gd name="connsiteY132" fmla="*/ 5964452 h 6858000"/>
              <a:gd name="connsiteX133" fmla="*/ 5302320 w 12192000"/>
              <a:gd name="connsiteY133" fmla="*/ 5938736 h 6858000"/>
              <a:gd name="connsiteX134" fmla="*/ 5318685 w 12192000"/>
              <a:gd name="connsiteY134" fmla="*/ 5938736 h 6858000"/>
              <a:gd name="connsiteX135" fmla="*/ 5361642 w 12192000"/>
              <a:gd name="connsiteY135" fmla="*/ 5978478 h 6858000"/>
              <a:gd name="connsiteX136" fmla="*/ 5316640 w 12192000"/>
              <a:gd name="connsiteY136" fmla="*/ 6016129 h 6858000"/>
              <a:gd name="connsiteX137" fmla="*/ 5271637 w 12192000"/>
              <a:gd name="connsiteY137" fmla="*/ 6016129 h 6858000"/>
              <a:gd name="connsiteX138" fmla="*/ 5271637 w 12192000"/>
              <a:gd name="connsiteY138" fmla="*/ 5940828 h 6858000"/>
              <a:gd name="connsiteX139" fmla="*/ 5302320 w 12192000"/>
              <a:gd name="connsiteY139" fmla="*/ 5938736 h 6858000"/>
              <a:gd name="connsiteX140" fmla="*/ 5678557 w 12192000"/>
              <a:gd name="connsiteY140" fmla="*/ 5927047 h 6858000"/>
              <a:gd name="connsiteX141" fmla="*/ 5649847 w 12192000"/>
              <a:gd name="connsiteY141" fmla="*/ 5933291 h 6858000"/>
              <a:gd name="connsiteX142" fmla="*/ 5643695 w 12192000"/>
              <a:gd name="connsiteY142" fmla="*/ 5939535 h 6858000"/>
              <a:gd name="connsiteX143" fmla="*/ 5643695 w 12192000"/>
              <a:gd name="connsiteY143" fmla="*/ 5970757 h 6858000"/>
              <a:gd name="connsiteX144" fmla="*/ 5627290 w 12192000"/>
              <a:gd name="connsiteY144" fmla="*/ 5970757 h 6858000"/>
              <a:gd name="connsiteX145" fmla="*/ 5621138 w 12192000"/>
              <a:gd name="connsiteY145" fmla="*/ 5977002 h 6858000"/>
              <a:gd name="connsiteX146" fmla="*/ 5621138 w 12192000"/>
              <a:gd name="connsiteY146" fmla="*/ 6001980 h 6858000"/>
              <a:gd name="connsiteX147" fmla="*/ 5627290 w 12192000"/>
              <a:gd name="connsiteY147" fmla="*/ 6008224 h 6858000"/>
              <a:gd name="connsiteX148" fmla="*/ 5643695 w 12192000"/>
              <a:gd name="connsiteY148" fmla="*/ 6008224 h 6858000"/>
              <a:gd name="connsiteX149" fmla="*/ 5643695 w 12192000"/>
              <a:gd name="connsiteY149" fmla="*/ 6091483 h 6858000"/>
              <a:gd name="connsiteX150" fmla="*/ 5699064 w 12192000"/>
              <a:gd name="connsiteY150" fmla="*/ 6164334 h 6858000"/>
              <a:gd name="connsiteX151" fmla="*/ 5731875 w 12192000"/>
              <a:gd name="connsiteY151" fmla="*/ 6160171 h 6858000"/>
              <a:gd name="connsiteX152" fmla="*/ 5738028 w 12192000"/>
              <a:gd name="connsiteY152" fmla="*/ 6151845 h 6858000"/>
              <a:gd name="connsiteX153" fmla="*/ 5735977 w 12192000"/>
              <a:gd name="connsiteY153" fmla="*/ 6128949 h 6858000"/>
              <a:gd name="connsiteX154" fmla="*/ 5729824 w 12192000"/>
              <a:gd name="connsiteY154" fmla="*/ 6120623 h 6858000"/>
              <a:gd name="connsiteX155" fmla="*/ 5705217 w 12192000"/>
              <a:gd name="connsiteY155" fmla="*/ 6122705 h 6858000"/>
              <a:gd name="connsiteX156" fmla="*/ 5686761 w 12192000"/>
              <a:gd name="connsiteY156" fmla="*/ 6085238 h 6858000"/>
              <a:gd name="connsiteX157" fmla="*/ 5686761 w 12192000"/>
              <a:gd name="connsiteY157" fmla="*/ 6008224 h 6858000"/>
              <a:gd name="connsiteX158" fmla="*/ 5729824 w 12192000"/>
              <a:gd name="connsiteY158" fmla="*/ 6008224 h 6858000"/>
              <a:gd name="connsiteX159" fmla="*/ 5735977 w 12192000"/>
              <a:gd name="connsiteY159" fmla="*/ 6001980 h 6858000"/>
              <a:gd name="connsiteX160" fmla="*/ 5735977 w 12192000"/>
              <a:gd name="connsiteY160" fmla="*/ 5977002 h 6858000"/>
              <a:gd name="connsiteX161" fmla="*/ 5729824 w 12192000"/>
              <a:gd name="connsiteY161" fmla="*/ 5970757 h 6858000"/>
              <a:gd name="connsiteX162" fmla="*/ 5686761 w 12192000"/>
              <a:gd name="connsiteY162" fmla="*/ 5970757 h 6858000"/>
              <a:gd name="connsiteX163" fmla="*/ 5686761 w 12192000"/>
              <a:gd name="connsiteY163" fmla="*/ 5933291 h 6858000"/>
              <a:gd name="connsiteX164" fmla="*/ 5684709 w 12192000"/>
              <a:gd name="connsiteY164" fmla="*/ 5927047 h 6858000"/>
              <a:gd name="connsiteX165" fmla="*/ 5678557 w 12192000"/>
              <a:gd name="connsiteY165" fmla="*/ 5927047 h 6858000"/>
              <a:gd name="connsiteX166" fmla="*/ 5312653 w 12192000"/>
              <a:gd name="connsiteY166" fmla="*/ 5897825 h 6858000"/>
              <a:gd name="connsiteX167" fmla="*/ 5232236 w 12192000"/>
              <a:gd name="connsiteY167" fmla="*/ 5901977 h 6858000"/>
              <a:gd name="connsiteX168" fmla="*/ 5226049 w 12192000"/>
              <a:gd name="connsiteY168" fmla="*/ 5910281 h 6858000"/>
              <a:gd name="connsiteX169" fmla="*/ 5226049 w 12192000"/>
              <a:gd name="connsiteY169" fmla="*/ 6151093 h 6858000"/>
              <a:gd name="connsiteX170" fmla="*/ 5234297 w 12192000"/>
              <a:gd name="connsiteY170" fmla="*/ 6157321 h 6858000"/>
              <a:gd name="connsiteX171" fmla="*/ 5263165 w 12192000"/>
              <a:gd name="connsiteY171" fmla="*/ 6157321 h 6858000"/>
              <a:gd name="connsiteX172" fmla="*/ 5271414 w 12192000"/>
              <a:gd name="connsiteY172" fmla="*/ 6151093 h 6858000"/>
              <a:gd name="connsiteX173" fmla="*/ 5271414 w 12192000"/>
              <a:gd name="connsiteY173" fmla="*/ 6055599 h 6858000"/>
              <a:gd name="connsiteX174" fmla="*/ 5320901 w 12192000"/>
              <a:gd name="connsiteY174" fmla="*/ 6057674 h 6858000"/>
              <a:gd name="connsiteX175" fmla="*/ 5362142 w 12192000"/>
              <a:gd name="connsiteY175" fmla="*/ 6153168 h 6858000"/>
              <a:gd name="connsiteX176" fmla="*/ 5368327 w 12192000"/>
              <a:gd name="connsiteY176" fmla="*/ 6157321 h 6858000"/>
              <a:gd name="connsiteX177" fmla="*/ 5401320 w 12192000"/>
              <a:gd name="connsiteY177" fmla="*/ 6157321 h 6858000"/>
              <a:gd name="connsiteX178" fmla="*/ 5407505 w 12192000"/>
              <a:gd name="connsiteY178" fmla="*/ 6155245 h 6858000"/>
              <a:gd name="connsiteX179" fmla="*/ 5409567 w 12192000"/>
              <a:gd name="connsiteY179" fmla="*/ 6149017 h 6858000"/>
              <a:gd name="connsiteX180" fmla="*/ 5362142 w 12192000"/>
              <a:gd name="connsiteY180" fmla="*/ 6045219 h 6858000"/>
              <a:gd name="connsiteX181" fmla="*/ 5407505 w 12192000"/>
              <a:gd name="connsiteY181" fmla="*/ 5976711 h 6858000"/>
              <a:gd name="connsiteX182" fmla="*/ 5318839 w 12192000"/>
              <a:gd name="connsiteY182" fmla="*/ 5897825 h 6858000"/>
              <a:gd name="connsiteX183" fmla="*/ 5312653 w 12192000"/>
              <a:gd name="connsiteY183" fmla="*/ 5897825 h 6858000"/>
              <a:gd name="connsiteX184" fmla="*/ 6675208 w 12192000"/>
              <a:gd name="connsiteY184" fmla="*/ 5864819 h 6858000"/>
              <a:gd name="connsiteX185" fmla="*/ 6683451 w 12192000"/>
              <a:gd name="connsiteY185" fmla="*/ 5864819 h 6858000"/>
              <a:gd name="connsiteX186" fmla="*/ 6790593 w 12192000"/>
              <a:gd name="connsiteY186" fmla="*/ 5926632 h 6858000"/>
              <a:gd name="connsiteX187" fmla="*/ 6794714 w 12192000"/>
              <a:gd name="connsiteY187" fmla="*/ 5932813 h 6858000"/>
              <a:gd name="connsiteX188" fmla="*/ 6786472 w 12192000"/>
              <a:gd name="connsiteY188" fmla="*/ 5938994 h 6858000"/>
              <a:gd name="connsiteX189" fmla="*/ 6695813 w 12192000"/>
              <a:gd name="connsiteY189" fmla="*/ 5982263 h 6858000"/>
              <a:gd name="connsiteX190" fmla="*/ 6685511 w 12192000"/>
              <a:gd name="connsiteY190" fmla="*/ 5984323 h 6858000"/>
              <a:gd name="connsiteX191" fmla="*/ 6681390 w 12192000"/>
              <a:gd name="connsiteY191" fmla="*/ 5974021 h 6858000"/>
              <a:gd name="connsiteX192" fmla="*/ 6673148 w 12192000"/>
              <a:gd name="connsiteY192" fmla="*/ 5873060 h 6858000"/>
              <a:gd name="connsiteX193" fmla="*/ 6675208 w 12192000"/>
              <a:gd name="connsiteY193" fmla="*/ 5864819 h 6858000"/>
              <a:gd name="connsiteX194" fmla="*/ 6617873 w 12192000"/>
              <a:gd name="connsiteY194" fmla="*/ 5864048 h 6858000"/>
              <a:gd name="connsiteX195" fmla="*/ 6621994 w 12192000"/>
              <a:gd name="connsiteY195" fmla="*/ 5864823 h 6858000"/>
              <a:gd name="connsiteX196" fmla="*/ 6624054 w 12192000"/>
              <a:gd name="connsiteY196" fmla="*/ 5875148 h 6858000"/>
              <a:gd name="connsiteX197" fmla="*/ 6615813 w 12192000"/>
              <a:gd name="connsiteY197" fmla="*/ 5976336 h 6858000"/>
              <a:gd name="connsiteX198" fmla="*/ 6611692 w 12192000"/>
              <a:gd name="connsiteY198" fmla="*/ 5984596 h 6858000"/>
              <a:gd name="connsiteX199" fmla="*/ 6601390 w 12192000"/>
              <a:gd name="connsiteY199" fmla="*/ 5984596 h 6858000"/>
              <a:gd name="connsiteX200" fmla="*/ 6510730 w 12192000"/>
              <a:gd name="connsiteY200" fmla="*/ 5939165 h 6858000"/>
              <a:gd name="connsiteX201" fmla="*/ 6502489 w 12192000"/>
              <a:gd name="connsiteY201" fmla="*/ 5932970 h 6858000"/>
              <a:gd name="connsiteX202" fmla="*/ 6506610 w 12192000"/>
              <a:gd name="connsiteY202" fmla="*/ 5926774 h 6858000"/>
              <a:gd name="connsiteX203" fmla="*/ 6613752 w 12192000"/>
              <a:gd name="connsiteY203" fmla="*/ 5864823 h 6858000"/>
              <a:gd name="connsiteX204" fmla="*/ 6617873 w 12192000"/>
              <a:gd name="connsiteY204" fmla="*/ 5864048 h 6858000"/>
              <a:gd name="connsiteX205" fmla="*/ 6649186 w 12192000"/>
              <a:gd name="connsiteY205" fmla="*/ 5828859 h 6858000"/>
              <a:gd name="connsiteX206" fmla="*/ 6432355 w 12192000"/>
              <a:gd name="connsiteY206" fmla="*/ 6048029 h 6858000"/>
              <a:gd name="connsiteX207" fmla="*/ 6649186 w 12192000"/>
              <a:gd name="connsiteY207" fmla="*/ 6267198 h 6858000"/>
              <a:gd name="connsiteX208" fmla="*/ 6866018 w 12192000"/>
              <a:gd name="connsiteY208" fmla="*/ 6048029 h 6858000"/>
              <a:gd name="connsiteX209" fmla="*/ 6649186 w 12192000"/>
              <a:gd name="connsiteY209" fmla="*/ 5828859 h 6858000"/>
              <a:gd name="connsiteX210" fmla="*/ 6648602 w 12192000"/>
              <a:gd name="connsiteY210" fmla="*/ 5797300 h 6858000"/>
              <a:gd name="connsiteX211" fmla="*/ 6895240 w 12192000"/>
              <a:gd name="connsiteY211" fmla="*/ 6046861 h 6858000"/>
              <a:gd name="connsiteX212" fmla="*/ 6648602 w 12192000"/>
              <a:gd name="connsiteY212" fmla="*/ 6296422 h 6858000"/>
              <a:gd name="connsiteX213" fmla="*/ 6401963 w 12192000"/>
              <a:gd name="connsiteY213" fmla="*/ 6046861 h 6858000"/>
              <a:gd name="connsiteX214" fmla="*/ 6648602 w 12192000"/>
              <a:gd name="connsiteY214" fmla="*/ 5797300 h 6858000"/>
              <a:gd name="connsiteX215" fmla="*/ 6635678 w 12192000"/>
              <a:gd name="connsiteY215" fmla="*/ 5718724 h 6858000"/>
              <a:gd name="connsiteX216" fmla="*/ 6623339 w 12192000"/>
              <a:gd name="connsiteY216" fmla="*/ 5768607 h 6858000"/>
              <a:gd name="connsiteX217" fmla="*/ 6600717 w 12192000"/>
              <a:gd name="connsiteY217" fmla="*/ 5772764 h 6858000"/>
              <a:gd name="connsiteX218" fmla="*/ 6573982 w 12192000"/>
              <a:gd name="connsiteY218" fmla="*/ 5727038 h 6858000"/>
              <a:gd name="connsiteX219" fmla="*/ 6573982 w 12192000"/>
              <a:gd name="connsiteY219" fmla="*/ 5724959 h 6858000"/>
              <a:gd name="connsiteX220" fmla="*/ 6571926 w 12192000"/>
              <a:gd name="connsiteY220" fmla="*/ 5727038 h 6858000"/>
              <a:gd name="connsiteX221" fmla="*/ 6551360 w 12192000"/>
              <a:gd name="connsiteY221" fmla="*/ 5731195 h 6858000"/>
              <a:gd name="connsiteX222" fmla="*/ 6551360 w 12192000"/>
              <a:gd name="connsiteY222" fmla="*/ 5733273 h 6858000"/>
              <a:gd name="connsiteX223" fmla="*/ 6547247 w 12192000"/>
              <a:gd name="connsiteY223" fmla="*/ 5758215 h 6858000"/>
              <a:gd name="connsiteX224" fmla="*/ 6551360 w 12192000"/>
              <a:gd name="connsiteY224" fmla="*/ 5785235 h 6858000"/>
              <a:gd name="connsiteX225" fmla="*/ 6530795 w 12192000"/>
              <a:gd name="connsiteY225" fmla="*/ 5793548 h 6858000"/>
              <a:gd name="connsiteX226" fmla="*/ 6493777 w 12192000"/>
              <a:gd name="connsiteY226" fmla="*/ 5758215 h 6858000"/>
              <a:gd name="connsiteX227" fmla="*/ 6493777 w 12192000"/>
              <a:gd name="connsiteY227" fmla="*/ 5756136 h 6858000"/>
              <a:gd name="connsiteX228" fmla="*/ 6491721 w 12192000"/>
              <a:gd name="connsiteY228" fmla="*/ 5756136 h 6858000"/>
              <a:gd name="connsiteX229" fmla="*/ 6473212 w 12192000"/>
              <a:gd name="connsiteY229" fmla="*/ 5768607 h 6858000"/>
              <a:gd name="connsiteX230" fmla="*/ 6473212 w 12192000"/>
              <a:gd name="connsiteY230" fmla="*/ 5770685 h 6858000"/>
              <a:gd name="connsiteX231" fmla="*/ 6485551 w 12192000"/>
              <a:gd name="connsiteY231" fmla="*/ 5820568 h 6858000"/>
              <a:gd name="connsiteX232" fmla="*/ 6469099 w 12192000"/>
              <a:gd name="connsiteY232" fmla="*/ 5833039 h 6858000"/>
              <a:gd name="connsiteX233" fmla="*/ 6425911 w 12192000"/>
              <a:gd name="connsiteY233" fmla="*/ 5806019 h 6858000"/>
              <a:gd name="connsiteX234" fmla="*/ 6423855 w 12192000"/>
              <a:gd name="connsiteY234" fmla="*/ 5806019 h 6858000"/>
              <a:gd name="connsiteX235" fmla="*/ 6423855 w 12192000"/>
              <a:gd name="connsiteY235" fmla="*/ 5808097 h 6858000"/>
              <a:gd name="connsiteX236" fmla="*/ 6407402 w 12192000"/>
              <a:gd name="connsiteY236" fmla="*/ 5822647 h 6858000"/>
              <a:gd name="connsiteX237" fmla="*/ 6407402 w 12192000"/>
              <a:gd name="connsiteY237" fmla="*/ 5824725 h 6858000"/>
              <a:gd name="connsiteX238" fmla="*/ 6434138 w 12192000"/>
              <a:gd name="connsiteY238" fmla="*/ 5870451 h 6858000"/>
              <a:gd name="connsiteX239" fmla="*/ 6419742 w 12192000"/>
              <a:gd name="connsiteY239" fmla="*/ 5887079 h 6858000"/>
              <a:gd name="connsiteX240" fmla="*/ 6370385 w 12192000"/>
              <a:gd name="connsiteY240" fmla="*/ 5874608 h 6858000"/>
              <a:gd name="connsiteX241" fmla="*/ 6368328 w 12192000"/>
              <a:gd name="connsiteY241" fmla="*/ 5874608 h 6858000"/>
              <a:gd name="connsiteX242" fmla="*/ 6358046 w 12192000"/>
              <a:gd name="connsiteY242" fmla="*/ 5893314 h 6858000"/>
              <a:gd name="connsiteX243" fmla="*/ 6358046 w 12192000"/>
              <a:gd name="connsiteY243" fmla="*/ 5895393 h 6858000"/>
              <a:gd name="connsiteX244" fmla="*/ 6395063 w 12192000"/>
              <a:gd name="connsiteY244" fmla="*/ 5932805 h 6858000"/>
              <a:gd name="connsiteX245" fmla="*/ 6386837 w 12192000"/>
              <a:gd name="connsiteY245" fmla="*/ 5951511 h 6858000"/>
              <a:gd name="connsiteX246" fmla="*/ 6335424 w 12192000"/>
              <a:gd name="connsiteY246" fmla="*/ 5951511 h 6858000"/>
              <a:gd name="connsiteX247" fmla="*/ 6333367 w 12192000"/>
              <a:gd name="connsiteY247" fmla="*/ 5951511 h 6858000"/>
              <a:gd name="connsiteX248" fmla="*/ 6333367 w 12192000"/>
              <a:gd name="connsiteY248" fmla="*/ 5953589 h 6858000"/>
              <a:gd name="connsiteX249" fmla="*/ 6327198 w 12192000"/>
              <a:gd name="connsiteY249" fmla="*/ 5974373 h 6858000"/>
              <a:gd name="connsiteX250" fmla="*/ 6329254 w 12192000"/>
              <a:gd name="connsiteY250" fmla="*/ 5976452 h 6858000"/>
              <a:gd name="connsiteX251" fmla="*/ 6372441 w 12192000"/>
              <a:gd name="connsiteY251" fmla="*/ 6001393 h 6858000"/>
              <a:gd name="connsiteX252" fmla="*/ 6370385 w 12192000"/>
              <a:gd name="connsiteY252" fmla="*/ 6024257 h 6858000"/>
              <a:gd name="connsiteX253" fmla="*/ 6321028 w 12192000"/>
              <a:gd name="connsiteY253" fmla="*/ 6036728 h 6858000"/>
              <a:gd name="connsiteX254" fmla="*/ 6318972 w 12192000"/>
              <a:gd name="connsiteY254" fmla="*/ 6036728 h 6858000"/>
              <a:gd name="connsiteX255" fmla="*/ 6318972 w 12192000"/>
              <a:gd name="connsiteY255" fmla="*/ 6038805 h 6858000"/>
              <a:gd name="connsiteX256" fmla="*/ 6318972 w 12192000"/>
              <a:gd name="connsiteY256" fmla="*/ 6049198 h 6858000"/>
              <a:gd name="connsiteX257" fmla="*/ 6318972 w 12192000"/>
              <a:gd name="connsiteY257" fmla="*/ 6059590 h 6858000"/>
              <a:gd name="connsiteX258" fmla="*/ 6318972 w 12192000"/>
              <a:gd name="connsiteY258" fmla="*/ 6061669 h 6858000"/>
              <a:gd name="connsiteX259" fmla="*/ 6321028 w 12192000"/>
              <a:gd name="connsiteY259" fmla="*/ 6061669 h 6858000"/>
              <a:gd name="connsiteX260" fmla="*/ 6370385 w 12192000"/>
              <a:gd name="connsiteY260" fmla="*/ 6074140 h 6858000"/>
              <a:gd name="connsiteX261" fmla="*/ 6374498 w 12192000"/>
              <a:gd name="connsiteY261" fmla="*/ 6097002 h 6858000"/>
              <a:gd name="connsiteX262" fmla="*/ 6329254 w 12192000"/>
              <a:gd name="connsiteY262" fmla="*/ 6124022 h 6858000"/>
              <a:gd name="connsiteX263" fmla="*/ 6327198 w 12192000"/>
              <a:gd name="connsiteY263" fmla="*/ 6124022 h 6858000"/>
              <a:gd name="connsiteX264" fmla="*/ 6327198 w 12192000"/>
              <a:gd name="connsiteY264" fmla="*/ 6126101 h 6858000"/>
              <a:gd name="connsiteX265" fmla="*/ 6333367 w 12192000"/>
              <a:gd name="connsiteY265" fmla="*/ 6146886 h 6858000"/>
              <a:gd name="connsiteX266" fmla="*/ 6335424 w 12192000"/>
              <a:gd name="connsiteY266" fmla="*/ 6146886 h 6858000"/>
              <a:gd name="connsiteX267" fmla="*/ 6386837 w 12192000"/>
              <a:gd name="connsiteY267" fmla="*/ 6146886 h 6858000"/>
              <a:gd name="connsiteX268" fmla="*/ 6395063 w 12192000"/>
              <a:gd name="connsiteY268" fmla="*/ 6167669 h 6858000"/>
              <a:gd name="connsiteX269" fmla="*/ 6358046 w 12192000"/>
              <a:gd name="connsiteY269" fmla="*/ 6205082 h 6858000"/>
              <a:gd name="connsiteX270" fmla="*/ 6358046 w 12192000"/>
              <a:gd name="connsiteY270" fmla="*/ 6207160 h 6858000"/>
              <a:gd name="connsiteX271" fmla="*/ 6370385 w 12192000"/>
              <a:gd name="connsiteY271" fmla="*/ 6225866 h 6858000"/>
              <a:gd name="connsiteX272" fmla="*/ 6421798 w 12192000"/>
              <a:gd name="connsiteY272" fmla="*/ 6211318 h 6858000"/>
              <a:gd name="connsiteX273" fmla="*/ 6434138 w 12192000"/>
              <a:gd name="connsiteY273" fmla="*/ 6230024 h 6858000"/>
              <a:gd name="connsiteX274" fmla="*/ 6407402 w 12192000"/>
              <a:gd name="connsiteY274" fmla="*/ 6275750 h 6858000"/>
              <a:gd name="connsiteX275" fmla="*/ 6409459 w 12192000"/>
              <a:gd name="connsiteY275" fmla="*/ 6277827 h 6858000"/>
              <a:gd name="connsiteX276" fmla="*/ 6423855 w 12192000"/>
              <a:gd name="connsiteY276" fmla="*/ 6292377 h 6858000"/>
              <a:gd name="connsiteX277" fmla="*/ 6425911 w 12192000"/>
              <a:gd name="connsiteY277" fmla="*/ 6292377 h 6858000"/>
              <a:gd name="connsiteX278" fmla="*/ 6471156 w 12192000"/>
              <a:gd name="connsiteY278" fmla="*/ 6265357 h 6858000"/>
              <a:gd name="connsiteX279" fmla="*/ 6487608 w 12192000"/>
              <a:gd name="connsiteY279" fmla="*/ 6279906 h 6858000"/>
              <a:gd name="connsiteX280" fmla="*/ 6475269 w 12192000"/>
              <a:gd name="connsiteY280" fmla="*/ 6329789 h 6858000"/>
              <a:gd name="connsiteX281" fmla="*/ 6475269 w 12192000"/>
              <a:gd name="connsiteY281" fmla="*/ 6331868 h 6858000"/>
              <a:gd name="connsiteX282" fmla="*/ 6493777 w 12192000"/>
              <a:gd name="connsiteY282" fmla="*/ 6342259 h 6858000"/>
              <a:gd name="connsiteX283" fmla="*/ 6493777 w 12192000"/>
              <a:gd name="connsiteY283" fmla="*/ 6344338 h 6858000"/>
              <a:gd name="connsiteX284" fmla="*/ 6495834 w 12192000"/>
              <a:gd name="connsiteY284" fmla="*/ 6342259 h 6858000"/>
              <a:gd name="connsiteX285" fmla="*/ 6532851 w 12192000"/>
              <a:gd name="connsiteY285" fmla="*/ 6304848 h 6858000"/>
              <a:gd name="connsiteX286" fmla="*/ 6551360 w 12192000"/>
              <a:gd name="connsiteY286" fmla="*/ 6313162 h 6858000"/>
              <a:gd name="connsiteX287" fmla="*/ 6549304 w 12192000"/>
              <a:gd name="connsiteY287" fmla="*/ 6340182 h 6858000"/>
              <a:gd name="connsiteX288" fmla="*/ 6551360 w 12192000"/>
              <a:gd name="connsiteY288" fmla="*/ 6365123 h 6858000"/>
              <a:gd name="connsiteX289" fmla="*/ 6551360 w 12192000"/>
              <a:gd name="connsiteY289" fmla="*/ 6367201 h 6858000"/>
              <a:gd name="connsiteX290" fmla="*/ 6553417 w 12192000"/>
              <a:gd name="connsiteY290" fmla="*/ 6367201 h 6858000"/>
              <a:gd name="connsiteX291" fmla="*/ 6573982 w 12192000"/>
              <a:gd name="connsiteY291" fmla="*/ 6373436 h 6858000"/>
              <a:gd name="connsiteX292" fmla="*/ 6576039 w 12192000"/>
              <a:gd name="connsiteY292" fmla="*/ 6373436 h 6858000"/>
              <a:gd name="connsiteX293" fmla="*/ 6600717 w 12192000"/>
              <a:gd name="connsiteY293" fmla="*/ 6327711 h 6858000"/>
              <a:gd name="connsiteX294" fmla="*/ 6623339 w 12192000"/>
              <a:gd name="connsiteY294" fmla="*/ 6329789 h 6858000"/>
              <a:gd name="connsiteX295" fmla="*/ 6635678 w 12192000"/>
              <a:gd name="connsiteY295" fmla="*/ 6381750 h 6858000"/>
              <a:gd name="connsiteX296" fmla="*/ 6637734 w 12192000"/>
              <a:gd name="connsiteY296" fmla="*/ 6381750 h 6858000"/>
              <a:gd name="connsiteX297" fmla="*/ 6658300 w 12192000"/>
              <a:gd name="connsiteY297" fmla="*/ 6381750 h 6858000"/>
              <a:gd name="connsiteX298" fmla="*/ 6660357 w 12192000"/>
              <a:gd name="connsiteY298" fmla="*/ 6381750 h 6858000"/>
              <a:gd name="connsiteX299" fmla="*/ 6674753 w 12192000"/>
              <a:gd name="connsiteY299" fmla="*/ 6329789 h 6858000"/>
              <a:gd name="connsiteX300" fmla="*/ 6695318 w 12192000"/>
              <a:gd name="connsiteY300" fmla="*/ 6327711 h 6858000"/>
              <a:gd name="connsiteX301" fmla="*/ 6722053 w 12192000"/>
              <a:gd name="connsiteY301" fmla="*/ 6373436 h 6858000"/>
              <a:gd name="connsiteX302" fmla="*/ 6742618 w 12192000"/>
              <a:gd name="connsiteY302" fmla="*/ 6367201 h 6858000"/>
              <a:gd name="connsiteX303" fmla="*/ 6744675 w 12192000"/>
              <a:gd name="connsiteY303" fmla="*/ 6367201 h 6858000"/>
              <a:gd name="connsiteX304" fmla="*/ 6746731 w 12192000"/>
              <a:gd name="connsiteY304" fmla="*/ 6340182 h 6858000"/>
              <a:gd name="connsiteX305" fmla="*/ 6744675 w 12192000"/>
              <a:gd name="connsiteY305" fmla="*/ 6313162 h 6858000"/>
              <a:gd name="connsiteX306" fmla="*/ 6765240 w 12192000"/>
              <a:gd name="connsiteY306" fmla="*/ 6304848 h 6858000"/>
              <a:gd name="connsiteX307" fmla="*/ 6802257 w 12192000"/>
              <a:gd name="connsiteY307" fmla="*/ 6342259 h 6858000"/>
              <a:gd name="connsiteX308" fmla="*/ 6820766 w 12192000"/>
              <a:gd name="connsiteY308" fmla="*/ 6331868 h 6858000"/>
              <a:gd name="connsiteX309" fmla="*/ 6822823 w 12192000"/>
              <a:gd name="connsiteY309" fmla="*/ 6329789 h 6858000"/>
              <a:gd name="connsiteX310" fmla="*/ 6822823 w 12192000"/>
              <a:gd name="connsiteY310" fmla="*/ 6327711 h 6858000"/>
              <a:gd name="connsiteX311" fmla="*/ 6808427 w 12192000"/>
              <a:gd name="connsiteY311" fmla="*/ 6279906 h 6858000"/>
              <a:gd name="connsiteX312" fmla="*/ 6824879 w 12192000"/>
              <a:gd name="connsiteY312" fmla="*/ 6265357 h 6858000"/>
              <a:gd name="connsiteX313" fmla="*/ 6870123 w 12192000"/>
              <a:gd name="connsiteY313" fmla="*/ 6292377 h 6858000"/>
              <a:gd name="connsiteX314" fmla="*/ 6872180 w 12192000"/>
              <a:gd name="connsiteY314" fmla="*/ 6292377 h 6858000"/>
              <a:gd name="connsiteX315" fmla="*/ 6886576 w 12192000"/>
              <a:gd name="connsiteY315" fmla="*/ 6275750 h 6858000"/>
              <a:gd name="connsiteX316" fmla="*/ 6888632 w 12192000"/>
              <a:gd name="connsiteY316" fmla="*/ 6275750 h 6858000"/>
              <a:gd name="connsiteX317" fmla="*/ 6861897 w 12192000"/>
              <a:gd name="connsiteY317" fmla="*/ 6230024 h 6858000"/>
              <a:gd name="connsiteX318" fmla="*/ 6874236 w 12192000"/>
              <a:gd name="connsiteY318" fmla="*/ 6211318 h 6858000"/>
              <a:gd name="connsiteX319" fmla="*/ 6925650 w 12192000"/>
              <a:gd name="connsiteY319" fmla="*/ 6225866 h 6858000"/>
              <a:gd name="connsiteX320" fmla="*/ 6927706 w 12192000"/>
              <a:gd name="connsiteY320" fmla="*/ 6223788 h 6858000"/>
              <a:gd name="connsiteX321" fmla="*/ 6937989 w 12192000"/>
              <a:gd name="connsiteY321" fmla="*/ 6205082 h 6858000"/>
              <a:gd name="connsiteX322" fmla="*/ 6937989 w 12192000"/>
              <a:gd name="connsiteY322" fmla="*/ 6203004 h 6858000"/>
              <a:gd name="connsiteX323" fmla="*/ 6900972 w 12192000"/>
              <a:gd name="connsiteY323" fmla="*/ 6167669 h 6858000"/>
              <a:gd name="connsiteX324" fmla="*/ 6909198 w 12192000"/>
              <a:gd name="connsiteY324" fmla="*/ 6146886 h 6858000"/>
              <a:gd name="connsiteX325" fmla="*/ 6960611 w 12192000"/>
              <a:gd name="connsiteY325" fmla="*/ 6146886 h 6858000"/>
              <a:gd name="connsiteX326" fmla="*/ 6962667 w 12192000"/>
              <a:gd name="connsiteY326" fmla="*/ 6146886 h 6858000"/>
              <a:gd name="connsiteX327" fmla="*/ 6966781 w 12192000"/>
              <a:gd name="connsiteY327" fmla="*/ 6126101 h 6858000"/>
              <a:gd name="connsiteX328" fmla="*/ 6966781 w 12192000"/>
              <a:gd name="connsiteY328" fmla="*/ 6124022 h 6858000"/>
              <a:gd name="connsiteX329" fmla="*/ 6921537 w 12192000"/>
              <a:gd name="connsiteY329" fmla="*/ 6097002 h 6858000"/>
              <a:gd name="connsiteX330" fmla="*/ 6925650 w 12192000"/>
              <a:gd name="connsiteY330" fmla="*/ 6076218 h 6858000"/>
              <a:gd name="connsiteX331" fmla="*/ 6975007 w 12192000"/>
              <a:gd name="connsiteY331" fmla="*/ 6061669 h 6858000"/>
              <a:gd name="connsiteX332" fmla="*/ 6977063 w 12192000"/>
              <a:gd name="connsiteY332" fmla="*/ 6061669 h 6858000"/>
              <a:gd name="connsiteX333" fmla="*/ 6977063 w 12192000"/>
              <a:gd name="connsiteY333" fmla="*/ 6049198 h 6858000"/>
              <a:gd name="connsiteX334" fmla="*/ 6977063 w 12192000"/>
              <a:gd name="connsiteY334" fmla="*/ 6038805 h 6858000"/>
              <a:gd name="connsiteX335" fmla="*/ 6975007 w 12192000"/>
              <a:gd name="connsiteY335" fmla="*/ 6038805 h 6858000"/>
              <a:gd name="connsiteX336" fmla="*/ 6925650 w 12192000"/>
              <a:gd name="connsiteY336" fmla="*/ 6024257 h 6858000"/>
              <a:gd name="connsiteX337" fmla="*/ 6923593 w 12192000"/>
              <a:gd name="connsiteY337" fmla="*/ 6003472 h 6858000"/>
              <a:gd name="connsiteX338" fmla="*/ 6966781 w 12192000"/>
              <a:gd name="connsiteY338" fmla="*/ 5976452 h 6858000"/>
              <a:gd name="connsiteX339" fmla="*/ 6968837 w 12192000"/>
              <a:gd name="connsiteY339" fmla="*/ 5976452 h 6858000"/>
              <a:gd name="connsiteX340" fmla="*/ 6968837 w 12192000"/>
              <a:gd name="connsiteY340" fmla="*/ 5974373 h 6858000"/>
              <a:gd name="connsiteX341" fmla="*/ 6962667 w 12192000"/>
              <a:gd name="connsiteY341" fmla="*/ 5953589 h 6858000"/>
              <a:gd name="connsiteX342" fmla="*/ 6960611 w 12192000"/>
              <a:gd name="connsiteY342" fmla="*/ 5953589 h 6858000"/>
              <a:gd name="connsiteX343" fmla="*/ 6909198 w 12192000"/>
              <a:gd name="connsiteY343" fmla="*/ 5953589 h 6858000"/>
              <a:gd name="connsiteX344" fmla="*/ 6900972 w 12192000"/>
              <a:gd name="connsiteY344" fmla="*/ 5932805 h 6858000"/>
              <a:gd name="connsiteX345" fmla="*/ 6937989 w 12192000"/>
              <a:gd name="connsiteY345" fmla="*/ 5895393 h 6858000"/>
              <a:gd name="connsiteX346" fmla="*/ 6937989 w 12192000"/>
              <a:gd name="connsiteY346" fmla="*/ 5893314 h 6858000"/>
              <a:gd name="connsiteX347" fmla="*/ 6927706 w 12192000"/>
              <a:gd name="connsiteY347" fmla="*/ 5874608 h 6858000"/>
              <a:gd name="connsiteX348" fmla="*/ 6925650 w 12192000"/>
              <a:gd name="connsiteY348" fmla="*/ 5874608 h 6858000"/>
              <a:gd name="connsiteX349" fmla="*/ 6876293 w 12192000"/>
              <a:gd name="connsiteY349" fmla="*/ 5887079 h 6858000"/>
              <a:gd name="connsiteX350" fmla="*/ 6861897 w 12192000"/>
              <a:gd name="connsiteY350" fmla="*/ 5870451 h 6858000"/>
              <a:gd name="connsiteX351" fmla="*/ 6888632 w 12192000"/>
              <a:gd name="connsiteY351" fmla="*/ 5824725 h 6858000"/>
              <a:gd name="connsiteX352" fmla="*/ 6888632 w 12192000"/>
              <a:gd name="connsiteY352" fmla="*/ 5822647 h 6858000"/>
              <a:gd name="connsiteX353" fmla="*/ 6872180 w 12192000"/>
              <a:gd name="connsiteY353" fmla="*/ 5808097 h 6858000"/>
              <a:gd name="connsiteX354" fmla="*/ 6826936 w 12192000"/>
              <a:gd name="connsiteY354" fmla="*/ 5833039 h 6858000"/>
              <a:gd name="connsiteX355" fmla="*/ 6808427 w 12192000"/>
              <a:gd name="connsiteY355" fmla="*/ 5820568 h 6858000"/>
              <a:gd name="connsiteX356" fmla="*/ 6822823 w 12192000"/>
              <a:gd name="connsiteY356" fmla="*/ 5770685 h 6858000"/>
              <a:gd name="connsiteX357" fmla="*/ 6822823 w 12192000"/>
              <a:gd name="connsiteY357" fmla="*/ 5768607 h 6858000"/>
              <a:gd name="connsiteX358" fmla="*/ 6804314 w 12192000"/>
              <a:gd name="connsiteY358" fmla="*/ 5758215 h 6858000"/>
              <a:gd name="connsiteX359" fmla="*/ 6802257 w 12192000"/>
              <a:gd name="connsiteY359" fmla="*/ 5756136 h 6858000"/>
              <a:gd name="connsiteX360" fmla="*/ 6802257 w 12192000"/>
              <a:gd name="connsiteY360" fmla="*/ 5758215 h 6858000"/>
              <a:gd name="connsiteX361" fmla="*/ 6765240 w 12192000"/>
              <a:gd name="connsiteY361" fmla="*/ 5793548 h 6858000"/>
              <a:gd name="connsiteX362" fmla="*/ 6744675 w 12192000"/>
              <a:gd name="connsiteY362" fmla="*/ 5785235 h 6858000"/>
              <a:gd name="connsiteX363" fmla="*/ 6748788 w 12192000"/>
              <a:gd name="connsiteY363" fmla="*/ 5758215 h 6858000"/>
              <a:gd name="connsiteX364" fmla="*/ 6744675 w 12192000"/>
              <a:gd name="connsiteY364" fmla="*/ 5733273 h 6858000"/>
              <a:gd name="connsiteX365" fmla="*/ 6744675 w 12192000"/>
              <a:gd name="connsiteY365" fmla="*/ 5731195 h 6858000"/>
              <a:gd name="connsiteX366" fmla="*/ 6742618 w 12192000"/>
              <a:gd name="connsiteY366" fmla="*/ 5731195 h 6858000"/>
              <a:gd name="connsiteX367" fmla="*/ 6722053 w 12192000"/>
              <a:gd name="connsiteY367" fmla="*/ 5727038 h 6858000"/>
              <a:gd name="connsiteX368" fmla="*/ 6695318 w 12192000"/>
              <a:gd name="connsiteY368" fmla="*/ 5772764 h 6858000"/>
              <a:gd name="connsiteX369" fmla="*/ 6672696 w 12192000"/>
              <a:gd name="connsiteY369" fmla="*/ 5768607 h 6858000"/>
              <a:gd name="connsiteX370" fmla="*/ 6660357 w 12192000"/>
              <a:gd name="connsiteY370" fmla="*/ 5718724 h 6858000"/>
              <a:gd name="connsiteX371" fmla="*/ 6658300 w 12192000"/>
              <a:gd name="connsiteY371" fmla="*/ 5718724 h 6858000"/>
              <a:gd name="connsiteX372" fmla="*/ 6637734 w 12192000"/>
              <a:gd name="connsiteY372" fmla="*/ 5718724 h 6858000"/>
              <a:gd name="connsiteX373" fmla="*/ 6635678 w 12192000"/>
              <a:gd name="connsiteY373" fmla="*/ 5718724 h 6858000"/>
              <a:gd name="connsiteX374" fmla="*/ 0 w 12192000"/>
              <a:gd name="connsiteY374" fmla="*/ 0 h 6858000"/>
              <a:gd name="connsiteX375" fmla="*/ 12192000 w 12192000"/>
              <a:gd name="connsiteY375" fmla="*/ 0 h 6858000"/>
              <a:gd name="connsiteX376" fmla="*/ 12192000 w 12192000"/>
              <a:gd name="connsiteY376" fmla="*/ 6858000 h 6858000"/>
              <a:gd name="connsiteX377" fmla="*/ 4539049 w 12192000"/>
              <a:gd name="connsiteY377" fmla="*/ 6858000 h 6858000"/>
              <a:gd name="connsiteX378" fmla="*/ 0 w 12192000"/>
              <a:gd name="connsiteY378" fmla="*/ 6858000 h 6858000"/>
              <a:gd name="connsiteX379" fmla="*/ 0 w 12192000"/>
              <a:gd name="connsiteY379"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12192000" h="6858000">
                <a:moveTo>
                  <a:pt x="6602777" y="6116155"/>
                </a:moveTo>
                <a:cubicBezTo>
                  <a:pt x="6606858" y="6114071"/>
                  <a:pt x="6608899" y="6114071"/>
                  <a:pt x="6612980" y="6116155"/>
                </a:cubicBezTo>
                <a:cubicBezTo>
                  <a:pt x="6615021" y="6118240"/>
                  <a:pt x="6617061" y="6120324"/>
                  <a:pt x="6617061" y="6124493"/>
                </a:cubicBezTo>
                <a:cubicBezTo>
                  <a:pt x="6623183" y="6226637"/>
                  <a:pt x="6623183" y="6226637"/>
                  <a:pt x="6623183" y="6226637"/>
                </a:cubicBezTo>
                <a:cubicBezTo>
                  <a:pt x="6625224" y="6232890"/>
                  <a:pt x="6623183" y="6234975"/>
                  <a:pt x="6621142" y="6237059"/>
                </a:cubicBezTo>
                <a:cubicBezTo>
                  <a:pt x="6619102" y="6239144"/>
                  <a:pt x="6617061" y="6237059"/>
                  <a:pt x="6615021" y="6237059"/>
                </a:cubicBezTo>
                <a:cubicBezTo>
                  <a:pt x="6570127" y="6226637"/>
                  <a:pt x="6539517" y="6207875"/>
                  <a:pt x="6508908" y="6174523"/>
                </a:cubicBezTo>
                <a:cubicBezTo>
                  <a:pt x="6506867" y="6172439"/>
                  <a:pt x="6504827" y="6170354"/>
                  <a:pt x="6504827" y="6168270"/>
                </a:cubicBezTo>
                <a:cubicBezTo>
                  <a:pt x="6504827" y="6168270"/>
                  <a:pt x="6504827" y="6168270"/>
                  <a:pt x="6504827" y="6166184"/>
                </a:cubicBezTo>
                <a:cubicBezTo>
                  <a:pt x="6504827" y="6164100"/>
                  <a:pt x="6508908" y="6162015"/>
                  <a:pt x="6510948" y="6162015"/>
                </a:cubicBezTo>
                <a:cubicBezTo>
                  <a:pt x="6602777" y="6116155"/>
                  <a:pt x="6602777" y="6116155"/>
                  <a:pt x="6602777" y="6116155"/>
                </a:cubicBezTo>
                <a:close/>
                <a:moveTo>
                  <a:pt x="6685511" y="6114071"/>
                </a:moveTo>
                <a:cubicBezTo>
                  <a:pt x="6689631" y="6114071"/>
                  <a:pt x="6691692" y="6114071"/>
                  <a:pt x="6695813" y="6114071"/>
                </a:cubicBezTo>
                <a:cubicBezTo>
                  <a:pt x="6786472" y="6159837"/>
                  <a:pt x="6786472" y="6159837"/>
                  <a:pt x="6786472" y="6159837"/>
                </a:cubicBezTo>
                <a:cubicBezTo>
                  <a:pt x="6790593" y="6161917"/>
                  <a:pt x="6792654" y="6163997"/>
                  <a:pt x="6794714" y="6166078"/>
                </a:cubicBezTo>
                <a:cubicBezTo>
                  <a:pt x="6794714" y="6168158"/>
                  <a:pt x="6792654" y="6170238"/>
                  <a:pt x="6790593" y="6172318"/>
                </a:cubicBezTo>
                <a:cubicBezTo>
                  <a:pt x="6759687" y="6205602"/>
                  <a:pt x="6726720" y="6224325"/>
                  <a:pt x="6683451" y="6234726"/>
                </a:cubicBezTo>
                <a:cubicBezTo>
                  <a:pt x="6679330" y="6236806"/>
                  <a:pt x="6677269" y="6236806"/>
                  <a:pt x="6675208" y="6234726"/>
                </a:cubicBezTo>
                <a:cubicBezTo>
                  <a:pt x="6673148" y="6232646"/>
                  <a:pt x="6673148" y="6228485"/>
                  <a:pt x="6673148" y="6226405"/>
                </a:cubicBezTo>
                <a:cubicBezTo>
                  <a:pt x="6681390" y="6122392"/>
                  <a:pt x="6681390" y="6122392"/>
                  <a:pt x="6681390" y="6122392"/>
                </a:cubicBezTo>
                <a:cubicBezTo>
                  <a:pt x="6681390" y="6120312"/>
                  <a:pt x="6683451" y="6116151"/>
                  <a:pt x="6685511" y="6114071"/>
                </a:cubicBezTo>
                <a:close/>
                <a:moveTo>
                  <a:pt x="5867776" y="6074328"/>
                </a:moveTo>
                <a:cubicBezTo>
                  <a:pt x="5867776" y="6074328"/>
                  <a:pt x="5867776" y="6074328"/>
                  <a:pt x="5867776" y="6117531"/>
                </a:cubicBezTo>
                <a:cubicBezTo>
                  <a:pt x="5867776" y="6117531"/>
                  <a:pt x="5840708" y="6125760"/>
                  <a:pt x="5819888" y="6125760"/>
                </a:cubicBezTo>
                <a:cubicBezTo>
                  <a:pt x="5803231" y="6125760"/>
                  <a:pt x="5801149" y="6109302"/>
                  <a:pt x="5801149" y="6101073"/>
                </a:cubicBezTo>
                <a:cubicBezTo>
                  <a:pt x="5801149" y="6086672"/>
                  <a:pt x="5809477" y="6078443"/>
                  <a:pt x="5826134" y="6076386"/>
                </a:cubicBezTo>
                <a:close/>
                <a:moveTo>
                  <a:pt x="5518276" y="6004194"/>
                </a:moveTo>
                <a:cubicBezTo>
                  <a:pt x="5546913" y="6004194"/>
                  <a:pt x="5559186" y="6020801"/>
                  <a:pt x="5559186" y="6064393"/>
                </a:cubicBezTo>
                <a:cubicBezTo>
                  <a:pt x="5559186" y="6101757"/>
                  <a:pt x="5553050" y="6124591"/>
                  <a:pt x="5518276" y="6124591"/>
                </a:cubicBezTo>
                <a:cubicBezTo>
                  <a:pt x="5483500" y="6124591"/>
                  <a:pt x="5477363" y="6101757"/>
                  <a:pt x="5477363" y="6064393"/>
                </a:cubicBezTo>
                <a:cubicBezTo>
                  <a:pt x="5477363" y="6020801"/>
                  <a:pt x="5487591" y="6004194"/>
                  <a:pt x="5518276" y="6004194"/>
                </a:cubicBezTo>
                <a:close/>
                <a:moveTo>
                  <a:pt x="6672498" y="5995882"/>
                </a:moveTo>
                <a:cubicBezTo>
                  <a:pt x="6675325" y="5995363"/>
                  <a:pt x="6678409" y="5995882"/>
                  <a:pt x="6681491" y="5996921"/>
                </a:cubicBezTo>
                <a:cubicBezTo>
                  <a:pt x="6697937" y="6009390"/>
                  <a:pt x="6708215" y="6028092"/>
                  <a:pt x="6708215" y="6048872"/>
                </a:cubicBezTo>
                <a:cubicBezTo>
                  <a:pt x="6708215" y="6080043"/>
                  <a:pt x="6681491" y="6107057"/>
                  <a:pt x="6648601" y="6107057"/>
                </a:cubicBezTo>
                <a:cubicBezTo>
                  <a:pt x="6615711" y="6107057"/>
                  <a:pt x="6588987" y="6080043"/>
                  <a:pt x="6588987" y="6048872"/>
                </a:cubicBezTo>
                <a:cubicBezTo>
                  <a:pt x="6588987" y="6028092"/>
                  <a:pt x="6599266" y="6009390"/>
                  <a:pt x="6615711" y="5999000"/>
                </a:cubicBezTo>
                <a:cubicBezTo>
                  <a:pt x="6621878" y="5994843"/>
                  <a:pt x="6628045" y="5994843"/>
                  <a:pt x="6632156" y="6001077"/>
                </a:cubicBezTo>
                <a:cubicBezTo>
                  <a:pt x="6636268" y="6007312"/>
                  <a:pt x="6634212" y="6013545"/>
                  <a:pt x="6630100" y="6017702"/>
                </a:cubicBezTo>
                <a:cubicBezTo>
                  <a:pt x="6619822" y="6023936"/>
                  <a:pt x="6613655" y="6036404"/>
                  <a:pt x="6613655" y="6048872"/>
                </a:cubicBezTo>
                <a:cubicBezTo>
                  <a:pt x="6613655" y="6067575"/>
                  <a:pt x="6630100" y="6084199"/>
                  <a:pt x="6648601" y="6084199"/>
                </a:cubicBezTo>
                <a:cubicBezTo>
                  <a:pt x="6667102" y="6084199"/>
                  <a:pt x="6683547" y="6067575"/>
                  <a:pt x="6683547" y="6048872"/>
                </a:cubicBezTo>
                <a:cubicBezTo>
                  <a:pt x="6683547" y="6036404"/>
                  <a:pt x="6677381" y="6023936"/>
                  <a:pt x="6667102" y="6017702"/>
                </a:cubicBezTo>
                <a:cubicBezTo>
                  <a:pt x="6662991" y="6013545"/>
                  <a:pt x="6660935" y="6007312"/>
                  <a:pt x="6665047" y="6001077"/>
                </a:cubicBezTo>
                <a:cubicBezTo>
                  <a:pt x="6667102" y="5997961"/>
                  <a:pt x="6669672" y="5996402"/>
                  <a:pt x="6672498" y="5995882"/>
                </a:cubicBezTo>
                <a:close/>
                <a:moveTo>
                  <a:pt x="6821432" y="5980816"/>
                </a:moveTo>
                <a:cubicBezTo>
                  <a:pt x="6823499" y="5980816"/>
                  <a:pt x="6825565" y="5984968"/>
                  <a:pt x="6825565" y="5987045"/>
                </a:cubicBezTo>
                <a:cubicBezTo>
                  <a:pt x="6837964" y="6030643"/>
                  <a:pt x="6837964" y="6068013"/>
                  <a:pt x="6825565" y="6111612"/>
                </a:cubicBezTo>
                <a:cubicBezTo>
                  <a:pt x="6823499" y="6115764"/>
                  <a:pt x="6823499" y="6117840"/>
                  <a:pt x="6821432" y="6117840"/>
                </a:cubicBezTo>
                <a:cubicBezTo>
                  <a:pt x="6817299" y="6119916"/>
                  <a:pt x="6815233" y="6117840"/>
                  <a:pt x="6813166" y="6115764"/>
                </a:cubicBezTo>
                <a:cubicBezTo>
                  <a:pt x="6728441" y="6057632"/>
                  <a:pt x="6728441" y="6057632"/>
                  <a:pt x="6728441" y="6057632"/>
                </a:cubicBezTo>
                <a:cubicBezTo>
                  <a:pt x="6724308" y="6055557"/>
                  <a:pt x="6722242" y="6053480"/>
                  <a:pt x="6722242" y="6049328"/>
                </a:cubicBezTo>
                <a:cubicBezTo>
                  <a:pt x="6722242" y="6047252"/>
                  <a:pt x="6724308" y="6043100"/>
                  <a:pt x="6728441" y="6041024"/>
                </a:cubicBezTo>
                <a:cubicBezTo>
                  <a:pt x="6813166" y="5982893"/>
                  <a:pt x="6813166" y="5982893"/>
                  <a:pt x="6813166" y="5982893"/>
                </a:cubicBezTo>
                <a:cubicBezTo>
                  <a:pt x="6815233" y="5980816"/>
                  <a:pt x="6819366" y="5980816"/>
                  <a:pt x="6821432" y="5980816"/>
                </a:cubicBezTo>
                <a:close/>
                <a:moveTo>
                  <a:pt x="6475604" y="5980816"/>
                </a:moveTo>
                <a:cubicBezTo>
                  <a:pt x="6479695" y="5980816"/>
                  <a:pt x="6481741" y="5982893"/>
                  <a:pt x="6483787" y="5984968"/>
                </a:cubicBezTo>
                <a:cubicBezTo>
                  <a:pt x="6567656" y="6041024"/>
                  <a:pt x="6567656" y="6041024"/>
                  <a:pt x="6567656" y="6041024"/>
                </a:cubicBezTo>
                <a:cubicBezTo>
                  <a:pt x="6571747" y="6043100"/>
                  <a:pt x="6573792" y="6047252"/>
                  <a:pt x="6573792" y="6049328"/>
                </a:cubicBezTo>
                <a:cubicBezTo>
                  <a:pt x="6573792" y="6053480"/>
                  <a:pt x="6571747" y="6055557"/>
                  <a:pt x="6567656" y="6057632"/>
                </a:cubicBezTo>
                <a:lnTo>
                  <a:pt x="6483787" y="6115764"/>
                </a:lnTo>
                <a:cubicBezTo>
                  <a:pt x="6479695" y="6117840"/>
                  <a:pt x="6477650" y="6119916"/>
                  <a:pt x="6475604" y="6117840"/>
                </a:cubicBezTo>
                <a:cubicBezTo>
                  <a:pt x="6473559" y="6117840"/>
                  <a:pt x="6471513" y="6115764"/>
                  <a:pt x="6471513" y="6111612"/>
                </a:cubicBezTo>
                <a:cubicBezTo>
                  <a:pt x="6459240" y="6068013"/>
                  <a:pt x="6459240" y="6032719"/>
                  <a:pt x="6471513" y="5987045"/>
                </a:cubicBezTo>
                <a:cubicBezTo>
                  <a:pt x="6471513" y="5984968"/>
                  <a:pt x="6473559" y="5982893"/>
                  <a:pt x="6475604" y="5980816"/>
                </a:cubicBezTo>
                <a:close/>
                <a:moveTo>
                  <a:pt x="6087559" y="5970296"/>
                </a:moveTo>
                <a:cubicBezTo>
                  <a:pt x="6085506" y="5970296"/>
                  <a:pt x="6083453" y="5970296"/>
                  <a:pt x="6081400" y="5972374"/>
                </a:cubicBezTo>
                <a:cubicBezTo>
                  <a:pt x="6079347" y="5974451"/>
                  <a:pt x="6079347" y="5976528"/>
                  <a:pt x="6079347" y="5978604"/>
                </a:cubicBezTo>
                <a:cubicBezTo>
                  <a:pt x="6120408" y="6136455"/>
                  <a:pt x="6120408" y="6136455"/>
                  <a:pt x="6120408" y="6136455"/>
                </a:cubicBezTo>
                <a:cubicBezTo>
                  <a:pt x="6122461" y="6144763"/>
                  <a:pt x="6130674" y="6157224"/>
                  <a:pt x="6145045" y="6157224"/>
                </a:cubicBezTo>
                <a:cubicBezTo>
                  <a:pt x="6153257" y="6157224"/>
                  <a:pt x="6153257" y="6157224"/>
                  <a:pt x="6153257" y="6157224"/>
                </a:cubicBezTo>
                <a:cubicBezTo>
                  <a:pt x="6151204" y="6161378"/>
                  <a:pt x="6151204" y="6163456"/>
                  <a:pt x="6149151" y="6165532"/>
                </a:cubicBezTo>
                <a:cubicBezTo>
                  <a:pt x="6149151" y="6167609"/>
                  <a:pt x="6149151" y="6167609"/>
                  <a:pt x="6149151" y="6167609"/>
                </a:cubicBezTo>
                <a:cubicBezTo>
                  <a:pt x="6147098" y="6173841"/>
                  <a:pt x="6145045" y="6186302"/>
                  <a:pt x="6124515" y="6186302"/>
                </a:cubicBezTo>
                <a:cubicBezTo>
                  <a:pt x="6089612" y="6184225"/>
                  <a:pt x="6089612" y="6184225"/>
                  <a:pt x="6089612" y="6184225"/>
                </a:cubicBezTo>
                <a:cubicBezTo>
                  <a:pt x="6087559" y="6182148"/>
                  <a:pt x="6085506" y="6184225"/>
                  <a:pt x="6083453" y="6186302"/>
                </a:cubicBezTo>
                <a:cubicBezTo>
                  <a:pt x="6081400" y="6186302"/>
                  <a:pt x="6081400" y="6188379"/>
                  <a:pt x="6081400" y="6190456"/>
                </a:cubicBezTo>
                <a:cubicBezTo>
                  <a:pt x="6081400" y="6209149"/>
                  <a:pt x="6081400" y="6209149"/>
                  <a:pt x="6081400" y="6209149"/>
                </a:cubicBezTo>
                <a:cubicBezTo>
                  <a:pt x="6081400" y="6213303"/>
                  <a:pt x="6083453" y="6215380"/>
                  <a:pt x="6087559" y="6215380"/>
                </a:cubicBezTo>
                <a:cubicBezTo>
                  <a:pt x="6097825" y="6219533"/>
                  <a:pt x="6118355" y="6221610"/>
                  <a:pt x="6134780" y="6221610"/>
                </a:cubicBezTo>
                <a:cubicBezTo>
                  <a:pt x="6134780" y="6221610"/>
                  <a:pt x="6134780" y="6221610"/>
                  <a:pt x="6136833" y="6221610"/>
                </a:cubicBezTo>
                <a:cubicBezTo>
                  <a:pt x="6163523" y="6221610"/>
                  <a:pt x="6182000" y="6204995"/>
                  <a:pt x="6190213" y="6169686"/>
                </a:cubicBezTo>
                <a:cubicBezTo>
                  <a:pt x="6200478" y="6130223"/>
                  <a:pt x="6214849" y="6078299"/>
                  <a:pt x="6223062" y="6040914"/>
                </a:cubicBezTo>
                <a:cubicBezTo>
                  <a:pt x="6227168" y="6024298"/>
                  <a:pt x="6231274" y="6009759"/>
                  <a:pt x="6235380" y="5999374"/>
                </a:cubicBezTo>
                <a:cubicBezTo>
                  <a:pt x="6239487" y="5978604"/>
                  <a:pt x="6239487" y="5978604"/>
                  <a:pt x="6239487" y="5978604"/>
                </a:cubicBezTo>
                <a:cubicBezTo>
                  <a:pt x="6239487" y="5976528"/>
                  <a:pt x="6239487" y="5974451"/>
                  <a:pt x="6237434" y="5972374"/>
                </a:cubicBezTo>
                <a:cubicBezTo>
                  <a:pt x="6237434" y="5970296"/>
                  <a:pt x="6235380" y="5970296"/>
                  <a:pt x="6233327" y="5970296"/>
                </a:cubicBezTo>
                <a:cubicBezTo>
                  <a:pt x="6204584" y="5970296"/>
                  <a:pt x="6204584" y="5970296"/>
                  <a:pt x="6204584" y="5970296"/>
                </a:cubicBezTo>
                <a:cubicBezTo>
                  <a:pt x="6202531" y="5970296"/>
                  <a:pt x="6198425" y="5972374"/>
                  <a:pt x="6198425" y="5974451"/>
                </a:cubicBezTo>
                <a:cubicBezTo>
                  <a:pt x="6161469" y="6115685"/>
                  <a:pt x="6161469" y="6115685"/>
                  <a:pt x="6161469" y="6115685"/>
                </a:cubicBezTo>
                <a:cubicBezTo>
                  <a:pt x="6159417" y="6115685"/>
                  <a:pt x="6159417" y="6115685"/>
                  <a:pt x="6159417" y="6115685"/>
                </a:cubicBezTo>
                <a:cubicBezTo>
                  <a:pt x="6120408" y="5974451"/>
                  <a:pt x="6120408" y="5974451"/>
                  <a:pt x="6120408" y="5974451"/>
                </a:cubicBezTo>
                <a:cubicBezTo>
                  <a:pt x="6120408" y="5972374"/>
                  <a:pt x="6118355" y="5970296"/>
                  <a:pt x="6114249" y="5970296"/>
                </a:cubicBezTo>
                <a:cubicBezTo>
                  <a:pt x="6087559" y="5970296"/>
                  <a:pt x="6087559" y="5970296"/>
                  <a:pt x="6087559" y="5970296"/>
                </a:cubicBezTo>
                <a:close/>
                <a:moveTo>
                  <a:pt x="6047787" y="5967959"/>
                </a:moveTo>
                <a:cubicBezTo>
                  <a:pt x="6029376" y="5967959"/>
                  <a:pt x="6010966" y="5980444"/>
                  <a:pt x="5998692" y="5988768"/>
                </a:cubicBezTo>
                <a:cubicBezTo>
                  <a:pt x="5998692" y="5976283"/>
                  <a:pt x="5998692" y="5976283"/>
                  <a:pt x="5998692" y="5976283"/>
                </a:cubicBezTo>
                <a:cubicBezTo>
                  <a:pt x="5998692" y="5972120"/>
                  <a:pt x="5996647" y="5970040"/>
                  <a:pt x="5992556" y="5970040"/>
                </a:cubicBezTo>
                <a:cubicBezTo>
                  <a:pt x="5963918" y="5970040"/>
                  <a:pt x="5963918" y="5970040"/>
                  <a:pt x="5963918" y="5970040"/>
                </a:cubicBezTo>
                <a:cubicBezTo>
                  <a:pt x="5959827" y="5970040"/>
                  <a:pt x="5957781" y="5972120"/>
                  <a:pt x="5957781" y="5976283"/>
                </a:cubicBezTo>
                <a:cubicBezTo>
                  <a:pt x="5957781" y="6151078"/>
                  <a:pt x="5957781" y="6151078"/>
                  <a:pt x="5957781" y="6151078"/>
                </a:cubicBezTo>
                <a:cubicBezTo>
                  <a:pt x="5957781" y="6155240"/>
                  <a:pt x="5959827" y="6157321"/>
                  <a:pt x="5963918" y="6157321"/>
                </a:cubicBezTo>
                <a:cubicBezTo>
                  <a:pt x="5992556" y="6157321"/>
                  <a:pt x="5992556" y="6157321"/>
                  <a:pt x="5992556" y="6157321"/>
                </a:cubicBezTo>
                <a:cubicBezTo>
                  <a:pt x="5996647" y="6157321"/>
                  <a:pt x="5998692" y="6155240"/>
                  <a:pt x="5998692" y="6151078"/>
                </a:cubicBezTo>
                <a:cubicBezTo>
                  <a:pt x="5998692" y="6030386"/>
                  <a:pt x="5998692" y="6030386"/>
                  <a:pt x="5998692" y="6030386"/>
                </a:cubicBezTo>
                <a:cubicBezTo>
                  <a:pt x="6006875" y="6024143"/>
                  <a:pt x="6025285" y="6009577"/>
                  <a:pt x="6049832" y="6007496"/>
                </a:cubicBezTo>
                <a:cubicBezTo>
                  <a:pt x="6053923" y="6007496"/>
                  <a:pt x="6055969" y="6003334"/>
                  <a:pt x="6055969" y="6001253"/>
                </a:cubicBezTo>
                <a:cubicBezTo>
                  <a:pt x="6055969" y="5974202"/>
                  <a:pt x="6055969" y="5974202"/>
                  <a:pt x="6055969" y="5974202"/>
                </a:cubicBezTo>
                <a:cubicBezTo>
                  <a:pt x="6055969" y="5972120"/>
                  <a:pt x="6055969" y="5970040"/>
                  <a:pt x="6053923" y="5970040"/>
                </a:cubicBezTo>
                <a:cubicBezTo>
                  <a:pt x="6051878" y="5967959"/>
                  <a:pt x="6049832" y="5967959"/>
                  <a:pt x="6047787" y="5967959"/>
                </a:cubicBezTo>
                <a:close/>
                <a:moveTo>
                  <a:pt x="5846879" y="5964452"/>
                </a:moveTo>
                <a:cubicBezTo>
                  <a:pt x="5826186" y="5964452"/>
                  <a:pt x="5791009" y="5970690"/>
                  <a:pt x="5776523" y="5972770"/>
                </a:cubicBezTo>
                <a:cubicBezTo>
                  <a:pt x="5772384" y="5972770"/>
                  <a:pt x="5770315" y="5976928"/>
                  <a:pt x="5770315" y="5979008"/>
                </a:cubicBezTo>
                <a:cubicBezTo>
                  <a:pt x="5770315" y="5979008"/>
                  <a:pt x="5770315" y="5979008"/>
                  <a:pt x="5772384" y="6003961"/>
                </a:cubicBezTo>
                <a:cubicBezTo>
                  <a:pt x="5772384" y="6006040"/>
                  <a:pt x="5772384" y="6008120"/>
                  <a:pt x="5774454" y="6008120"/>
                </a:cubicBezTo>
                <a:cubicBezTo>
                  <a:pt x="5776523" y="6010199"/>
                  <a:pt x="5776523" y="6010199"/>
                  <a:pt x="5778592" y="6010199"/>
                </a:cubicBezTo>
                <a:cubicBezTo>
                  <a:pt x="5795147" y="6010199"/>
                  <a:pt x="5824116" y="6006040"/>
                  <a:pt x="5844809" y="6006040"/>
                </a:cubicBezTo>
                <a:cubicBezTo>
                  <a:pt x="5859294" y="6006040"/>
                  <a:pt x="5867571" y="6014358"/>
                  <a:pt x="5867571" y="6028914"/>
                </a:cubicBezTo>
                <a:cubicBezTo>
                  <a:pt x="5867571" y="6028914"/>
                  <a:pt x="5867571" y="6028914"/>
                  <a:pt x="5867571" y="6041390"/>
                </a:cubicBezTo>
                <a:cubicBezTo>
                  <a:pt x="5867571" y="6041390"/>
                  <a:pt x="5867571" y="6041390"/>
                  <a:pt x="5822047" y="6045549"/>
                </a:cubicBezTo>
                <a:cubicBezTo>
                  <a:pt x="5776523" y="6047629"/>
                  <a:pt x="5757900" y="6064264"/>
                  <a:pt x="5757900" y="6101693"/>
                </a:cubicBezTo>
                <a:cubicBezTo>
                  <a:pt x="5757900" y="6141202"/>
                  <a:pt x="5778592" y="6161996"/>
                  <a:pt x="5813770" y="6161996"/>
                </a:cubicBezTo>
                <a:cubicBezTo>
                  <a:pt x="5842740" y="6161996"/>
                  <a:pt x="5873779" y="6149520"/>
                  <a:pt x="5873779" y="6149520"/>
                </a:cubicBezTo>
                <a:cubicBezTo>
                  <a:pt x="5882056" y="6155758"/>
                  <a:pt x="5888264" y="6159917"/>
                  <a:pt x="5902750" y="6161996"/>
                </a:cubicBezTo>
                <a:cubicBezTo>
                  <a:pt x="5904818" y="6161996"/>
                  <a:pt x="5906888" y="6161996"/>
                  <a:pt x="5908957" y="6159917"/>
                </a:cubicBezTo>
                <a:cubicBezTo>
                  <a:pt x="5908957" y="6157837"/>
                  <a:pt x="5911026" y="6155758"/>
                  <a:pt x="5911026" y="6153679"/>
                </a:cubicBezTo>
                <a:cubicBezTo>
                  <a:pt x="5911026" y="6153679"/>
                  <a:pt x="5911026" y="6153679"/>
                  <a:pt x="5911026" y="6028914"/>
                </a:cubicBezTo>
                <a:cubicBezTo>
                  <a:pt x="5911026" y="5985246"/>
                  <a:pt x="5890333" y="5964452"/>
                  <a:pt x="5846879" y="5964452"/>
                </a:cubicBezTo>
                <a:close/>
                <a:moveTo>
                  <a:pt x="5518274" y="5964452"/>
                </a:moveTo>
                <a:cubicBezTo>
                  <a:pt x="5471794" y="5964452"/>
                  <a:pt x="5434114" y="6008673"/>
                  <a:pt x="5434114" y="6063224"/>
                </a:cubicBezTo>
                <a:cubicBezTo>
                  <a:pt x="5434114" y="6117775"/>
                  <a:pt x="5471794" y="6161996"/>
                  <a:pt x="5518274" y="6161996"/>
                </a:cubicBezTo>
                <a:cubicBezTo>
                  <a:pt x="5564755" y="6161996"/>
                  <a:pt x="5602435" y="6117775"/>
                  <a:pt x="5602435" y="6063224"/>
                </a:cubicBezTo>
                <a:cubicBezTo>
                  <a:pt x="5602435" y="6008673"/>
                  <a:pt x="5564755" y="5964452"/>
                  <a:pt x="5518274" y="5964452"/>
                </a:cubicBezTo>
                <a:close/>
                <a:moveTo>
                  <a:pt x="5302320" y="5938736"/>
                </a:moveTo>
                <a:cubicBezTo>
                  <a:pt x="5302320" y="5938736"/>
                  <a:pt x="5302320" y="5938736"/>
                  <a:pt x="5318685" y="5938736"/>
                </a:cubicBezTo>
                <a:cubicBezTo>
                  <a:pt x="5349369" y="5938736"/>
                  <a:pt x="5361642" y="5959653"/>
                  <a:pt x="5361642" y="5978478"/>
                </a:cubicBezTo>
                <a:cubicBezTo>
                  <a:pt x="5361642" y="6001488"/>
                  <a:pt x="5343232" y="6016129"/>
                  <a:pt x="5316640" y="6016129"/>
                </a:cubicBezTo>
                <a:cubicBezTo>
                  <a:pt x="5294139" y="6018221"/>
                  <a:pt x="5279820" y="6016129"/>
                  <a:pt x="5271637" y="6016129"/>
                </a:cubicBezTo>
                <a:cubicBezTo>
                  <a:pt x="5271637" y="6016129"/>
                  <a:pt x="5271637" y="6016129"/>
                  <a:pt x="5271637" y="5940828"/>
                </a:cubicBezTo>
                <a:cubicBezTo>
                  <a:pt x="5275728" y="5938736"/>
                  <a:pt x="5285956" y="5938736"/>
                  <a:pt x="5302320" y="5938736"/>
                </a:cubicBezTo>
                <a:close/>
                <a:moveTo>
                  <a:pt x="5678557" y="5927047"/>
                </a:moveTo>
                <a:cubicBezTo>
                  <a:pt x="5678557" y="5927047"/>
                  <a:pt x="5678557" y="5927047"/>
                  <a:pt x="5649847" y="5933291"/>
                </a:cubicBezTo>
                <a:cubicBezTo>
                  <a:pt x="5645746" y="5935373"/>
                  <a:pt x="5643695" y="5937455"/>
                  <a:pt x="5643695" y="5939535"/>
                </a:cubicBezTo>
                <a:cubicBezTo>
                  <a:pt x="5643695" y="5939535"/>
                  <a:pt x="5643695" y="5939535"/>
                  <a:pt x="5643695" y="5970757"/>
                </a:cubicBezTo>
                <a:cubicBezTo>
                  <a:pt x="5643695" y="5970757"/>
                  <a:pt x="5643695" y="5970757"/>
                  <a:pt x="5627290" y="5970757"/>
                </a:cubicBezTo>
                <a:cubicBezTo>
                  <a:pt x="5623188" y="5970757"/>
                  <a:pt x="5621138" y="5972839"/>
                  <a:pt x="5621138" y="5977002"/>
                </a:cubicBezTo>
                <a:cubicBezTo>
                  <a:pt x="5621138" y="5977002"/>
                  <a:pt x="5621138" y="5977002"/>
                  <a:pt x="5621138" y="6001980"/>
                </a:cubicBezTo>
                <a:cubicBezTo>
                  <a:pt x="5621138" y="6006143"/>
                  <a:pt x="5623188" y="6008224"/>
                  <a:pt x="5627290" y="6008224"/>
                </a:cubicBezTo>
                <a:cubicBezTo>
                  <a:pt x="5627290" y="6008224"/>
                  <a:pt x="5627290" y="6008224"/>
                  <a:pt x="5643695" y="6008224"/>
                </a:cubicBezTo>
                <a:cubicBezTo>
                  <a:pt x="5643695" y="6008224"/>
                  <a:pt x="5643695" y="6008224"/>
                  <a:pt x="5643695" y="6091483"/>
                </a:cubicBezTo>
                <a:cubicBezTo>
                  <a:pt x="5643695" y="6147682"/>
                  <a:pt x="5658050" y="6164334"/>
                  <a:pt x="5699064" y="6164334"/>
                </a:cubicBezTo>
                <a:cubicBezTo>
                  <a:pt x="5709318" y="6164334"/>
                  <a:pt x="5721622" y="6160171"/>
                  <a:pt x="5731875" y="6160171"/>
                </a:cubicBezTo>
                <a:cubicBezTo>
                  <a:pt x="5735977" y="6158090"/>
                  <a:pt x="5738028" y="6156008"/>
                  <a:pt x="5738028" y="6151845"/>
                </a:cubicBezTo>
                <a:cubicBezTo>
                  <a:pt x="5738028" y="6151845"/>
                  <a:pt x="5738028" y="6151845"/>
                  <a:pt x="5735977" y="6128949"/>
                </a:cubicBezTo>
                <a:cubicBezTo>
                  <a:pt x="5735977" y="6124786"/>
                  <a:pt x="5733926" y="6120623"/>
                  <a:pt x="5729824" y="6120623"/>
                </a:cubicBezTo>
                <a:cubicBezTo>
                  <a:pt x="5723673" y="6120623"/>
                  <a:pt x="5713419" y="6122705"/>
                  <a:pt x="5705217" y="6122705"/>
                </a:cubicBezTo>
                <a:cubicBezTo>
                  <a:pt x="5686761" y="6122705"/>
                  <a:pt x="5686761" y="6112298"/>
                  <a:pt x="5686761" y="6085238"/>
                </a:cubicBezTo>
                <a:cubicBezTo>
                  <a:pt x="5686761" y="6085238"/>
                  <a:pt x="5686761" y="6085238"/>
                  <a:pt x="5686761" y="6008224"/>
                </a:cubicBezTo>
                <a:cubicBezTo>
                  <a:pt x="5686761" y="6008224"/>
                  <a:pt x="5686761" y="6008224"/>
                  <a:pt x="5729824" y="6008224"/>
                </a:cubicBezTo>
                <a:cubicBezTo>
                  <a:pt x="5733926" y="6008224"/>
                  <a:pt x="5735977" y="6006143"/>
                  <a:pt x="5735977" y="6001980"/>
                </a:cubicBezTo>
                <a:cubicBezTo>
                  <a:pt x="5735977" y="6001980"/>
                  <a:pt x="5735977" y="6001980"/>
                  <a:pt x="5735977" y="5977002"/>
                </a:cubicBezTo>
                <a:cubicBezTo>
                  <a:pt x="5735977" y="5972839"/>
                  <a:pt x="5733926" y="5970757"/>
                  <a:pt x="5729824" y="5970757"/>
                </a:cubicBezTo>
                <a:cubicBezTo>
                  <a:pt x="5729824" y="5970757"/>
                  <a:pt x="5729824" y="5970757"/>
                  <a:pt x="5686761" y="5970757"/>
                </a:cubicBezTo>
                <a:cubicBezTo>
                  <a:pt x="5686761" y="5970757"/>
                  <a:pt x="5686761" y="5970757"/>
                  <a:pt x="5686761" y="5933291"/>
                </a:cubicBezTo>
                <a:cubicBezTo>
                  <a:pt x="5686761" y="5931210"/>
                  <a:pt x="5684709" y="5929128"/>
                  <a:pt x="5684709" y="5927047"/>
                </a:cubicBezTo>
                <a:cubicBezTo>
                  <a:pt x="5682658" y="5927047"/>
                  <a:pt x="5680608" y="5927047"/>
                  <a:pt x="5678557" y="5927047"/>
                </a:cubicBezTo>
                <a:close/>
                <a:moveTo>
                  <a:pt x="5312653" y="5897825"/>
                </a:moveTo>
                <a:cubicBezTo>
                  <a:pt x="5302343" y="5897825"/>
                  <a:pt x="5271414" y="5897825"/>
                  <a:pt x="5232236" y="5901977"/>
                </a:cubicBezTo>
                <a:cubicBezTo>
                  <a:pt x="5230173" y="5901977"/>
                  <a:pt x="5226049" y="5906129"/>
                  <a:pt x="5226049" y="5910281"/>
                </a:cubicBezTo>
                <a:cubicBezTo>
                  <a:pt x="5226049" y="5910281"/>
                  <a:pt x="5226049" y="5910281"/>
                  <a:pt x="5226049" y="6151093"/>
                </a:cubicBezTo>
                <a:cubicBezTo>
                  <a:pt x="5226049" y="6155245"/>
                  <a:pt x="5230173" y="6157321"/>
                  <a:pt x="5234297" y="6157321"/>
                </a:cubicBezTo>
                <a:cubicBezTo>
                  <a:pt x="5234297" y="6157321"/>
                  <a:pt x="5234297" y="6157321"/>
                  <a:pt x="5263165" y="6157321"/>
                </a:cubicBezTo>
                <a:cubicBezTo>
                  <a:pt x="5267290" y="6157321"/>
                  <a:pt x="5271414" y="6155245"/>
                  <a:pt x="5271414" y="6151093"/>
                </a:cubicBezTo>
                <a:cubicBezTo>
                  <a:pt x="5271414" y="6151093"/>
                  <a:pt x="5271414" y="6151093"/>
                  <a:pt x="5271414" y="6055599"/>
                </a:cubicBezTo>
                <a:cubicBezTo>
                  <a:pt x="5279661" y="6055599"/>
                  <a:pt x="5298219" y="6057674"/>
                  <a:pt x="5320901" y="6057674"/>
                </a:cubicBezTo>
                <a:cubicBezTo>
                  <a:pt x="5320901" y="6057674"/>
                  <a:pt x="5320901" y="6057674"/>
                  <a:pt x="5362142" y="6153168"/>
                </a:cubicBezTo>
                <a:cubicBezTo>
                  <a:pt x="5364203" y="6157321"/>
                  <a:pt x="5366265" y="6157321"/>
                  <a:pt x="5368327" y="6157321"/>
                </a:cubicBezTo>
                <a:cubicBezTo>
                  <a:pt x="5368327" y="6157321"/>
                  <a:pt x="5368327" y="6157321"/>
                  <a:pt x="5401320" y="6157321"/>
                </a:cubicBezTo>
                <a:cubicBezTo>
                  <a:pt x="5405443" y="6157321"/>
                  <a:pt x="5407505" y="6157321"/>
                  <a:pt x="5407505" y="6155245"/>
                </a:cubicBezTo>
                <a:cubicBezTo>
                  <a:pt x="5409567" y="6153168"/>
                  <a:pt x="5409567" y="6151093"/>
                  <a:pt x="5409567" y="6149017"/>
                </a:cubicBezTo>
                <a:lnTo>
                  <a:pt x="5362142" y="6045219"/>
                </a:lnTo>
                <a:cubicBezTo>
                  <a:pt x="5393071" y="6030687"/>
                  <a:pt x="5407505" y="6007851"/>
                  <a:pt x="5407505" y="5976711"/>
                </a:cubicBezTo>
                <a:cubicBezTo>
                  <a:pt x="5407505" y="5941420"/>
                  <a:pt x="5391009" y="5897825"/>
                  <a:pt x="5318839" y="5897825"/>
                </a:cubicBezTo>
                <a:cubicBezTo>
                  <a:pt x="5318839" y="5897825"/>
                  <a:pt x="5316777" y="5897825"/>
                  <a:pt x="5312653" y="5897825"/>
                </a:cubicBezTo>
                <a:close/>
                <a:moveTo>
                  <a:pt x="6675208" y="5864819"/>
                </a:moveTo>
                <a:cubicBezTo>
                  <a:pt x="6677269" y="5862758"/>
                  <a:pt x="6681390" y="5862758"/>
                  <a:pt x="6683451" y="5864819"/>
                </a:cubicBezTo>
                <a:cubicBezTo>
                  <a:pt x="6726720" y="5875120"/>
                  <a:pt x="6759687" y="5893664"/>
                  <a:pt x="6790593" y="5926632"/>
                </a:cubicBezTo>
                <a:cubicBezTo>
                  <a:pt x="6792654" y="5928692"/>
                  <a:pt x="6794714" y="5930752"/>
                  <a:pt x="6794714" y="5932813"/>
                </a:cubicBezTo>
                <a:cubicBezTo>
                  <a:pt x="6792654" y="5936933"/>
                  <a:pt x="6790593" y="5936933"/>
                  <a:pt x="6786472" y="5938994"/>
                </a:cubicBezTo>
                <a:cubicBezTo>
                  <a:pt x="6695813" y="5982263"/>
                  <a:pt x="6695813" y="5982263"/>
                  <a:pt x="6695813" y="5982263"/>
                </a:cubicBezTo>
                <a:cubicBezTo>
                  <a:pt x="6691692" y="5984323"/>
                  <a:pt x="6687571" y="5984323"/>
                  <a:pt x="6685511" y="5984323"/>
                </a:cubicBezTo>
                <a:cubicBezTo>
                  <a:pt x="6683451" y="5982263"/>
                  <a:pt x="6681390" y="5978142"/>
                  <a:pt x="6681390" y="5974021"/>
                </a:cubicBezTo>
                <a:cubicBezTo>
                  <a:pt x="6673148" y="5873060"/>
                  <a:pt x="6673148" y="5873060"/>
                  <a:pt x="6673148" y="5873060"/>
                </a:cubicBezTo>
                <a:cubicBezTo>
                  <a:pt x="6673148" y="5868939"/>
                  <a:pt x="6673148" y="5866879"/>
                  <a:pt x="6675208" y="5864819"/>
                </a:cubicBezTo>
                <a:close/>
                <a:moveTo>
                  <a:pt x="6617873" y="5864048"/>
                </a:moveTo>
                <a:cubicBezTo>
                  <a:pt x="6619419" y="5863791"/>
                  <a:pt x="6620964" y="5863791"/>
                  <a:pt x="6621994" y="5864823"/>
                </a:cubicBezTo>
                <a:cubicBezTo>
                  <a:pt x="6621994" y="5866888"/>
                  <a:pt x="6624054" y="5868953"/>
                  <a:pt x="6624054" y="5875148"/>
                </a:cubicBezTo>
                <a:cubicBezTo>
                  <a:pt x="6615813" y="5976336"/>
                  <a:pt x="6615813" y="5976336"/>
                  <a:pt x="6615813" y="5976336"/>
                </a:cubicBezTo>
                <a:cubicBezTo>
                  <a:pt x="6615813" y="5980466"/>
                  <a:pt x="6613752" y="5982531"/>
                  <a:pt x="6611692" y="5984596"/>
                </a:cubicBezTo>
                <a:cubicBezTo>
                  <a:pt x="6607571" y="5986661"/>
                  <a:pt x="6605510" y="5986661"/>
                  <a:pt x="6601390" y="5984596"/>
                </a:cubicBezTo>
                <a:cubicBezTo>
                  <a:pt x="6510730" y="5939165"/>
                  <a:pt x="6510730" y="5939165"/>
                  <a:pt x="6510730" y="5939165"/>
                </a:cubicBezTo>
                <a:cubicBezTo>
                  <a:pt x="6506610" y="5939165"/>
                  <a:pt x="6504549" y="5937100"/>
                  <a:pt x="6502489" y="5932970"/>
                </a:cubicBezTo>
                <a:cubicBezTo>
                  <a:pt x="6502489" y="5930904"/>
                  <a:pt x="6504549" y="5928840"/>
                  <a:pt x="6506610" y="5926774"/>
                </a:cubicBezTo>
                <a:cubicBezTo>
                  <a:pt x="6537516" y="5893734"/>
                  <a:pt x="6570483" y="5875148"/>
                  <a:pt x="6613752" y="5864823"/>
                </a:cubicBezTo>
                <a:cubicBezTo>
                  <a:pt x="6614782" y="5864823"/>
                  <a:pt x="6616328" y="5864307"/>
                  <a:pt x="6617873" y="5864048"/>
                </a:cubicBezTo>
                <a:close/>
                <a:moveTo>
                  <a:pt x="6649186" y="5828859"/>
                </a:moveTo>
                <a:cubicBezTo>
                  <a:pt x="6529433" y="5828859"/>
                  <a:pt x="6432355" y="5926985"/>
                  <a:pt x="6432355" y="6048029"/>
                </a:cubicBezTo>
                <a:cubicBezTo>
                  <a:pt x="6432355" y="6169072"/>
                  <a:pt x="6529433" y="6267198"/>
                  <a:pt x="6649186" y="6267198"/>
                </a:cubicBezTo>
                <a:cubicBezTo>
                  <a:pt x="6768939" y="6267198"/>
                  <a:pt x="6866018" y="6169072"/>
                  <a:pt x="6866018" y="6048029"/>
                </a:cubicBezTo>
                <a:cubicBezTo>
                  <a:pt x="6866018" y="5926985"/>
                  <a:pt x="6768939" y="5828859"/>
                  <a:pt x="6649186" y="5828859"/>
                </a:cubicBezTo>
                <a:close/>
                <a:moveTo>
                  <a:pt x="6648602" y="5797300"/>
                </a:moveTo>
                <a:cubicBezTo>
                  <a:pt x="6784816" y="5797300"/>
                  <a:pt x="6895240" y="5909032"/>
                  <a:pt x="6895240" y="6046861"/>
                </a:cubicBezTo>
                <a:cubicBezTo>
                  <a:pt x="6895240" y="6184689"/>
                  <a:pt x="6784816" y="6296422"/>
                  <a:pt x="6648602" y="6296422"/>
                </a:cubicBezTo>
                <a:cubicBezTo>
                  <a:pt x="6512387" y="6296422"/>
                  <a:pt x="6401963" y="6184689"/>
                  <a:pt x="6401963" y="6046861"/>
                </a:cubicBezTo>
                <a:cubicBezTo>
                  <a:pt x="6401963" y="5909032"/>
                  <a:pt x="6512387" y="5797300"/>
                  <a:pt x="6648602" y="5797300"/>
                </a:cubicBezTo>
                <a:close/>
                <a:moveTo>
                  <a:pt x="6635678" y="5718724"/>
                </a:moveTo>
                <a:cubicBezTo>
                  <a:pt x="6627452" y="5733273"/>
                  <a:pt x="6623339" y="5751979"/>
                  <a:pt x="6623339" y="5768607"/>
                </a:cubicBezTo>
                <a:cubicBezTo>
                  <a:pt x="6619226" y="5768607"/>
                  <a:pt x="6602773" y="5770685"/>
                  <a:pt x="6600717" y="5772764"/>
                </a:cubicBezTo>
                <a:cubicBezTo>
                  <a:pt x="6594547" y="5754058"/>
                  <a:pt x="6586321" y="5737430"/>
                  <a:pt x="6573982" y="5727038"/>
                </a:cubicBezTo>
                <a:cubicBezTo>
                  <a:pt x="6573982" y="5724959"/>
                  <a:pt x="6573982" y="5724959"/>
                  <a:pt x="6573982" y="5724959"/>
                </a:cubicBezTo>
                <a:cubicBezTo>
                  <a:pt x="6571926" y="5727038"/>
                  <a:pt x="6571926" y="5727038"/>
                  <a:pt x="6571926" y="5727038"/>
                </a:cubicBezTo>
                <a:cubicBezTo>
                  <a:pt x="6565756" y="5727038"/>
                  <a:pt x="6557530" y="5729116"/>
                  <a:pt x="6551360" y="5731195"/>
                </a:cubicBezTo>
                <a:cubicBezTo>
                  <a:pt x="6551360" y="5733273"/>
                  <a:pt x="6551360" y="5733273"/>
                  <a:pt x="6551360" y="5733273"/>
                </a:cubicBezTo>
                <a:cubicBezTo>
                  <a:pt x="6549304" y="5741587"/>
                  <a:pt x="6547247" y="5749901"/>
                  <a:pt x="6547247" y="5758215"/>
                </a:cubicBezTo>
                <a:cubicBezTo>
                  <a:pt x="6547247" y="5768607"/>
                  <a:pt x="6549304" y="5776921"/>
                  <a:pt x="6551360" y="5785235"/>
                </a:cubicBezTo>
                <a:cubicBezTo>
                  <a:pt x="6549304" y="5785235"/>
                  <a:pt x="6532851" y="5793548"/>
                  <a:pt x="6530795" y="5793548"/>
                </a:cubicBezTo>
                <a:cubicBezTo>
                  <a:pt x="6520512" y="5778999"/>
                  <a:pt x="6508173" y="5764450"/>
                  <a:pt x="6493777" y="5758215"/>
                </a:cubicBezTo>
                <a:cubicBezTo>
                  <a:pt x="6493777" y="5756136"/>
                  <a:pt x="6493777" y="5756136"/>
                  <a:pt x="6493777" y="5756136"/>
                </a:cubicBezTo>
                <a:cubicBezTo>
                  <a:pt x="6491721" y="5756136"/>
                  <a:pt x="6491721" y="5756136"/>
                  <a:pt x="6491721" y="5756136"/>
                </a:cubicBezTo>
                <a:cubicBezTo>
                  <a:pt x="6485551" y="5760293"/>
                  <a:pt x="6479382" y="5764450"/>
                  <a:pt x="6473212" y="5768607"/>
                </a:cubicBezTo>
                <a:cubicBezTo>
                  <a:pt x="6473212" y="5768607"/>
                  <a:pt x="6473212" y="5770685"/>
                  <a:pt x="6473212" y="5770685"/>
                </a:cubicBezTo>
                <a:cubicBezTo>
                  <a:pt x="6473212" y="5787313"/>
                  <a:pt x="6477325" y="5803941"/>
                  <a:pt x="6485551" y="5820568"/>
                </a:cubicBezTo>
                <a:cubicBezTo>
                  <a:pt x="6483495" y="5822647"/>
                  <a:pt x="6471156" y="5830961"/>
                  <a:pt x="6469099" y="5833039"/>
                </a:cubicBezTo>
                <a:cubicBezTo>
                  <a:pt x="6456760" y="5820568"/>
                  <a:pt x="6440308" y="5810176"/>
                  <a:pt x="6425911" y="5806019"/>
                </a:cubicBezTo>
                <a:cubicBezTo>
                  <a:pt x="6423855" y="5806019"/>
                  <a:pt x="6423855" y="5806019"/>
                  <a:pt x="6423855" y="5806019"/>
                </a:cubicBezTo>
                <a:cubicBezTo>
                  <a:pt x="6423855" y="5808097"/>
                  <a:pt x="6423855" y="5808097"/>
                  <a:pt x="6423855" y="5808097"/>
                </a:cubicBezTo>
                <a:cubicBezTo>
                  <a:pt x="6417685" y="5810176"/>
                  <a:pt x="6411516" y="5816411"/>
                  <a:pt x="6407402" y="5822647"/>
                </a:cubicBezTo>
                <a:cubicBezTo>
                  <a:pt x="6407402" y="5824725"/>
                  <a:pt x="6407402" y="5824725"/>
                  <a:pt x="6407402" y="5824725"/>
                </a:cubicBezTo>
                <a:cubicBezTo>
                  <a:pt x="6411516" y="5839274"/>
                  <a:pt x="6421798" y="5855902"/>
                  <a:pt x="6434138" y="5870451"/>
                </a:cubicBezTo>
                <a:cubicBezTo>
                  <a:pt x="6432082" y="5870451"/>
                  <a:pt x="6421798" y="5885000"/>
                  <a:pt x="6419742" y="5887079"/>
                </a:cubicBezTo>
                <a:cubicBezTo>
                  <a:pt x="6405346" y="5878765"/>
                  <a:pt x="6386837" y="5874608"/>
                  <a:pt x="6370385" y="5874608"/>
                </a:cubicBezTo>
                <a:cubicBezTo>
                  <a:pt x="6368328" y="5874608"/>
                  <a:pt x="6368328" y="5874608"/>
                  <a:pt x="6368328" y="5874608"/>
                </a:cubicBezTo>
                <a:cubicBezTo>
                  <a:pt x="6364215" y="5878765"/>
                  <a:pt x="6360102" y="5887079"/>
                  <a:pt x="6358046" y="5893314"/>
                </a:cubicBezTo>
                <a:cubicBezTo>
                  <a:pt x="6358046" y="5895393"/>
                  <a:pt x="6358046" y="5895393"/>
                  <a:pt x="6358046" y="5895393"/>
                </a:cubicBezTo>
                <a:cubicBezTo>
                  <a:pt x="6366272" y="5909941"/>
                  <a:pt x="6378611" y="5922412"/>
                  <a:pt x="6395063" y="5932805"/>
                </a:cubicBezTo>
                <a:cubicBezTo>
                  <a:pt x="6393007" y="5934883"/>
                  <a:pt x="6386837" y="5949432"/>
                  <a:pt x="6386837" y="5951511"/>
                </a:cubicBezTo>
                <a:cubicBezTo>
                  <a:pt x="6368328" y="5947354"/>
                  <a:pt x="6349820" y="5947354"/>
                  <a:pt x="6335424" y="5951511"/>
                </a:cubicBezTo>
                <a:cubicBezTo>
                  <a:pt x="6333367" y="5951511"/>
                  <a:pt x="6333367" y="5951511"/>
                  <a:pt x="6333367" y="5951511"/>
                </a:cubicBezTo>
                <a:cubicBezTo>
                  <a:pt x="6333367" y="5953589"/>
                  <a:pt x="6333367" y="5953589"/>
                  <a:pt x="6333367" y="5953589"/>
                </a:cubicBezTo>
                <a:cubicBezTo>
                  <a:pt x="6331311" y="5959825"/>
                  <a:pt x="6329254" y="5968138"/>
                  <a:pt x="6327198" y="5974373"/>
                </a:cubicBezTo>
                <a:cubicBezTo>
                  <a:pt x="6329254" y="5976452"/>
                  <a:pt x="6329254" y="5976452"/>
                  <a:pt x="6329254" y="5976452"/>
                </a:cubicBezTo>
                <a:cubicBezTo>
                  <a:pt x="6339537" y="5986844"/>
                  <a:pt x="6355989" y="5997237"/>
                  <a:pt x="6372441" y="6001393"/>
                </a:cubicBezTo>
                <a:cubicBezTo>
                  <a:pt x="6372441" y="6003472"/>
                  <a:pt x="6370385" y="6022178"/>
                  <a:pt x="6370385" y="6024257"/>
                </a:cubicBezTo>
                <a:cubicBezTo>
                  <a:pt x="6351876" y="6024257"/>
                  <a:pt x="6333367" y="6028413"/>
                  <a:pt x="6321028" y="6036728"/>
                </a:cubicBezTo>
                <a:cubicBezTo>
                  <a:pt x="6318972" y="6036728"/>
                  <a:pt x="6318972" y="6036728"/>
                  <a:pt x="6318972" y="6036728"/>
                </a:cubicBezTo>
                <a:cubicBezTo>
                  <a:pt x="6318972" y="6038805"/>
                  <a:pt x="6318972" y="6038805"/>
                  <a:pt x="6318972" y="6038805"/>
                </a:cubicBezTo>
                <a:cubicBezTo>
                  <a:pt x="6318972" y="6040884"/>
                  <a:pt x="6318972" y="6045041"/>
                  <a:pt x="6318972" y="6049198"/>
                </a:cubicBezTo>
                <a:cubicBezTo>
                  <a:pt x="6318972" y="6053355"/>
                  <a:pt x="6318972" y="6057512"/>
                  <a:pt x="6318972" y="6059590"/>
                </a:cubicBezTo>
                <a:cubicBezTo>
                  <a:pt x="6318972" y="6061669"/>
                  <a:pt x="6318972" y="6061669"/>
                  <a:pt x="6318972" y="6061669"/>
                </a:cubicBezTo>
                <a:cubicBezTo>
                  <a:pt x="6321028" y="6061669"/>
                  <a:pt x="6321028" y="6061669"/>
                  <a:pt x="6321028" y="6061669"/>
                </a:cubicBezTo>
                <a:cubicBezTo>
                  <a:pt x="6333367" y="6069983"/>
                  <a:pt x="6351876" y="6074140"/>
                  <a:pt x="6370385" y="6074140"/>
                </a:cubicBezTo>
                <a:cubicBezTo>
                  <a:pt x="6370385" y="6078296"/>
                  <a:pt x="6372441" y="6094924"/>
                  <a:pt x="6374498" y="6097002"/>
                </a:cubicBezTo>
                <a:cubicBezTo>
                  <a:pt x="6355989" y="6103237"/>
                  <a:pt x="6339537" y="6111551"/>
                  <a:pt x="6329254" y="6124022"/>
                </a:cubicBezTo>
                <a:cubicBezTo>
                  <a:pt x="6327198" y="6124022"/>
                  <a:pt x="6327198" y="6124022"/>
                  <a:pt x="6327198" y="6124022"/>
                </a:cubicBezTo>
                <a:cubicBezTo>
                  <a:pt x="6327198" y="6126101"/>
                  <a:pt x="6327198" y="6126101"/>
                  <a:pt x="6327198" y="6126101"/>
                </a:cubicBezTo>
                <a:cubicBezTo>
                  <a:pt x="6329254" y="6132336"/>
                  <a:pt x="6331311" y="6140650"/>
                  <a:pt x="6333367" y="6146886"/>
                </a:cubicBezTo>
                <a:cubicBezTo>
                  <a:pt x="6335424" y="6146886"/>
                  <a:pt x="6335424" y="6146886"/>
                  <a:pt x="6335424" y="6146886"/>
                </a:cubicBezTo>
                <a:cubicBezTo>
                  <a:pt x="6349820" y="6153121"/>
                  <a:pt x="6370385" y="6151042"/>
                  <a:pt x="6386837" y="6146886"/>
                </a:cubicBezTo>
                <a:cubicBezTo>
                  <a:pt x="6386837" y="6148963"/>
                  <a:pt x="6395063" y="6165592"/>
                  <a:pt x="6395063" y="6167669"/>
                </a:cubicBezTo>
                <a:cubicBezTo>
                  <a:pt x="6380668" y="6175983"/>
                  <a:pt x="6366272" y="6190533"/>
                  <a:pt x="6358046" y="6205082"/>
                </a:cubicBezTo>
                <a:cubicBezTo>
                  <a:pt x="6358046" y="6207160"/>
                  <a:pt x="6358046" y="6207160"/>
                  <a:pt x="6358046" y="6207160"/>
                </a:cubicBezTo>
                <a:cubicBezTo>
                  <a:pt x="6360102" y="6211318"/>
                  <a:pt x="6366272" y="6219631"/>
                  <a:pt x="6370385" y="6225866"/>
                </a:cubicBezTo>
                <a:cubicBezTo>
                  <a:pt x="6386837" y="6225866"/>
                  <a:pt x="6405346" y="6221710"/>
                  <a:pt x="6421798" y="6211318"/>
                </a:cubicBezTo>
                <a:cubicBezTo>
                  <a:pt x="6421798" y="6213395"/>
                  <a:pt x="6432082" y="6227945"/>
                  <a:pt x="6434138" y="6230024"/>
                </a:cubicBezTo>
                <a:cubicBezTo>
                  <a:pt x="6421798" y="6242494"/>
                  <a:pt x="6411516" y="6259121"/>
                  <a:pt x="6407402" y="6275750"/>
                </a:cubicBezTo>
                <a:cubicBezTo>
                  <a:pt x="6409459" y="6277827"/>
                  <a:pt x="6409459" y="6277827"/>
                  <a:pt x="6409459" y="6277827"/>
                </a:cubicBezTo>
                <a:cubicBezTo>
                  <a:pt x="6411516" y="6281985"/>
                  <a:pt x="6419742" y="6288220"/>
                  <a:pt x="6423855" y="6292377"/>
                </a:cubicBezTo>
                <a:cubicBezTo>
                  <a:pt x="6425911" y="6292377"/>
                  <a:pt x="6425911" y="6292377"/>
                  <a:pt x="6425911" y="6292377"/>
                </a:cubicBezTo>
                <a:cubicBezTo>
                  <a:pt x="6440308" y="6288220"/>
                  <a:pt x="6456760" y="6279906"/>
                  <a:pt x="6471156" y="6265357"/>
                </a:cubicBezTo>
                <a:cubicBezTo>
                  <a:pt x="6473212" y="6267436"/>
                  <a:pt x="6485551" y="6277827"/>
                  <a:pt x="6487608" y="6279906"/>
                </a:cubicBezTo>
                <a:cubicBezTo>
                  <a:pt x="6479382" y="6296533"/>
                  <a:pt x="6475269" y="6313162"/>
                  <a:pt x="6475269" y="6329789"/>
                </a:cubicBezTo>
                <a:cubicBezTo>
                  <a:pt x="6475269" y="6329789"/>
                  <a:pt x="6475269" y="6331868"/>
                  <a:pt x="6475269" y="6331868"/>
                </a:cubicBezTo>
                <a:cubicBezTo>
                  <a:pt x="6479382" y="6336024"/>
                  <a:pt x="6487608" y="6340182"/>
                  <a:pt x="6493777" y="6342259"/>
                </a:cubicBezTo>
                <a:cubicBezTo>
                  <a:pt x="6493777" y="6344338"/>
                  <a:pt x="6493777" y="6344338"/>
                  <a:pt x="6493777" y="6344338"/>
                </a:cubicBezTo>
                <a:cubicBezTo>
                  <a:pt x="6495834" y="6342259"/>
                  <a:pt x="6495834" y="6342259"/>
                  <a:pt x="6495834" y="6342259"/>
                </a:cubicBezTo>
                <a:cubicBezTo>
                  <a:pt x="6510230" y="6333946"/>
                  <a:pt x="6522569" y="6321475"/>
                  <a:pt x="6532851" y="6304848"/>
                </a:cubicBezTo>
                <a:cubicBezTo>
                  <a:pt x="6534908" y="6306926"/>
                  <a:pt x="6549304" y="6313162"/>
                  <a:pt x="6551360" y="6313162"/>
                </a:cubicBezTo>
                <a:cubicBezTo>
                  <a:pt x="6549304" y="6321475"/>
                  <a:pt x="6549304" y="6331868"/>
                  <a:pt x="6549304" y="6340182"/>
                </a:cubicBezTo>
                <a:cubicBezTo>
                  <a:pt x="6549304" y="6348495"/>
                  <a:pt x="6549304" y="6358888"/>
                  <a:pt x="6551360" y="6365123"/>
                </a:cubicBezTo>
                <a:cubicBezTo>
                  <a:pt x="6551360" y="6367201"/>
                  <a:pt x="6551360" y="6367201"/>
                  <a:pt x="6551360" y="6367201"/>
                </a:cubicBezTo>
                <a:cubicBezTo>
                  <a:pt x="6553417" y="6367201"/>
                  <a:pt x="6553417" y="6367201"/>
                  <a:pt x="6553417" y="6367201"/>
                </a:cubicBezTo>
                <a:cubicBezTo>
                  <a:pt x="6557530" y="6369280"/>
                  <a:pt x="6567812" y="6371358"/>
                  <a:pt x="6573982" y="6373436"/>
                </a:cubicBezTo>
                <a:cubicBezTo>
                  <a:pt x="6576039" y="6373436"/>
                  <a:pt x="6576039" y="6373436"/>
                  <a:pt x="6576039" y="6373436"/>
                </a:cubicBezTo>
                <a:cubicBezTo>
                  <a:pt x="6586321" y="6360966"/>
                  <a:pt x="6596604" y="6344338"/>
                  <a:pt x="6600717" y="6327711"/>
                </a:cubicBezTo>
                <a:cubicBezTo>
                  <a:pt x="6602773" y="6327711"/>
                  <a:pt x="6621282" y="6329789"/>
                  <a:pt x="6623339" y="6329789"/>
                </a:cubicBezTo>
                <a:cubicBezTo>
                  <a:pt x="6623339" y="6348495"/>
                  <a:pt x="6627452" y="6367201"/>
                  <a:pt x="6635678" y="6381750"/>
                </a:cubicBezTo>
                <a:cubicBezTo>
                  <a:pt x="6637734" y="6381750"/>
                  <a:pt x="6637734" y="6381750"/>
                  <a:pt x="6637734" y="6381750"/>
                </a:cubicBezTo>
                <a:cubicBezTo>
                  <a:pt x="6643904" y="6381750"/>
                  <a:pt x="6654187" y="6381750"/>
                  <a:pt x="6658300" y="6381750"/>
                </a:cubicBezTo>
                <a:cubicBezTo>
                  <a:pt x="6660357" y="6381750"/>
                  <a:pt x="6660357" y="6381750"/>
                  <a:pt x="6660357" y="6381750"/>
                </a:cubicBezTo>
                <a:cubicBezTo>
                  <a:pt x="6668583" y="6367201"/>
                  <a:pt x="6672696" y="6348495"/>
                  <a:pt x="6674753" y="6329789"/>
                </a:cubicBezTo>
                <a:cubicBezTo>
                  <a:pt x="6676809" y="6329789"/>
                  <a:pt x="6693261" y="6327711"/>
                  <a:pt x="6695318" y="6327711"/>
                </a:cubicBezTo>
                <a:cubicBezTo>
                  <a:pt x="6699431" y="6344338"/>
                  <a:pt x="6709714" y="6360966"/>
                  <a:pt x="6722053" y="6373436"/>
                </a:cubicBezTo>
                <a:cubicBezTo>
                  <a:pt x="6728222" y="6371358"/>
                  <a:pt x="6738505" y="6369280"/>
                  <a:pt x="6742618" y="6367201"/>
                </a:cubicBezTo>
                <a:cubicBezTo>
                  <a:pt x="6744675" y="6367201"/>
                  <a:pt x="6744675" y="6367201"/>
                  <a:pt x="6744675" y="6367201"/>
                </a:cubicBezTo>
                <a:cubicBezTo>
                  <a:pt x="6746731" y="6358888"/>
                  <a:pt x="6746731" y="6348495"/>
                  <a:pt x="6746731" y="6340182"/>
                </a:cubicBezTo>
                <a:cubicBezTo>
                  <a:pt x="6746731" y="6331868"/>
                  <a:pt x="6746731" y="6321475"/>
                  <a:pt x="6744675" y="6313162"/>
                </a:cubicBezTo>
                <a:cubicBezTo>
                  <a:pt x="6746731" y="6313162"/>
                  <a:pt x="6763183" y="6306926"/>
                  <a:pt x="6765240" y="6304848"/>
                </a:cubicBezTo>
                <a:cubicBezTo>
                  <a:pt x="6773466" y="6321475"/>
                  <a:pt x="6787862" y="6333946"/>
                  <a:pt x="6802257" y="6342259"/>
                </a:cubicBezTo>
                <a:cubicBezTo>
                  <a:pt x="6808427" y="6340182"/>
                  <a:pt x="6816653" y="6336024"/>
                  <a:pt x="6820766" y="6331868"/>
                </a:cubicBezTo>
                <a:cubicBezTo>
                  <a:pt x="6822823" y="6329789"/>
                  <a:pt x="6822823" y="6329789"/>
                  <a:pt x="6822823" y="6329789"/>
                </a:cubicBezTo>
                <a:cubicBezTo>
                  <a:pt x="6822823" y="6329789"/>
                  <a:pt x="6822823" y="6329789"/>
                  <a:pt x="6822823" y="6327711"/>
                </a:cubicBezTo>
                <a:cubicBezTo>
                  <a:pt x="6822823" y="6313162"/>
                  <a:pt x="6816653" y="6294456"/>
                  <a:pt x="6808427" y="6279906"/>
                </a:cubicBezTo>
                <a:cubicBezTo>
                  <a:pt x="6810484" y="6277827"/>
                  <a:pt x="6822823" y="6267436"/>
                  <a:pt x="6824879" y="6265357"/>
                </a:cubicBezTo>
                <a:cubicBezTo>
                  <a:pt x="6839275" y="6277827"/>
                  <a:pt x="6855727" y="6288220"/>
                  <a:pt x="6870123" y="6292377"/>
                </a:cubicBezTo>
                <a:cubicBezTo>
                  <a:pt x="6872180" y="6292377"/>
                  <a:pt x="6872180" y="6292377"/>
                  <a:pt x="6872180" y="6292377"/>
                </a:cubicBezTo>
                <a:cubicBezTo>
                  <a:pt x="6876293" y="6288220"/>
                  <a:pt x="6884519" y="6281985"/>
                  <a:pt x="6886576" y="6275750"/>
                </a:cubicBezTo>
                <a:cubicBezTo>
                  <a:pt x="6888632" y="6275750"/>
                  <a:pt x="6888632" y="6275750"/>
                  <a:pt x="6888632" y="6275750"/>
                </a:cubicBezTo>
                <a:cubicBezTo>
                  <a:pt x="6884519" y="6259121"/>
                  <a:pt x="6874236" y="6242494"/>
                  <a:pt x="6861897" y="6230024"/>
                </a:cubicBezTo>
                <a:cubicBezTo>
                  <a:pt x="6863954" y="6227945"/>
                  <a:pt x="6874236" y="6213395"/>
                  <a:pt x="6874236" y="6211318"/>
                </a:cubicBezTo>
                <a:cubicBezTo>
                  <a:pt x="6890689" y="6219631"/>
                  <a:pt x="6909198" y="6225866"/>
                  <a:pt x="6925650" y="6225866"/>
                </a:cubicBezTo>
                <a:cubicBezTo>
                  <a:pt x="6927706" y="6223788"/>
                  <a:pt x="6927706" y="6223788"/>
                  <a:pt x="6927706" y="6223788"/>
                </a:cubicBezTo>
                <a:cubicBezTo>
                  <a:pt x="6929763" y="6219631"/>
                  <a:pt x="6935933" y="6211318"/>
                  <a:pt x="6937989" y="6205082"/>
                </a:cubicBezTo>
                <a:cubicBezTo>
                  <a:pt x="6937989" y="6203004"/>
                  <a:pt x="6937989" y="6203004"/>
                  <a:pt x="6937989" y="6203004"/>
                </a:cubicBezTo>
                <a:cubicBezTo>
                  <a:pt x="6929763" y="6190533"/>
                  <a:pt x="6915367" y="6175983"/>
                  <a:pt x="6900972" y="6167669"/>
                </a:cubicBezTo>
                <a:cubicBezTo>
                  <a:pt x="6900972" y="6163513"/>
                  <a:pt x="6909198" y="6148963"/>
                  <a:pt x="6909198" y="6146886"/>
                </a:cubicBezTo>
                <a:cubicBezTo>
                  <a:pt x="6925650" y="6151042"/>
                  <a:pt x="6944159" y="6151042"/>
                  <a:pt x="6960611" y="6146886"/>
                </a:cubicBezTo>
                <a:cubicBezTo>
                  <a:pt x="6962667" y="6146886"/>
                  <a:pt x="6962667" y="6146886"/>
                  <a:pt x="6962667" y="6146886"/>
                </a:cubicBezTo>
                <a:cubicBezTo>
                  <a:pt x="6964724" y="6140650"/>
                  <a:pt x="6966781" y="6132336"/>
                  <a:pt x="6966781" y="6126101"/>
                </a:cubicBezTo>
                <a:cubicBezTo>
                  <a:pt x="6966781" y="6124022"/>
                  <a:pt x="6966781" y="6124022"/>
                  <a:pt x="6966781" y="6124022"/>
                </a:cubicBezTo>
                <a:cubicBezTo>
                  <a:pt x="6956498" y="6111551"/>
                  <a:pt x="6940046" y="6103237"/>
                  <a:pt x="6921537" y="6097002"/>
                </a:cubicBezTo>
                <a:cubicBezTo>
                  <a:pt x="6923593" y="6094924"/>
                  <a:pt x="6925650" y="6078296"/>
                  <a:pt x="6925650" y="6076218"/>
                </a:cubicBezTo>
                <a:cubicBezTo>
                  <a:pt x="6944159" y="6076218"/>
                  <a:pt x="6962667" y="6069983"/>
                  <a:pt x="6975007" y="6061669"/>
                </a:cubicBezTo>
                <a:cubicBezTo>
                  <a:pt x="6977063" y="6061669"/>
                  <a:pt x="6977063" y="6061669"/>
                  <a:pt x="6977063" y="6061669"/>
                </a:cubicBezTo>
                <a:cubicBezTo>
                  <a:pt x="6977063" y="6057512"/>
                  <a:pt x="6977063" y="6053355"/>
                  <a:pt x="6977063" y="6049198"/>
                </a:cubicBezTo>
                <a:cubicBezTo>
                  <a:pt x="6977063" y="6047119"/>
                  <a:pt x="6977063" y="6042963"/>
                  <a:pt x="6977063" y="6038805"/>
                </a:cubicBezTo>
                <a:cubicBezTo>
                  <a:pt x="6975007" y="6038805"/>
                  <a:pt x="6975007" y="6038805"/>
                  <a:pt x="6975007" y="6038805"/>
                </a:cubicBezTo>
                <a:cubicBezTo>
                  <a:pt x="6962667" y="6030492"/>
                  <a:pt x="6944159" y="6024257"/>
                  <a:pt x="6925650" y="6024257"/>
                </a:cubicBezTo>
                <a:cubicBezTo>
                  <a:pt x="6925650" y="6022178"/>
                  <a:pt x="6923593" y="6005551"/>
                  <a:pt x="6923593" y="6003472"/>
                </a:cubicBezTo>
                <a:cubicBezTo>
                  <a:pt x="6940046" y="5997237"/>
                  <a:pt x="6956498" y="5988923"/>
                  <a:pt x="6966781" y="5976452"/>
                </a:cubicBezTo>
                <a:cubicBezTo>
                  <a:pt x="6968837" y="5976452"/>
                  <a:pt x="6968837" y="5976452"/>
                  <a:pt x="6968837" y="5976452"/>
                </a:cubicBezTo>
                <a:cubicBezTo>
                  <a:pt x="6968837" y="5974373"/>
                  <a:pt x="6968837" y="5974373"/>
                  <a:pt x="6968837" y="5974373"/>
                </a:cubicBezTo>
                <a:cubicBezTo>
                  <a:pt x="6966781" y="5968138"/>
                  <a:pt x="6964724" y="5959825"/>
                  <a:pt x="6962667" y="5953589"/>
                </a:cubicBezTo>
                <a:cubicBezTo>
                  <a:pt x="6960611" y="5953589"/>
                  <a:pt x="6960611" y="5953589"/>
                  <a:pt x="6960611" y="5953589"/>
                </a:cubicBezTo>
                <a:cubicBezTo>
                  <a:pt x="6946215" y="5947354"/>
                  <a:pt x="6927706" y="5949432"/>
                  <a:pt x="6909198" y="5953589"/>
                </a:cubicBezTo>
                <a:cubicBezTo>
                  <a:pt x="6909198" y="5951511"/>
                  <a:pt x="6903028" y="5934883"/>
                  <a:pt x="6900972" y="5932805"/>
                </a:cubicBezTo>
                <a:cubicBezTo>
                  <a:pt x="6917424" y="5924491"/>
                  <a:pt x="6929763" y="5909941"/>
                  <a:pt x="6937989" y="5895393"/>
                </a:cubicBezTo>
                <a:cubicBezTo>
                  <a:pt x="6937989" y="5893314"/>
                  <a:pt x="6937989" y="5893314"/>
                  <a:pt x="6937989" y="5893314"/>
                </a:cubicBezTo>
                <a:cubicBezTo>
                  <a:pt x="6935933" y="5889157"/>
                  <a:pt x="6931820" y="5880843"/>
                  <a:pt x="6927706" y="5874608"/>
                </a:cubicBezTo>
                <a:cubicBezTo>
                  <a:pt x="6925650" y="5874608"/>
                  <a:pt x="6925650" y="5874608"/>
                  <a:pt x="6925650" y="5874608"/>
                </a:cubicBezTo>
                <a:cubicBezTo>
                  <a:pt x="6909198" y="5874608"/>
                  <a:pt x="6890689" y="5878765"/>
                  <a:pt x="6876293" y="5887079"/>
                </a:cubicBezTo>
                <a:cubicBezTo>
                  <a:pt x="6874236" y="5887079"/>
                  <a:pt x="6863954" y="5872529"/>
                  <a:pt x="6861897" y="5870451"/>
                </a:cubicBezTo>
                <a:cubicBezTo>
                  <a:pt x="6874236" y="5857980"/>
                  <a:pt x="6884519" y="5841353"/>
                  <a:pt x="6888632" y="5824725"/>
                </a:cubicBezTo>
                <a:cubicBezTo>
                  <a:pt x="6888632" y="5822647"/>
                  <a:pt x="6888632" y="5822647"/>
                  <a:pt x="6888632" y="5822647"/>
                </a:cubicBezTo>
                <a:cubicBezTo>
                  <a:pt x="6884519" y="5818490"/>
                  <a:pt x="6878350" y="5812254"/>
                  <a:pt x="6872180" y="5808097"/>
                </a:cubicBezTo>
                <a:cubicBezTo>
                  <a:pt x="6855727" y="5812254"/>
                  <a:pt x="6839275" y="5820568"/>
                  <a:pt x="6826936" y="5833039"/>
                </a:cubicBezTo>
                <a:cubicBezTo>
                  <a:pt x="6824879" y="5833039"/>
                  <a:pt x="6810484" y="5822647"/>
                  <a:pt x="6808427" y="5820568"/>
                </a:cubicBezTo>
                <a:cubicBezTo>
                  <a:pt x="6818710" y="5803941"/>
                  <a:pt x="6822823" y="5787313"/>
                  <a:pt x="6822823" y="5770685"/>
                </a:cubicBezTo>
                <a:cubicBezTo>
                  <a:pt x="6822823" y="5770685"/>
                  <a:pt x="6822823" y="5768607"/>
                  <a:pt x="6822823" y="5768607"/>
                </a:cubicBezTo>
                <a:cubicBezTo>
                  <a:pt x="6816653" y="5764450"/>
                  <a:pt x="6808427" y="5760293"/>
                  <a:pt x="6804314" y="5758215"/>
                </a:cubicBezTo>
                <a:cubicBezTo>
                  <a:pt x="6802257" y="5756136"/>
                  <a:pt x="6802257" y="5756136"/>
                  <a:pt x="6802257" y="5756136"/>
                </a:cubicBezTo>
                <a:cubicBezTo>
                  <a:pt x="6802257" y="5758215"/>
                  <a:pt x="6802257" y="5758215"/>
                  <a:pt x="6802257" y="5758215"/>
                </a:cubicBezTo>
                <a:cubicBezTo>
                  <a:pt x="6787862" y="5764450"/>
                  <a:pt x="6775523" y="5778999"/>
                  <a:pt x="6765240" y="5793548"/>
                </a:cubicBezTo>
                <a:cubicBezTo>
                  <a:pt x="6763183" y="5793548"/>
                  <a:pt x="6746731" y="5787313"/>
                  <a:pt x="6744675" y="5785235"/>
                </a:cubicBezTo>
                <a:cubicBezTo>
                  <a:pt x="6746731" y="5776921"/>
                  <a:pt x="6748788" y="5768607"/>
                  <a:pt x="6748788" y="5758215"/>
                </a:cubicBezTo>
                <a:cubicBezTo>
                  <a:pt x="6748788" y="5749901"/>
                  <a:pt x="6746731" y="5741587"/>
                  <a:pt x="6744675" y="5733273"/>
                </a:cubicBezTo>
                <a:cubicBezTo>
                  <a:pt x="6744675" y="5731195"/>
                  <a:pt x="6744675" y="5731195"/>
                  <a:pt x="6744675" y="5731195"/>
                </a:cubicBezTo>
                <a:cubicBezTo>
                  <a:pt x="6742618" y="5731195"/>
                  <a:pt x="6742618" y="5731195"/>
                  <a:pt x="6742618" y="5731195"/>
                </a:cubicBezTo>
                <a:cubicBezTo>
                  <a:pt x="6738505" y="5729116"/>
                  <a:pt x="6730279" y="5727038"/>
                  <a:pt x="6722053" y="5727038"/>
                </a:cubicBezTo>
                <a:cubicBezTo>
                  <a:pt x="6709714" y="5737430"/>
                  <a:pt x="6699431" y="5754058"/>
                  <a:pt x="6695318" y="5772764"/>
                </a:cubicBezTo>
                <a:cubicBezTo>
                  <a:pt x="6693261" y="5770685"/>
                  <a:pt x="6676809" y="5768607"/>
                  <a:pt x="6672696" y="5768607"/>
                </a:cubicBezTo>
                <a:cubicBezTo>
                  <a:pt x="6672696" y="5751979"/>
                  <a:pt x="6668583" y="5733273"/>
                  <a:pt x="6660357" y="5718724"/>
                </a:cubicBezTo>
                <a:cubicBezTo>
                  <a:pt x="6658300" y="5718724"/>
                  <a:pt x="6658300" y="5718724"/>
                  <a:pt x="6658300" y="5718724"/>
                </a:cubicBezTo>
                <a:cubicBezTo>
                  <a:pt x="6652131" y="5716645"/>
                  <a:pt x="6643904" y="5716645"/>
                  <a:pt x="6637734" y="5718724"/>
                </a:cubicBezTo>
                <a:cubicBezTo>
                  <a:pt x="6635678" y="5718724"/>
                  <a:pt x="6635678" y="5718724"/>
                  <a:pt x="6635678" y="5718724"/>
                </a:cubicBezTo>
                <a:close/>
                <a:moveTo>
                  <a:pt x="0" y="0"/>
                </a:moveTo>
                <a:lnTo>
                  <a:pt x="12192000" y="0"/>
                </a:lnTo>
                <a:lnTo>
                  <a:pt x="12192000" y="6858000"/>
                </a:lnTo>
                <a:lnTo>
                  <a:pt x="4539049" y="6858000"/>
                </a:lnTo>
                <a:lnTo>
                  <a:pt x="0" y="6858000"/>
                </a:lnTo>
                <a:lnTo>
                  <a:pt x="0" y="6273113"/>
                </a:lnTo>
                <a:close/>
              </a:path>
            </a:pathLst>
          </a:custGeom>
          <a:solidFill>
            <a:srgbClr val="48595D">
              <a:alpha val="70000"/>
            </a:srgbClr>
          </a:solidFill>
        </p:spPr>
        <p:txBody>
          <a:bodyPr wrap="square" tIns="3474720">
            <a:noAutofit/>
          </a:bodyPr>
          <a:lstStyle>
            <a:lvl1pPr marL="0" indent="0" algn="ctr">
              <a:buNone/>
              <a:defRPr sz="3300" b="1" cap="all" baseline="0">
                <a:solidFill>
                  <a:schemeClr val="bg1"/>
                </a:solidFill>
                <a:latin typeface="+mj-lt"/>
              </a:defRPr>
            </a:lvl1pPr>
            <a:lvl2pPr marL="0" indent="0" algn="ctr">
              <a:buNone/>
              <a:defRPr sz="1500">
                <a:solidFill>
                  <a:schemeClr val="bg1"/>
                </a:solidFill>
              </a:defRPr>
            </a:lvl2pPr>
            <a:lvl3pPr>
              <a:defRPr sz="1350"/>
            </a:lvl3pPr>
            <a:lvl4pPr>
              <a:defRPr sz="1200"/>
            </a:lvl4pPr>
            <a:lvl5pPr>
              <a:defRPr sz="1200"/>
            </a:lvl5pPr>
          </a:lstStyle>
          <a:p>
            <a:pPr lvl="0"/>
            <a:r>
              <a:rPr lang="en-US"/>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829734" y="4174068"/>
            <a:ext cx="10532535" cy="465667"/>
          </a:xfrm>
        </p:spPr>
        <p:txBody>
          <a:bodyPr/>
          <a:lstStyle>
            <a:lvl1pPr marL="0" indent="0" algn="ctr">
              <a:buNone/>
              <a:defRPr sz="1800">
                <a:solidFill>
                  <a:srgbClr val="01B0E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2" name="Slide Number Placeholder 5">
            <a:extLst>
              <a:ext uri="{FF2B5EF4-FFF2-40B4-BE49-F238E27FC236}">
                <a16:creationId xmlns:a16="http://schemas.microsoft.com/office/drawing/2014/main" id="{5130B4A2-183C-4739-A12D-8649A5A9BAC2}"/>
              </a:ext>
            </a:extLst>
          </p:cNvPr>
          <p:cNvSpPr>
            <a:spLocks noGrp="1"/>
          </p:cNvSpPr>
          <p:nvPr>
            <p:ph type="sldNum" sz="quarter" idx="12"/>
          </p:nvPr>
        </p:nvSpPr>
        <p:spPr>
          <a:xfrm>
            <a:off x="11650134" y="115572"/>
            <a:ext cx="423335"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3017433070"/>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chemeClr val="accent1"/>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1125">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4"/>
            <a:ext cx="10972800" cy="4525963"/>
          </a:xfrm>
          <a:prstGeom prst="rect">
            <a:avLst/>
          </a:prstGeom>
        </p:spPr>
        <p:txBody>
          <a:bodyPr/>
          <a:lstStyle>
            <a:lvl1pPr>
              <a:defRPr sz="1688">
                <a:solidFill>
                  <a:srgbClr val="58585A"/>
                </a:solidFill>
                <a:latin typeface="Georgia"/>
                <a:cs typeface="Georgia"/>
              </a:defRPr>
            </a:lvl1pPr>
            <a:lvl2pPr>
              <a:defRPr sz="1463">
                <a:solidFill>
                  <a:srgbClr val="58585A"/>
                </a:solidFill>
                <a:latin typeface="Georgia"/>
                <a:cs typeface="Georgia"/>
              </a:defRPr>
            </a:lvl2pPr>
            <a:lvl3pPr>
              <a:defRPr sz="1238">
                <a:solidFill>
                  <a:srgbClr val="58585A"/>
                </a:solidFill>
                <a:latin typeface="Georgia"/>
                <a:cs typeface="Georgia"/>
              </a:defRPr>
            </a:lvl3pPr>
            <a:lvl4pPr>
              <a:defRPr sz="1013">
                <a:solidFill>
                  <a:srgbClr val="58585A"/>
                </a:solidFill>
                <a:latin typeface="Georgia"/>
                <a:cs typeface="Georgia"/>
              </a:defRPr>
            </a:lvl4pPr>
            <a:lvl5pPr>
              <a:defRPr sz="9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03116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rgbClr val="005DAA"/>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1125">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4"/>
            <a:ext cx="10972800" cy="4525963"/>
          </a:xfrm>
          <a:prstGeom prst="rect">
            <a:avLst/>
          </a:prstGeom>
        </p:spPr>
        <p:txBody>
          <a:bodyPr/>
          <a:lstStyle>
            <a:lvl1pPr>
              <a:defRPr sz="1688">
                <a:solidFill>
                  <a:srgbClr val="58585A"/>
                </a:solidFill>
                <a:latin typeface="Georgia"/>
                <a:cs typeface="Georgia"/>
              </a:defRPr>
            </a:lvl1pPr>
            <a:lvl2pPr>
              <a:defRPr sz="1463">
                <a:solidFill>
                  <a:srgbClr val="58585A"/>
                </a:solidFill>
                <a:latin typeface="Georgia"/>
                <a:cs typeface="Georgia"/>
              </a:defRPr>
            </a:lvl2pPr>
            <a:lvl3pPr>
              <a:defRPr sz="1238">
                <a:solidFill>
                  <a:srgbClr val="58585A"/>
                </a:solidFill>
                <a:latin typeface="Georgia"/>
                <a:cs typeface="Georgia"/>
              </a:defRPr>
            </a:lvl3pPr>
            <a:lvl4pPr>
              <a:defRPr sz="1013">
                <a:solidFill>
                  <a:srgbClr val="58585A"/>
                </a:solidFill>
                <a:latin typeface="Georgia"/>
                <a:cs typeface="Georgia"/>
              </a:defRPr>
            </a:lvl4pPr>
            <a:lvl5pPr>
              <a:defRPr sz="9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42004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chemeClr val="tx2"/>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1125">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4"/>
            <a:ext cx="10972800" cy="4525963"/>
          </a:xfrm>
          <a:prstGeom prst="rect">
            <a:avLst/>
          </a:prstGeom>
        </p:spPr>
        <p:txBody>
          <a:bodyPr/>
          <a:lstStyle>
            <a:lvl1pPr>
              <a:defRPr sz="1688">
                <a:solidFill>
                  <a:srgbClr val="58585A"/>
                </a:solidFill>
                <a:latin typeface="Georgia"/>
                <a:cs typeface="Georgia"/>
              </a:defRPr>
            </a:lvl1pPr>
            <a:lvl2pPr>
              <a:defRPr sz="1463">
                <a:solidFill>
                  <a:srgbClr val="58585A"/>
                </a:solidFill>
                <a:latin typeface="Georgia"/>
                <a:cs typeface="Georgia"/>
              </a:defRPr>
            </a:lvl2pPr>
            <a:lvl3pPr>
              <a:defRPr sz="1238">
                <a:solidFill>
                  <a:srgbClr val="58585A"/>
                </a:solidFill>
                <a:latin typeface="Georgia"/>
                <a:cs typeface="Georgia"/>
              </a:defRPr>
            </a:lvl3pPr>
            <a:lvl4pPr>
              <a:defRPr sz="1013">
                <a:solidFill>
                  <a:srgbClr val="58585A"/>
                </a:solidFill>
                <a:latin typeface="Georgia"/>
                <a:cs typeface="Georgia"/>
              </a:defRPr>
            </a:lvl4pPr>
            <a:lvl5pPr>
              <a:defRPr sz="9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84968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chemeClr val="accent3"/>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1125">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4"/>
            <a:ext cx="10972800" cy="4525963"/>
          </a:xfrm>
          <a:prstGeom prst="rect">
            <a:avLst/>
          </a:prstGeom>
        </p:spPr>
        <p:txBody>
          <a:bodyPr/>
          <a:lstStyle>
            <a:lvl1pPr>
              <a:defRPr sz="1688">
                <a:solidFill>
                  <a:srgbClr val="58585A"/>
                </a:solidFill>
                <a:latin typeface="Georgia"/>
                <a:cs typeface="Georgia"/>
              </a:defRPr>
            </a:lvl1pPr>
            <a:lvl2pPr>
              <a:defRPr sz="1463">
                <a:solidFill>
                  <a:srgbClr val="58585A"/>
                </a:solidFill>
                <a:latin typeface="Georgia"/>
                <a:cs typeface="Georgia"/>
              </a:defRPr>
            </a:lvl2pPr>
            <a:lvl3pPr>
              <a:defRPr sz="1238">
                <a:solidFill>
                  <a:srgbClr val="58585A"/>
                </a:solidFill>
                <a:latin typeface="Georgia"/>
                <a:cs typeface="Georgia"/>
              </a:defRPr>
            </a:lvl3pPr>
            <a:lvl4pPr>
              <a:defRPr sz="1013">
                <a:solidFill>
                  <a:srgbClr val="58585A"/>
                </a:solidFill>
                <a:latin typeface="Georgia"/>
                <a:cs typeface="Georgia"/>
              </a:defRPr>
            </a:lvl4pPr>
            <a:lvl5pPr>
              <a:defRPr sz="9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63086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Rectangle 4"/>
          <p:cNvSpPr/>
          <p:nvPr userDrawn="1"/>
        </p:nvSpPr>
        <p:spPr>
          <a:xfrm>
            <a:off x="-101600" y="457200"/>
            <a:ext cx="12395200" cy="533400"/>
          </a:xfrm>
          <a:prstGeom prst="rect">
            <a:avLst/>
          </a:prstGeom>
          <a:solidFill>
            <a:schemeClr val="accent6"/>
          </a:solidFill>
          <a:ln>
            <a:noFill/>
          </a:ln>
          <a:effectLst>
            <a:outerShdw blurRad="88900" dist="61087" dir="5400000" rotWithShape="0">
              <a:srgbClr val="000000">
                <a:alpha val="2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51435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1125">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4"/>
            <a:ext cx="10972800" cy="4525963"/>
          </a:xfrm>
          <a:prstGeom prst="rect">
            <a:avLst/>
          </a:prstGeom>
        </p:spPr>
        <p:txBody>
          <a:bodyPr/>
          <a:lstStyle>
            <a:lvl1pPr>
              <a:defRPr sz="1688">
                <a:solidFill>
                  <a:srgbClr val="58585A"/>
                </a:solidFill>
                <a:latin typeface="Georgia"/>
                <a:cs typeface="Georgia"/>
              </a:defRPr>
            </a:lvl1pPr>
            <a:lvl2pPr>
              <a:defRPr sz="1463">
                <a:solidFill>
                  <a:srgbClr val="58585A"/>
                </a:solidFill>
                <a:latin typeface="Georgia"/>
                <a:cs typeface="Georgia"/>
              </a:defRPr>
            </a:lvl2pPr>
            <a:lvl3pPr>
              <a:defRPr sz="1238">
                <a:solidFill>
                  <a:srgbClr val="58585A"/>
                </a:solidFill>
                <a:latin typeface="Georgia"/>
                <a:cs typeface="Georgia"/>
              </a:defRPr>
            </a:lvl3pPr>
            <a:lvl4pPr>
              <a:defRPr sz="1013">
                <a:solidFill>
                  <a:srgbClr val="58585A"/>
                </a:solidFill>
                <a:latin typeface="Georgia"/>
                <a:cs typeface="Georgia"/>
              </a:defRPr>
            </a:lvl4pPr>
            <a:lvl5pPr>
              <a:defRPr sz="9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37994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1"/>
          <p:cNvSpPr>
            <a:spLocks noGrp="1"/>
          </p:cNvSpPr>
          <p:nvPr>
            <p:ph type="title"/>
          </p:nvPr>
        </p:nvSpPr>
        <p:spPr>
          <a:xfrm>
            <a:off x="508000" y="228600"/>
            <a:ext cx="11684000" cy="533400"/>
          </a:xfrm>
          <a:prstGeom prst="rect">
            <a:avLst/>
          </a:prstGeom>
        </p:spPr>
        <p:txBody>
          <a:bodyPr lIns="0" tIns="0" rIns="0" bIns="0" anchor="ctr" anchorCtr="0"/>
          <a:lstStyle>
            <a:lvl1pPr algn="l">
              <a:defRPr sz="1013">
                <a:solidFill>
                  <a:schemeClr val="bg1">
                    <a:lumMod val="85000"/>
                  </a:schemeClr>
                </a:solidFill>
                <a:latin typeface="Arial Narrow"/>
                <a:cs typeface="Arial Narrow"/>
              </a:defRPr>
            </a:lvl1pPr>
          </a:lstStyle>
          <a:p>
            <a:r>
              <a:rPr lang="en-US"/>
              <a:t>Click to edit Master title style</a:t>
            </a:r>
            <a:endParaRPr lang="en-US" dirty="0"/>
          </a:p>
        </p:txBody>
      </p:sp>
    </p:spTree>
    <p:extLst>
      <p:ext uri="{BB962C8B-B14F-4D97-AF65-F5344CB8AC3E}">
        <p14:creationId xmlns:p14="http://schemas.microsoft.com/office/powerpoint/2010/main" val="29406088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a:prstGeom prst="rect">
            <a:avLst/>
          </a:prstGeom>
        </p:spPr>
        <p:txBody>
          <a:bodyPr anchor="t"/>
          <a:lstStyle>
            <a:lvl1pPr algn="l">
              <a:defRPr sz="2250" b="0" i="0" cap="all">
                <a:latin typeface="Arial Narrow"/>
                <a:cs typeface="Arial Narrow"/>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1125">
                <a:solidFill>
                  <a:schemeClr val="tx1">
                    <a:tint val="75000"/>
                  </a:schemeClr>
                </a:solidFill>
                <a:latin typeface="Georgia"/>
                <a:cs typeface="Georgia"/>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7515578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sz="2025">
                <a:latin typeface="Arial Narrow"/>
                <a:cs typeface="Arial Narrow"/>
              </a:defRPr>
            </a:lvl1pPr>
          </a:lstStyle>
          <a:p>
            <a:r>
              <a:rPr lang="en-US"/>
              <a:t>Click to edit Master title style</a:t>
            </a:r>
            <a:endParaRPr lang="en-US" dirty="0"/>
          </a:p>
        </p:txBody>
      </p:sp>
      <p:sp>
        <p:nvSpPr>
          <p:cNvPr id="3" name="Content Placeholder 2"/>
          <p:cNvSpPr>
            <a:spLocks noGrp="1"/>
          </p:cNvSpPr>
          <p:nvPr>
            <p:ph sz="half" idx="1"/>
          </p:nvPr>
        </p:nvSpPr>
        <p:spPr>
          <a:xfrm>
            <a:off x="609600" y="1600205"/>
            <a:ext cx="5384800" cy="4525963"/>
          </a:xfrm>
          <a:prstGeom prst="rect">
            <a:avLst/>
          </a:prstGeom>
        </p:spPr>
        <p:txBody>
          <a:bodyPr/>
          <a:lstStyle>
            <a:lvl1pPr>
              <a:defRPr sz="1575">
                <a:latin typeface="Georgia"/>
                <a:cs typeface="Georgia"/>
              </a:defRPr>
            </a:lvl1pPr>
            <a:lvl2pPr>
              <a:defRPr sz="1350">
                <a:latin typeface="Georgia"/>
                <a:cs typeface="Georgia"/>
              </a:defRPr>
            </a:lvl2pPr>
            <a:lvl3pPr>
              <a:defRPr sz="1125">
                <a:latin typeface="Georgia"/>
                <a:cs typeface="Georgia"/>
              </a:defRPr>
            </a:lvl3pPr>
            <a:lvl4pPr>
              <a:defRPr sz="1013">
                <a:latin typeface="Georgia"/>
                <a:cs typeface="Georgia"/>
              </a:defRPr>
            </a:lvl4pPr>
            <a:lvl5pPr>
              <a:defRPr sz="1013">
                <a:latin typeface="Georgia"/>
                <a:cs typeface="Georgia"/>
              </a:defRPr>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5"/>
            <a:ext cx="5384800" cy="4525963"/>
          </a:xfrm>
          <a:prstGeom prst="rect">
            <a:avLst/>
          </a:prstGeom>
        </p:spPr>
        <p:txBody>
          <a:bodyPr/>
          <a:lstStyle>
            <a:lvl1pPr>
              <a:defRPr sz="1575">
                <a:latin typeface="Georgia"/>
                <a:cs typeface="Georgia"/>
              </a:defRPr>
            </a:lvl1pPr>
            <a:lvl2pPr>
              <a:defRPr sz="1350">
                <a:latin typeface="Georgia"/>
                <a:cs typeface="Georgia"/>
              </a:defRPr>
            </a:lvl2pPr>
            <a:lvl3pPr>
              <a:defRPr sz="1125">
                <a:latin typeface="Georgia"/>
                <a:cs typeface="Georgia"/>
              </a:defRPr>
            </a:lvl3pPr>
            <a:lvl4pPr>
              <a:defRPr sz="1013">
                <a:latin typeface="Georgia"/>
                <a:cs typeface="Georgia"/>
              </a:defRPr>
            </a:lvl4pPr>
            <a:lvl5pPr>
              <a:defRPr sz="1013">
                <a:latin typeface="Georgia"/>
                <a:cs typeface="Georgia"/>
              </a:defRPr>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3086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FFE08B14-8363-4F95-B6E5-F69CDCFFCF36}"/>
              </a:ext>
            </a:extLst>
          </p:cNvPr>
          <p:cNvSpPr>
            <a:spLocks noGrp="1"/>
          </p:cNvSpPr>
          <p:nvPr>
            <p:ph type="pic" sz="quarter" idx="16"/>
          </p:nvPr>
        </p:nvSpPr>
        <p:spPr>
          <a:xfrm>
            <a:off x="0" y="2403335"/>
            <a:ext cx="12192000" cy="4454665"/>
          </a:xfrm>
          <a:custGeom>
            <a:avLst/>
            <a:gdLst>
              <a:gd name="connsiteX0" fmla="*/ 11946675 w 12192000"/>
              <a:gd name="connsiteY0" fmla="*/ 4274241 h 4454665"/>
              <a:gd name="connsiteX1" fmla="*/ 11952788 w 12192000"/>
              <a:gd name="connsiteY1" fmla="*/ 4274241 h 4454665"/>
              <a:gd name="connsiteX2" fmla="*/ 11958183 w 12192000"/>
              <a:gd name="connsiteY2" fmla="*/ 4274816 h 4454665"/>
              <a:gd name="connsiteX3" fmla="*/ 11960461 w 12192000"/>
              <a:gd name="connsiteY3" fmla="*/ 4276559 h 4454665"/>
              <a:gd name="connsiteX4" fmla="*/ 11961281 w 12192000"/>
              <a:gd name="connsiteY4" fmla="*/ 4279206 h 4454665"/>
              <a:gd name="connsiteX5" fmla="*/ 11959578 w 12192000"/>
              <a:gd name="connsiteY5" fmla="*/ 4282898 h 4454665"/>
              <a:gd name="connsiteX6" fmla="*/ 11953198 w 12192000"/>
              <a:gd name="connsiteY6" fmla="*/ 4284293 h 4454665"/>
              <a:gd name="connsiteX7" fmla="*/ 11946675 w 12192000"/>
              <a:gd name="connsiteY7" fmla="*/ 4284293 h 4454665"/>
              <a:gd name="connsiteX8" fmla="*/ 11941300 w 12192000"/>
              <a:gd name="connsiteY8" fmla="*/ 4269729 h 4454665"/>
              <a:gd name="connsiteX9" fmla="*/ 11941300 w 12192000"/>
              <a:gd name="connsiteY9" fmla="*/ 4303043 h 4454665"/>
              <a:gd name="connsiteX10" fmla="*/ 11946675 w 12192000"/>
              <a:gd name="connsiteY10" fmla="*/ 4303043 h 4454665"/>
              <a:gd name="connsiteX11" fmla="*/ 11946675 w 12192000"/>
              <a:gd name="connsiteY11" fmla="*/ 4288889 h 4454665"/>
              <a:gd name="connsiteX12" fmla="*/ 11949834 w 12192000"/>
              <a:gd name="connsiteY12" fmla="*/ 4288889 h 4454665"/>
              <a:gd name="connsiteX13" fmla="*/ 11954142 w 12192000"/>
              <a:gd name="connsiteY13" fmla="*/ 4290037 h 4454665"/>
              <a:gd name="connsiteX14" fmla="*/ 11959762 w 12192000"/>
              <a:gd name="connsiteY14" fmla="*/ 4297791 h 4454665"/>
              <a:gd name="connsiteX15" fmla="*/ 11962717 w 12192000"/>
              <a:gd name="connsiteY15" fmla="*/ 4303043 h 4454665"/>
              <a:gd name="connsiteX16" fmla="*/ 11969281 w 12192000"/>
              <a:gd name="connsiteY16" fmla="*/ 4303043 h 4454665"/>
              <a:gd name="connsiteX17" fmla="*/ 11965220 w 12192000"/>
              <a:gd name="connsiteY17" fmla="*/ 4296519 h 4454665"/>
              <a:gd name="connsiteX18" fmla="*/ 11960296 w 12192000"/>
              <a:gd name="connsiteY18" fmla="*/ 4289914 h 4454665"/>
              <a:gd name="connsiteX19" fmla="*/ 11957466 w 12192000"/>
              <a:gd name="connsiteY19" fmla="*/ 4288150 h 4454665"/>
              <a:gd name="connsiteX20" fmla="*/ 11964378 w 12192000"/>
              <a:gd name="connsiteY20" fmla="*/ 4285114 h 4454665"/>
              <a:gd name="connsiteX21" fmla="*/ 11966983 w 12192000"/>
              <a:gd name="connsiteY21" fmla="*/ 4278755 h 4454665"/>
              <a:gd name="connsiteX22" fmla="*/ 11965424 w 12192000"/>
              <a:gd name="connsiteY22" fmla="*/ 4273872 h 4454665"/>
              <a:gd name="connsiteX23" fmla="*/ 11961239 w 12192000"/>
              <a:gd name="connsiteY23" fmla="*/ 4270652 h 4454665"/>
              <a:gd name="connsiteX24" fmla="*/ 11952747 w 12192000"/>
              <a:gd name="connsiteY24" fmla="*/ 4269729 h 4454665"/>
              <a:gd name="connsiteX25" fmla="*/ 10902089 w 12192000"/>
              <a:gd name="connsiteY25" fmla="*/ 4267158 h 4454665"/>
              <a:gd name="connsiteX26" fmla="*/ 10905603 w 12192000"/>
              <a:gd name="connsiteY26" fmla="*/ 4267158 h 4454665"/>
              <a:gd name="connsiteX27" fmla="*/ 10905603 w 12192000"/>
              <a:gd name="connsiteY27" fmla="*/ 4270699 h 4454665"/>
              <a:gd name="connsiteX28" fmla="*/ 10877492 w 12192000"/>
              <a:gd name="connsiteY28" fmla="*/ 4306121 h 4454665"/>
              <a:gd name="connsiteX29" fmla="*/ 10859922 w 12192000"/>
              <a:gd name="connsiteY29" fmla="*/ 4288411 h 4454665"/>
              <a:gd name="connsiteX30" fmla="*/ 10902089 w 12192000"/>
              <a:gd name="connsiteY30" fmla="*/ 4267158 h 4454665"/>
              <a:gd name="connsiteX31" fmla="*/ 11954881 w 12192000"/>
              <a:gd name="connsiteY31" fmla="*/ 4260087 h 4454665"/>
              <a:gd name="connsiteX32" fmla="*/ 11967558 w 12192000"/>
              <a:gd name="connsiteY32" fmla="*/ 4263431 h 4454665"/>
              <a:gd name="connsiteX33" fmla="*/ 11977220 w 12192000"/>
              <a:gd name="connsiteY33" fmla="*/ 4272990 h 4454665"/>
              <a:gd name="connsiteX34" fmla="*/ 11980687 w 12192000"/>
              <a:gd name="connsiteY34" fmla="*/ 4285934 h 4454665"/>
              <a:gd name="connsiteX35" fmla="*/ 11977282 w 12192000"/>
              <a:gd name="connsiteY35" fmla="*/ 4298755 h 4454665"/>
              <a:gd name="connsiteX36" fmla="*/ 11967722 w 12192000"/>
              <a:gd name="connsiteY36" fmla="*/ 4308315 h 4454665"/>
              <a:gd name="connsiteX37" fmla="*/ 11954881 w 12192000"/>
              <a:gd name="connsiteY37" fmla="*/ 4311741 h 4454665"/>
              <a:gd name="connsiteX38" fmla="*/ 11942039 w 12192000"/>
              <a:gd name="connsiteY38" fmla="*/ 4308315 h 4454665"/>
              <a:gd name="connsiteX39" fmla="*/ 11932459 w 12192000"/>
              <a:gd name="connsiteY39" fmla="*/ 4298755 h 4454665"/>
              <a:gd name="connsiteX40" fmla="*/ 11929033 w 12192000"/>
              <a:gd name="connsiteY40" fmla="*/ 4285934 h 4454665"/>
              <a:gd name="connsiteX41" fmla="*/ 11932521 w 12192000"/>
              <a:gd name="connsiteY41" fmla="*/ 4272990 h 4454665"/>
              <a:gd name="connsiteX42" fmla="*/ 11942183 w 12192000"/>
              <a:gd name="connsiteY42" fmla="*/ 4263431 h 4454665"/>
              <a:gd name="connsiteX43" fmla="*/ 11954881 w 12192000"/>
              <a:gd name="connsiteY43" fmla="*/ 4260087 h 4454665"/>
              <a:gd name="connsiteX44" fmla="*/ 11954881 w 12192000"/>
              <a:gd name="connsiteY44" fmla="*/ 4254959 h 4454665"/>
              <a:gd name="connsiteX45" fmla="*/ 11939660 w 12192000"/>
              <a:gd name="connsiteY45" fmla="*/ 4258959 h 4454665"/>
              <a:gd name="connsiteX46" fmla="*/ 11928069 w 12192000"/>
              <a:gd name="connsiteY46" fmla="*/ 4270406 h 4454665"/>
              <a:gd name="connsiteX47" fmla="*/ 11923904 w 12192000"/>
              <a:gd name="connsiteY47" fmla="*/ 4285934 h 4454665"/>
              <a:gd name="connsiteX48" fmla="*/ 11928007 w 12192000"/>
              <a:gd name="connsiteY48" fmla="*/ 4301320 h 4454665"/>
              <a:gd name="connsiteX49" fmla="*/ 11939474 w 12192000"/>
              <a:gd name="connsiteY49" fmla="*/ 4312787 h 4454665"/>
              <a:gd name="connsiteX50" fmla="*/ 11954881 w 12192000"/>
              <a:gd name="connsiteY50" fmla="*/ 4316869 h 4454665"/>
              <a:gd name="connsiteX51" fmla="*/ 11970287 w 12192000"/>
              <a:gd name="connsiteY51" fmla="*/ 4312787 h 4454665"/>
              <a:gd name="connsiteX52" fmla="*/ 11981733 w 12192000"/>
              <a:gd name="connsiteY52" fmla="*/ 4301320 h 4454665"/>
              <a:gd name="connsiteX53" fmla="*/ 11985815 w 12192000"/>
              <a:gd name="connsiteY53" fmla="*/ 4285934 h 4454665"/>
              <a:gd name="connsiteX54" fmla="*/ 11981671 w 12192000"/>
              <a:gd name="connsiteY54" fmla="*/ 4270406 h 4454665"/>
              <a:gd name="connsiteX55" fmla="*/ 11970101 w 12192000"/>
              <a:gd name="connsiteY55" fmla="*/ 4258959 h 4454665"/>
              <a:gd name="connsiteX56" fmla="*/ 11954881 w 12192000"/>
              <a:gd name="connsiteY56" fmla="*/ 4254959 h 4454665"/>
              <a:gd name="connsiteX57" fmla="*/ 11091685 w 12192000"/>
              <a:gd name="connsiteY57" fmla="*/ 4225507 h 4454665"/>
              <a:gd name="connsiteX58" fmla="*/ 11123259 w 12192000"/>
              <a:gd name="connsiteY58" fmla="*/ 4265814 h 4454665"/>
              <a:gd name="connsiteX59" fmla="*/ 11091685 w 12192000"/>
              <a:gd name="connsiteY59" fmla="*/ 4306120 h 4454665"/>
              <a:gd name="connsiteX60" fmla="*/ 11060111 w 12192000"/>
              <a:gd name="connsiteY60" fmla="*/ 4265814 h 4454665"/>
              <a:gd name="connsiteX61" fmla="*/ 11091685 w 12192000"/>
              <a:gd name="connsiteY61" fmla="*/ 4225507 h 4454665"/>
              <a:gd name="connsiteX62" fmla="*/ 10781998 w 12192000"/>
              <a:gd name="connsiteY62" fmla="*/ 4225507 h 4454665"/>
              <a:gd name="connsiteX63" fmla="*/ 10810212 w 12192000"/>
              <a:gd name="connsiteY63" fmla="*/ 4265814 h 4454665"/>
              <a:gd name="connsiteX64" fmla="*/ 10781998 w 12192000"/>
              <a:gd name="connsiteY64" fmla="*/ 4306120 h 4454665"/>
              <a:gd name="connsiteX65" fmla="*/ 10753783 w 12192000"/>
              <a:gd name="connsiteY65" fmla="*/ 4265814 h 4454665"/>
              <a:gd name="connsiteX66" fmla="*/ 10781998 w 12192000"/>
              <a:gd name="connsiteY66" fmla="*/ 4225507 h 4454665"/>
              <a:gd name="connsiteX67" fmla="*/ 10469622 w 12192000"/>
              <a:gd name="connsiteY67" fmla="*/ 4225507 h 4454665"/>
              <a:gd name="connsiteX68" fmla="*/ 10501196 w 12192000"/>
              <a:gd name="connsiteY68" fmla="*/ 4265814 h 4454665"/>
              <a:gd name="connsiteX69" fmla="*/ 10469622 w 12192000"/>
              <a:gd name="connsiteY69" fmla="*/ 4306120 h 4454665"/>
              <a:gd name="connsiteX70" fmla="*/ 10438048 w 12192000"/>
              <a:gd name="connsiteY70" fmla="*/ 4265814 h 4454665"/>
              <a:gd name="connsiteX71" fmla="*/ 10469622 w 12192000"/>
              <a:gd name="connsiteY71" fmla="*/ 4225507 h 4454665"/>
              <a:gd name="connsiteX72" fmla="*/ 11014562 w 12192000"/>
              <a:gd name="connsiteY72" fmla="*/ 4220260 h 4454665"/>
              <a:gd name="connsiteX73" fmla="*/ 11014562 w 12192000"/>
              <a:gd name="connsiteY73" fmla="*/ 4316220 h 4454665"/>
              <a:gd name="connsiteX74" fmla="*/ 11026851 w 12192000"/>
              <a:gd name="connsiteY74" fmla="*/ 4316220 h 4454665"/>
              <a:gd name="connsiteX75" fmla="*/ 11026851 w 12192000"/>
              <a:gd name="connsiteY75" fmla="*/ 4220260 h 4454665"/>
              <a:gd name="connsiteX76" fmla="*/ 11158189 w 12192000"/>
              <a:gd name="connsiteY76" fmla="*/ 4218790 h 4454665"/>
              <a:gd name="connsiteX77" fmla="*/ 11158189 w 12192000"/>
              <a:gd name="connsiteY77" fmla="*/ 4243173 h 4454665"/>
              <a:gd name="connsiteX78" fmla="*/ 11158189 w 12192000"/>
              <a:gd name="connsiteY78" fmla="*/ 4312838 h 4454665"/>
              <a:gd name="connsiteX79" fmla="*/ 11172009 w 12192000"/>
              <a:gd name="connsiteY79" fmla="*/ 4312838 h 4454665"/>
              <a:gd name="connsiteX80" fmla="*/ 11172009 w 12192000"/>
              <a:gd name="connsiteY80" fmla="*/ 4260589 h 4454665"/>
              <a:gd name="connsiteX81" fmla="*/ 11199648 w 12192000"/>
              <a:gd name="connsiteY81" fmla="*/ 4225756 h 4454665"/>
              <a:gd name="connsiteX82" fmla="*/ 11220377 w 12192000"/>
              <a:gd name="connsiteY82" fmla="*/ 4257106 h 4454665"/>
              <a:gd name="connsiteX83" fmla="*/ 11220377 w 12192000"/>
              <a:gd name="connsiteY83" fmla="*/ 4312838 h 4454665"/>
              <a:gd name="connsiteX84" fmla="*/ 11230741 w 12192000"/>
              <a:gd name="connsiteY84" fmla="*/ 4312838 h 4454665"/>
              <a:gd name="connsiteX85" fmla="*/ 11230741 w 12192000"/>
              <a:gd name="connsiteY85" fmla="*/ 4253622 h 4454665"/>
              <a:gd name="connsiteX86" fmla="*/ 11199648 w 12192000"/>
              <a:gd name="connsiteY86" fmla="*/ 4218790 h 4454665"/>
              <a:gd name="connsiteX87" fmla="*/ 11168554 w 12192000"/>
              <a:gd name="connsiteY87" fmla="*/ 4236206 h 4454665"/>
              <a:gd name="connsiteX88" fmla="*/ 11168554 w 12192000"/>
              <a:gd name="connsiteY88" fmla="*/ 4218790 h 4454665"/>
              <a:gd name="connsiteX89" fmla="*/ 11158189 w 12192000"/>
              <a:gd name="connsiteY89" fmla="*/ 4218790 h 4454665"/>
              <a:gd name="connsiteX90" fmla="*/ 11088997 w 12192000"/>
              <a:gd name="connsiteY90" fmla="*/ 4218790 h 4454665"/>
              <a:gd name="connsiteX91" fmla="*/ 11045332 w 12192000"/>
              <a:gd name="connsiteY91" fmla="*/ 4267830 h 4454665"/>
              <a:gd name="connsiteX92" fmla="*/ 11088997 w 12192000"/>
              <a:gd name="connsiteY92" fmla="*/ 4316869 h 4454665"/>
              <a:gd name="connsiteX93" fmla="*/ 11132662 w 12192000"/>
              <a:gd name="connsiteY93" fmla="*/ 4267830 h 4454665"/>
              <a:gd name="connsiteX94" fmla="*/ 11088997 w 12192000"/>
              <a:gd name="connsiteY94" fmla="*/ 4218790 h 4454665"/>
              <a:gd name="connsiteX95" fmla="*/ 10883851 w 12192000"/>
              <a:gd name="connsiteY95" fmla="*/ 4218790 h 4454665"/>
              <a:gd name="connsiteX96" fmla="*/ 10855700 w 12192000"/>
              <a:gd name="connsiteY96" fmla="*/ 4222293 h 4454665"/>
              <a:gd name="connsiteX97" fmla="*/ 10855700 w 12192000"/>
              <a:gd name="connsiteY97" fmla="*/ 4236304 h 4454665"/>
              <a:gd name="connsiteX98" fmla="*/ 10883851 w 12192000"/>
              <a:gd name="connsiteY98" fmla="*/ 4225796 h 4454665"/>
              <a:gd name="connsiteX99" fmla="*/ 10904964 w 12192000"/>
              <a:gd name="connsiteY99" fmla="*/ 4250316 h 4454665"/>
              <a:gd name="connsiteX100" fmla="*/ 10904964 w 12192000"/>
              <a:gd name="connsiteY100" fmla="*/ 4257321 h 4454665"/>
              <a:gd name="connsiteX101" fmla="*/ 10845144 w 12192000"/>
              <a:gd name="connsiteY101" fmla="*/ 4288846 h 4454665"/>
              <a:gd name="connsiteX102" fmla="*/ 10876813 w 12192000"/>
              <a:gd name="connsiteY102" fmla="*/ 4316869 h 4454665"/>
              <a:gd name="connsiteX103" fmla="*/ 10904964 w 12192000"/>
              <a:gd name="connsiteY103" fmla="*/ 4299355 h 4454665"/>
              <a:gd name="connsiteX104" fmla="*/ 10908483 w 12192000"/>
              <a:gd name="connsiteY104" fmla="*/ 4299355 h 4454665"/>
              <a:gd name="connsiteX105" fmla="*/ 10908483 w 12192000"/>
              <a:gd name="connsiteY105" fmla="*/ 4313366 h 4454665"/>
              <a:gd name="connsiteX106" fmla="*/ 10919039 w 12192000"/>
              <a:gd name="connsiteY106" fmla="*/ 4313366 h 4454665"/>
              <a:gd name="connsiteX107" fmla="*/ 10919039 w 12192000"/>
              <a:gd name="connsiteY107" fmla="*/ 4295852 h 4454665"/>
              <a:gd name="connsiteX108" fmla="*/ 10919039 w 12192000"/>
              <a:gd name="connsiteY108" fmla="*/ 4253819 h 4454665"/>
              <a:gd name="connsiteX109" fmla="*/ 10883851 w 12192000"/>
              <a:gd name="connsiteY109" fmla="*/ 4218790 h 4454665"/>
              <a:gd name="connsiteX110" fmla="*/ 10642268 w 12192000"/>
              <a:gd name="connsiteY110" fmla="*/ 4218790 h 4454665"/>
              <a:gd name="connsiteX111" fmla="*/ 10642268 w 12192000"/>
              <a:gd name="connsiteY111" fmla="*/ 4243173 h 4454665"/>
              <a:gd name="connsiteX112" fmla="*/ 10642268 w 12192000"/>
              <a:gd name="connsiteY112" fmla="*/ 4312838 h 4454665"/>
              <a:gd name="connsiteX113" fmla="*/ 10656343 w 12192000"/>
              <a:gd name="connsiteY113" fmla="*/ 4312838 h 4454665"/>
              <a:gd name="connsiteX114" fmla="*/ 10656343 w 12192000"/>
              <a:gd name="connsiteY114" fmla="*/ 4260589 h 4454665"/>
              <a:gd name="connsiteX115" fmla="*/ 10684494 w 12192000"/>
              <a:gd name="connsiteY115" fmla="*/ 4225756 h 4454665"/>
              <a:gd name="connsiteX116" fmla="*/ 10705607 w 12192000"/>
              <a:gd name="connsiteY116" fmla="*/ 4257106 h 4454665"/>
              <a:gd name="connsiteX117" fmla="*/ 10705607 w 12192000"/>
              <a:gd name="connsiteY117" fmla="*/ 4312838 h 4454665"/>
              <a:gd name="connsiteX118" fmla="*/ 10716163 w 12192000"/>
              <a:gd name="connsiteY118" fmla="*/ 4312838 h 4454665"/>
              <a:gd name="connsiteX119" fmla="*/ 10716163 w 12192000"/>
              <a:gd name="connsiteY119" fmla="*/ 4253622 h 4454665"/>
              <a:gd name="connsiteX120" fmla="*/ 10684494 w 12192000"/>
              <a:gd name="connsiteY120" fmla="*/ 4218790 h 4454665"/>
              <a:gd name="connsiteX121" fmla="*/ 10652824 w 12192000"/>
              <a:gd name="connsiteY121" fmla="*/ 4236206 h 4454665"/>
              <a:gd name="connsiteX122" fmla="*/ 10652824 w 12192000"/>
              <a:gd name="connsiteY122" fmla="*/ 4218790 h 4454665"/>
              <a:gd name="connsiteX123" fmla="*/ 10642268 w 12192000"/>
              <a:gd name="connsiteY123" fmla="*/ 4218790 h 4454665"/>
              <a:gd name="connsiteX124" fmla="*/ 10540159 w 12192000"/>
              <a:gd name="connsiteY124" fmla="*/ 4218790 h 4454665"/>
              <a:gd name="connsiteX125" fmla="*/ 10540159 w 12192000"/>
              <a:gd name="connsiteY125" fmla="*/ 4281840 h 4454665"/>
              <a:gd name="connsiteX126" fmla="*/ 10571828 w 12192000"/>
              <a:gd name="connsiteY126" fmla="*/ 4316869 h 4454665"/>
              <a:gd name="connsiteX127" fmla="*/ 10603498 w 12192000"/>
              <a:gd name="connsiteY127" fmla="*/ 4299355 h 4454665"/>
              <a:gd name="connsiteX128" fmla="*/ 10603498 w 12192000"/>
              <a:gd name="connsiteY128" fmla="*/ 4313366 h 4454665"/>
              <a:gd name="connsiteX129" fmla="*/ 10614054 w 12192000"/>
              <a:gd name="connsiteY129" fmla="*/ 4313366 h 4454665"/>
              <a:gd name="connsiteX130" fmla="*/ 10614054 w 12192000"/>
              <a:gd name="connsiteY130" fmla="*/ 4292349 h 4454665"/>
              <a:gd name="connsiteX131" fmla="*/ 10614054 w 12192000"/>
              <a:gd name="connsiteY131" fmla="*/ 4218790 h 4454665"/>
              <a:gd name="connsiteX132" fmla="*/ 10599979 w 12192000"/>
              <a:gd name="connsiteY132" fmla="*/ 4218790 h 4454665"/>
              <a:gd name="connsiteX133" fmla="*/ 10599979 w 12192000"/>
              <a:gd name="connsiteY133" fmla="*/ 4271332 h 4454665"/>
              <a:gd name="connsiteX134" fmla="*/ 10571828 w 12192000"/>
              <a:gd name="connsiteY134" fmla="*/ 4306360 h 4454665"/>
              <a:gd name="connsiteX135" fmla="*/ 10550715 w 12192000"/>
              <a:gd name="connsiteY135" fmla="*/ 4278338 h 4454665"/>
              <a:gd name="connsiteX136" fmla="*/ 10550715 w 12192000"/>
              <a:gd name="connsiteY136" fmla="*/ 4218790 h 4454665"/>
              <a:gd name="connsiteX137" fmla="*/ 10540159 w 12192000"/>
              <a:gd name="connsiteY137" fmla="*/ 4218790 h 4454665"/>
              <a:gd name="connsiteX138" fmla="*/ 10471637 w 12192000"/>
              <a:gd name="connsiteY138" fmla="*/ 4218790 h 4454665"/>
              <a:gd name="connsiteX139" fmla="*/ 10427300 w 12192000"/>
              <a:gd name="connsiteY139" fmla="*/ 4267830 h 4454665"/>
              <a:gd name="connsiteX140" fmla="*/ 10471637 w 12192000"/>
              <a:gd name="connsiteY140" fmla="*/ 4316869 h 4454665"/>
              <a:gd name="connsiteX141" fmla="*/ 10515975 w 12192000"/>
              <a:gd name="connsiteY141" fmla="*/ 4267830 h 4454665"/>
              <a:gd name="connsiteX142" fmla="*/ 10471637 w 12192000"/>
              <a:gd name="connsiteY142" fmla="*/ 4218790 h 4454665"/>
              <a:gd name="connsiteX143" fmla="*/ 11655303 w 12192000"/>
              <a:gd name="connsiteY143" fmla="*/ 4204011 h 4454665"/>
              <a:gd name="connsiteX144" fmla="*/ 11659333 w 12192000"/>
              <a:gd name="connsiteY144" fmla="*/ 4214760 h 4454665"/>
              <a:gd name="connsiteX145" fmla="*/ 11663364 w 12192000"/>
              <a:gd name="connsiteY145" fmla="*/ 4221478 h 4454665"/>
              <a:gd name="connsiteX146" fmla="*/ 11648585 w 12192000"/>
              <a:gd name="connsiteY146" fmla="*/ 4221478 h 4454665"/>
              <a:gd name="connsiteX147" fmla="*/ 11652616 w 12192000"/>
              <a:gd name="connsiteY147" fmla="*/ 4214760 h 4454665"/>
              <a:gd name="connsiteX148" fmla="*/ 11659446 w 12192000"/>
              <a:gd name="connsiteY148" fmla="*/ 4193263 h 4454665"/>
              <a:gd name="connsiteX149" fmla="*/ 11649032 w 12192000"/>
              <a:gd name="connsiteY149" fmla="*/ 4196777 h 4454665"/>
              <a:gd name="connsiteX150" fmla="*/ 11645562 w 12192000"/>
              <a:gd name="connsiteY150" fmla="*/ 4214347 h 4454665"/>
              <a:gd name="connsiteX151" fmla="*/ 11635149 w 12192000"/>
              <a:gd name="connsiteY151" fmla="*/ 4235429 h 4454665"/>
              <a:gd name="connsiteX152" fmla="*/ 11645562 w 12192000"/>
              <a:gd name="connsiteY152" fmla="*/ 4238943 h 4454665"/>
              <a:gd name="connsiteX153" fmla="*/ 11645562 w 12192000"/>
              <a:gd name="connsiteY153" fmla="*/ 4228402 h 4454665"/>
              <a:gd name="connsiteX154" fmla="*/ 11666387 w 12192000"/>
              <a:gd name="connsiteY154" fmla="*/ 4228402 h 4454665"/>
              <a:gd name="connsiteX155" fmla="*/ 11666387 w 12192000"/>
              <a:gd name="connsiteY155" fmla="*/ 4235429 h 4454665"/>
              <a:gd name="connsiteX156" fmla="*/ 11676800 w 12192000"/>
              <a:gd name="connsiteY156" fmla="*/ 4235429 h 4454665"/>
              <a:gd name="connsiteX157" fmla="*/ 11666387 w 12192000"/>
              <a:gd name="connsiteY157" fmla="*/ 4214347 h 4454665"/>
              <a:gd name="connsiteX158" fmla="*/ 11659446 w 12192000"/>
              <a:gd name="connsiteY158" fmla="*/ 4196777 h 4454665"/>
              <a:gd name="connsiteX159" fmla="*/ 11659446 w 12192000"/>
              <a:gd name="connsiteY159" fmla="*/ 4193263 h 4454665"/>
              <a:gd name="connsiteX160" fmla="*/ 10964451 w 12192000"/>
              <a:gd name="connsiteY160" fmla="*/ 4193262 h 4454665"/>
              <a:gd name="connsiteX161" fmla="*/ 10953971 w 12192000"/>
              <a:gd name="connsiteY161" fmla="*/ 4196794 h 4454665"/>
              <a:gd name="connsiteX162" fmla="*/ 10953971 w 12192000"/>
              <a:gd name="connsiteY162" fmla="*/ 4217983 h 4454665"/>
              <a:gd name="connsiteX163" fmla="*/ 10936505 w 12192000"/>
              <a:gd name="connsiteY163" fmla="*/ 4217983 h 4454665"/>
              <a:gd name="connsiteX164" fmla="*/ 10936505 w 12192000"/>
              <a:gd name="connsiteY164" fmla="*/ 4228578 h 4454665"/>
              <a:gd name="connsiteX165" fmla="*/ 10953971 w 12192000"/>
              <a:gd name="connsiteY165" fmla="*/ 4228578 h 4454665"/>
              <a:gd name="connsiteX166" fmla="*/ 10953971 w 12192000"/>
              <a:gd name="connsiteY166" fmla="*/ 4285084 h 4454665"/>
              <a:gd name="connsiteX167" fmla="*/ 10974931 w 12192000"/>
              <a:gd name="connsiteY167" fmla="*/ 4316868 h 4454665"/>
              <a:gd name="connsiteX168" fmla="*/ 10988904 w 12192000"/>
              <a:gd name="connsiteY168" fmla="*/ 4313337 h 4454665"/>
              <a:gd name="connsiteX169" fmla="*/ 10988904 w 12192000"/>
              <a:gd name="connsiteY169" fmla="*/ 4302742 h 4454665"/>
              <a:gd name="connsiteX170" fmla="*/ 10978424 w 12192000"/>
              <a:gd name="connsiteY170" fmla="*/ 4306273 h 4454665"/>
              <a:gd name="connsiteX171" fmla="*/ 10964451 w 12192000"/>
              <a:gd name="connsiteY171" fmla="*/ 4292147 h 4454665"/>
              <a:gd name="connsiteX172" fmla="*/ 10964451 w 12192000"/>
              <a:gd name="connsiteY172" fmla="*/ 4228578 h 4454665"/>
              <a:gd name="connsiteX173" fmla="*/ 10985410 w 12192000"/>
              <a:gd name="connsiteY173" fmla="*/ 4228578 h 4454665"/>
              <a:gd name="connsiteX174" fmla="*/ 10985410 w 12192000"/>
              <a:gd name="connsiteY174" fmla="*/ 4217983 h 4454665"/>
              <a:gd name="connsiteX175" fmla="*/ 10964451 w 12192000"/>
              <a:gd name="connsiteY175" fmla="*/ 4217983 h 4454665"/>
              <a:gd name="connsiteX176" fmla="*/ 10964451 w 12192000"/>
              <a:gd name="connsiteY176" fmla="*/ 4193262 h 4454665"/>
              <a:gd name="connsiteX177" fmla="*/ 11599881 w 12192000"/>
              <a:gd name="connsiteY177" fmla="*/ 4190576 h 4454665"/>
              <a:gd name="connsiteX178" fmla="*/ 11589469 w 12192000"/>
              <a:gd name="connsiteY178" fmla="*/ 4232742 h 4454665"/>
              <a:gd name="connsiteX179" fmla="*/ 11599881 w 12192000"/>
              <a:gd name="connsiteY179" fmla="*/ 4232742 h 4454665"/>
              <a:gd name="connsiteX180" fmla="*/ 11603352 w 12192000"/>
              <a:gd name="connsiteY180" fmla="*/ 4208146 h 4454665"/>
              <a:gd name="connsiteX181" fmla="*/ 11617236 w 12192000"/>
              <a:gd name="connsiteY181" fmla="*/ 4236256 h 4454665"/>
              <a:gd name="connsiteX182" fmla="*/ 11624178 w 12192000"/>
              <a:gd name="connsiteY182" fmla="*/ 4236256 h 4454665"/>
              <a:gd name="connsiteX183" fmla="*/ 11631119 w 12192000"/>
              <a:gd name="connsiteY183" fmla="*/ 4194090 h 4454665"/>
              <a:gd name="connsiteX184" fmla="*/ 11624178 w 12192000"/>
              <a:gd name="connsiteY184" fmla="*/ 4194090 h 4454665"/>
              <a:gd name="connsiteX185" fmla="*/ 11620707 w 12192000"/>
              <a:gd name="connsiteY185" fmla="*/ 4222201 h 4454665"/>
              <a:gd name="connsiteX186" fmla="*/ 11606824 w 12192000"/>
              <a:gd name="connsiteY186" fmla="*/ 4190576 h 4454665"/>
              <a:gd name="connsiteX187" fmla="*/ 11599881 w 12192000"/>
              <a:gd name="connsiteY187" fmla="*/ 4190576 h 4454665"/>
              <a:gd name="connsiteX188" fmla="*/ 11709044 w 12192000"/>
              <a:gd name="connsiteY188" fmla="*/ 4186546 h 4454665"/>
              <a:gd name="connsiteX189" fmla="*/ 11674112 w 12192000"/>
              <a:gd name="connsiteY189" fmla="*/ 4193647 h 4454665"/>
              <a:gd name="connsiteX190" fmla="*/ 11674112 w 12192000"/>
              <a:gd name="connsiteY190" fmla="*/ 4200749 h 4454665"/>
              <a:gd name="connsiteX191" fmla="*/ 11688084 w 12192000"/>
              <a:gd name="connsiteY191" fmla="*/ 4200749 h 4454665"/>
              <a:gd name="connsiteX192" fmla="*/ 11695071 w 12192000"/>
              <a:gd name="connsiteY192" fmla="*/ 4236257 h 4454665"/>
              <a:gd name="connsiteX193" fmla="*/ 11702057 w 12192000"/>
              <a:gd name="connsiteY193" fmla="*/ 4232706 h 4454665"/>
              <a:gd name="connsiteX194" fmla="*/ 11695071 w 12192000"/>
              <a:gd name="connsiteY194" fmla="*/ 4197198 h 4454665"/>
              <a:gd name="connsiteX195" fmla="*/ 11709044 w 12192000"/>
              <a:gd name="connsiteY195" fmla="*/ 4193647 h 4454665"/>
              <a:gd name="connsiteX196" fmla="*/ 11564748 w 12192000"/>
              <a:gd name="connsiteY196" fmla="*/ 4186546 h 4454665"/>
              <a:gd name="connsiteX197" fmla="*/ 11575228 w 12192000"/>
              <a:gd name="connsiteY197" fmla="*/ 4189905 h 4454665"/>
              <a:gd name="connsiteX198" fmla="*/ 11578720 w 12192000"/>
              <a:gd name="connsiteY198" fmla="*/ 4193264 h 4454665"/>
              <a:gd name="connsiteX199" fmla="*/ 11578720 w 12192000"/>
              <a:gd name="connsiteY199" fmla="*/ 4196622 h 4454665"/>
              <a:gd name="connsiteX200" fmla="*/ 11571734 w 12192000"/>
              <a:gd name="connsiteY200" fmla="*/ 4199981 h 4454665"/>
              <a:gd name="connsiteX201" fmla="*/ 11561254 w 12192000"/>
              <a:gd name="connsiteY201" fmla="*/ 4196622 h 4454665"/>
              <a:gd name="connsiteX202" fmla="*/ 11564748 w 12192000"/>
              <a:gd name="connsiteY202" fmla="*/ 4193264 h 4454665"/>
              <a:gd name="connsiteX203" fmla="*/ 11564748 w 12192000"/>
              <a:gd name="connsiteY203" fmla="*/ 4186546 h 4454665"/>
              <a:gd name="connsiteX204" fmla="*/ 11014562 w 12192000"/>
              <a:gd name="connsiteY204" fmla="*/ 4184660 h 4454665"/>
              <a:gd name="connsiteX205" fmla="*/ 11014562 w 12192000"/>
              <a:gd name="connsiteY205" fmla="*/ 4198354 h 4454665"/>
              <a:gd name="connsiteX206" fmla="*/ 11026851 w 12192000"/>
              <a:gd name="connsiteY206" fmla="*/ 4198354 h 4454665"/>
              <a:gd name="connsiteX207" fmla="*/ 11026851 w 12192000"/>
              <a:gd name="connsiteY207" fmla="*/ 4184660 h 4454665"/>
              <a:gd name="connsiteX208" fmla="*/ 11715762 w 12192000"/>
              <a:gd name="connsiteY208" fmla="*/ 4182514 h 4454665"/>
              <a:gd name="connsiteX209" fmla="*/ 11729582 w 12192000"/>
              <a:gd name="connsiteY209" fmla="*/ 4225508 h 4454665"/>
              <a:gd name="connsiteX210" fmla="*/ 11739946 w 12192000"/>
              <a:gd name="connsiteY210" fmla="*/ 4221925 h 4454665"/>
              <a:gd name="connsiteX211" fmla="*/ 11726127 w 12192000"/>
              <a:gd name="connsiteY211" fmla="*/ 4182514 h 4454665"/>
              <a:gd name="connsiteX212" fmla="*/ 11715762 w 12192000"/>
              <a:gd name="connsiteY212" fmla="*/ 4182514 h 4454665"/>
              <a:gd name="connsiteX213" fmla="*/ 10346688 w 12192000"/>
              <a:gd name="connsiteY213" fmla="*/ 4182514 h 4454665"/>
              <a:gd name="connsiteX214" fmla="*/ 10346688 w 12192000"/>
              <a:gd name="connsiteY214" fmla="*/ 4312838 h 4454665"/>
              <a:gd name="connsiteX215" fmla="*/ 10361467 w 12192000"/>
              <a:gd name="connsiteY215" fmla="*/ 4312838 h 4454665"/>
              <a:gd name="connsiteX216" fmla="*/ 10361467 w 12192000"/>
              <a:gd name="connsiteY216" fmla="*/ 4253722 h 4454665"/>
              <a:gd name="connsiteX217" fmla="*/ 10407148 w 12192000"/>
              <a:gd name="connsiteY217" fmla="*/ 4253722 h 4454665"/>
              <a:gd name="connsiteX218" fmla="*/ 10407148 w 12192000"/>
              <a:gd name="connsiteY218" fmla="*/ 4242974 h 4454665"/>
              <a:gd name="connsiteX219" fmla="*/ 10361467 w 12192000"/>
              <a:gd name="connsiteY219" fmla="*/ 4242974 h 4454665"/>
              <a:gd name="connsiteX220" fmla="*/ 10361467 w 12192000"/>
              <a:gd name="connsiteY220" fmla="*/ 4193262 h 4454665"/>
              <a:gd name="connsiteX221" fmla="*/ 10409835 w 12192000"/>
              <a:gd name="connsiteY221" fmla="*/ 4193262 h 4454665"/>
              <a:gd name="connsiteX222" fmla="*/ 10409835 w 12192000"/>
              <a:gd name="connsiteY222" fmla="*/ 4182514 h 4454665"/>
              <a:gd name="connsiteX223" fmla="*/ 11561143 w 12192000"/>
              <a:gd name="connsiteY223" fmla="*/ 4175797 h 4454665"/>
              <a:gd name="connsiteX224" fmla="*/ 11554200 w 12192000"/>
              <a:gd name="connsiteY224" fmla="*/ 4193264 h 4454665"/>
              <a:gd name="connsiteX225" fmla="*/ 11554200 w 12192000"/>
              <a:gd name="connsiteY225" fmla="*/ 4196756 h 4454665"/>
              <a:gd name="connsiteX226" fmla="*/ 11543788 w 12192000"/>
              <a:gd name="connsiteY226" fmla="*/ 4214223 h 4454665"/>
              <a:gd name="connsiteX227" fmla="*/ 11554200 w 12192000"/>
              <a:gd name="connsiteY227" fmla="*/ 4217716 h 4454665"/>
              <a:gd name="connsiteX228" fmla="*/ 11557671 w 12192000"/>
              <a:gd name="connsiteY228" fmla="*/ 4203743 h 4454665"/>
              <a:gd name="connsiteX229" fmla="*/ 11568084 w 12192000"/>
              <a:gd name="connsiteY229" fmla="*/ 4207237 h 4454665"/>
              <a:gd name="connsiteX230" fmla="*/ 11568084 w 12192000"/>
              <a:gd name="connsiteY230" fmla="*/ 4224702 h 4454665"/>
              <a:gd name="connsiteX231" fmla="*/ 11578497 w 12192000"/>
              <a:gd name="connsiteY231" fmla="*/ 4228196 h 4454665"/>
              <a:gd name="connsiteX232" fmla="*/ 11575026 w 12192000"/>
              <a:gd name="connsiteY232" fmla="*/ 4207237 h 4454665"/>
              <a:gd name="connsiteX233" fmla="*/ 11585438 w 12192000"/>
              <a:gd name="connsiteY233" fmla="*/ 4196756 h 4454665"/>
              <a:gd name="connsiteX234" fmla="*/ 11585438 w 12192000"/>
              <a:gd name="connsiteY234" fmla="*/ 4193264 h 4454665"/>
              <a:gd name="connsiteX235" fmla="*/ 11578497 w 12192000"/>
              <a:gd name="connsiteY235" fmla="*/ 4182784 h 4454665"/>
              <a:gd name="connsiteX236" fmla="*/ 11561143 w 12192000"/>
              <a:gd name="connsiteY236" fmla="*/ 4175797 h 4454665"/>
              <a:gd name="connsiteX237" fmla="*/ 11766241 w 12192000"/>
              <a:gd name="connsiteY237" fmla="*/ 4173090 h 4454665"/>
              <a:gd name="connsiteX238" fmla="*/ 11774878 w 12192000"/>
              <a:gd name="connsiteY238" fmla="*/ 4178821 h 4454665"/>
              <a:gd name="connsiteX239" fmla="*/ 11774878 w 12192000"/>
              <a:gd name="connsiteY239" fmla="*/ 4185874 h 4454665"/>
              <a:gd name="connsiteX240" fmla="*/ 11771423 w 12192000"/>
              <a:gd name="connsiteY240" fmla="*/ 4196455 h 4454665"/>
              <a:gd name="connsiteX241" fmla="*/ 11767968 w 12192000"/>
              <a:gd name="connsiteY241" fmla="*/ 4199982 h 4454665"/>
              <a:gd name="connsiteX242" fmla="*/ 11754149 w 12192000"/>
              <a:gd name="connsiteY242" fmla="*/ 4196455 h 4454665"/>
              <a:gd name="connsiteX243" fmla="*/ 11750694 w 12192000"/>
              <a:gd name="connsiteY243" fmla="*/ 4192929 h 4454665"/>
              <a:gd name="connsiteX244" fmla="*/ 11750694 w 12192000"/>
              <a:gd name="connsiteY244" fmla="*/ 4185874 h 4454665"/>
              <a:gd name="connsiteX245" fmla="*/ 11757604 w 12192000"/>
              <a:gd name="connsiteY245" fmla="*/ 4175294 h 4454665"/>
              <a:gd name="connsiteX246" fmla="*/ 11766241 w 12192000"/>
              <a:gd name="connsiteY246" fmla="*/ 4173090 h 4454665"/>
              <a:gd name="connsiteX247" fmla="*/ 10810738 w 12192000"/>
              <a:gd name="connsiteY247" fmla="*/ 4171765 h 4454665"/>
              <a:gd name="connsiteX248" fmla="*/ 10810738 w 12192000"/>
              <a:gd name="connsiteY248" fmla="*/ 4235469 h 4454665"/>
              <a:gd name="connsiteX249" fmla="*/ 10782231 w 12192000"/>
              <a:gd name="connsiteY249" fmla="*/ 4217773 h 4454665"/>
              <a:gd name="connsiteX250" fmla="*/ 10743034 w 12192000"/>
              <a:gd name="connsiteY250" fmla="*/ 4267321 h 4454665"/>
              <a:gd name="connsiteX251" fmla="*/ 10782231 w 12192000"/>
              <a:gd name="connsiteY251" fmla="*/ 4316868 h 4454665"/>
              <a:gd name="connsiteX252" fmla="*/ 10810738 w 12192000"/>
              <a:gd name="connsiteY252" fmla="*/ 4299172 h 4454665"/>
              <a:gd name="connsiteX253" fmla="*/ 10810738 w 12192000"/>
              <a:gd name="connsiteY253" fmla="*/ 4313329 h 4454665"/>
              <a:gd name="connsiteX254" fmla="*/ 10824991 w 12192000"/>
              <a:gd name="connsiteY254" fmla="*/ 4313329 h 4454665"/>
              <a:gd name="connsiteX255" fmla="*/ 10824991 w 12192000"/>
              <a:gd name="connsiteY255" fmla="*/ 4171765 h 4454665"/>
              <a:gd name="connsiteX256" fmla="*/ 10810738 w 12192000"/>
              <a:gd name="connsiteY256" fmla="*/ 4171765 h 4454665"/>
              <a:gd name="connsiteX257" fmla="*/ 11768161 w 12192000"/>
              <a:gd name="connsiteY257" fmla="*/ 4166249 h 4454665"/>
              <a:gd name="connsiteX258" fmla="*/ 11750694 w 12192000"/>
              <a:gd name="connsiteY258" fmla="*/ 4169272 h 4454665"/>
              <a:gd name="connsiteX259" fmla="*/ 11739946 w 12192000"/>
              <a:gd name="connsiteY259" fmla="*/ 4186546 h 4454665"/>
              <a:gd name="connsiteX260" fmla="*/ 11743528 w 12192000"/>
              <a:gd name="connsiteY260" fmla="*/ 4196911 h 4454665"/>
              <a:gd name="connsiteX261" fmla="*/ 11772191 w 12192000"/>
              <a:gd name="connsiteY261" fmla="*/ 4203821 h 4454665"/>
              <a:gd name="connsiteX262" fmla="*/ 11782939 w 12192000"/>
              <a:gd name="connsiteY262" fmla="*/ 4196911 h 4454665"/>
              <a:gd name="connsiteX263" fmla="*/ 11782939 w 12192000"/>
              <a:gd name="connsiteY263" fmla="*/ 4186546 h 4454665"/>
              <a:gd name="connsiteX264" fmla="*/ 11782939 w 12192000"/>
              <a:gd name="connsiteY264" fmla="*/ 4176182 h 4454665"/>
              <a:gd name="connsiteX265" fmla="*/ 11768161 w 12192000"/>
              <a:gd name="connsiteY265" fmla="*/ 4166249 h 4454665"/>
              <a:gd name="connsiteX266" fmla="*/ 11525909 w 12192000"/>
              <a:gd name="connsiteY266" fmla="*/ 4158331 h 4454665"/>
              <a:gd name="connsiteX267" fmla="*/ 11504825 w 12192000"/>
              <a:gd name="connsiteY267" fmla="*/ 4193263 h 4454665"/>
              <a:gd name="connsiteX268" fmla="*/ 11529423 w 12192000"/>
              <a:gd name="connsiteY268" fmla="*/ 4210729 h 4454665"/>
              <a:gd name="connsiteX269" fmla="*/ 11532937 w 12192000"/>
              <a:gd name="connsiteY269" fmla="*/ 4203743 h 4454665"/>
              <a:gd name="connsiteX270" fmla="*/ 11515367 w 12192000"/>
              <a:gd name="connsiteY270" fmla="*/ 4193263 h 4454665"/>
              <a:gd name="connsiteX271" fmla="*/ 11522395 w 12192000"/>
              <a:gd name="connsiteY271" fmla="*/ 4182784 h 4454665"/>
              <a:gd name="connsiteX272" fmla="*/ 11532937 w 12192000"/>
              <a:gd name="connsiteY272" fmla="*/ 4189770 h 4454665"/>
              <a:gd name="connsiteX273" fmla="*/ 11536450 w 12192000"/>
              <a:gd name="connsiteY273" fmla="*/ 4182784 h 4454665"/>
              <a:gd name="connsiteX274" fmla="*/ 11525909 w 12192000"/>
              <a:gd name="connsiteY274" fmla="*/ 4175797 h 4454665"/>
              <a:gd name="connsiteX275" fmla="*/ 11529423 w 12192000"/>
              <a:gd name="connsiteY275" fmla="*/ 4168811 h 4454665"/>
              <a:gd name="connsiteX276" fmla="*/ 11546992 w 12192000"/>
              <a:gd name="connsiteY276" fmla="*/ 4179290 h 4454665"/>
              <a:gd name="connsiteX277" fmla="*/ 11550506 w 12192000"/>
              <a:gd name="connsiteY277" fmla="*/ 4172303 h 4454665"/>
              <a:gd name="connsiteX278" fmla="*/ 11525909 w 12192000"/>
              <a:gd name="connsiteY278" fmla="*/ 4158331 h 4454665"/>
              <a:gd name="connsiteX279" fmla="*/ 11803361 w 12192000"/>
              <a:gd name="connsiteY279" fmla="*/ 4130117 h 4454665"/>
              <a:gd name="connsiteX280" fmla="*/ 11796375 w 12192000"/>
              <a:gd name="connsiteY280" fmla="*/ 4137170 h 4454665"/>
              <a:gd name="connsiteX281" fmla="*/ 11813840 w 12192000"/>
              <a:gd name="connsiteY281" fmla="*/ 4154804 h 4454665"/>
              <a:gd name="connsiteX282" fmla="*/ 11785895 w 12192000"/>
              <a:gd name="connsiteY282" fmla="*/ 4147751 h 4454665"/>
              <a:gd name="connsiteX283" fmla="*/ 11778908 w 12192000"/>
              <a:gd name="connsiteY283" fmla="*/ 4151277 h 4454665"/>
              <a:gd name="connsiteX284" fmla="*/ 11803361 w 12192000"/>
              <a:gd name="connsiteY284" fmla="*/ 4186546 h 4454665"/>
              <a:gd name="connsiteX285" fmla="*/ 11810348 w 12192000"/>
              <a:gd name="connsiteY285" fmla="*/ 4179492 h 4454665"/>
              <a:gd name="connsiteX286" fmla="*/ 11796375 w 12192000"/>
              <a:gd name="connsiteY286" fmla="*/ 4158331 h 4454665"/>
              <a:gd name="connsiteX287" fmla="*/ 11824320 w 12192000"/>
              <a:gd name="connsiteY287" fmla="*/ 4168911 h 4454665"/>
              <a:gd name="connsiteX288" fmla="*/ 11831307 w 12192000"/>
              <a:gd name="connsiteY288" fmla="*/ 4161858 h 4454665"/>
              <a:gd name="connsiteX289" fmla="*/ 11803361 w 12192000"/>
              <a:gd name="connsiteY289" fmla="*/ 4130117 h 4454665"/>
              <a:gd name="connsiteX290" fmla="*/ 11495008 w 12192000"/>
              <a:gd name="connsiteY290" fmla="*/ 4130117 h 4454665"/>
              <a:gd name="connsiteX291" fmla="*/ 11487980 w 12192000"/>
              <a:gd name="connsiteY291" fmla="*/ 4133630 h 4454665"/>
              <a:gd name="connsiteX292" fmla="*/ 11498522 w 12192000"/>
              <a:gd name="connsiteY292" fmla="*/ 4144172 h 4454665"/>
              <a:gd name="connsiteX293" fmla="*/ 11473924 w 12192000"/>
              <a:gd name="connsiteY293" fmla="*/ 4168769 h 4454665"/>
              <a:gd name="connsiteX294" fmla="*/ 11480952 w 12192000"/>
              <a:gd name="connsiteY294" fmla="*/ 4175797 h 4454665"/>
              <a:gd name="connsiteX295" fmla="*/ 11505548 w 12192000"/>
              <a:gd name="connsiteY295" fmla="*/ 4151200 h 4454665"/>
              <a:gd name="connsiteX296" fmla="*/ 11516090 w 12192000"/>
              <a:gd name="connsiteY296" fmla="*/ 4158227 h 4454665"/>
              <a:gd name="connsiteX297" fmla="*/ 11519604 w 12192000"/>
              <a:gd name="connsiteY297" fmla="*/ 4151200 h 4454665"/>
              <a:gd name="connsiteX298" fmla="*/ 11495008 w 12192000"/>
              <a:gd name="connsiteY298" fmla="*/ 4130117 h 4454665"/>
              <a:gd name="connsiteX299" fmla="*/ 11824589 w 12192000"/>
              <a:gd name="connsiteY299" fmla="*/ 4119368 h 4454665"/>
              <a:gd name="connsiteX300" fmla="*/ 11842055 w 12192000"/>
              <a:gd name="connsiteY300" fmla="*/ 4126086 h 4454665"/>
              <a:gd name="connsiteX301" fmla="*/ 11842055 w 12192000"/>
              <a:gd name="connsiteY301" fmla="*/ 4130117 h 4454665"/>
              <a:gd name="connsiteX302" fmla="*/ 11835337 w 12192000"/>
              <a:gd name="connsiteY302" fmla="*/ 4136835 h 4454665"/>
              <a:gd name="connsiteX303" fmla="*/ 11831307 w 12192000"/>
              <a:gd name="connsiteY303" fmla="*/ 4130117 h 4454665"/>
              <a:gd name="connsiteX304" fmla="*/ 11820942 w 12192000"/>
              <a:gd name="connsiteY304" fmla="*/ 4112650 h 4454665"/>
              <a:gd name="connsiteX305" fmla="*/ 11813840 w 12192000"/>
              <a:gd name="connsiteY305" fmla="*/ 4119592 h 4454665"/>
              <a:gd name="connsiteX306" fmla="*/ 11820942 w 12192000"/>
              <a:gd name="connsiteY306" fmla="*/ 4130004 h 4454665"/>
              <a:gd name="connsiteX307" fmla="*/ 11838696 w 12192000"/>
              <a:gd name="connsiteY307" fmla="*/ 4154300 h 4454665"/>
              <a:gd name="connsiteX308" fmla="*/ 11842247 w 12192000"/>
              <a:gd name="connsiteY308" fmla="*/ 4150830 h 4454665"/>
              <a:gd name="connsiteX309" fmla="*/ 11838696 w 12192000"/>
              <a:gd name="connsiteY309" fmla="*/ 4143888 h 4454665"/>
              <a:gd name="connsiteX310" fmla="*/ 11849349 w 12192000"/>
              <a:gd name="connsiteY310" fmla="*/ 4130004 h 4454665"/>
              <a:gd name="connsiteX311" fmla="*/ 11856450 w 12192000"/>
              <a:gd name="connsiteY311" fmla="*/ 4130004 h 4454665"/>
              <a:gd name="connsiteX312" fmla="*/ 11860002 w 12192000"/>
              <a:gd name="connsiteY312" fmla="*/ 4130004 h 4454665"/>
              <a:gd name="connsiteX313" fmla="*/ 11863552 w 12192000"/>
              <a:gd name="connsiteY313" fmla="*/ 4123062 h 4454665"/>
              <a:gd name="connsiteX314" fmla="*/ 11820942 w 12192000"/>
              <a:gd name="connsiteY314" fmla="*/ 4112650 h 4454665"/>
              <a:gd name="connsiteX315" fmla="*/ 11466198 w 12192000"/>
              <a:gd name="connsiteY315" fmla="*/ 4097871 h 4454665"/>
              <a:gd name="connsiteX316" fmla="*/ 11430930 w 12192000"/>
              <a:gd name="connsiteY316" fmla="*/ 4122951 h 4454665"/>
              <a:gd name="connsiteX317" fmla="*/ 11437984 w 12192000"/>
              <a:gd name="connsiteY317" fmla="*/ 4130117 h 4454665"/>
              <a:gd name="connsiteX318" fmla="*/ 11459145 w 12192000"/>
              <a:gd name="connsiteY318" fmla="*/ 4115786 h 4454665"/>
              <a:gd name="connsiteX319" fmla="*/ 11448564 w 12192000"/>
              <a:gd name="connsiteY319" fmla="*/ 4144447 h 4454665"/>
              <a:gd name="connsiteX320" fmla="*/ 11455618 w 12192000"/>
              <a:gd name="connsiteY320" fmla="*/ 4151613 h 4454665"/>
              <a:gd name="connsiteX321" fmla="*/ 11487359 w 12192000"/>
              <a:gd name="connsiteY321" fmla="*/ 4122951 h 4454665"/>
              <a:gd name="connsiteX322" fmla="*/ 11483833 w 12192000"/>
              <a:gd name="connsiteY322" fmla="*/ 4115786 h 4454665"/>
              <a:gd name="connsiteX323" fmla="*/ 11462672 w 12192000"/>
              <a:gd name="connsiteY323" fmla="*/ 4133699 h 4454665"/>
              <a:gd name="connsiteX324" fmla="*/ 11473252 w 12192000"/>
              <a:gd name="connsiteY324" fmla="*/ 4105037 h 4454665"/>
              <a:gd name="connsiteX325" fmla="*/ 11466198 w 12192000"/>
              <a:gd name="connsiteY325" fmla="*/ 4097871 h 4454665"/>
              <a:gd name="connsiteX326" fmla="*/ 11835338 w 12192000"/>
              <a:gd name="connsiteY326" fmla="*/ 4087123 h 4454665"/>
              <a:gd name="connsiteX327" fmla="*/ 11831307 w 12192000"/>
              <a:gd name="connsiteY327" fmla="*/ 4095184 h 4454665"/>
              <a:gd name="connsiteX328" fmla="*/ 11870270 w 12192000"/>
              <a:gd name="connsiteY328" fmla="*/ 4115338 h 4454665"/>
              <a:gd name="connsiteX329" fmla="*/ 11883706 w 12192000"/>
              <a:gd name="connsiteY329" fmla="*/ 4091154 h 4454665"/>
              <a:gd name="connsiteX330" fmla="*/ 11876988 w 12192000"/>
              <a:gd name="connsiteY330" fmla="*/ 4087123 h 4454665"/>
              <a:gd name="connsiteX331" fmla="*/ 11866239 w 12192000"/>
              <a:gd name="connsiteY331" fmla="*/ 4105933 h 4454665"/>
              <a:gd name="connsiteX332" fmla="*/ 11459634 w 12192000"/>
              <a:gd name="connsiteY332" fmla="*/ 4084436 h 4454665"/>
              <a:gd name="connsiteX333" fmla="*/ 11424212 w 12192000"/>
              <a:gd name="connsiteY333" fmla="*/ 4105598 h 4454665"/>
              <a:gd name="connsiteX334" fmla="*/ 11427754 w 12192000"/>
              <a:gd name="connsiteY334" fmla="*/ 4112651 h 4454665"/>
              <a:gd name="connsiteX335" fmla="*/ 11463176 w 12192000"/>
              <a:gd name="connsiteY335" fmla="*/ 4091490 h 4454665"/>
              <a:gd name="connsiteX336" fmla="*/ 11459634 w 12192000"/>
              <a:gd name="connsiteY336" fmla="*/ 4084436 h 4454665"/>
              <a:gd name="connsiteX337" fmla="*/ 11450927 w 12192000"/>
              <a:gd name="connsiteY337" fmla="*/ 4050826 h 4454665"/>
              <a:gd name="connsiteX338" fmla="*/ 11456192 w 12192000"/>
              <a:gd name="connsiteY338" fmla="*/ 4056557 h 4454665"/>
              <a:gd name="connsiteX339" fmla="*/ 11649257 w 12192000"/>
              <a:gd name="connsiteY339" fmla="*/ 4187050 h 4454665"/>
              <a:gd name="connsiteX340" fmla="*/ 11842320 w 12192000"/>
              <a:gd name="connsiteY340" fmla="*/ 4056557 h 4454665"/>
              <a:gd name="connsiteX341" fmla="*/ 11847586 w 12192000"/>
              <a:gd name="connsiteY341" fmla="*/ 4050826 h 4454665"/>
              <a:gd name="connsiteX342" fmla="*/ 11852851 w 12192000"/>
              <a:gd name="connsiteY342" fmla="*/ 4053030 h 4454665"/>
              <a:gd name="connsiteX343" fmla="*/ 11891464 w 12192000"/>
              <a:gd name="connsiteY343" fmla="*/ 4063611 h 4454665"/>
              <a:gd name="connsiteX344" fmla="*/ 11898484 w 12192000"/>
              <a:gd name="connsiteY344" fmla="*/ 4074191 h 4454665"/>
              <a:gd name="connsiteX345" fmla="*/ 11649257 w 12192000"/>
              <a:gd name="connsiteY345" fmla="*/ 4247006 h 4454665"/>
              <a:gd name="connsiteX346" fmla="*/ 11400028 w 12192000"/>
              <a:gd name="connsiteY346" fmla="*/ 4077719 h 4454665"/>
              <a:gd name="connsiteX347" fmla="*/ 11407049 w 12192000"/>
              <a:gd name="connsiteY347" fmla="*/ 4063611 h 4454665"/>
              <a:gd name="connsiteX348" fmla="*/ 11445662 w 12192000"/>
              <a:gd name="connsiteY348" fmla="*/ 4053030 h 4454665"/>
              <a:gd name="connsiteX349" fmla="*/ 11450927 w 12192000"/>
              <a:gd name="connsiteY349" fmla="*/ 4050826 h 4454665"/>
              <a:gd name="connsiteX350" fmla="*/ 11603442 w 12192000"/>
              <a:gd name="connsiteY350" fmla="*/ 4044988 h 4454665"/>
              <a:gd name="connsiteX351" fmla="*/ 11613922 w 12192000"/>
              <a:gd name="connsiteY351" fmla="*/ 4044988 h 4454665"/>
              <a:gd name="connsiteX352" fmla="*/ 11617414 w 12192000"/>
              <a:gd name="connsiteY352" fmla="*/ 4052079 h 4454665"/>
              <a:gd name="connsiteX353" fmla="*/ 11624401 w 12192000"/>
              <a:gd name="connsiteY353" fmla="*/ 4154898 h 4454665"/>
              <a:gd name="connsiteX354" fmla="*/ 11620908 w 12192000"/>
              <a:gd name="connsiteY354" fmla="*/ 4165535 h 4454665"/>
              <a:gd name="connsiteX355" fmla="*/ 11613922 w 12192000"/>
              <a:gd name="connsiteY355" fmla="*/ 4165535 h 4454665"/>
              <a:gd name="connsiteX356" fmla="*/ 11505632 w 12192000"/>
              <a:gd name="connsiteY356" fmla="*/ 4101715 h 4454665"/>
              <a:gd name="connsiteX357" fmla="*/ 11502138 w 12192000"/>
              <a:gd name="connsiteY357" fmla="*/ 4098170 h 4454665"/>
              <a:gd name="connsiteX358" fmla="*/ 11502138 w 12192000"/>
              <a:gd name="connsiteY358" fmla="*/ 4094625 h 4454665"/>
              <a:gd name="connsiteX359" fmla="*/ 11509124 w 12192000"/>
              <a:gd name="connsiteY359" fmla="*/ 4091080 h 4454665"/>
              <a:gd name="connsiteX360" fmla="*/ 11603442 w 12192000"/>
              <a:gd name="connsiteY360" fmla="*/ 4044988 h 4454665"/>
              <a:gd name="connsiteX361" fmla="*/ 11688084 w 12192000"/>
              <a:gd name="connsiteY361" fmla="*/ 4041442 h 4454665"/>
              <a:gd name="connsiteX362" fmla="*/ 11698565 w 12192000"/>
              <a:gd name="connsiteY362" fmla="*/ 4041442 h 4454665"/>
              <a:gd name="connsiteX363" fmla="*/ 11789388 w 12192000"/>
              <a:gd name="connsiteY363" fmla="*/ 4087353 h 4454665"/>
              <a:gd name="connsiteX364" fmla="*/ 11796375 w 12192000"/>
              <a:gd name="connsiteY364" fmla="*/ 4094417 h 4454665"/>
              <a:gd name="connsiteX365" fmla="*/ 11792882 w 12192000"/>
              <a:gd name="connsiteY365" fmla="*/ 4101480 h 4454665"/>
              <a:gd name="connsiteX366" fmla="*/ 11684592 w 12192000"/>
              <a:gd name="connsiteY366" fmla="*/ 4165049 h 4454665"/>
              <a:gd name="connsiteX367" fmla="*/ 11677605 w 12192000"/>
              <a:gd name="connsiteY367" fmla="*/ 4165049 h 4454665"/>
              <a:gd name="connsiteX368" fmla="*/ 11674112 w 12192000"/>
              <a:gd name="connsiteY368" fmla="*/ 4154454 h 4454665"/>
              <a:gd name="connsiteX369" fmla="*/ 11684592 w 12192000"/>
              <a:gd name="connsiteY369" fmla="*/ 4052038 h 4454665"/>
              <a:gd name="connsiteX370" fmla="*/ 11688084 w 12192000"/>
              <a:gd name="connsiteY370" fmla="*/ 4041442 h 4454665"/>
              <a:gd name="connsiteX371" fmla="*/ 10810283 w 12192000"/>
              <a:gd name="connsiteY371" fmla="*/ 4002478 h 4454665"/>
              <a:gd name="connsiteX372" fmla="*/ 10851862 w 12192000"/>
              <a:gd name="connsiteY372" fmla="*/ 4002478 h 4454665"/>
              <a:gd name="connsiteX373" fmla="*/ 10851862 w 12192000"/>
              <a:gd name="connsiteY373" fmla="*/ 4045088 h 4454665"/>
              <a:gd name="connsiteX374" fmla="*/ 10803353 w 12192000"/>
              <a:gd name="connsiteY374" fmla="*/ 4052190 h 4454665"/>
              <a:gd name="connsiteX375" fmla="*/ 10786028 w 12192000"/>
              <a:gd name="connsiteY375" fmla="*/ 4027334 h 4454665"/>
              <a:gd name="connsiteX376" fmla="*/ 10810283 w 12192000"/>
              <a:gd name="connsiteY376" fmla="*/ 4002478 h 4454665"/>
              <a:gd name="connsiteX377" fmla="*/ 10494479 w 12192000"/>
              <a:gd name="connsiteY377" fmla="*/ 3932613 h 4454665"/>
              <a:gd name="connsiteX378" fmla="*/ 10536128 w 12192000"/>
              <a:gd name="connsiteY378" fmla="*/ 3988885 h 4454665"/>
              <a:gd name="connsiteX379" fmla="*/ 10494479 w 12192000"/>
              <a:gd name="connsiteY379" fmla="*/ 4052189 h 4454665"/>
              <a:gd name="connsiteX380" fmla="*/ 10452829 w 12192000"/>
              <a:gd name="connsiteY380" fmla="*/ 3988885 h 4454665"/>
              <a:gd name="connsiteX381" fmla="*/ 10494479 w 12192000"/>
              <a:gd name="connsiteY381" fmla="*/ 3932613 h 4454665"/>
              <a:gd name="connsiteX382" fmla="*/ 11639005 w 12192000"/>
              <a:gd name="connsiteY382" fmla="*/ 3928584 h 4454665"/>
              <a:gd name="connsiteX383" fmla="*/ 11660034 w 12192000"/>
              <a:gd name="connsiteY383" fmla="*/ 3928584 h 4454665"/>
              <a:gd name="connsiteX384" fmla="*/ 11660034 w 12192000"/>
              <a:gd name="connsiteY384" fmla="*/ 3939224 h 4454665"/>
              <a:gd name="connsiteX385" fmla="*/ 11691578 w 12192000"/>
              <a:gd name="connsiteY385" fmla="*/ 3978241 h 4454665"/>
              <a:gd name="connsiteX386" fmla="*/ 11649519 w 12192000"/>
              <a:gd name="connsiteY386" fmla="*/ 4017258 h 4454665"/>
              <a:gd name="connsiteX387" fmla="*/ 11610966 w 12192000"/>
              <a:gd name="connsiteY387" fmla="*/ 3978241 h 4454665"/>
              <a:gd name="connsiteX388" fmla="*/ 11639005 w 12192000"/>
              <a:gd name="connsiteY388" fmla="*/ 3939224 h 4454665"/>
              <a:gd name="connsiteX389" fmla="*/ 11639005 w 12192000"/>
              <a:gd name="connsiteY389" fmla="*/ 3928584 h 4454665"/>
              <a:gd name="connsiteX390" fmla="*/ 11649257 w 12192000"/>
              <a:gd name="connsiteY390" fmla="*/ 3917835 h 4454665"/>
              <a:gd name="connsiteX391" fmla="*/ 11589469 w 12192000"/>
              <a:gd name="connsiteY391" fmla="*/ 3978295 h 4454665"/>
              <a:gd name="connsiteX392" fmla="*/ 11649257 w 12192000"/>
              <a:gd name="connsiteY392" fmla="*/ 4038755 h 4454665"/>
              <a:gd name="connsiteX393" fmla="*/ 11709045 w 12192000"/>
              <a:gd name="connsiteY393" fmla="*/ 3978295 h 4454665"/>
              <a:gd name="connsiteX394" fmla="*/ 11649257 w 12192000"/>
              <a:gd name="connsiteY394" fmla="*/ 3917835 h 4454665"/>
              <a:gd name="connsiteX395" fmla="*/ 11649257 w 12192000"/>
              <a:gd name="connsiteY395" fmla="*/ 3911118 h 4454665"/>
              <a:gd name="connsiteX396" fmla="*/ 11715763 w 12192000"/>
              <a:gd name="connsiteY396" fmla="*/ 3978295 h 4454665"/>
              <a:gd name="connsiteX397" fmla="*/ 11649257 w 12192000"/>
              <a:gd name="connsiteY397" fmla="*/ 4045473 h 4454665"/>
              <a:gd name="connsiteX398" fmla="*/ 11582751 w 12192000"/>
              <a:gd name="connsiteY398" fmla="*/ 3978295 h 4454665"/>
              <a:gd name="connsiteX399" fmla="*/ 11649257 w 12192000"/>
              <a:gd name="connsiteY399" fmla="*/ 3911118 h 4454665"/>
              <a:gd name="connsiteX400" fmla="*/ 11824549 w 12192000"/>
              <a:gd name="connsiteY400" fmla="*/ 3908431 h 4454665"/>
              <a:gd name="connsiteX401" fmla="*/ 11828050 w 12192000"/>
              <a:gd name="connsiteY401" fmla="*/ 3915484 h 4454665"/>
              <a:gd name="connsiteX402" fmla="*/ 11828050 w 12192000"/>
              <a:gd name="connsiteY402" fmla="*/ 4038923 h 4454665"/>
              <a:gd name="connsiteX403" fmla="*/ 11824549 w 12192000"/>
              <a:gd name="connsiteY403" fmla="*/ 4045977 h 4454665"/>
              <a:gd name="connsiteX404" fmla="*/ 11817546 w 12192000"/>
              <a:gd name="connsiteY404" fmla="*/ 4045977 h 4454665"/>
              <a:gd name="connsiteX405" fmla="*/ 11730012 w 12192000"/>
              <a:gd name="connsiteY405" fmla="*/ 3986021 h 4454665"/>
              <a:gd name="connsiteX406" fmla="*/ 11726510 w 12192000"/>
              <a:gd name="connsiteY406" fmla="*/ 3978967 h 4454665"/>
              <a:gd name="connsiteX407" fmla="*/ 11730012 w 12192000"/>
              <a:gd name="connsiteY407" fmla="*/ 3968386 h 4454665"/>
              <a:gd name="connsiteX408" fmla="*/ 11814044 w 12192000"/>
              <a:gd name="connsiteY408" fmla="*/ 3911957 h 4454665"/>
              <a:gd name="connsiteX409" fmla="*/ 11824549 w 12192000"/>
              <a:gd name="connsiteY409" fmla="*/ 3908431 h 4454665"/>
              <a:gd name="connsiteX410" fmla="*/ 11473964 w 12192000"/>
              <a:gd name="connsiteY410" fmla="*/ 3908431 h 4454665"/>
              <a:gd name="connsiteX411" fmla="*/ 11480967 w 12192000"/>
              <a:gd name="connsiteY411" fmla="*/ 3911957 h 4454665"/>
              <a:gd name="connsiteX412" fmla="*/ 11568501 w 12192000"/>
              <a:gd name="connsiteY412" fmla="*/ 3968386 h 4454665"/>
              <a:gd name="connsiteX413" fmla="*/ 11572002 w 12192000"/>
              <a:gd name="connsiteY413" fmla="*/ 3978967 h 4454665"/>
              <a:gd name="connsiteX414" fmla="*/ 11568501 w 12192000"/>
              <a:gd name="connsiteY414" fmla="*/ 3986021 h 4454665"/>
              <a:gd name="connsiteX415" fmla="*/ 11480967 w 12192000"/>
              <a:gd name="connsiteY415" fmla="*/ 4045977 h 4454665"/>
              <a:gd name="connsiteX416" fmla="*/ 11473964 w 12192000"/>
              <a:gd name="connsiteY416" fmla="*/ 4045977 h 4454665"/>
              <a:gd name="connsiteX417" fmla="*/ 11466961 w 12192000"/>
              <a:gd name="connsiteY417" fmla="*/ 4042450 h 4454665"/>
              <a:gd name="connsiteX418" fmla="*/ 11466961 w 12192000"/>
              <a:gd name="connsiteY418" fmla="*/ 3915484 h 4454665"/>
              <a:gd name="connsiteX419" fmla="*/ 11473964 w 12192000"/>
              <a:gd name="connsiteY419" fmla="*/ 3908431 h 4454665"/>
              <a:gd name="connsiteX420" fmla="*/ 11070316 w 12192000"/>
              <a:gd name="connsiteY420" fmla="*/ 3897682 h 4454665"/>
              <a:gd name="connsiteX421" fmla="*/ 11070316 w 12192000"/>
              <a:gd name="connsiteY421" fmla="*/ 3904735 h 4454665"/>
              <a:gd name="connsiteX422" fmla="*/ 11112166 w 12192000"/>
              <a:gd name="connsiteY422" fmla="*/ 4066969 h 4454665"/>
              <a:gd name="connsiteX423" fmla="*/ 11133091 w 12192000"/>
              <a:gd name="connsiteY423" fmla="*/ 4088130 h 4454665"/>
              <a:gd name="connsiteX424" fmla="*/ 11143554 w 12192000"/>
              <a:gd name="connsiteY424" fmla="*/ 4088130 h 4454665"/>
              <a:gd name="connsiteX425" fmla="*/ 11140066 w 12192000"/>
              <a:gd name="connsiteY425" fmla="*/ 4095183 h 4454665"/>
              <a:gd name="connsiteX426" fmla="*/ 11112166 w 12192000"/>
              <a:gd name="connsiteY426" fmla="*/ 4116344 h 4454665"/>
              <a:gd name="connsiteX427" fmla="*/ 11077291 w 12192000"/>
              <a:gd name="connsiteY427" fmla="*/ 4112818 h 4454665"/>
              <a:gd name="connsiteX428" fmla="*/ 11073804 w 12192000"/>
              <a:gd name="connsiteY428" fmla="*/ 4116344 h 4454665"/>
              <a:gd name="connsiteX429" fmla="*/ 11070316 w 12192000"/>
              <a:gd name="connsiteY429" fmla="*/ 4119871 h 4454665"/>
              <a:gd name="connsiteX430" fmla="*/ 11070316 w 12192000"/>
              <a:gd name="connsiteY430" fmla="*/ 4141032 h 4454665"/>
              <a:gd name="connsiteX431" fmla="*/ 11077291 w 12192000"/>
              <a:gd name="connsiteY431" fmla="*/ 4148086 h 4454665"/>
              <a:gd name="connsiteX432" fmla="*/ 11122628 w 12192000"/>
              <a:gd name="connsiteY432" fmla="*/ 4151612 h 4454665"/>
              <a:gd name="connsiteX433" fmla="*/ 11126116 w 12192000"/>
              <a:gd name="connsiteY433" fmla="*/ 4151612 h 4454665"/>
              <a:gd name="connsiteX434" fmla="*/ 11181916 w 12192000"/>
              <a:gd name="connsiteY434" fmla="*/ 4098710 h 4454665"/>
              <a:gd name="connsiteX435" fmla="*/ 11213303 w 12192000"/>
              <a:gd name="connsiteY435" fmla="*/ 3968218 h 4454665"/>
              <a:gd name="connsiteX436" fmla="*/ 11227253 w 12192000"/>
              <a:gd name="connsiteY436" fmla="*/ 3925896 h 4454665"/>
              <a:gd name="connsiteX437" fmla="*/ 11230741 w 12192000"/>
              <a:gd name="connsiteY437" fmla="*/ 3904735 h 4454665"/>
              <a:gd name="connsiteX438" fmla="*/ 11230741 w 12192000"/>
              <a:gd name="connsiteY438" fmla="*/ 3897682 h 4454665"/>
              <a:gd name="connsiteX439" fmla="*/ 11223766 w 12192000"/>
              <a:gd name="connsiteY439" fmla="*/ 3897682 h 4454665"/>
              <a:gd name="connsiteX440" fmla="*/ 11195866 w 12192000"/>
              <a:gd name="connsiteY440" fmla="*/ 3897682 h 4454665"/>
              <a:gd name="connsiteX441" fmla="*/ 11188891 w 12192000"/>
              <a:gd name="connsiteY441" fmla="*/ 3901208 h 4454665"/>
              <a:gd name="connsiteX442" fmla="*/ 11150528 w 12192000"/>
              <a:gd name="connsiteY442" fmla="*/ 4045808 h 4454665"/>
              <a:gd name="connsiteX443" fmla="*/ 11147041 w 12192000"/>
              <a:gd name="connsiteY443" fmla="*/ 4045808 h 4454665"/>
              <a:gd name="connsiteX444" fmla="*/ 11112166 w 12192000"/>
              <a:gd name="connsiteY444" fmla="*/ 3901208 h 4454665"/>
              <a:gd name="connsiteX445" fmla="*/ 11105191 w 12192000"/>
              <a:gd name="connsiteY445" fmla="*/ 3897682 h 4454665"/>
              <a:gd name="connsiteX446" fmla="*/ 11077291 w 12192000"/>
              <a:gd name="connsiteY446" fmla="*/ 3897682 h 4454665"/>
              <a:gd name="connsiteX447" fmla="*/ 11070316 w 12192000"/>
              <a:gd name="connsiteY447" fmla="*/ 3897682 h 4454665"/>
              <a:gd name="connsiteX448" fmla="*/ 11038289 w 12192000"/>
              <a:gd name="connsiteY448" fmla="*/ 3893651 h 4454665"/>
              <a:gd name="connsiteX449" fmla="*/ 10985474 w 12192000"/>
              <a:gd name="connsiteY449" fmla="*/ 3914757 h 4454665"/>
              <a:gd name="connsiteX450" fmla="*/ 10985474 w 12192000"/>
              <a:gd name="connsiteY450" fmla="*/ 3904204 h 4454665"/>
              <a:gd name="connsiteX451" fmla="*/ 10978433 w 12192000"/>
              <a:gd name="connsiteY451" fmla="*/ 3897169 h 4454665"/>
              <a:gd name="connsiteX452" fmla="*/ 10950264 w 12192000"/>
              <a:gd name="connsiteY452" fmla="*/ 3897169 h 4454665"/>
              <a:gd name="connsiteX453" fmla="*/ 10943222 w 12192000"/>
              <a:gd name="connsiteY453" fmla="*/ 3904204 h 4454665"/>
              <a:gd name="connsiteX454" fmla="*/ 10943222 w 12192000"/>
              <a:gd name="connsiteY454" fmla="*/ 4080087 h 4454665"/>
              <a:gd name="connsiteX455" fmla="*/ 10950264 w 12192000"/>
              <a:gd name="connsiteY455" fmla="*/ 4087122 h 4454665"/>
              <a:gd name="connsiteX456" fmla="*/ 10978433 w 12192000"/>
              <a:gd name="connsiteY456" fmla="*/ 4087122 h 4454665"/>
              <a:gd name="connsiteX457" fmla="*/ 10985474 w 12192000"/>
              <a:gd name="connsiteY457" fmla="*/ 4080087 h 4454665"/>
              <a:gd name="connsiteX458" fmla="*/ 10985474 w 12192000"/>
              <a:gd name="connsiteY458" fmla="*/ 3956969 h 4454665"/>
              <a:gd name="connsiteX459" fmla="*/ 11038289 w 12192000"/>
              <a:gd name="connsiteY459" fmla="*/ 3935863 h 4454665"/>
              <a:gd name="connsiteX460" fmla="*/ 11045332 w 12192000"/>
              <a:gd name="connsiteY460" fmla="*/ 3928828 h 4454665"/>
              <a:gd name="connsiteX461" fmla="*/ 11045332 w 12192000"/>
              <a:gd name="connsiteY461" fmla="*/ 3900687 h 4454665"/>
              <a:gd name="connsiteX462" fmla="*/ 11041811 w 12192000"/>
              <a:gd name="connsiteY462" fmla="*/ 3897169 h 4454665"/>
              <a:gd name="connsiteX463" fmla="*/ 11038289 w 12192000"/>
              <a:gd name="connsiteY463" fmla="*/ 3893651 h 4454665"/>
              <a:gd name="connsiteX464" fmla="*/ 10831647 w 12192000"/>
              <a:gd name="connsiteY464" fmla="*/ 3889620 h 4454665"/>
              <a:gd name="connsiteX465" fmla="*/ 10761417 w 12192000"/>
              <a:gd name="connsiteY465" fmla="*/ 3896691 h 4454665"/>
              <a:gd name="connsiteX466" fmla="*/ 10754394 w 12192000"/>
              <a:gd name="connsiteY466" fmla="*/ 3903763 h 4454665"/>
              <a:gd name="connsiteX467" fmla="*/ 10754394 w 12192000"/>
              <a:gd name="connsiteY467" fmla="*/ 3928512 h 4454665"/>
              <a:gd name="connsiteX468" fmla="*/ 10757905 w 12192000"/>
              <a:gd name="connsiteY468" fmla="*/ 3935584 h 4454665"/>
              <a:gd name="connsiteX469" fmla="*/ 10761417 w 12192000"/>
              <a:gd name="connsiteY469" fmla="*/ 3935584 h 4454665"/>
              <a:gd name="connsiteX470" fmla="*/ 10828136 w 12192000"/>
              <a:gd name="connsiteY470" fmla="*/ 3932048 h 4454665"/>
              <a:gd name="connsiteX471" fmla="*/ 10852717 w 12192000"/>
              <a:gd name="connsiteY471" fmla="*/ 3956798 h 4454665"/>
              <a:gd name="connsiteX472" fmla="*/ 10852717 w 12192000"/>
              <a:gd name="connsiteY472" fmla="*/ 3967405 h 4454665"/>
              <a:gd name="connsiteX473" fmla="*/ 10803555 w 12192000"/>
              <a:gd name="connsiteY473" fmla="*/ 3970941 h 4454665"/>
              <a:gd name="connsiteX474" fmla="*/ 10740347 w 12192000"/>
              <a:gd name="connsiteY474" fmla="*/ 4031046 h 4454665"/>
              <a:gd name="connsiteX475" fmla="*/ 10796532 w 12192000"/>
              <a:gd name="connsiteY475" fmla="*/ 4091152 h 4454665"/>
              <a:gd name="connsiteX476" fmla="*/ 10859740 w 12192000"/>
              <a:gd name="connsiteY476" fmla="*/ 4077009 h 4454665"/>
              <a:gd name="connsiteX477" fmla="*/ 10887833 w 12192000"/>
              <a:gd name="connsiteY477" fmla="*/ 4091152 h 4454665"/>
              <a:gd name="connsiteX478" fmla="*/ 10894855 w 12192000"/>
              <a:gd name="connsiteY478" fmla="*/ 4087616 h 4454665"/>
              <a:gd name="connsiteX479" fmla="*/ 10894855 w 12192000"/>
              <a:gd name="connsiteY479" fmla="*/ 4084081 h 4454665"/>
              <a:gd name="connsiteX480" fmla="*/ 10894855 w 12192000"/>
              <a:gd name="connsiteY480" fmla="*/ 3956798 h 4454665"/>
              <a:gd name="connsiteX481" fmla="*/ 10831647 w 12192000"/>
              <a:gd name="connsiteY481" fmla="*/ 3889620 h 4454665"/>
              <a:gd name="connsiteX482" fmla="*/ 10495822 w 12192000"/>
              <a:gd name="connsiteY482" fmla="*/ 3889619 h 4454665"/>
              <a:gd name="connsiteX483" fmla="*/ 10409835 w 12192000"/>
              <a:gd name="connsiteY483" fmla="*/ 3990386 h 4454665"/>
              <a:gd name="connsiteX484" fmla="*/ 10495822 w 12192000"/>
              <a:gd name="connsiteY484" fmla="*/ 4091152 h 4454665"/>
              <a:gd name="connsiteX485" fmla="*/ 10581809 w 12192000"/>
              <a:gd name="connsiteY485" fmla="*/ 3990386 h 4454665"/>
              <a:gd name="connsiteX486" fmla="*/ 10495822 w 12192000"/>
              <a:gd name="connsiteY486" fmla="*/ 3889619 h 4454665"/>
              <a:gd name="connsiteX487" fmla="*/ 10241892 w 12192000"/>
              <a:gd name="connsiteY487" fmla="*/ 3865436 h 4454665"/>
              <a:gd name="connsiteX488" fmla="*/ 10273241 w 12192000"/>
              <a:gd name="connsiteY488" fmla="*/ 3865436 h 4454665"/>
              <a:gd name="connsiteX489" fmla="*/ 10290657 w 12192000"/>
              <a:gd name="connsiteY489" fmla="*/ 3865436 h 4454665"/>
              <a:gd name="connsiteX490" fmla="*/ 10335940 w 12192000"/>
              <a:gd name="connsiteY490" fmla="*/ 3904400 h 4454665"/>
              <a:gd name="connsiteX491" fmla="*/ 10287174 w 12192000"/>
              <a:gd name="connsiteY491" fmla="*/ 3943362 h 4454665"/>
              <a:gd name="connsiteX492" fmla="*/ 10241892 w 12192000"/>
              <a:gd name="connsiteY492" fmla="*/ 3943362 h 4454665"/>
              <a:gd name="connsiteX493" fmla="*/ 10241892 w 12192000"/>
              <a:gd name="connsiteY493" fmla="*/ 3865436 h 4454665"/>
              <a:gd name="connsiteX494" fmla="*/ 10659063 w 12192000"/>
              <a:gd name="connsiteY494" fmla="*/ 3852001 h 4454665"/>
              <a:gd name="connsiteX495" fmla="*/ 10627410 w 12192000"/>
              <a:gd name="connsiteY495" fmla="*/ 3859035 h 4454665"/>
              <a:gd name="connsiteX496" fmla="*/ 10623893 w 12192000"/>
              <a:gd name="connsiteY496" fmla="*/ 3866069 h 4454665"/>
              <a:gd name="connsiteX497" fmla="*/ 10623893 w 12192000"/>
              <a:gd name="connsiteY497" fmla="*/ 3897721 h 4454665"/>
              <a:gd name="connsiteX498" fmla="*/ 10606308 w 12192000"/>
              <a:gd name="connsiteY498" fmla="*/ 3897721 h 4454665"/>
              <a:gd name="connsiteX499" fmla="*/ 10599275 w 12192000"/>
              <a:gd name="connsiteY499" fmla="*/ 3904755 h 4454665"/>
              <a:gd name="connsiteX500" fmla="*/ 10599275 w 12192000"/>
              <a:gd name="connsiteY500" fmla="*/ 3929373 h 4454665"/>
              <a:gd name="connsiteX501" fmla="*/ 10606308 w 12192000"/>
              <a:gd name="connsiteY501" fmla="*/ 3936407 h 4454665"/>
              <a:gd name="connsiteX502" fmla="*/ 10623893 w 12192000"/>
              <a:gd name="connsiteY502" fmla="*/ 3936407 h 4454665"/>
              <a:gd name="connsiteX503" fmla="*/ 10623893 w 12192000"/>
              <a:gd name="connsiteY503" fmla="*/ 4020814 h 4454665"/>
              <a:gd name="connsiteX504" fmla="*/ 10680164 w 12192000"/>
              <a:gd name="connsiteY504" fmla="*/ 4091152 h 4454665"/>
              <a:gd name="connsiteX505" fmla="*/ 10711817 w 12192000"/>
              <a:gd name="connsiteY505" fmla="*/ 4087636 h 4454665"/>
              <a:gd name="connsiteX506" fmla="*/ 10718851 w 12192000"/>
              <a:gd name="connsiteY506" fmla="*/ 4080601 h 4454665"/>
              <a:gd name="connsiteX507" fmla="*/ 10718851 w 12192000"/>
              <a:gd name="connsiteY507" fmla="*/ 4055983 h 4454665"/>
              <a:gd name="connsiteX508" fmla="*/ 10711817 w 12192000"/>
              <a:gd name="connsiteY508" fmla="*/ 4048949 h 4454665"/>
              <a:gd name="connsiteX509" fmla="*/ 10687198 w 12192000"/>
              <a:gd name="connsiteY509" fmla="*/ 4048949 h 4454665"/>
              <a:gd name="connsiteX510" fmla="*/ 10666096 w 12192000"/>
              <a:gd name="connsiteY510" fmla="*/ 4013780 h 4454665"/>
              <a:gd name="connsiteX511" fmla="*/ 10666096 w 12192000"/>
              <a:gd name="connsiteY511" fmla="*/ 3936407 h 4454665"/>
              <a:gd name="connsiteX512" fmla="*/ 10711817 w 12192000"/>
              <a:gd name="connsiteY512" fmla="*/ 3936407 h 4454665"/>
              <a:gd name="connsiteX513" fmla="*/ 10718851 w 12192000"/>
              <a:gd name="connsiteY513" fmla="*/ 3929373 h 4454665"/>
              <a:gd name="connsiteX514" fmla="*/ 10718851 w 12192000"/>
              <a:gd name="connsiteY514" fmla="*/ 3904755 h 4454665"/>
              <a:gd name="connsiteX515" fmla="*/ 10711817 w 12192000"/>
              <a:gd name="connsiteY515" fmla="*/ 3897721 h 4454665"/>
              <a:gd name="connsiteX516" fmla="*/ 10666096 w 12192000"/>
              <a:gd name="connsiteY516" fmla="*/ 3897721 h 4454665"/>
              <a:gd name="connsiteX517" fmla="*/ 10666096 w 12192000"/>
              <a:gd name="connsiteY517" fmla="*/ 3859035 h 4454665"/>
              <a:gd name="connsiteX518" fmla="*/ 10662580 w 12192000"/>
              <a:gd name="connsiteY518" fmla="*/ 3852001 h 4454665"/>
              <a:gd name="connsiteX519" fmla="*/ 10659063 w 12192000"/>
              <a:gd name="connsiteY519" fmla="*/ 3852001 h 4454665"/>
              <a:gd name="connsiteX520" fmla="*/ 10283668 w 12192000"/>
              <a:gd name="connsiteY520" fmla="*/ 3823787 h 4454665"/>
              <a:gd name="connsiteX521" fmla="*/ 10203208 w 12192000"/>
              <a:gd name="connsiteY521" fmla="*/ 3827298 h 4454665"/>
              <a:gd name="connsiteX522" fmla="*/ 10196211 w 12192000"/>
              <a:gd name="connsiteY522" fmla="*/ 3834320 h 4454665"/>
              <a:gd name="connsiteX523" fmla="*/ 10196211 w 12192000"/>
              <a:gd name="connsiteY523" fmla="*/ 4080100 h 4454665"/>
              <a:gd name="connsiteX524" fmla="*/ 10203208 w 12192000"/>
              <a:gd name="connsiteY524" fmla="*/ 4087122 h 4454665"/>
              <a:gd name="connsiteX525" fmla="*/ 10234693 w 12192000"/>
              <a:gd name="connsiteY525" fmla="*/ 4087122 h 4454665"/>
              <a:gd name="connsiteX526" fmla="*/ 10241689 w 12192000"/>
              <a:gd name="connsiteY526" fmla="*/ 4080100 h 4454665"/>
              <a:gd name="connsiteX527" fmla="*/ 10241689 w 12192000"/>
              <a:gd name="connsiteY527" fmla="*/ 3981788 h 4454665"/>
              <a:gd name="connsiteX528" fmla="*/ 10290665 w 12192000"/>
              <a:gd name="connsiteY528" fmla="*/ 3985299 h 4454665"/>
              <a:gd name="connsiteX529" fmla="*/ 10336143 w 12192000"/>
              <a:gd name="connsiteY529" fmla="*/ 4083611 h 4454665"/>
              <a:gd name="connsiteX530" fmla="*/ 10343139 w 12192000"/>
              <a:gd name="connsiteY530" fmla="*/ 4087122 h 4454665"/>
              <a:gd name="connsiteX531" fmla="*/ 10374624 w 12192000"/>
              <a:gd name="connsiteY531" fmla="*/ 4087122 h 4454665"/>
              <a:gd name="connsiteX532" fmla="*/ 10381620 w 12192000"/>
              <a:gd name="connsiteY532" fmla="*/ 4083611 h 4454665"/>
              <a:gd name="connsiteX533" fmla="*/ 10381620 w 12192000"/>
              <a:gd name="connsiteY533" fmla="*/ 4076589 h 4454665"/>
              <a:gd name="connsiteX534" fmla="*/ 10336143 w 12192000"/>
              <a:gd name="connsiteY534" fmla="*/ 3971255 h 4454665"/>
              <a:gd name="connsiteX535" fmla="*/ 10381620 w 12192000"/>
              <a:gd name="connsiteY535" fmla="*/ 3904543 h 4454665"/>
              <a:gd name="connsiteX536" fmla="*/ 10290665 w 12192000"/>
              <a:gd name="connsiteY536" fmla="*/ 3823787 h 4454665"/>
              <a:gd name="connsiteX537" fmla="*/ 10283668 w 12192000"/>
              <a:gd name="connsiteY537" fmla="*/ 3823787 h 4454665"/>
              <a:gd name="connsiteX538" fmla="*/ 11839186 w 12192000"/>
              <a:gd name="connsiteY538" fmla="*/ 3792865 h 4454665"/>
              <a:gd name="connsiteX539" fmla="*/ 11845722 w 12192000"/>
              <a:gd name="connsiteY539" fmla="*/ 3798596 h 4454665"/>
              <a:gd name="connsiteX540" fmla="*/ 11908470 w 12192000"/>
              <a:gd name="connsiteY540" fmla="*/ 4038420 h 4454665"/>
              <a:gd name="connsiteX541" fmla="*/ 11898012 w 12192000"/>
              <a:gd name="connsiteY541" fmla="*/ 4041947 h 4454665"/>
              <a:gd name="connsiteX542" fmla="*/ 11859666 w 12192000"/>
              <a:gd name="connsiteY542" fmla="*/ 4031366 h 4454665"/>
              <a:gd name="connsiteX543" fmla="*/ 11852694 w 12192000"/>
              <a:gd name="connsiteY543" fmla="*/ 4020786 h 4454665"/>
              <a:gd name="connsiteX544" fmla="*/ 11807377 w 12192000"/>
              <a:gd name="connsiteY544" fmla="*/ 3840918 h 4454665"/>
              <a:gd name="connsiteX545" fmla="*/ 11807377 w 12192000"/>
              <a:gd name="connsiteY545" fmla="*/ 3826811 h 4454665"/>
              <a:gd name="connsiteX546" fmla="*/ 11835264 w 12192000"/>
              <a:gd name="connsiteY546" fmla="*/ 3795069 h 4454665"/>
              <a:gd name="connsiteX547" fmla="*/ 11839186 w 12192000"/>
              <a:gd name="connsiteY547" fmla="*/ 3792865 h 4454665"/>
              <a:gd name="connsiteX548" fmla="*/ 11458923 w 12192000"/>
              <a:gd name="connsiteY548" fmla="*/ 3792865 h 4454665"/>
              <a:gd name="connsiteX549" fmla="*/ 11462885 w 12192000"/>
              <a:gd name="connsiteY549" fmla="*/ 3795069 h 4454665"/>
              <a:gd name="connsiteX550" fmla="*/ 11494585 w 12192000"/>
              <a:gd name="connsiteY550" fmla="*/ 3826811 h 4454665"/>
              <a:gd name="connsiteX551" fmla="*/ 11491063 w 12192000"/>
              <a:gd name="connsiteY551" fmla="*/ 3840918 h 4454665"/>
              <a:gd name="connsiteX552" fmla="*/ 11445274 w 12192000"/>
              <a:gd name="connsiteY552" fmla="*/ 4020786 h 4454665"/>
              <a:gd name="connsiteX553" fmla="*/ 11438229 w 12192000"/>
              <a:gd name="connsiteY553" fmla="*/ 4031366 h 4454665"/>
              <a:gd name="connsiteX554" fmla="*/ 11399484 w 12192000"/>
              <a:gd name="connsiteY554" fmla="*/ 4041947 h 4454665"/>
              <a:gd name="connsiteX555" fmla="*/ 11388917 w 12192000"/>
              <a:gd name="connsiteY555" fmla="*/ 4038420 h 4454665"/>
              <a:gd name="connsiteX556" fmla="*/ 11452318 w 12192000"/>
              <a:gd name="connsiteY556" fmla="*/ 3798596 h 4454665"/>
              <a:gd name="connsiteX557" fmla="*/ 11458923 w 12192000"/>
              <a:gd name="connsiteY557" fmla="*/ 3792865 h 4454665"/>
              <a:gd name="connsiteX558" fmla="*/ 11677605 w 12192000"/>
              <a:gd name="connsiteY558" fmla="*/ 3787511 h 4454665"/>
              <a:gd name="connsiteX559" fmla="*/ 11684592 w 12192000"/>
              <a:gd name="connsiteY559" fmla="*/ 3787511 h 4454665"/>
              <a:gd name="connsiteX560" fmla="*/ 11792882 w 12192000"/>
              <a:gd name="connsiteY560" fmla="*/ 3851080 h 4454665"/>
              <a:gd name="connsiteX561" fmla="*/ 11796375 w 12192000"/>
              <a:gd name="connsiteY561" fmla="*/ 3858144 h 4454665"/>
              <a:gd name="connsiteX562" fmla="*/ 11789388 w 12192000"/>
              <a:gd name="connsiteY562" fmla="*/ 3865207 h 4454665"/>
              <a:gd name="connsiteX563" fmla="*/ 11698565 w 12192000"/>
              <a:gd name="connsiteY563" fmla="*/ 3911118 h 4454665"/>
              <a:gd name="connsiteX564" fmla="*/ 11688084 w 12192000"/>
              <a:gd name="connsiteY564" fmla="*/ 3911118 h 4454665"/>
              <a:gd name="connsiteX565" fmla="*/ 11681098 w 12192000"/>
              <a:gd name="connsiteY565" fmla="*/ 3900523 h 4454665"/>
              <a:gd name="connsiteX566" fmla="*/ 11674112 w 12192000"/>
              <a:gd name="connsiteY566" fmla="*/ 3798107 h 4454665"/>
              <a:gd name="connsiteX567" fmla="*/ 11677605 w 12192000"/>
              <a:gd name="connsiteY567" fmla="*/ 3787511 h 4454665"/>
              <a:gd name="connsiteX568" fmla="*/ 11613922 w 12192000"/>
              <a:gd name="connsiteY568" fmla="*/ 3787511 h 4454665"/>
              <a:gd name="connsiteX569" fmla="*/ 11620908 w 12192000"/>
              <a:gd name="connsiteY569" fmla="*/ 3787511 h 4454665"/>
              <a:gd name="connsiteX570" fmla="*/ 11624401 w 12192000"/>
              <a:gd name="connsiteY570" fmla="*/ 3798107 h 4454665"/>
              <a:gd name="connsiteX571" fmla="*/ 11613922 w 12192000"/>
              <a:gd name="connsiteY571" fmla="*/ 3904054 h 4454665"/>
              <a:gd name="connsiteX572" fmla="*/ 11610428 w 12192000"/>
              <a:gd name="connsiteY572" fmla="*/ 3911118 h 4454665"/>
              <a:gd name="connsiteX573" fmla="*/ 11599949 w 12192000"/>
              <a:gd name="connsiteY573" fmla="*/ 3911118 h 4454665"/>
              <a:gd name="connsiteX574" fmla="*/ 11509124 w 12192000"/>
              <a:gd name="connsiteY574" fmla="*/ 3865207 h 4454665"/>
              <a:gd name="connsiteX575" fmla="*/ 11502138 w 12192000"/>
              <a:gd name="connsiteY575" fmla="*/ 3858144 h 4454665"/>
              <a:gd name="connsiteX576" fmla="*/ 11505632 w 12192000"/>
              <a:gd name="connsiteY576" fmla="*/ 3851080 h 4454665"/>
              <a:gd name="connsiteX577" fmla="*/ 11613922 w 12192000"/>
              <a:gd name="connsiteY577" fmla="*/ 3787511 h 4454665"/>
              <a:gd name="connsiteX578" fmla="*/ 11532772 w 12192000"/>
              <a:gd name="connsiteY578" fmla="*/ 3752579 h 4454665"/>
              <a:gd name="connsiteX579" fmla="*/ 11539758 w 12192000"/>
              <a:gd name="connsiteY579" fmla="*/ 3759969 h 4454665"/>
              <a:gd name="connsiteX580" fmla="*/ 11536265 w 12192000"/>
              <a:gd name="connsiteY580" fmla="*/ 3763664 h 4454665"/>
              <a:gd name="connsiteX581" fmla="*/ 11529278 w 12192000"/>
              <a:gd name="connsiteY581" fmla="*/ 3767359 h 4454665"/>
              <a:gd name="connsiteX582" fmla="*/ 11525785 w 12192000"/>
              <a:gd name="connsiteY582" fmla="*/ 3759969 h 4454665"/>
              <a:gd name="connsiteX583" fmla="*/ 11522292 w 12192000"/>
              <a:gd name="connsiteY583" fmla="*/ 3759969 h 4454665"/>
              <a:gd name="connsiteX584" fmla="*/ 11532772 w 12192000"/>
              <a:gd name="connsiteY584" fmla="*/ 3752579 h 4454665"/>
              <a:gd name="connsiteX585" fmla="*/ 11529297 w 12192000"/>
              <a:gd name="connsiteY585" fmla="*/ 3745382 h 4454665"/>
              <a:gd name="connsiteX586" fmla="*/ 11511543 w 12192000"/>
              <a:gd name="connsiteY586" fmla="*/ 3756034 h 4454665"/>
              <a:gd name="connsiteX587" fmla="*/ 11515094 w 12192000"/>
              <a:gd name="connsiteY587" fmla="*/ 3759585 h 4454665"/>
              <a:gd name="connsiteX588" fmla="*/ 11532848 w 12192000"/>
              <a:gd name="connsiteY588" fmla="*/ 3791543 h 4454665"/>
              <a:gd name="connsiteX589" fmla="*/ 11539950 w 12192000"/>
              <a:gd name="connsiteY589" fmla="*/ 3787991 h 4454665"/>
              <a:gd name="connsiteX590" fmla="*/ 11532848 w 12192000"/>
              <a:gd name="connsiteY590" fmla="*/ 3773788 h 4454665"/>
              <a:gd name="connsiteX591" fmla="*/ 11539950 w 12192000"/>
              <a:gd name="connsiteY591" fmla="*/ 3770238 h 4454665"/>
              <a:gd name="connsiteX592" fmla="*/ 11554153 w 12192000"/>
              <a:gd name="connsiteY592" fmla="*/ 3780890 h 4454665"/>
              <a:gd name="connsiteX593" fmla="*/ 11561255 w 12192000"/>
              <a:gd name="connsiteY593" fmla="*/ 3777339 h 4454665"/>
              <a:gd name="connsiteX594" fmla="*/ 11547052 w 12192000"/>
              <a:gd name="connsiteY594" fmla="*/ 3763136 h 4454665"/>
              <a:gd name="connsiteX595" fmla="*/ 11547052 w 12192000"/>
              <a:gd name="connsiteY595" fmla="*/ 3759585 h 4454665"/>
              <a:gd name="connsiteX596" fmla="*/ 11529297 w 12192000"/>
              <a:gd name="connsiteY596" fmla="*/ 3745382 h 4454665"/>
              <a:gd name="connsiteX597" fmla="*/ 11750205 w 12192000"/>
              <a:gd name="connsiteY597" fmla="*/ 3739144 h 4454665"/>
              <a:gd name="connsiteX598" fmla="*/ 11753748 w 12192000"/>
              <a:gd name="connsiteY598" fmla="*/ 3763328 h 4454665"/>
              <a:gd name="connsiteX599" fmla="*/ 11746663 w 12192000"/>
              <a:gd name="connsiteY599" fmla="*/ 3780602 h 4454665"/>
              <a:gd name="connsiteX600" fmla="*/ 11753748 w 12192000"/>
              <a:gd name="connsiteY600" fmla="*/ 3787511 h 4454665"/>
              <a:gd name="connsiteX601" fmla="*/ 11760832 w 12192000"/>
              <a:gd name="connsiteY601" fmla="*/ 3770237 h 4454665"/>
              <a:gd name="connsiteX602" fmla="*/ 11785626 w 12192000"/>
              <a:gd name="connsiteY602" fmla="*/ 3756418 h 4454665"/>
              <a:gd name="connsiteX603" fmla="*/ 11778543 w 12192000"/>
              <a:gd name="connsiteY603" fmla="*/ 3752963 h 4454665"/>
              <a:gd name="connsiteX604" fmla="*/ 11760832 w 12192000"/>
              <a:gd name="connsiteY604" fmla="*/ 3759873 h 4454665"/>
              <a:gd name="connsiteX605" fmla="*/ 11757290 w 12192000"/>
              <a:gd name="connsiteY605" fmla="*/ 3742598 h 4454665"/>
              <a:gd name="connsiteX606" fmla="*/ 11750205 w 12192000"/>
              <a:gd name="connsiteY606" fmla="*/ 3739144 h 4454665"/>
              <a:gd name="connsiteX607" fmla="*/ 11715224 w 12192000"/>
              <a:gd name="connsiteY607" fmla="*/ 3735114 h 4454665"/>
              <a:gd name="connsiteX608" fmla="*/ 11725705 w 12192000"/>
              <a:gd name="connsiteY608" fmla="*/ 3738473 h 4454665"/>
              <a:gd name="connsiteX609" fmla="*/ 11729197 w 12192000"/>
              <a:gd name="connsiteY609" fmla="*/ 3741832 h 4454665"/>
              <a:gd name="connsiteX610" fmla="*/ 11722211 w 12192000"/>
              <a:gd name="connsiteY610" fmla="*/ 3748549 h 4454665"/>
              <a:gd name="connsiteX611" fmla="*/ 11711731 w 12192000"/>
              <a:gd name="connsiteY611" fmla="*/ 3745190 h 4454665"/>
              <a:gd name="connsiteX612" fmla="*/ 11711731 w 12192000"/>
              <a:gd name="connsiteY612" fmla="*/ 3741832 h 4454665"/>
              <a:gd name="connsiteX613" fmla="*/ 11715224 w 12192000"/>
              <a:gd name="connsiteY613" fmla="*/ 3735114 h 4454665"/>
              <a:gd name="connsiteX614" fmla="*/ 11582079 w 12192000"/>
              <a:gd name="connsiteY614" fmla="*/ 3734609 h 4454665"/>
              <a:gd name="connsiteX615" fmla="*/ 11596187 w 12192000"/>
              <a:gd name="connsiteY615" fmla="*/ 3745190 h 4454665"/>
              <a:gd name="connsiteX616" fmla="*/ 11582079 w 12192000"/>
              <a:gd name="connsiteY616" fmla="*/ 3759297 h 4454665"/>
              <a:gd name="connsiteX617" fmla="*/ 11567972 w 12192000"/>
              <a:gd name="connsiteY617" fmla="*/ 3748717 h 4454665"/>
              <a:gd name="connsiteX618" fmla="*/ 11567972 w 12192000"/>
              <a:gd name="connsiteY618" fmla="*/ 3745190 h 4454665"/>
              <a:gd name="connsiteX619" fmla="*/ 11582079 w 12192000"/>
              <a:gd name="connsiteY619" fmla="*/ 3734609 h 4454665"/>
              <a:gd name="connsiteX620" fmla="*/ 11670081 w 12192000"/>
              <a:gd name="connsiteY620" fmla="*/ 3728395 h 4454665"/>
              <a:gd name="connsiteX621" fmla="*/ 11673440 w 12192000"/>
              <a:gd name="connsiteY621" fmla="*/ 3738875 h 4454665"/>
              <a:gd name="connsiteX622" fmla="*/ 11676799 w 12192000"/>
              <a:gd name="connsiteY622" fmla="*/ 3745862 h 4454665"/>
              <a:gd name="connsiteX623" fmla="*/ 11663363 w 12192000"/>
              <a:gd name="connsiteY623" fmla="*/ 3745862 h 4454665"/>
              <a:gd name="connsiteX624" fmla="*/ 11666722 w 12192000"/>
              <a:gd name="connsiteY624" fmla="*/ 3738875 h 4454665"/>
              <a:gd name="connsiteX625" fmla="*/ 11670081 w 12192000"/>
              <a:gd name="connsiteY625" fmla="*/ 3728395 h 4454665"/>
              <a:gd name="connsiteX626" fmla="*/ 11578609 w 12192000"/>
              <a:gd name="connsiteY626" fmla="*/ 3727879 h 4454665"/>
              <a:gd name="connsiteX627" fmla="*/ 11561254 w 12192000"/>
              <a:gd name="connsiteY627" fmla="*/ 3745449 h 4454665"/>
              <a:gd name="connsiteX628" fmla="*/ 11561254 w 12192000"/>
              <a:gd name="connsiteY628" fmla="*/ 3748962 h 4454665"/>
              <a:gd name="connsiteX629" fmla="*/ 11582079 w 12192000"/>
              <a:gd name="connsiteY629" fmla="*/ 3766532 h 4454665"/>
              <a:gd name="connsiteX630" fmla="*/ 11602904 w 12192000"/>
              <a:gd name="connsiteY630" fmla="*/ 3745449 h 4454665"/>
              <a:gd name="connsiteX631" fmla="*/ 11578609 w 12192000"/>
              <a:gd name="connsiteY631" fmla="*/ 3727879 h 4454665"/>
              <a:gd name="connsiteX632" fmla="*/ 11708922 w 12192000"/>
              <a:gd name="connsiteY632" fmla="*/ 3724365 h 4454665"/>
              <a:gd name="connsiteX633" fmla="*/ 11705380 w 12192000"/>
              <a:gd name="connsiteY633" fmla="*/ 3742119 h 4454665"/>
              <a:gd name="connsiteX634" fmla="*/ 11698296 w 12192000"/>
              <a:gd name="connsiteY634" fmla="*/ 3763424 h 4454665"/>
              <a:gd name="connsiteX635" fmla="*/ 11708922 w 12192000"/>
              <a:gd name="connsiteY635" fmla="*/ 3766975 h 4454665"/>
              <a:gd name="connsiteX636" fmla="*/ 11712464 w 12192000"/>
              <a:gd name="connsiteY636" fmla="*/ 3752772 h 4454665"/>
              <a:gd name="connsiteX637" fmla="*/ 11719548 w 12192000"/>
              <a:gd name="connsiteY637" fmla="*/ 3752772 h 4454665"/>
              <a:gd name="connsiteX638" fmla="*/ 11723090 w 12192000"/>
              <a:gd name="connsiteY638" fmla="*/ 3770526 h 4454665"/>
              <a:gd name="connsiteX639" fmla="*/ 11730175 w 12192000"/>
              <a:gd name="connsiteY639" fmla="*/ 3774077 h 4454665"/>
              <a:gd name="connsiteX640" fmla="*/ 11726632 w 12192000"/>
              <a:gd name="connsiteY640" fmla="*/ 3756323 h 4454665"/>
              <a:gd name="connsiteX641" fmla="*/ 11737259 w 12192000"/>
              <a:gd name="connsiteY641" fmla="*/ 3742119 h 4454665"/>
              <a:gd name="connsiteX642" fmla="*/ 11730175 w 12192000"/>
              <a:gd name="connsiteY642" fmla="*/ 3731467 h 4454665"/>
              <a:gd name="connsiteX643" fmla="*/ 11708922 w 12192000"/>
              <a:gd name="connsiteY643" fmla="*/ 3724365 h 4454665"/>
              <a:gd name="connsiteX644" fmla="*/ 11666295 w 12192000"/>
              <a:gd name="connsiteY644" fmla="*/ 3717647 h 4454665"/>
              <a:gd name="connsiteX645" fmla="*/ 11659211 w 12192000"/>
              <a:gd name="connsiteY645" fmla="*/ 3738731 h 4454665"/>
              <a:gd name="connsiteX646" fmla="*/ 11648585 w 12192000"/>
              <a:gd name="connsiteY646" fmla="*/ 3759814 h 4454665"/>
              <a:gd name="connsiteX647" fmla="*/ 11655669 w 12192000"/>
              <a:gd name="connsiteY647" fmla="*/ 3759814 h 4454665"/>
              <a:gd name="connsiteX648" fmla="*/ 11659211 w 12192000"/>
              <a:gd name="connsiteY648" fmla="*/ 3752786 h 4454665"/>
              <a:gd name="connsiteX649" fmla="*/ 11676922 w 12192000"/>
              <a:gd name="connsiteY649" fmla="*/ 3752786 h 4454665"/>
              <a:gd name="connsiteX650" fmla="*/ 11680464 w 12192000"/>
              <a:gd name="connsiteY650" fmla="*/ 3759814 h 4454665"/>
              <a:gd name="connsiteX651" fmla="*/ 11687548 w 12192000"/>
              <a:gd name="connsiteY651" fmla="*/ 3763328 h 4454665"/>
              <a:gd name="connsiteX652" fmla="*/ 11680464 w 12192000"/>
              <a:gd name="connsiteY652" fmla="*/ 3738731 h 4454665"/>
              <a:gd name="connsiteX653" fmla="*/ 11676922 w 12192000"/>
              <a:gd name="connsiteY653" fmla="*/ 3717647 h 4454665"/>
              <a:gd name="connsiteX654" fmla="*/ 11666295 w 12192000"/>
              <a:gd name="connsiteY654" fmla="*/ 3717647 h 4454665"/>
              <a:gd name="connsiteX655" fmla="*/ 11645898 w 12192000"/>
              <a:gd name="connsiteY655" fmla="*/ 3717647 h 4454665"/>
              <a:gd name="connsiteX656" fmla="*/ 11606934 w 12192000"/>
              <a:gd name="connsiteY656" fmla="*/ 3721118 h 4454665"/>
              <a:gd name="connsiteX657" fmla="*/ 11606934 w 12192000"/>
              <a:gd name="connsiteY657" fmla="*/ 3728059 h 4454665"/>
              <a:gd name="connsiteX658" fmla="*/ 11621103 w 12192000"/>
              <a:gd name="connsiteY658" fmla="*/ 3724589 h 4454665"/>
              <a:gd name="connsiteX659" fmla="*/ 11624645 w 12192000"/>
              <a:gd name="connsiteY659" fmla="*/ 3759297 h 4454665"/>
              <a:gd name="connsiteX660" fmla="*/ 11635271 w 12192000"/>
              <a:gd name="connsiteY660" fmla="*/ 3759297 h 4454665"/>
              <a:gd name="connsiteX661" fmla="*/ 11631729 w 12192000"/>
              <a:gd name="connsiteY661" fmla="*/ 3724589 h 4454665"/>
              <a:gd name="connsiteX662" fmla="*/ 11645898 w 12192000"/>
              <a:gd name="connsiteY662" fmla="*/ 3724589 h 4454665"/>
              <a:gd name="connsiteX663" fmla="*/ 11645898 w 12192000"/>
              <a:gd name="connsiteY663" fmla="*/ 3717647 h 4454665"/>
              <a:gd name="connsiteX664" fmla="*/ 11196257 w 12192000"/>
              <a:gd name="connsiteY664" fmla="*/ 3717646 h 4454665"/>
              <a:gd name="connsiteX665" fmla="*/ 11221336 w 12192000"/>
              <a:gd name="connsiteY665" fmla="*/ 3752578 h 4454665"/>
              <a:gd name="connsiteX666" fmla="*/ 11167595 w 12192000"/>
              <a:gd name="connsiteY666" fmla="*/ 3752578 h 4454665"/>
              <a:gd name="connsiteX667" fmla="*/ 11196257 w 12192000"/>
              <a:gd name="connsiteY667" fmla="*/ 3717646 h 4454665"/>
              <a:gd name="connsiteX668" fmla="*/ 11648585 w 12192000"/>
              <a:gd name="connsiteY668" fmla="*/ 3710930 h 4454665"/>
              <a:gd name="connsiteX669" fmla="*/ 11813539 w 12192000"/>
              <a:gd name="connsiteY669" fmla="*/ 3766821 h 4454665"/>
              <a:gd name="connsiteX670" fmla="*/ 11817049 w 12192000"/>
              <a:gd name="connsiteY670" fmla="*/ 3780794 h 4454665"/>
              <a:gd name="connsiteX671" fmla="*/ 11788972 w 12192000"/>
              <a:gd name="connsiteY671" fmla="*/ 3812234 h 4454665"/>
              <a:gd name="connsiteX672" fmla="*/ 11774933 w 12192000"/>
              <a:gd name="connsiteY672" fmla="*/ 3812234 h 4454665"/>
              <a:gd name="connsiteX673" fmla="*/ 11648585 w 12192000"/>
              <a:gd name="connsiteY673" fmla="*/ 3766821 h 4454665"/>
              <a:gd name="connsiteX674" fmla="*/ 11522236 w 12192000"/>
              <a:gd name="connsiteY674" fmla="*/ 3812234 h 4454665"/>
              <a:gd name="connsiteX675" fmla="*/ 11508198 w 12192000"/>
              <a:gd name="connsiteY675" fmla="*/ 3812234 h 4454665"/>
              <a:gd name="connsiteX676" fmla="*/ 11480121 w 12192000"/>
              <a:gd name="connsiteY676" fmla="*/ 3780794 h 4454665"/>
              <a:gd name="connsiteX677" fmla="*/ 11483630 w 12192000"/>
              <a:gd name="connsiteY677" fmla="*/ 3766821 h 4454665"/>
              <a:gd name="connsiteX678" fmla="*/ 11648585 w 12192000"/>
              <a:gd name="connsiteY678" fmla="*/ 3710930 h 4454665"/>
              <a:gd name="connsiteX679" fmla="*/ 11196481 w 12192000"/>
              <a:gd name="connsiteY679" fmla="*/ 3710929 h 4454665"/>
              <a:gd name="connsiteX680" fmla="*/ 11158189 w 12192000"/>
              <a:gd name="connsiteY680" fmla="*/ 3759969 h 4454665"/>
              <a:gd name="connsiteX681" fmla="*/ 11199962 w 12192000"/>
              <a:gd name="connsiteY681" fmla="*/ 3809008 h 4454665"/>
              <a:gd name="connsiteX682" fmla="*/ 11227810 w 12192000"/>
              <a:gd name="connsiteY682" fmla="*/ 3802002 h 4454665"/>
              <a:gd name="connsiteX683" fmla="*/ 11227810 w 12192000"/>
              <a:gd name="connsiteY683" fmla="*/ 3791494 h 4454665"/>
              <a:gd name="connsiteX684" fmla="*/ 11199962 w 12192000"/>
              <a:gd name="connsiteY684" fmla="*/ 3798499 h 4454665"/>
              <a:gd name="connsiteX685" fmla="*/ 11168632 w 12192000"/>
              <a:gd name="connsiteY685" fmla="*/ 3763472 h 4454665"/>
              <a:gd name="connsiteX686" fmla="*/ 11234772 w 12192000"/>
              <a:gd name="connsiteY686" fmla="*/ 3763472 h 4454665"/>
              <a:gd name="connsiteX687" fmla="*/ 11234772 w 12192000"/>
              <a:gd name="connsiteY687" fmla="*/ 3756466 h 4454665"/>
              <a:gd name="connsiteX688" fmla="*/ 11196481 w 12192000"/>
              <a:gd name="connsiteY688" fmla="*/ 3710929 h 4454665"/>
              <a:gd name="connsiteX689" fmla="*/ 10947253 w 12192000"/>
              <a:gd name="connsiteY689" fmla="*/ 3674653 h 4454665"/>
              <a:gd name="connsiteX690" fmla="*/ 10947253 w 12192000"/>
              <a:gd name="connsiteY690" fmla="*/ 3685401 h 4454665"/>
              <a:gd name="connsiteX691" fmla="*/ 10986216 w 12192000"/>
              <a:gd name="connsiteY691" fmla="*/ 3685401 h 4454665"/>
              <a:gd name="connsiteX692" fmla="*/ 10986216 w 12192000"/>
              <a:gd name="connsiteY692" fmla="*/ 3804977 h 4454665"/>
              <a:gd name="connsiteX693" fmla="*/ 10999652 w 12192000"/>
              <a:gd name="connsiteY693" fmla="*/ 3804977 h 4454665"/>
              <a:gd name="connsiteX694" fmla="*/ 10999652 w 12192000"/>
              <a:gd name="connsiteY694" fmla="*/ 3685401 h 4454665"/>
              <a:gd name="connsiteX695" fmla="*/ 11038614 w 12192000"/>
              <a:gd name="connsiteY695" fmla="*/ 3685401 h 4454665"/>
              <a:gd name="connsiteX696" fmla="*/ 11038614 w 12192000"/>
              <a:gd name="connsiteY696" fmla="*/ 3674653 h 4454665"/>
              <a:gd name="connsiteX697" fmla="*/ 11060111 w 12192000"/>
              <a:gd name="connsiteY697" fmla="*/ 3663904 h 4454665"/>
              <a:gd name="connsiteX698" fmla="*/ 11060111 w 12192000"/>
              <a:gd name="connsiteY698" fmla="*/ 3804977 h 4454665"/>
              <a:gd name="connsiteX699" fmla="*/ 11070476 w 12192000"/>
              <a:gd name="connsiteY699" fmla="*/ 3804977 h 4454665"/>
              <a:gd name="connsiteX700" fmla="*/ 11070476 w 12192000"/>
              <a:gd name="connsiteY700" fmla="*/ 3755601 h 4454665"/>
              <a:gd name="connsiteX701" fmla="*/ 11098115 w 12192000"/>
              <a:gd name="connsiteY701" fmla="*/ 3716807 h 4454665"/>
              <a:gd name="connsiteX702" fmla="*/ 11118844 w 12192000"/>
              <a:gd name="connsiteY702" fmla="*/ 3748548 h 4454665"/>
              <a:gd name="connsiteX703" fmla="*/ 11118844 w 12192000"/>
              <a:gd name="connsiteY703" fmla="*/ 3804977 h 4454665"/>
              <a:gd name="connsiteX704" fmla="*/ 11132662 w 12192000"/>
              <a:gd name="connsiteY704" fmla="*/ 3804977 h 4454665"/>
              <a:gd name="connsiteX705" fmla="*/ 11132662 w 12192000"/>
              <a:gd name="connsiteY705" fmla="*/ 3748548 h 4454665"/>
              <a:gd name="connsiteX706" fmla="*/ 11101569 w 12192000"/>
              <a:gd name="connsiteY706" fmla="*/ 3709753 h 4454665"/>
              <a:gd name="connsiteX707" fmla="*/ 11070476 w 12192000"/>
              <a:gd name="connsiteY707" fmla="*/ 3727387 h 4454665"/>
              <a:gd name="connsiteX708" fmla="*/ 11070476 w 12192000"/>
              <a:gd name="connsiteY708" fmla="*/ 3663904 h 4454665"/>
              <a:gd name="connsiteX709" fmla="*/ 11060111 w 12192000"/>
              <a:gd name="connsiteY709" fmla="*/ 3663904 h 4454665"/>
              <a:gd name="connsiteX710" fmla="*/ 11638739 w 12192000"/>
              <a:gd name="connsiteY710" fmla="*/ 3639721 h 4454665"/>
              <a:gd name="connsiteX711" fmla="*/ 11624716 w 12192000"/>
              <a:gd name="connsiteY711" fmla="*/ 3692584 h 4454665"/>
              <a:gd name="connsiteX712" fmla="*/ 11600176 w 12192000"/>
              <a:gd name="connsiteY712" fmla="*/ 3696108 h 4454665"/>
              <a:gd name="connsiteX713" fmla="*/ 11575635 w 12192000"/>
              <a:gd name="connsiteY713" fmla="*/ 3650294 h 4454665"/>
              <a:gd name="connsiteX714" fmla="*/ 11572129 w 12192000"/>
              <a:gd name="connsiteY714" fmla="*/ 3650294 h 4454665"/>
              <a:gd name="connsiteX715" fmla="*/ 11551094 w 12192000"/>
              <a:gd name="connsiteY715" fmla="*/ 3653818 h 4454665"/>
              <a:gd name="connsiteX716" fmla="*/ 11551094 w 12192000"/>
              <a:gd name="connsiteY716" fmla="*/ 3657342 h 4454665"/>
              <a:gd name="connsiteX717" fmla="*/ 11547588 w 12192000"/>
              <a:gd name="connsiteY717" fmla="*/ 3682011 h 4454665"/>
              <a:gd name="connsiteX718" fmla="*/ 11551094 w 12192000"/>
              <a:gd name="connsiteY718" fmla="*/ 3710205 h 4454665"/>
              <a:gd name="connsiteX719" fmla="*/ 11530059 w 12192000"/>
              <a:gd name="connsiteY719" fmla="*/ 3717253 h 4454665"/>
              <a:gd name="connsiteX720" fmla="*/ 11491495 w 12192000"/>
              <a:gd name="connsiteY720" fmla="*/ 3682011 h 4454665"/>
              <a:gd name="connsiteX721" fmla="*/ 11470460 w 12192000"/>
              <a:gd name="connsiteY721" fmla="*/ 3692584 h 4454665"/>
              <a:gd name="connsiteX722" fmla="*/ 11484484 w 12192000"/>
              <a:gd name="connsiteY722" fmla="*/ 3745446 h 4454665"/>
              <a:gd name="connsiteX723" fmla="*/ 11466954 w 12192000"/>
              <a:gd name="connsiteY723" fmla="*/ 3756019 h 4454665"/>
              <a:gd name="connsiteX724" fmla="*/ 11421379 w 12192000"/>
              <a:gd name="connsiteY724" fmla="*/ 3731350 h 4454665"/>
              <a:gd name="connsiteX725" fmla="*/ 11403850 w 12192000"/>
              <a:gd name="connsiteY725" fmla="*/ 3745446 h 4454665"/>
              <a:gd name="connsiteX726" fmla="*/ 11403850 w 12192000"/>
              <a:gd name="connsiteY726" fmla="*/ 3748970 h 4454665"/>
              <a:gd name="connsiteX727" fmla="*/ 11431896 w 12192000"/>
              <a:gd name="connsiteY727" fmla="*/ 3794785 h 4454665"/>
              <a:gd name="connsiteX728" fmla="*/ 11417873 w 12192000"/>
              <a:gd name="connsiteY728" fmla="*/ 3812406 h 4454665"/>
              <a:gd name="connsiteX729" fmla="*/ 11365286 w 12192000"/>
              <a:gd name="connsiteY729" fmla="*/ 3798309 h 4454665"/>
              <a:gd name="connsiteX730" fmla="*/ 11354768 w 12192000"/>
              <a:gd name="connsiteY730" fmla="*/ 3819454 h 4454665"/>
              <a:gd name="connsiteX731" fmla="*/ 11389827 w 12192000"/>
              <a:gd name="connsiteY731" fmla="*/ 3858221 h 4454665"/>
              <a:gd name="connsiteX732" fmla="*/ 11382815 w 12192000"/>
              <a:gd name="connsiteY732" fmla="*/ 3879365 h 4454665"/>
              <a:gd name="connsiteX733" fmla="*/ 11330228 w 12192000"/>
              <a:gd name="connsiteY733" fmla="*/ 3879365 h 4454665"/>
              <a:gd name="connsiteX734" fmla="*/ 11323216 w 12192000"/>
              <a:gd name="connsiteY734" fmla="*/ 3900510 h 4454665"/>
              <a:gd name="connsiteX735" fmla="*/ 11368791 w 12192000"/>
              <a:gd name="connsiteY735" fmla="*/ 3928704 h 4454665"/>
              <a:gd name="connsiteX736" fmla="*/ 11365286 w 12192000"/>
              <a:gd name="connsiteY736" fmla="*/ 3949848 h 4454665"/>
              <a:gd name="connsiteX737" fmla="*/ 11316205 w 12192000"/>
              <a:gd name="connsiteY737" fmla="*/ 3963946 h 4454665"/>
              <a:gd name="connsiteX738" fmla="*/ 11312698 w 12192000"/>
              <a:gd name="connsiteY738" fmla="*/ 3963946 h 4454665"/>
              <a:gd name="connsiteX739" fmla="*/ 11312698 w 12192000"/>
              <a:gd name="connsiteY739" fmla="*/ 3978042 h 4454665"/>
              <a:gd name="connsiteX740" fmla="*/ 11312698 w 12192000"/>
              <a:gd name="connsiteY740" fmla="*/ 3988615 h 4454665"/>
              <a:gd name="connsiteX741" fmla="*/ 11316205 w 12192000"/>
              <a:gd name="connsiteY741" fmla="*/ 3988615 h 4454665"/>
              <a:gd name="connsiteX742" fmla="*/ 11365286 w 12192000"/>
              <a:gd name="connsiteY742" fmla="*/ 4002712 h 4454665"/>
              <a:gd name="connsiteX743" fmla="*/ 11368791 w 12192000"/>
              <a:gd name="connsiteY743" fmla="*/ 4023857 h 4454665"/>
              <a:gd name="connsiteX744" fmla="*/ 11323216 w 12192000"/>
              <a:gd name="connsiteY744" fmla="*/ 4052050 h 4454665"/>
              <a:gd name="connsiteX745" fmla="*/ 11323216 w 12192000"/>
              <a:gd name="connsiteY745" fmla="*/ 4055574 h 4454665"/>
              <a:gd name="connsiteX746" fmla="*/ 11330228 w 12192000"/>
              <a:gd name="connsiteY746" fmla="*/ 4076719 h 4454665"/>
              <a:gd name="connsiteX747" fmla="*/ 11382815 w 12192000"/>
              <a:gd name="connsiteY747" fmla="*/ 4076719 h 4454665"/>
              <a:gd name="connsiteX748" fmla="*/ 11393332 w 12192000"/>
              <a:gd name="connsiteY748" fmla="*/ 4097865 h 4454665"/>
              <a:gd name="connsiteX749" fmla="*/ 11354768 w 12192000"/>
              <a:gd name="connsiteY749" fmla="*/ 4133106 h 4454665"/>
              <a:gd name="connsiteX750" fmla="*/ 11354768 w 12192000"/>
              <a:gd name="connsiteY750" fmla="*/ 4136630 h 4454665"/>
              <a:gd name="connsiteX751" fmla="*/ 11365286 w 12192000"/>
              <a:gd name="connsiteY751" fmla="*/ 4154251 h 4454665"/>
              <a:gd name="connsiteX752" fmla="*/ 11417873 w 12192000"/>
              <a:gd name="connsiteY752" fmla="*/ 4140154 h 4454665"/>
              <a:gd name="connsiteX753" fmla="*/ 11431896 w 12192000"/>
              <a:gd name="connsiteY753" fmla="*/ 4161300 h 4454665"/>
              <a:gd name="connsiteX754" fmla="*/ 11403850 w 12192000"/>
              <a:gd name="connsiteY754" fmla="*/ 4207114 h 4454665"/>
              <a:gd name="connsiteX755" fmla="*/ 11421379 w 12192000"/>
              <a:gd name="connsiteY755" fmla="*/ 4221210 h 4454665"/>
              <a:gd name="connsiteX756" fmla="*/ 11466954 w 12192000"/>
              <a:gd name="connsiteY756" fmla="*/ 4196542 h 4454665"/>
              <a:gd name="connsiteX757" fmla="*/ 11484484 w 12192000"/>
              <a:gd name="connsiteY757" fmla="*/ 4210638 h 4454665"/>
              <a:gd name="connsiteX758" fmla="*/ 11473966 w 12192000"/>
              <a:gd name="connsiteY758" fmla="*/ 4259976 h 4454665"/>
              <a:gd name="connsiteX759" fmla="*/ 11473966 w 12192000"/>
              <a:gd name="connsiteY759" fmla="*/ 4263501 h 4454665"/>
              <a:gd name="connsiteX760" fmla="*/ 11491495 w 12192000"/>
              <a:gd name="connsiteY760" fmla="*/ 4274073 h 4454665"/>
              <a:gd name="connsiteX761" fmla="*/ 11495001 w 12192000"/>
              <a:gd name="connsiteY761" fmla="*/ 4274073 h 4454665"/>
              <a:gd name="connsiteX762" fmla="*/ 11530059 w 12192000"/>
              <a:gd name="connsiteY762" fmla="*/ 4235307 h 4454665"/>
              <a:gd name="connsiteX763" fmla="*/ 11551094 w 12192000"/>
              <a:gd name="connsiteY763" fmla="*/ 4245880 h 4454665"/>
              <a:gd name="connsiteX764" fmla="*/ 11547588 w 12192000"/>
              <a:gd name="connsiteY764" fmla="*/ 4270549 h 4454665"/>
              <a:gd name="connsiteX765" fmla="*/ 11551094 w 12192000"/>
              <a:gd name="connsiteY765" fmla="*/ 4298743 h 4454665"/>
              <a:gd name="connsiteX766" fmla="*/ 11572129 w 12192000"/>
              <a:gd name="connsiteY766" fmla="*/ 4305791 h 4454665"/>
              <a:gd name="connsiteX767" fmla="*/ 11575635 w 12192000"/>
              <a:gd name="connsiteY767" fmla="*/ 4305791 h 4454665"/>
              <a:gd name="connsiteX768" fmla="*/ 11600176 w 12192000"/>
              <a:gd name="connsiteY768" fmla="*/ 4259976 h 4454665"/>
              <a:gd name="connsiteX769" fmla="*/ 11624716 w 12192000"/>
              <a:gd name="connsiteY769" fmla="*/ 4259976 h 4454665"/>
              <a:gd name="connsiteX770" fmla="*/ 11638739 w 12192000"/>
              <a:gd name="connsiteY770" fmla="*/ 4312839 h 4454665"/>
              <a:gd name="connsiteX771" fmla="*/ 11659774 w 12192000"/>
              <a:gd name="connsiteY771" fmla="*/ 4312839 h 4454665"/>
              <a:gd name="connsiteX772" fmla="*/ 11663280 w 12192000"/>
              <a:gd name="connsiteY772" fmla="*/ 4312839 h 4454665"/>
              <a:gd name="connsiteX773" fmla="*/ 11677303 w 12192000"/>
              <a:gd name="connsiteY773" fmla="*/ 4259976 h 4454665"/>
              <a:gd name="connsiteX774" fmla="*/ 11698339 w 12192000"/>
              <a:gd name="connsiteY774" fmla="*/ 4259976 h 4454665"/>
              <a:gd name="connsiteX775" fmla="*/ 11722879 w 12192000"/>
              <a:gd name="connsiteY775" fmla="*/ 4305791 h 4454665"/>
              <a:gd name="connsiteX776" fmla="*/ 11726385 w 12192000"/>
              <a:gd name="connsiteY776" fmla="*/ 4305791 h 4454665"/>
              <a:gd name="connsiteX777" fmla="*/ 11747420 w 12192000"/>
              <a:gd name="connsiteY777" fmla="*/ 4298743 h 4454665"/>
              <a:gd name="connsiteX778" fmla="*/ 11750925 w 12192000"/>
              <a:gd name="connsiteY778" fmla="*/ 4270549 h 4454665"/>
              <a:gd name="connsiteX779" fmla="*/ 11747420 w 12192000"/>
              <a:gd name="connsiteY779" fmla="*/ 4245880 h 4454665"/>
              <a:gd name="connsiteX780" fmla="*/ 11768454 w 12192000"/>
              <a:gd name="connsiteY780" fmla="*/ 4235307 h 4454665"/>
              <a:gd name="connsiteX781" fmla="*/ 11807019 w 12192000"/>
              <a:gd name="connsiteY781" fmla="*/ 4274073 h 4454665"/>
              <a:gd name="connsiteX782" fmla="*/ 11824547 w 12192000"/>
              <a:gd name="connsiteY782" fmla="*/ 4263501 h 4454665"/>
              <a:gd name="connsiteX783" fmla="*/ 11828054 w 12192000"/>
              <a:gd name="connsiteY783" fmla="*/ 4263501 h 4454665"/>
              <a:gd name="connsiteX784" fmla="*/ 11828054 w 12192000"/>
              <a:gd name="connsiteY784" fmla="*/ 4259976 h 4454665"/>
              <a:gd name="connsiteX785" fmla="*/ 11814030 w 12192000"/>
              <a:gd name="connsiteY785" fmla="*/ 4210638 h 4454665"/>
              <a:gd name="connsiteX786" fmla="*/ 11831559 w 12192000"/>
              <a:gd name="connsiteY786" fmla="*/ 4196542 h 4454665"/>
              <a:gd name="connsiteX787" fmla="*/ 11877135 w 12192000"/>
              <a:gd name="connsiteY787" fmla="*/ 4221210 h 4454665"/>
              <a:gd name="connsiteX788" fmla="*/ 11894664 w 12192000"/>
              <a:gd name="connsiteY788" fmla="*/ 4207114 h 4454665"/>
              <a:gd name="connsiteX789" fmla="*/ 11894664 w 12192000"/>
              <a:gd name="connsiteY789" fmla="*/ 4203590 h 4454665"/>
              <a:gd name="connsiteX790" fmla="*/ 11866617 w 12192000"/>
              <a:gd name="connsiteY790" fmla="*/ 4157775 h 4454665"/>
              <a:gd name="connsiteX791" fmla="*/ 11880641 w 12192000"/>
              <a:gd name="connsiteY791" fmla="*/ 4140154 h 4454665"/>
              <a:gd name="connsiteX792" fmla="*/ 11933228 w 12192000"/>
              <a:gd name="connsiteY792" fmla="*/ 4154251 h 4454665"/>
              <a:gd name="connsiteX793" fmla="*/ 11943746 w 12192000"/>
              <a:gd name="connsiteY793" fmla="*/ 4136630 h 4454665"/>
              <a:gd name="connsiteX794" fmla="*/ 11943746 w 12192000"/>
              <a:gd name="connsiteY794" fmla="*/ 4133106 h 4454665"/>
              <a:gd name="connsiteX795" fmla="*/ 11908688 w 12192000"/>
              <a:gd name="connsiteY795" fmla="*/ 4094340 h 4454665"/>
              <a:gd name="connsiteX796" fmla="*/ 11915699 w 12192000"/>
              <a:gd name="connsiteY796" fmla="*/ 4076719 h 4454665"/>
              <a:gd name="connsiteX797" fmla="*/ 11968286 w 12192000"/>
              <a:gd name="connsiteY797" fmla="*/ 4076719 h 4454665"/>
              <a:gd name="connsiteX798" fmla="*/ 11968286 w 12192000"/>
              <a:gd name="connsiteY798" fmla="*/ 4073195 h 4454665"/>
              <a:gd name="connsiteX799" fmla="*/ 11975298 w 12192000"/>
              <a:gd name="connsiteY799" fmla="*/ 4052050 h 4454665"/>
              <a:gd name="connsiteX800" fmla="*/ 11929722 w 12192000"/>
              <a:gd name="connsiteY800" fmla="*/ 4023857 h 4454665"/>
              <a:gd name="connsiteX801" fmla="*/ 11933228 w 12192000"/>
              <a:gd name="connsiteY801" fmla="*/ 4002712 h 4454665"/>
              <a:gd name="connsiteX802" fmla="*/ 11982310 w 12192000"/>
              <a:gd name="connsiteY802" fmla="*/ 3988615 h 4454665"/>
              <a:gd name="connsiteX803" fmla="*/ 11985815 w 12192000"/>
              <a:gd name="connsiteY803" fmla="*/ 3978042 h 4454665"/>
              <a:gd name="connsiteX804" fmla="*/ 11982310 w 12192000"/>
              <a:gd name="connsiteY804" fmla="*/ 3967470 h 4454665"/>
              <a:gd name="connsiteX805" fmla="*/ 11982310 w 12192000"/>
              <a:gd name="connsiteY805" fmla="*/ 3963946 h 4454665"/>
              <a:gd name="connsiteX806" fmla="*/ 11933228 w 12192000"/>
              <a:gd name="connsiteY806" fmla="*/ 3949848 h 4454665"/>
              <a:gd name="connsiteX807" fmla="*/ 11929722 w 12192000"/>
              <a:gd name="connsiteY807" fmla="*/ 3928704 h 4454665"/>
              <a:gd name="connsiteX808" fmla="*/ 11975298 w 12192000"/>
              <a:gd name="connsiteY808" fmla="*/ 3904035 h 4454665"/>
              <a:gd name="connsiteX809" fmla="*/ 11975298 w 12192000"/>
              <a:gd name="connsiteY809" fmla="*/ 3900510 h 4454665"/>
              <a:gd name="connsiteX810" fmla="*/ 11968286 w 12192000"/>
              <a:gd name="connsiteY810" fmla="*/ 3879365 h 4454665"/>
              <a:gd name="connsiteX811" fmla="*/ 11915699 w 12192000"/>
              <a:gd name="connsiteY811" fmla="*/ 3879365 h 4454665"/>
              <a:gd name="connsiteX812" fmla="*/ 11908688 w 12192000"/>
              <a:gd name="connsiteY812" fmla="*/ 3858221 h 4454665"/>
              <a:gd name="connsiteX813" fmla="*/ 11943746 w 12192000"/>
              <a:gd name="connsiteY813" fmla="*/ 3819454 h 4454665"/>
              <a:gd name="connsiteX814" fmla="*/ 11933228 w 12192000"/>
              <a:gd name="connsiteY814" fmla="*/ 3801833 h 4454665"/>
              <a:gd name="connsiteX815" fmla="*/ 11933228 w 12192000"/>
              <a:gd name="connsiteY815" fmla="*/ 3798309 h 4454665"/>
              <a:gd name="connsiteX816" fmla="*/ 11880641 w 12192000"/>
              <a:gd name="connsiteY816" fmla="*/ 3812406 h 4454665"/>
              <a:gd name="connsiteX817" fmla="*/ 11866617 w 12192000"/>
              <a:gd name="connsiteY817" fmla="*/ 3794785 h 4454665"/>
              <a:gd name="connsiteX818" fmla="*/ 11894664 w 12192000"/>
              <a:gd name="connsiteY818" fmla="*/ 3748970 h 4454665"/>
              <a:gd name="connsiteX819" fmla="*/ 11877135 w 12192000"/>
              <a:gd name="connsiteY819" fmla="*/ 3731350 h 4454665"/>
              <a:gd name="connsiteX820" fmla="*/ 11831559 w 12192000"/>
              <a:gd name="connsiteY820" fmla="*/ 3759544 h 4454665"/>
              <a:gd name="connsiteX821" fmla="*/ 11814030 w 12192000"/>
              <a:gd name="connsiteY821" fmla="*/ 3745446 h 4454665"/>
              <a:gd name="connsiteX822" fmla="*/ 11828054 w 12192000"/>
              <a:gd name="connsiteY822" fmla="*/ 3692584 h 4454665"/>
              <a:gd name="connsiteX823" fmla="*/ 11807019 w 12192000"/>
              <a:gd name="connsiteY823" fmla="*/ 3682011 h 4454665"/>
              <a:gd name="connsiteX824" fmla="*/ 11768454 w 12192000"/>
              <a:gd name="connsiteY824" fmla="*/ 3717253 h 4454665"/>
              <a:gd name="connsiteX825" fmla="*/ 11747420 w 12192000"/>
              <a:gd name="connsiteY825" fmla="*/ 3710205 h 4454665"/>
              <a:gd name="connsiteX826" fmla="*/ 11750925 w 12192000"/>
              <a:gd name="connsiteY826" fmla="*/ 3682011 h 4454665"/>
              <a:gd name="connsiteX827" fmla="*/ 11747420 w 12192000"/>
              <a:gd name="connsiteY827" fmla="*/ 3657342 h 4454665"/>
              <a:gd name="connsiteX828" fmla="*/ 11747420 w 12192000"/>
              <a:gd name="connsiteY828" fmla="*/ 3653818 h 4454665"/>
              <a:gd name="connsiteX829" fmla="*/ 11726385 w 12192000"/>
              <a:gd name="connsiteY829" fmla="*/ 3650294 h 4454665"/>
              <a:gd name="connsiteX830" fmla="*/ 11722879 w 12192000"/>
              <a:gd name="connsiteY830" fmla="*/ 3650294 h 4454665"/>
              <a:gd name="connsiteX831" fmla="*/ 11698339 w 12192000"/>
              <a:gd name="connsiteY831" fmla="*/ 3696108 h 4454665"/>
              <a:gd name="connsiteX832" fmla="*/ 11673798 w 12192000"/>
              <a:gd name="connsiteY832" fmla="*/ 3692584 h 4454665"/>
              <a:gd name="connsiteX833" fmla="*/ 11659774 w 12192000"/>
              <a:gd name="connsiteY833" fmla="*/ 3639721 h 4454665"/>
              <a:gd name="connsiteX834" fmla="*/ 11638739 w 12192000"/>
              <a:gd name="connsiteY834" fmla="*/ 3639721 h 4454665"/>
              <a:gd name="connsiteX835" fmla="*/ 0 w 12192000"/>
              <a:gd name="connsiteY835" fmla="*/ 0 h 4454665"/>
              <a:gd name="connsiteX836" fmla="*/ 12192000 w 12192000"/>
              <a:gd name="connsiteY836" fmla="*/ 0 h 4454665"/>
              <a:gd name="connsiteX837" fmla="*/ 12192000 w 12192000"/>
              <a:gd name="connsiteY837" fmla="*/ 4454665 h 4454665"/>
              <a:gd name="connsiteX838" fmla="*/ 0 w 12192000"/>
              <a:gd name="connsiteY838" fmla="*/ 4454665 h 44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4454665">
                <a:moveTo>
                  <a:pt x="11946675" y="4274241"/>
                </a:moveTo>
                <a:lnTo>
                  <a:pt x="11952788" y="4274241"/>
                </a:lnTo>
                <a:cubicBezTo>
                  <a:pt x="11955414" y="4274241"/>
                  <a:pt x="11957212" y="4274433"/>
                  <a:pt x="11958183" y="4274816"/>
                </a:cubicBezTo>
                <a:cubicBezTo>
                  <a:pt x="11959154" y="4275199"/>
                  <a:pt x="11959913" y="4275780"/>
                  <a:pt x="11960461" y="4276559"/>
                </a:cubicBezTo>
                <a:cubicBezTo>
                  <a:pt x="11961008" y="4277339"/>
                  <a:pt x="11961281" y="4278222"/>
                  <a:pt x="11961281" y="4279206"/>
                </a:cubicBezTo>
                <a:cubicBezTo>
                  <a:pt x="11961281" y="4280738"/>
                  <a:pt x="11960713" y="4281968"/>
                  <a:pt x="11959578" y="4282898"/>
                </a:cubicBezTo>
                <a:cubicBezTo>
                  <a:pt x="11958443" y="4283829"/>
                  <a:pt x="11956316" y="4284293"/>
                  <a:pt x="11953198" y="4284293"/>
                </a:cubicBezTo>
                <a:lnTo>
                  <a:pt x="11946675" y="4284293"/>
                </a:lnTo>
                <a:close/>
                <a:moveTo>
                  <a:pt x="11941300" y="4269729"/>
                </a:moveTo>
                <a:lnTo>
                  <a:pt x="11941300" y="4303043"/>
                </a:lnTo>
                <a:lnTo>
                  <a:pt x="11946675" y="4303043"/>
                </a:lnTo>
                <a:lnTo>
                  <a:pt x="11946675" y="4288889"/>
                </a:lnTo>
                <a:lnTo>
                  <a:pt x="11949834" y="4288889"/>
                </a:lnTo>
                <a:cubicBezTo>
                  <a:pt x="11951722" y="4288889"/>
                  <a:pt x="11953158" y="4289271"/>
                  <a:pt x="11954142" y="4290037"/>
                </a:cubicBezTo>
                <a:cubicBezTo>
                  <a:pt x="11955564" y="4291076"/>
                  <a:pt x="11957438" y="4293661"/>
                  <a:pt x="11959762" y="4297791"/>
                </a:cubicBezTo>
                <a:lnTo>
                  <a:pt x="11962717" y="4303043"/>
                </a:lnTo>
                <a:lnTo>
                  <a:pt x="11969281" y="4303043"/>
                </a:lnTo>
                <a:lnTo>
                  <a:pt x="11965220" y="4296519"/>
                </a:lnTo>
                <a:cubicBezTo>
                  <a:pt x="11963277" y="4293428"/>
                  <a:pt x="11961636" y="4291227"/>
                  <a:pt x="11960296" y="4289914"/>
                </a:cubicBezTo>
                <a:cubicBezTo>
                  <a:pt x="11959585" y="4289231"/>
                  <a:pt x="11958641" y="4288642"/>
                  <a:pt x="11957466" y="4288150"/>
                </a:cubicBezTo>
                <a:cubicBezTo>
                  <a:pt x="11960337" y="4287931"/>
                  <a:pt x="11962642" y="4286919"/>
                  <a:pt x="11964378" y="4285114"/>
                </a:cubicBezTo>
                <a:cubicBezTo>
                  <a:pt x="11966115" y="4283309"/>
                  <a:pt x="11966983" y="4281189"/>
                  <a:pt x="11966983" y="4278755"/>
                </a:cubicBezTo>
                <a:cubicBezTo>
                  <a:pt x="11966983" y="4277032"/>
                  <a:pt x="11966464" y="4275404"/>
                  <a:pt x="11965424" y="4273872"/>
                </a:cubicBezTo>
                <a:cubicBezTo>
                  <a:pt x="11964385" y="4272340"/>
                  <a:pt x="11962990" y="4271267"/>
                  <a:pt x="11961239" y="4270652"/>
                </a:cubicBezTo>
                <a:cubicBezTo>
                  <a:pt x="11959489" y="4270036"/>
                  <a:pt x="11956658" y="4269729"/>
                  <a:pt x="11952747" y="4269729"/>
                </a:cubicBezTo>
                <a:close/>
                <a:moveTo>
                  <a:pt x="10902089" y="4267158"/>
                </a:moveTo>
                <a:cubicBezTo>
                  <a:pt x="10902089" y="4267158"/>
                  <a:pt x="10902089" y="4267158"/>
                  <a:pt x="10905603" y="4267158"/>
                </a:cubicBezTo>
                <a:lnTo>
                  <a:pt x="10905603" y="4270699"/>
                </a:lnTo>
                <a:cubicBezTo>
                  <a:pt x="10905603" y="4281326"/>
                  <a:pt x="10905603" y="4306121"/>
                  <a:pt x="10877492" y="4306121"/>
                </a:cubicBezTo>
                <a:cubicBezTo>
                  <a:pt x="10866950" y="4306121"/>
                  <a:pt x="10859922" y="4302579"/>
                  <a:pt x="10859922" y="4288411"/>
                </a:cubicBezTo>
                <a:cubicBezTo>
                  <a:pt x="10859922" y="4267158"/>
                  <a:pt x="10884520" y="4267158"/>
                  <a:pt x="10902089" y="4267158"/>
                </a:cubicBezTo>
                <a:close/>
                <a:moveTo>
                  <a:pt x="11954881" y="4260087"/>
                </a:moveTo>
                <a:cubicBezTo>
                  <a:pt x="11959202" y="4260087"/>
                  <a:pt x="11963428" y="4261202"/>
                  <a:pt x="11967558" y="4263431"/>
                </a:cubicBezTo>
                <a:cubicBezTo>
                  <a:pt x="11971688" y="4265660"/>
                  <a:pt x="11974909" y="4268847"/>
                  <a:pt x="11977220" y="4272990"/>
                </a:cubicBezTo>
                <a:cubicBezTo>
                  <a:pt x="11979531" y="4277134"/>
                  <a:pt x="11980687" y="4281449"/>
                  <a:pt x="11980687" y="4285934"/>
                </a:cubicBezTo>
                <a:cubicBezTo>
                  <a:pt x="11980687" y="4290393"/>
                  <a:pt x="11979552" y="4294667"/>
                  <a:pt x="11977282" y="4298755"/>
                </a:cubicBezTo>
                <a:cubicBezTo>
                  <a:pt x="11975012" y="4302845"/>
                  <a:pt x="11971825" y="4306031"/>
                  <a:pt x="11967722" y="4308315"/>
                </a:cubicBezTo>
                <a:cubicBezTo>
                  <a:pt x="11963619" y="4310599"/>
                  <a:pt x="11959339" y="4311741"/>
                  <a:pt x="11954881" y="4311741"/>
                </a:cubicBezTo>
                <a:cubicBezTo>
                  <a:pt x="11950422" y="4311741"/>
                  <a:pt x="11946142" y="4310599"/>
                  <a:pt x="11942039" y="4308315"/>
                </a:cubicBezTo>
                <a:cubicBezTo>
                  <a:pt x="11937936" y="4306031"/>
                  <a:pt x="11934742" y="4302845"/>
                  <a:pt x="11932459" y="4298755"/>
                </a:cubicBezTo>
                <a:cubicBezTo>
                  <a:pt x="11930175" y="4294667"/>
                  <a:pt x="11929033" y="4290393"/>
                  <a:pt x="11929033" y="4285934"/>
                </a:cubicBezTo>
                <a:cubicBezTo>
                  <a:pt x="11929033" y="4281449"/>
                  <a:pt x="11930195" y="4277134"/>
                  <a:pt x="11932521" y="4272990"/>
                </a:cubicBezTo>
                <a:cubicBezTo>
                  <a:pt x="11934846" y="4268847"/>
                  <a:pt x="11938066" y="4265660"/>
                  <a:pt x="11942183" y="4263431"/>
                </a:cubicBezTo>
                <a:cubicBezTo>
                  <a:pt x="11946299" y="4261202"/>
                  <a:pt x="11950532" y="4260087"/>
                  <a:pt x="11954881" y="4260087"/>
                </a:cubicBezTo>
                <a:close/>
                <a:moveTo>
                  <a:pt x="11954881" y="4254959"/>
                </a:moveTo>
                <a:cubicBezTo>
                  <a:pt x="11949684" y="4254959"/>
                  <a:pt x="11944610" y="4256292"/>
                  <a:pt x="11939660" y="4258959"/>
                </a:cubicBezTo>
                <a:cubicBezTo>
                  <a:pt x="11934709" y="4261625"/>
                  <a:pt x="11930845" y="4265441"/>
                  <a:pt x="11928069" y="4270406"/>
                </a:cubicBezTo>
                <a:cubicBezTo>
                  <a:pt x="11925293" y="4275369"/>
                  <a:pt x="11923904" y="4280546"/>
                  <a:pt x="11923904" y="4285934"/>
                </a:cubicBezTo>
                <a:cubicBezTo>
                  <a:pt x="11923904" y="4291268"/>
                  <a:pt x="11925272" y="4296397"/>
                  <a:pt x="11928007" y="4301320"/>
                </a:cubicBezTo>
                <a:cubicBezTo>
                  <a:pt x="11930743" y="4306243"/>
                  <a:pt x="11934565" y="4310066"/>
                  <a:pt x="11939474" y="4312787"/>
                </a:cubicBezTo>
                <a:cubicBezTo>
                  <a:pt x="11944385" y="4315508"/>
                  <a:pt x="11949519" y="4316869"/>
                  <a:pt x="11954881" y="4316869"/>
                </a:cubicBezTo>
                <a:cubicBezTo>
                  <a:pt x="11960242" y="4316869"/>
                  <a:pt x="11965376" y="4315508"/>
                  <a:pt x="11970287" y="4312787"/>
                </a:cubicBezTo>
                <a:cubicBezTo>
                  <a:pt x="11975196" y="4310066"/>
                  <a:pt x="11979011" y="4306243"/>
                  <a:pt x="11981733" y="4301320"/>
                </a:cubicBezTo>
                <a:cubicBezTo>
                  <a:pt x="11984454" y="4296397"/>
                  <a:pt x="11985815" y="4291268"/>
                  <a:pt x="11985815" y="4285934"/>
                </a:cubicBezTo>
                <a:cubicBezTo>
                  <a:pt x="11985815" y="4280546"/>
                  <a:pt x="11984434" y="4275369"/>
                  <a:pt x="11981671" y="4270406"/>
                </a:cubicBezTo>
                <a:cubicBezTo>
                  <a:pt x="11978909" y="4265441"/>
                  <a:pt x="11975052" y="4261625"/>
                  <a:pt x="11970101" y="4258959"/>
                </a:cubicBezTo>
                <a:cubicBezTo>
                  <a:pt x="11965151" y="4256292"/>
                  <a:pt x="11960077" y="4254959"/>
                  <a:pt x="11954881" y="4254959"/>
                </a:cubicBezTo>
                <a:close/>
                <a:moveTo>
                  <a:pt x="11091685" y="4225507"/>
                </a:moveTo>
                <a:cubicBezTo>
                  <a:pt x="11109123" y="4225507"/>
                  <a:pt x="11123259" y="4243553"/>
                  <a:pt x="11123259" y="4265814"/>
                </a:cubicBezTo>
                <a:cubicBezTo>
                  <a:pt x="11123259" y="4288075"/>
                  <a:pt x="11109123" y="4306120"/>
                  <a:pt x="11091685" y="4306120"/>
                </a:cubicBezTo>
                <a:cubicBezTo>
                  <a:pt x="11074247" y="4306120"/>
                  <a:pt x="11060111" y="4288075"/>
                  <a:pt x="11060111" y="4265814"/>
                </a:cubicBezTo>
                <a:cubicBezTo>
                  <a:pt x="11060111" y="4243553"/>
                  <a:pt x="11074247" y="4225507"/>
                  <a:pt x="11091685" y="4225507"/>
                </a:cubicBezTo>
                <a:close/>
                <a:moveTo>
                  <a:pt x="10781998" y="4225507"/>
                </a:moveTo>
                <a:cubicBezTo>
                  <a:pt x="10797580" y="4225507"/>
                  <a:pt x="10810212" y="4243553"/>
                  <a:pt x="10810212" y="4265814"/>
                </a:cubicBezTo>
                <a:cubicBezTo>
                  <a:pt x="10810212" y="4288075"/>
                  <a:pt x="10797580" y="4306120"/>
                  <a:pt x="10781998" y="4306120"/>
                </a:cubicBezTo>
                <a:cubicBezTo>
                  <a:pt x="10766415" y="4306120"/>
                  <a:pt x="10753783" y="4288075"/>
                  <a:pt x="10753783" y="4265814"/>
                </a:cubicBezTo>
                <a:cubicBezTo>
                  <a:pt x="10753783" y="4243553"/>
                  <a:pt x="10766415" y="4225507"/>
                  <a:pt x="10781998" y="4225507"/>
                </a:cubicBezTo>
                <a:close/>
                <a:moveTo>
                  <a:pt x="10469622" y="4225507"/>
                </a:moveTo>
                <a:cubicBezTo>
                  <a:pt x="10487060" y="4225507"/>
                  <a:pt x="10501196" y="4243553"/>
                  <a:pt x="10501196" y="4265814"/>
                </a:cubicBezTo>
                <a:cubicBezTo>
                  <a:pt x="10501196" y="4288075"/>
                  <a:pt x="10487060" y="4306120"/>
                  <a:pt x="10469622" y="4306120"/>
                </a:cubicBezTo>
                <a:cubicBezTo>
                  <a:pt x="10452185" y="4306120"/>
                  <a:pt x="10438048" y="4288075"/>
                  <a:pt x="10438048" y="4265814"/>
                </a:cubicBezTo>
                <a:cubicBezTo>
                  <a:pt x="10438048" y="4243553"/>
                  <a:pt x="10452185" y="4225507"/>
                  <a:pt x="10469622" y="4225507"/>
                </a:cubicBezTo>
                <a:close/>
                <a:moveTo>
                  <a:pt x="11014562" y="4220260"/>
                </a:moveTo>
                <a:lnTo>
                  <a:pt x="11014562" y="4316220"/>
                </a:lnTo>
                <a:lnTo>
                  <a:pt x="11026851" y="4316220"/>
                </a:lnTo>
                <a:lnTo>
                  <a:pt x="11026851" y="4220260"/>
                </a:lnTo>
                <a:close/>
                <a:moveTo>
                  <a:pt x="11158189" y="4218790"/>
                </a:moveTo>
                <a:cubicBezTo>
                  <a:pt x="11158189" y="4225756"/>
                  <a:pt x="11158189" y="4236206"/>
                  <a:pt x="11158189" y="4243173"/>
                </a:cubicBezTo>
                <a:lnTo>
                  <a:pt x="11158189" y="4312838"/>
                </a:lnTo>
                <a:cubicBezTo>
                  <a:pt x="11158189" y="4312838"/>
                  <a:pt x="11158189" y="4312838"/>
                  <a:pt x="11172009" y="4312838"/>
                </a:cubicBezTo>
                <a:cubicBezTo>
                  <a:pt x="11172009" y="4312838"/>
                  <a:pt x="11172009" y="4312838"/>
                  <a:pt x="11172009" y="4260589"/>
                </a:cubicBezTo>
                <a:cubicBezTo>
                  <a:pt x="11172009" y="4246656"/>
                  <a:pt x="11178918" y="4225756"/>
                  <a:pt x="11199648" y="4225756"/>
                </a:cubicBezTo>
                <a:cubicBezTo>
                  <a:pt x="11213466" y="4225756"/>
                  <a:pt x="11220377" y="4239689"/>
                  <a:pt x="11220377" y="4257106"/>
                </a:cubicBezTo>
                <a:cubicBezTo>
                  <a:pt x="11220377" y="4257106"/>
                  <a:pt x="11220377" y="4257106"/>
                  <a:pt x="11220377" y="4312838"/>
                </a:cubicBezTo>
                <a:cubicBezTo>
                  <a:pt x="11220377" y="4312838"/>
                  <a:pt x="11220377" y="4312838"/>
                  <a:pt x="11230741" y="4312838"/>
                </a:cubicBezTo>
                <a:cubicBezTo>
                  <a:pt x="11230741" y="4312838"/>
                  <a:pt x="11230741" y="4312838"/>
                  <a:pt x="11230741" y="4253622"/>
                </a:cubicBezTo>
                <a:cubicBezTo>
                  <a:pt x="11230741" y="4232723"/>
                  <a:pt x="11223831" y="4218790"/>
                  <a:pt x="11199648" y="4218790"/>
                </a:cubicBezTo>
                <a:cubicBezTo>
                  <a:pt x="11182373" y="4218790"/>
                  <a:pt x="11175464" y="4229239"/>
                  <a:pt x="11168554" y="4236206"/>
                </a:cubicBezTo>
                <a:cubicBezTo>
                  <a:pt x="11168554" y="4236206"/>
                  <a:pt x="11168554" y="4236206"/>
                  <a:pt x="11168554" y="4218790"/>
                </a:cubicBezTo>
                <a:cubicBezTo>
                  <a:pt x="11168554" y="4218790"/>
                  <a:pt x="11168554" y="4218790"/>
                  <a:pt x="11158189" y="4218790"/>
                </a:cubicBezTo>
                <a:close/>
                <a:moveTo>
                  <a:pt x="11088997" y="4218790"/>
                </a:moveTo>
                <a:cubicBezTo>
                  <a:pt x="11064881" y="4218790"/>
                  <a:pt x="11045332" y="4240745"/>
                  <a:pt x="11045332" y="4267830"/>
                </a:cubicBezTo>
                <a:cubicBezTo>
                  <a:pt x="11045332" y="4294914"/>
                  <a:pt x="11064881" y="4316869"/>
                  <a:pt x="11088997" y="4316869"/>
                </a:cubicBezTo>
                <a:cubicBezTo>
                  <a:pt x="11113113" y="4316869"/>
                  <a:pt x="11132662" y="4294914"/>
                  <a:pt x="11132662" y="4267830"/>
                </a:cubicBezTo>
                <a:cubicBezTo>
                  <a:pt x="11132662" y="4240745"/>
                  <a:pt x="11113113" y="4218790"/>
                  <a:pt x="11088997" y="4218790"/>
                </a:cubicBezTo>
                <a:close/>
                <a:moveTo>
                  <a:pt x="10883851" y="4218790"/>
                </a:moveTo>
                <a:cubicBezTo>
                  <a:pt x="10876813" y="4218790"/>
                  <a:pt x="10862738" y="4218790"/>
                  <a:pt x="10855700" y="4222293"/>
                </a:cubicBezTo>
                <a:cubicBezTo>
                  <a:pt x="10855700" y="4222293"/>
                  <a:pt x="10855700" y="4222293"/>
                  <a:pt x="10855700" y="4236304"/>
                </a:cubicBezTo>
                <a:cubicBezTo>
                  <a:pt x="10866257" y="4229299"/>
                  <a:pt x="10873294" y="4225796"/>
                  <a:pt x="10883851" y="4225796"/>
                </a:cubicBezTo>
                <a:cubicBezTo>
                  <a:pt x="10901445" y="4225796"/>
                  <a:pt x="10904964" y="4236304"/>
                  <a:pt x="10904964" y="4250316"/>
                </a:cubicBezTo>
                <a:cubicBezTo>
                  <a:pt x="10904964" y="4250316"/>
                  <a:pt x="10904964" y="4250316"/>
                  <a:pt x="10904964" y="4257321"/>
                </a:cubicBezTo>
                <a:cubicBezTo>
                  <a:pt x="10880332" y="4257321"/>
                  <a:pt x="10845144" y="4257321"/>
                  <a:pt x="10845144" y="4288846"/>
                </a:cubicBezTo>
                <a:cubicBezTo>
                  <a:pt x="10845144" y="4299355"/>
                  <a:pt x="10848663" y="4316869"/>
                  <a:pt x="10876813" y="4316869"/>
                </a:cubicBezTo>
                <a:cubicBezTo>
                  <a:pt x="10887370" y="4316869"/>
                  <a:pt x="10901445" y="4309863"/>
                  <a:pt x="10904964" y="4299355"/>
                </a:cubicBezTo>
                <a:cubicBezTo>
                  <a:pt x="10904964" y="4299355"/>
                  <a:pt x="10904964" y="4299355"/>
                  <a:pt x="10908483" y="4299355"/>
                </a:cubicBezTo>
                <a:lnTo>
                  <a:pt x="10908483" y="4313366"/>
                </a:lnTo>
                <a:cubicBezTo>
                  <a:pt x="10908483" y="4313366"/>
                  <a:pt x="10908483" y="4313366"/>
                  <a:pt x="10919039" y="4313366"/>
                </a:cubicBezTo>
                <a:cubicBezTo>
                  <a:pt x="10919039" y="4309863"/>
                  <a:pt x="10919039" y="4302858"/>
                  <a:pt x="10919039" y="4295852"/>
                </a:cubicBezTo>
                <a:cubicBezTo>
                  <a:pt x="10919039" y="4295852"/>
                  <a:pt x="10919039" y="4295852"/>
                  <a:pt x="10919039" y="4253819"/>
                </a:cubicBezTo>
                <a:cubicBezTo>
                  <a:pt x="10919039" y="4229299"/>
                  <a:pt x="10908483" y="4218790"/>
                  <a:pt x="10883851" y="4218790"/>
                </a:cubicBezTo>
                <a:close/>
                <a:moveTo>
                  <a:pt x="10642268" y="4218790"/>
                </a:moveTo>
                <a:cubicBezTo>
                  <a:pt x="10642268" y="4225756"/>
                  <a:pt x="10642268" y="4236206"/>
                  <a:pt x="10642268" y="4243173"/>
                </a:cubicBezTo>
                <a:lnTo>
                  <a:pt x="10642268" y="4312838"/>
                </a:lnTo>
                <a:cubicBezTo>
                  <a:pt x="10642268" y="4312838"/>
                  <a:pt x="10642268" y="4312838"/>
                  <a:pt x="10656343" y="4312838"/>
                </a:cubicBezTo>
                <a:cubicBezTo>
                  <a:pt x="10656343" y="4312838"/>
                  <a:pt x="10656343" y="4312838"/>
                  <a:pt x="10656343" y="4260589"/>
                </a:cubicBezTo>
                <a:cubicBezTo>
                  <a:pt x="10656343" y="4246656"/>
                  <a:pt x="10663381" y="4225756"/>
                  <a:pt x="10684494" y="4225756"/>
                </a:cubicBezTo>
                <a:cubicBezTo>
                  <a:pt x="10698569" y="4225756"/>
                  <a:pt x="10705607" y="4239689"/>
                  <a:pt x="10705607" y="4257106"/>
                </a:cubicBezTo>
                <a:cubicBezTo>
                  <a:pt x="10705607" y="4257106"/>
                  <a:pt x="10705607" y="4257106"/>
                  <a:pt x="10705607" y="4312838"/>
                </a:cubicBezTo>
                <a:cubicBezTo>
                  <a:pt x="10705607" y="4312838"/>
                  <a:pt x="10705607" y="4312838"/>
                  <a:pt x="10716163" y="4312838"/>
                </a:cubicBezTo>
                <a:cubicBezTo>
                  <a:pt x="10716163" y="4312838"/>
                  <a:pt x="10716163" y="4312838"/>
                  <a:pt x="10716163" y="4253622"/>
                </a:cubicBezTo>
                <a:cubicBezTo>
                  <a:pt x="10716163" y="4232723"/>
                  <a:pt x="10709125" y="4218790"/>
                  <a:pt x="10684494" y="4218790"/>
                </a:cubicBezTo>
                <a:cubicBezTo>
                  <a:pt x="10666900" y="4218790"/>
                  <a:pt x="10659862" y="4229239"/>
                  <a:pt x="10652824" y="4236206"/>
                </a:cubicBezTo>
                <a:cubicBezTo>
                  <a:pt x="10652824" y="4236206"/>
                  <a:pt x="10652824" y="4236206"/>
                  <a:pt x="10652824" y="4218790"/>
                </a:cubicBezTo>
                <a:cubicBezTo>
                  <a:pt x="10652824" y="4218790"/>
                  <a:pt x="10652824" y="4218790"/>
                  <a:pt x="10642268" y="4218790"/>
                </a:cubicBezTo>
                <a:close/>
                <a:moveTo>
                  <a:pt x="10540159" y="4218790"/>
                </a:moveTo>
                <a:cubicBezTo>
                  <a:pt x="10540159" y="4218790"/>
                  <a:pt x="10540159" y="4218790"/>
                  <a:pt x="10540159" y="4281840"/>
                </a:cubicBezTo>
                <a:cubicBezTo>
                  <a:pt x="10540159" y="4302858"/>
                  <a:pt x="10547196" y="4316869"/>
                  <a:pt x="10571828" y="4316869"/>
                </a:cubicBezTo>
                <a:cubicBezTo>
                  <a:pt x="10589422" y="4316869"/>
                  <a:pt x="10596460" y="4306360"/>
                  <a:pt x="10603498" y="4299355"/>
                </a:cubicBezTo>
                <a:cubicBezTo>
                  <a:pt x="10603498" y="4299355"/>
                  <a:pt x="10603498" y="4299355"/>
                  <a:pt x="10603498" y="4313366"/>
                </a:cubicBezTo>
                <a:cubicBezTo>
                  <a:pt x="10603498" y="4313366"/>
                  <a:pt x="10603498" y="4313366"/>
                  <a:pt x="10614054" y="4313366"/>
                </a:cubicBezTo>
                <a:cubicBezTo>
                  <a:pt x="10614054" y="4306360"/>
                  <a:pt x="10614054" y="4299355"/>
                  <a:pt x="10614054" y="4292349"/>
                </a:cubicBezTo>
                <a:lnTo>
                  <a:pt x="10614054" y="4218790"/>
                </a:lnTo>
                <a:cubicBezTo>
                  <a:pt x="10614054" y="4218790"/>
                  <a:pt x="10614054" y="4218790"/>
                  <a:pt x="10599979" y="4218790"/>
                </a:cubicBezTo>
                <a:cubicBezTo>
                  <a:pt x="10599979" y="4218790"/>
                  <a:pt x="10599979" y="4218790"/>
                  <a:pt x="10599979" y="4271332"/>
                </a:cubicBezTo>
                <a:cubicBezTo>
                  <a:pt x="10599979" y="4288846"/>
                  <a:pt x="10592941" y="4306360"/>
                  <a:pt x="10571828" y="4306360"/>
                </a:cubicBezTo>
                <a:cubicBezTo>
                  <a:pt x="10557753" y="4306360"/>
                  <a:pt x="10550715" y="4295852"/>
                  <a:pt x="10550715" y="4278338"/>
                </a:cubicBezTo>
                <a:cubicBezTo>
                  <a:pt x="10550715" y="4278338"/>
                  <a:pt x="10550715" y="4278338"/>
                  <a:pt x="10550715" y="4218790"/>
                </a:cubicBezTo>
                <a:cubicBezTo>
                  <a:pt x="10550715" y="4218790"/>
                  <a:pt x="10550715" y="4218790"/>
                  <a:pt x="10540159" y="4218790"/>
                </a:cubicBezTo>
                <a:close/>
                <a:moveTo>
                  <a:pt x="10471637" y="4218790"/>
                </a:moveTo>
                <a:cubicBezTo>
                  <a:pt x="10447151" y="4218790"/>
                  <a:pt x="10427300" y="4240745"/>
                  <a:pt x="10427300" y="4267830"/>
                </a:cubicBezTo>
                <a:cubicBezTo>
                  <a:pt x="10427300" y="4294914"/>
                  <a:pt x="10447151" y="4316869"/>
                  <a:pt x="10471637" y="4316869"/>
                </a:cubicBezTo>
                <a:cubicBezTo>
                  <a:pt x="10496124" y="4316869"/>
                  <a:pt x="10515975" y="4294914"/>
                  <a:pt x="10515975" y="4267830"/>
                </a:cubicBezTo>
                <a:cubicBezTo>
                  <a:pt x="10515975" y="4240745"/>
                  <a:pt x="10496124" y="4218790"/>
                  <a:pt x="10471637" y="4218790"/>
                </a:cubicBezTo>
                <a:close/>
                <a:moveTo>
                  <a:pt x="11655303" y="4204011"/>
                </a:moveTo>
                <a:lnTo>
                  <a:pt x="11659333" y="4214760"/>
                </a:lnTo>
                <a:lnTo>
                  <a:pt x="11663364" y="4221478"/>
                </a:lnTo>
                <a:lnTo>
                  <a:pt x="11648585" y="4221478"/>
                </a:lnTo>
                <a:lnTo>
                  <a:pt x="11652616" y="4214760"/>
                </a:lnTo>
                <a:close/>
                <a:moveTo>
                  <a:pt x="11659446" y="4193263"/>
                </a:moveTo>
                <a:cubicBezTo>
                  <a:pt x="11659446" y="4193263"/>
                  <a:pt x="11659446" y="4193263"/>
                  <a:pt x="11649032" y="4196777"/>
                </a:cubicBezTo>
                <a:cubicBezTo>
                  <a:pt x="11649032" y="4196777"/>
                  <a:pt x="11649032" y="4196777"/>
                  <a:pt x="11645562" y="4214347"/>
                </a:cubicBezTo>
                <a:cubicBezTo>
                  <a:pt x="11645562" y="4214347"/>
                  <a:pt x="11645562" y="4214347"/>
                  <a:pt x="11635149" y="4235429"/>
                </a:cubicBezTo>
                <a:cubicBezTo>
                  <a:pt x="11638620" y="4235429"/>
                  <a:pt x="11642091" y="4235429"/>
                  <a:pt x="11645562" y="4238943"/>
                </a:cubicBezTo>
                <a:cubicBezTo>
                  <a:pt x="11645562" y="4238943"/>
                  <a:pt x="11645562" y="4238943"/>
                  <a:pt x="11645562" y="4228402"/>
                </a:cubicBezTo>
                <a:cubicBezTo>
                  <a:pt x="11645562" y="4228402"/>
                  <a:pt x="11645562" y="4228402"/>
                  <a:pt x="11666387" y="4228402"/>
                </a:cubicBezTo>
                <a:cubicBezTo>
                  <a:pt x="11666387" y="4228402"/>
                  <a:pt x="11666387" y="4228402"/>
                  <a:pt x="11666387" y="4235429"/>
                </a:cubicBezTo>
                <a:cubicBezTo>
                  <a:pt x="11669858" y="4235429"/>
                  <a:pt x="11673329" y="4235429"/>
                  <a:pt x="11676800" y="4235429"/>
                </a:cubicBezTo>
                <a:cubicBezTo>
                  <a:pt x="11676800" y="4235429"/>
                  <a:pt x="11676800" y="4235429"/>
                  <a:pt x="11666387" y="4214347"/>
                </a:cubicBezTo>
                <a:lnTo>
                  <a:pt x="11659446" y="4196777"/>
                </a:lnTo>
                <a:cubicBezTo>
                  <a:pt x="11659446" y="4196777"/>
                  <a:pt x="11659446" y="4196777"/>
                  <a:pt x="11659446" y="4193263"/>
                </a:cubicBezTo>
                <a:close/>
                <a:moveTo>
                  <a:pt x="10964451" y="4193262"/>
                </a:moveTo>
                <a:cubicBezTo>
                  <a:pt x="10964451" y="4193262"/>
                  <a:pt x="10964451" y="4193262"/>
                  <a:pt x="10953971" y="4196794"/>
                </a:cubicBezTo>
                <a:cubicBezTo>
                  <a:pt x="10953971" y="4196794"/>
                  <a:pt x="10953971" y="4196794"/>
                  <a:pt x="10953971" y="4217983"/>
                </a:cubicBezTo>
                <a:cubicBezTo>
                  <a:pt x="10953971" y="4217983"/>
                  <a:pt x="10953971" y="4217983"/>
                  <a:pt x="10936505" y="4217983"/>
                </a:cubicBezTo>
                <a:cubicBezTo>
                  <a:pt x="10936505" y="4217983"/>
                  <a:pt x="10936505" y="4217983"/>
                  <a:pt x="10936505" y="4228578"/>
                </a:cubicBezTo>
                <a:cubicBezTo>
                  <a:pt x="10936505" y="4228578"/>
                  <a:pt x="10936505" y="4228578"/>
                  <a:pt x="10953971" y="4228578"/>
                </a:cubicBezTo>
                <a:cubicBezTo>
                  <a:pt x="10953971" y="4228578"/>
                  <a:pt x="10953971" y="4228578"/>
                  <a:pt x="10953971" y="4285084"/>
                </a:cubicBezTo>
                <a:cubicBezTo>
                  <a:pt x="10953971" y="4302742"/>
                  <a:pt x="10953971" y="4316868"/>
                  <a:pt x="10974931" y="4316868"/>
                </a:cubicBezTo>
                <a:cubicBezTo>
                  <a:pt x="10981917" y="4316868"/>
                  <a:pt x="10985410" y="4316868"/>
                  <a:pt x="10988904" y="4313337"/>
                </a:cubicBezTo>
                <a:cubicBezTo>
                  <a:pt x="10988904" y="4313337"/>
                  <a:pt x="10988904" y="4313337"/>
                  <a:pt x="10988904" y="4302742"/>
                </a:cubicBezTo>
                <a:cubicBezTo>
                  <a:pt x="10985410" y="4306273"/>
                  <a:pt x="10981917" y="4306273"/>
                  <a:pt x="10978424" y="4306273"/>
                </a:cubicBezTo>
                <a:cubicBezTo>
                  <a:pt x="10967944" y="4306273"/>
                  <a:pt x="10964451" y="4299211"/>
                  <a:pt x="10964451" y="4292147"/>
                </a:cubicBezTo>
                <a:cubicBezTo>
                  <a:pt x="10964451" y="4292147"/>
                  <a:pt x="10964451" y="4292147"/>
                  <a:pt x="10964451" y="4228578"/>
                </a:cubicBezTo>
                <a:cubicBezTo>
                  <a:pt x="10964451" y="4228578"/>
                  <a:pt x="10964451" y="4228578"/>
                  <a:pt x="10985410" y="4228578"/>
                </a:cubicBezTo>
                <a:lnTo>
                  <a:pt x="10985410" y="4217983"/>
                </a:lnTo>
                <a:cubicBezTo>
                  <a:pt x="10985410" y="4217983"/>
                  <a:pt x="10985410" y="4217983"/>
                  <a:pt x="10964451" y="4217983"/>
                </a:cubicBezTo>
                <a:cubicBezTo>
                  <a:pt x="10964451" y="4217983"/>
                  <a:pt x="10964451" y="4217983"/>
                  <a:pt x="10964451" y="4193262"/>
                </a:cubicBezTo>
                <a:close/>
                <a:moveTo>
                  <a:pt x="11599881" y="4190576"/>
                </a:moveTo>
                <a:cubicBezTo>
                  <a:pt x="11589469" y="4232742"/>
                  <a:pt x="11589469" y="4232742"/>
                  <a:pt x="11589469" y="4232742"/>
                </a:cubicBezTo>
                <a:cubicBezTo>
                  <a:pt x="11592940" y="4232742"/>
                  <a:pt x="11596410" y="4232742"/>
                  <a:pt x="11599881" y="4232742"/>
                </a:cubicBezTo>
                <a:cubicBezTo>
                  <a:pt x="11603352" y="4208146"/>
                  <a:pt x="11603352" y="4208146"/>
                  <a:pt x="11603352" y="4208146"/>
                </a:cubicBezTo>
                <a:cubicBezTo>
                  <a:pt x="11617236" y="4236256"/>
                  <a:pt x="11617236" y="4236256"/>
                  <a:pt x="11617236" y="4236256"/>
                </a:cubicBezTo>
                <a:cubicBezTo>
                  <a:pt x="11620707" y="4236256"/>
                  <a:pt x="11624178" y="4236256"/>
                  <a:pt x="11624178" y="4236256"/>
                </a:cubicBezTo>
                <a:cubicBezTo>
                  <a:pt x="11631119" y="4194090"/>
                  <a:pt x="11631119" y="4194090"/>
                  <a:pt x="11631119" y="4194090"/>
                </a:cubicBezTo>
                <a:cubicBezTo>
                  <a:pt x="11627648" y="4194090"/>
                  <a:pt x="11624178" y="4194090"/>
                  <a:pt x="11624178" y="4194090"/>
                </a:cubicBezTo>
                <a:cubicBezTo>
                  <a:pt x="11620707" y="4222201"/>
                  <a:pt x="11620707" y="4222201"/>
                  <a:pt x="11620707" y="4222201"/>
                </a:cubicBezTo>
                <a:cubicBezTo>
                  <a:pt x="11606824" y="4190576"/>
                  <a:pt x="11606824" y="4190576"/>
                  <a:pt x="11606824" y="4190576"/>
                </a:cubicBezTo>
                <a:cubicBezTo>
                  <a:pt x="11603352" y="4190576"/>
                  <a:pt x="11603352" y="4190576"/>
                  <a:pt x="11599881" y="4190576"/>
                </a:cubicBezTo>
                <a:close/>
                <a:moveTo>
                  <a:pt x="11709044" y="4186546"/>
                </a:moveTo>
                <a:cubicBezTo>
                  <a:pt x="11695071" y="4190097"/>
                  <a:pt x="11684592" y="4193647"/>
                  <a:pt x="11674112" y="4193647"/>
                </a:cubicBezTo>
                <a:cubicBezTo>
                  <a:pt x="11674112" y="4200749"/>
                  <a:pt x="11674112" y="4200749"/>
                  <a:pt x="11674112" y="4200749"/>
                </a:cubicBezTo>
                <a:cubicBezTo>
                  <a:pt x="11681098" y="4200749"/>
                  <a:pt x="11684592" y="4200749"/>
                  <a:pt x="11688084" y="4200749"/>
                </a:cubicBezTo>
                <a:cubicBezTo>
                  <a:pt x="11695071" y="4236257"/>
                  <a:pt x="11695071" y="4236257"/>
                  <a:pt x="11695071" y="4236257"/>
                </a:cubicBezTo>
                <a:cubicBezTo>
                  <a:pt x="11702057" y="4232706"/>
                  <a:pt x="11702057" y="4232706"/>
                  <a:pt x="11702057" y="4232706"/>
                </a:cubicBezTo>
                <a:cubicBezTo>
                  <a:pt x="11695071" y="4197198"/>
                  <a:pt x="11695071" y="4197198"/>
                  <a:pt x="11695071" y="4197198"/>
                </a:cubicBezTo>
                <a:cubicBezTo>
                  <a:pt x="11702057" y="4197198"/>
                  <a:pt x="11705551" y="4197198"/>
                  <a:pt x="11709044" y="4193647"/>
                </a:cubicBezTo>
                <a:close/>
                <a:moveTo>
                  <a:pt x="11564748" y="4186546"/>
                </a:moveTo>
                <a:cubicBezTo>
                  <a:pt x="11564748" y="4186546"/>
                  <a:pt x="11564748" y="4186546"/>
                  <a:pt x="11575228" y="4189905"/>
                </a:cubicBezTo>
                <a:cubicBezTo>
                  <a:pt x="11578720" y="4189905"/>
                  <a:pt x="11578720" y="4193264"/>
                  <a:pt x="11578720" y="4193264"/>
                </a:cubicBezTo>
                <a:cubicBezTo>
                  <a:pt x="11578720" y="4193264"/>
                  <a:pt x="11578720" y="4196622"/>
                  <a:pt x="11578720" y="4196622"/>
                </a:cubicBezTo>
                <a:cubicBezTo>
                  <a:pt x="11578720" y="4196622"/>
                  <a:pt x="11575228" y="4199981"/>
                  <a:pt x="11571734" y="4199981"/>
                </a:cubicBezTo>
                <a:cubicBezTo>
                  <a:pt x="11571734" y="4199981"/>
                  <a:pt x="11571734" y="4199981"/>
                  <a:pt x="11561254" y="4196622"/>
                </a:cubicBezTo>
                <a:cubicBezTo>
                  <a:pt x="11561254" y="4196622"/>
                  <a:pt x="11561254" y="4196622"/>
                  <a:pt x="11564748" y="4193264"/>
                </a:cubicBezTo>
                <a:cubicBezTo>
                  <a:pt x="11564748" y="4193264"/>
                  <a:pt x="11564748" y="4193264"/>
                  <a:pt x="11564748" y="4186546"/>
                </a:cubicBezTo>
                <a:close/>
                <a:moveTo>
                  <a:pt x="11014562" y="4184660"/>
                </a:moveTo>
                <a:lnTo>
                  <a:pt x="11014562" y="4198354"/>
                </a:lnTo>
                <a:lnTo>
                  <a:pt x="11026851" y="4198354"/>
                </a:lnTo>
                <a:lnTo>
                  <a:pt x="11026851" y="4184660"/>
                </a:lnTo>
                <a:close/>
                <a:moveTo>
                  <a:pt x="11715762" y="4182514"/>
                </a:moveTo>
                <a:cubicBezTo>
                  <a:pt x="11729582" y="4225508"/>
                  <a:pt x="11729582" y="4225508"/>
                  <a:pt x="11729582" y="4225508"/>
                </a:cubicBezTo>
                <a:cubicBezTo>
                  <a:pt x="11733036" y="4221925"/>
                  <a:pt x="11736491" y="4221925"/>
                  <a:pt x="11739946" y="4221925"/>
                </a:cubicBezTo>
                <a:cubicBezTo>
                  <a:pt x="11726127" y="4182514"/>
                  <a:pt x="11726127" y="4182514"/>
                  <a:pt x="11726127" y="4182514"/>
                </a:cubicBezTo>
                <a:cubicBezTo>
                  <a:pt x="11722671" y="4182514"/>
                  <a:pt x="11719217" y="4182514"/>
                  <a:pt x="11715762" y="4182514"/>
                </a:cubicBezTo>
                <a:close/>
                <a:moveTo>
                  <a:pt x="10346688" y="4182514"/>
                </a:moveTo>
                <a:lnTo>
                  <a:pt x="10346688" y="4312838"/>
                </a:lnTo>
                <a:lnTo>
                  <a:pt x="10361467" y="4312838"/>
                </a:lnTo>
                <a:lnTo>
                  <a:pt x="10361467" y="4253722"/>
                </a:lnTo>
                <a:lnTo>
                  <a:pt x="10407148" y="4253722"/>
                </a:lnTo>
                <a:lnTo>
                  <a:pt x="10407148" y="4242974"/>
                </a:lnTo>
                <a:lnTo>
                  <a:pt x="10361467" y="4242974"/>
                </a:lnTo>
                <a:lnTo>
                  <a:pt x="10361467" y="4193262"/>
                </a:lnTo>
                <a:lnTo>
                  <a:pt x="10409835" y="4193262"/>
                </a:lnTo>
                <a:lnTo>
                  <a:pt x="10409835" y="4182514"/>
                </a:lnTo>
                <a:close/>
                <a:moveTo>
                  <a:pt x="11561143" y="4175797"/>
                </a:moveTo>
                <a:cubicBezTo>
                  <a:pt x="11561143" y="4175797"/>
                  <a:pt x="11561143" y="4175797"/>
                  <a:pt x="11554200" y="4193264"/>
                </a:cubicBezTo>
                <a:cubicBezTo>
                  <a:pt x="11554200" y="4193264"/>
                  <a:pt x="11554200" y="4193264"/>
                  <a:pt x="11554200" y="4196756"/>
                </a:cubicBezTo>
                <a:cubicBezTo>
                  <a:pt x="11554200" y="4196756"/>
                  <a:pt x="11554200" y="4196756"/>
                  <a:pt x="11543788" y="4214223"/>
                </a:cubicBezTo>
                <a:cubicBezTo>
                  <a:pt x="11547259" y="4217716"/>
                  <a:pt x="11550730" y="4217716"/>
                  <a:pt x="11554200" y="4217716"/>
                </a:cubicBezTo>
                <a:cubicBezTo>
                  <a:pt x="11554200" y="4217716"/>
                  <a:pt x="11554200" y="4217716"/>
                  <a:pt x="11557671" y="4203743"/>
                </a:cubicBezTo>
                <a:cubicBezTo>
                  <a:pt x="11557671" y="4203743"/>
                  <a:pt x="11557671" y="4203743"/>
                  <a:pt x="11568084" y="4207237"/>
                </a:cubicBezTo>
                <a:cubicBezTo>
                  <a:pt x="11568084" y="4207237"/>
                  <a:pt x="11568084" y="4207237"/>
                  <a:pt x="11568084" y="4224702"/>
                </a:cubicBezTo>
                <a:cubicBezTo>
                  <a:pt x="11571555" y="4224702"/>
                  <a:pt x="11575026" y="4228196"/>
                  <a:pt x="11578497" y="4228196"/>
                </a:cubicBezTo>
                <a:cubicBezTo>
                  <a:pt x="11578497" y="4228196"/>
                  <a:pt x="11578497" y="4228196"/>
                  <a:pt x="11575026" y="4207237"/>
                </a:cubicBezTo>
                <a:cubicBezTo>
                  <a:pt x="11581968" y="4207237"/>
                  <a:pt x="11585438" y="4200250"/>
                  <a:pt x="11585438" y="4196756"/>
                </a:cubicBezTo>
                <a:cubicBezTo>
                  <a:pt x="11585438" y="4196756"/>
                  <a:pt x="11585438" y="4193264"/>
                  <a:pt x="11585438" y="4193264"/>
                </a:cubicBezTo>
                <a:cubicBezTo>
                  <a:pt x="11585438" y="4189770"/>
                  <a:pt x="11585438" y="4186277"/>
                  <a:pt x="11578497" y="4182784"/>
                </a:cubicBezTo>
                <a:cubicBezTo>
                  <a:pt x="11578497" y="4182784"/>
                  <a:pt x="11578497" y="4182784"/>
                  <a:pt x="11561143" y="4175797"/>
                </a:cubicBezTo>
                <a:close/>
                <a:moveTo>
                  <a:pt x="11766241" y="4173090"/>
                </a:moveTo>
                <a:cubicBezTo>
                  <a:pt x="11769696" y="4173531"/>
                  <a:pt x="11773151" y="4175294"/>
                  <a:pt x="11774878" y="4178821"/>
                </a:cubicBezTo>
                <a:cubicBezTo>
                  <a:pt x="11774878" y="4182348"/>
                  <a:pt x="11774878" y="4185874"/>
                  <a:pt x="11774878" y="4185874"/>
                </a:cubicBezTo>
                <a:cubicBezTo>
                  <a:pt x="11774878" y="4189401"/>
                  <a:pt x="11774878" y="4192929"/>
                  <a:pt x="11771423" y="4196455"/>
                </a:cubicBezTo>
                <a:cubicBezTo>
                  <a:pt x="11771423" y="4196455"/>
                  <a:pt x="11771423" y="4196455"/>
                  <a:pt x="11767968" y="4199982"/>
                </a:cubicBezTo>
                <a:cubicBezTo>
                  <a:pt x="11764514" y="4199982"/>
                  <a:pt x="11757604" y="4199982"/>
                  <a:pt x="11754149" y="4196455"/>
                </a:cubicBezTo>
                <a:cubicBezTo>
                  <a:pt x="11750694" y="4196455"/>
                  <a:pt x="11750694" y="4192929"/>
                  <a:pt x="11750694" y="4192929"/>
                </a:cubicBezTo>
                <a:cubicBezTo>
                  <a:pt x="11750694" y="4192929"/>
                  <a:pt x="11750694" y="4189401"/>
                  <a:pt x="11750694" y="4185874"/>
                </a:cubicBezTo>
                <a:cubicBezTo>
                  <a:pt x="11750694" y="4182348"/>
                  <a:pt x="11750694" y="4178821"/>
                  <a:pt x="11757604" y="4175294"/>
                </a:cubicBezTo>
                <a:cubicBezTo>
                  <a:pt x="11759332" y="4173531"/>
                  <a:pt x="11762786" y="4172649"/>
                  <a:pt x="11766241" y="4173090"/>
                </a:cubicBezTo>
                <a:close/>
                <a:moveTo>
                  <a:pt x="10810738" y="4171765"/>
                </a:moveTo>
                <a:cubicBezTo>
                  <a:pt x="10810738" y="4171765"/>
                  <a:pt x="10810738" y="4171765"/>
                  <a:pt x="10810738" y="4235469"/>
                </a:cubicBezTo>
                <a:cubicBezTo>
                  <a:pt x="10810738" y="4228391"/>
                  <a:pt x="10800048" y="4217773"/>
                  <a:pt x="10782231" y="4217773"/>
                </a:cubicBezTo>
                <a:cubicBezTo>
                  <a:pt x="10753724" y="4217773"/>
                  <a:pt x="10743034" y="4239008"/>
                  <a:pt x="10743034" y="4267321"/>
                </a:cubicBezTo>
                <a:cubicBezTo>
                  <a:pt x="10743034" y="4295634"/>
                  <a:pt x="10753724" y="4316868"/>
                  <a:pt x="10782231" y="4316868"/>
                </a:cubicBezTo>
                <a:cubicBezTo>
                  <a:pt x="10796484" y="4316868"/>
                  <a:pt x="10803611" y="4313329"/>
                  <a:pt x="10810738" y="4299172"/>
                </a:cubicBezTo>
                <a:cubicBezTo>
                  <a:pt x="10810738" y="4299172"/>
                  <a:pt x="10810738" y="4299172"/>
                  <a:pt x="10810738" y="4313329"/>
                </a:cubicBezTo>
                <a:cubicBezTo>
                  <a:pt x="10810738" y="4313329"/>
                  <a:pt x="10810738" y="4313329"/>
                  <a:pt x="10824991" y="4313329"/>
                </a:cubicBezTo>
                <a:lnTo>
                  <a:pt x="10824991" y="4171765"/>
                </a:lnTo>
                <a:cubicBezTo>
                  <a:pt x="10824991" y="4171765"/>
                  <a:pt x="10824991" y="4171765"/>
                  <a:pt x="10810738" y="4171765"/>
                </a:cubicBezTo>
                <a:close/>
                <a:moveTo>
                  <a:pt x="11768161" y="4166249"/>
                </a:moveTo>
                <a:cubicBezTo>
                  <a:pt x="11762338" y="4164954"/>
                  <a:pt x="11756068" y="4165817"/>
                  <a:pt x="11750694" y="4169272"/>
                </a:cubicBezTo>
                <a:cubicBezTo>
                  <a:pt x="11743528" y="4172727"/>
                  <a:pt x="11739946" y="4179637"/>
                  <a:pt x="11739946" y="4186546"/>
                </a:cubicBezTo>
                <a:cubicBezTo>
                  <a:pt x="11739946" y="4190001"/>
                  <a:pt x="11743528" y="4193456"/>
                  <a:pt x="11743528" y="4196911"/>
                </a:cubicBezTo>
                <a:cubicBezTo>
                  <a:pt x="11750694" y="4207276"/>
                  <a:pt x="11765025" y="4210730"/>
                  <a:pt x="11772191" y="4203821"/>
                </a:cubicBezTo>
                <a:cubicBezTo>
                  <a:pt x="11779357" y="4203821"/>
                  <a:pt x="11779357" y="4200366"/>
                  <a:pt x="11782939" y="4196911"/>
                </a:cubicBezTo>
                <a:cubicBezTo>
                  <a:pt x="11782939" y="4193456"/>
                  <a:pt x="11782939" y="4190001"/>
                  <a:pt x="11782939" y="4186546"/>
                </a:cubicBezTo>
                <a:cubicBezTo>
                  <a:pt x="11782939" y="4183092"/>
                  <a:pt x="11782939" y="4179637"/>
                  <a:pt x="11782939" y="4176182"/>
                </a:cubicBezTo>
                <a:cubicBezTo>
                  <a:pt x="11779357" y="4170999"/>
                  <a:pt x="11773982" y="4167545"/>
                  <a:pt x="11768161" y="4166249"/>
                </a:cubicBezTo>
                <a:close/>
                <a:moveTo>
                  <a:pt x="11525909" y="4158331"/>
                </a:moveTo>
                <a:cubicBezTo>
                  <a:pt x="11504825" y="4193263"/>
                  <a:pt x="11504825" y="4193263"/>
                  <a:pt x="11504825" y="4193263"/>
                </a:cubicBezTo>
                <a:cubicBezTo>
                  <a:pt x="11511853" y="4200249"/>
                  <a:pt x="11518881" y="4203743"/>
                  <a:pt x="11529423" y="4210729"/>
                </a:cubicBezTo>
                <a:cubicBezTo>
                  <a:pt x="11532937" y="4203743"/>
                  <a:pt x="11532937" y="4203743"/>
                  <a:pt x="11532937" y="4203743"/>
                </a:cubicBezTo>
                <a:cubicBezTo>
                  <a:pt x="11515367" y="4193263"/>
                  <a:pt x="11515367" y="4193263"/>
                  <a:pt x="11515367" y="4193263"/>
                </a:cubicBezTo>
                <a:cubicBezTo>
                  <a:pt x="11522395" y="4182784"/>
                  <a:pt x="11522395" y="4182784"/>
                  <a:pt x="11522395" y="4182784"/>
                </a:cubicBezTo>
                <a:cubicBezTo>
                  <a:pt x="11532937" y="4189770"/>
                  <a:pt x="11532937" y="4189770"/>
                  <a:pt x="11532937" y="4189770"/>
                </a:cubicBezTo>
                <a:cubicBezTo>
                  <a:pt x="11536450" y="4182784"/>
                  <a:pt x="11536450" y="4182784"/>
                  <a:pt x="11536450" y="4182784"/>
                </a:cubicBezTo>
                <a:cubicBezTo>
                  <a:pt x="11532937" y="4182784"/>
                  <a:pt x="11529423" y="4179290"/>
                  <a:pt x="11525909" y="4175797"/>
                </a:cubicBezTo>
                <a:lnTo>
                  <a:pt x="11529423" y="4168811"/>
                </a:lnTo>
                <a:cubicBezTo>
                  <a:pt x="11536450" y="4172303"/>
                  <a:pt x="11539964" y="4175797"/>
                  <a:pt x="11546992" y="4179290"/>
                </a:cubicBezTo>
                <a:cubicBezTo>
                  <a:pt x="11550506" y="4172303"/>
                  <a:pt x="11550506" y="4172303"/>
                  <a:pt x="11550506" y="4172303"/>
                </a:cubicBezTo>
                <a:cubicBezTo>
                  <a:pt x="11543478" y="4168811"/>
                  <a:pt x="11532937" y="4161824"/>
                  <a:pt x="11525909" y="4158331"/>
                </a:cubicBezTo>
                <a:close/>
                <a:moveTo>
                  <a:pt x="11803361" y="4130117"/>
                </a:moveTo>
                <a:cubicBezTo>
                  <a:pt x="11799868" y="4133643"/>
                  <a:pt x="11799868" y="4133643"/>
                  <a:pt x="11796375" y="4137170"/>
                </a:cubicBezTo>
                <a:cubicBezTo>
                  <a:pt x="11813840" y="4154804"/>
                  <a:pt x="11813840" y="4154804"/>
                  <a:pt x="11813840" y="4154804"/>
                </a:cubicBezTo>
                <a:cubicBezTo>
                  <a:pt x="11785895" y="4147751"/>
                  <a:pt x="11785895" y="4147751"/>
                  <a:pt x="11785895" y="4147751"/>
                </a:cubicBezTo>
                <a:cubicBezTo>
                  <a:pt x="11782402" y="4147751"/>
                  <a:pt x="11782402" y="4151277"/>
                  <a:pt x="11778908" y="4151277"/>
                </a:cubicBezTo>
                <a:cubicBezTo>
                  <a:pt x="11803361" y="4186546"/>
                  <a:pt x="11803361" y="4186546"/>
                  <a:pt x="11803361" y="4186546"/>
                </a:cubicBezTo>
                <a:cubicBezTo>
                  <a:pt x="11806854" y="4183019"/>
                  <a:pt x="11806854" y="4183019"/>
                  <a:pt x="11810348" y="4179492"/>
                </a:cubicBezTo>
                <a:cubicBezTo>
                  <a:pt x="11796375" y="4158331"/>
                  <a:pt x="11796375" y="4158331"/>
                  <a:pt x="11796375" y="4158331"/>
                </a:cubicBezTo>
                <a:cubicBezTo>
                  <a:pt x="11824320" y="4168911"/>
                  <a:pt x="11824320" y="4168911"/>
                  <a:pt x="11824320" y="4168911"/>
                </a:cubicBezTo>
                <a:cubicBezTo>
                  <a:pt x="11827814" y="4165385"/>
                  <a:pt x="11827814" y="4165385"/>
                  <a:pt x="11831307" y="4161858"/>
                </a:cubicBezTo>
                <a:cubicBezTo>
                  <a:pt x="11803361" y="4130117"/>
                  <a:pt x="11803361" y="4130117"/>
                  <a:pt x="11803361" y="4130117"/>
                </a:cubicBezTo>
                <a:close/>
                <a:moveTo>
                  <a:pt x="11495008" y="4130117"/>
                </a:moveTo>
                <a:cubicBezTo>
                  <a:pt x="11495008" y="4130117"/>
                  <a:pt x="11495008" y="4130117"/>
                  <a:pt x="11487980" y="4133630"/>
                </a:cubicBezTo>
                <a:cubicBezTo>
                  <a:pt x="11491494" y="4137144"/>
                  <a:pt x="11495008" y="4140658"/>
                  <a:pt x="11498522" y="4144172"/>
                </a:cubicBezTo>
                <a:cubicBezTo>
                  <a:pt x="11498522" y="4144172"/>
                  <a:pt x="11498522" y="4144172"/>
                  <a:pt x="11473924" y="4168769"/>
                </a:cubicBezTo>
                <a:cubicBezTo>
                  <a:pt x="11473924" y="4168769"/>
                  <a:pt x="11473924" y="4168769"/>
                  <a:pt x="11480952" y="4175797"/>
                </a:cubicBezTo>
                <a:cubicBezTo>
                  <a:pt x="11480952" y="4175797"/>
                  <a:pt x="11480952" y="4175797"/>
                  <a:pt x="11505548" y="4151200"/>
                </a:cubicBezTo>
                <a:cubicBezTo>
                  <a:pt x="11509062" y="4151200"/>
                  <a:pt x="11512576" y="4154713"/>
                  <a:pt x="11516090" y="4158227"/>
                </a:cubicBezTo>
                <a:cubicBezTo>
                  <a:pt x="11516090" y="4158227"/>
                  <a:pt x="11516090" y="4158227"/>
                  <a:pt x="11519604" y="4151200"/>
                </a:cubicBezTo>
                <a:cubicBezTo>
                  <a:pt x="11509062" y="4144172"/>
                  <a:pt x="11502036" y="4137144"/>
                  <a:pt x="11495008" y="4130117"/>
                </a:cubicBezTo>
                <a:close/>
                <a:moveTo>
                  <a:pt x="11824589" y="4119368"/>
                </a:moveTo>
                <a:lnTo>
                  <a:pt x="11842055" y="4126086"/>
                </a:lnTo>
                <a:lnTo>
                  <a:pt x="11842055" y="4130117"/>
                </a:lnTo>
                <a:lnTo>
                  <a:pt x="11835337" y="4136835"/>
                </a:lnTo>
                <a:lnTo>
                  <a:pt x="11831307" y="4130117"/>
                </a:lnTo>
                <a:close/>
                <a:moveTo>
                  <a:pt x="11820942" y="4112650"/>
                </a:moveTo>
                <a:lnTo>
                  <a:pt x="11813840" y="4119592"/>
                </a:lnTo>
                <a:cubicBezTo>
                  <a:pt x="11813840" y="4119592"/>
                  <a:pt x="11813840" y="4119592"/>
                  <a:pt x="11820942" y="4130004"/>
                </a:cubicBezTo>
                <a:cubicBezTo>
                  <a:pt x="11820942" y="4130004"/>
                  <a:pt x="11820942" y="4130004"/>
                  <a:pt x="11838696" y="4154300"/>
                </a:cubicBezTo>
                <a:cubicBezTo>
                  <a:pt x="11838696" y="4154300"/>
                  <a:pt x="11842247" y="4150830"/>
                  <a:pt x="11842247" y="4150830"/>
                </a:cubicBezTo>
                <a:cubicBezTo>
                  <a:pt x="11842247" y="4150830"/>
                  <a:pt x="11842247" y="4150830"/>
                  <a:pt x="11838696" y="4143888"/>
                </a:cubicBezTo>
                <a:cubicBezTo>
                  <a:pt x="11838696" y="4143888"/>
                  <a:pt x="11838696" y="4143888"/>
                  <a:pt x="11849349" y="4130004"/>
                </a:cubicBezTo>
                <a:cubicBezTo>
                  <a:pt x="11849349" y="4130004"/>
                  <a:pt x="11849349" y="4130004"/>
                  <a:pt x="11856450" y="4130004"/>
                </a:cubicBezTo>
                <a:cubicBezTo>
                  <a:pt x="11860002" y="4130004"/>
                  <a:pt x="11860002" y="4130004"/>
                  <a:pt x="11860002" y="4130004"/>
                </a:cubicBezTo>
                <a:cubicBezTo>
                  <a:pt x="11860002" y="4126533"/>
                  <a:pt x="11863552" y="4126533"/>
                  <a:pt x="11863552" y="4123062"/>
                </a:cubicBezTo>
                <a:cubicBezTo>
                  <a:pt x="11863552" y="4123062"/>
                  <a:pt x="11863552" y="4123062"/>
                  <a:pt x="11820942" y="4112650"/>
                </a:cubicBezTo>
                <a:close/>
                <a:moveTo>
                  <a:pt x="11466198" y="4097871"/>
                </a:moveTo>
                <a:cubicBezTo>
                  <a:pt x="11430930" y="4122951"/>
                  <a:pt x="11430930" y="4122951"/>
                  <a:pt x="11430930" y="4122951"/>
                </a:cubicBezTo>
                <a:cubicBezTo>
                  <a:pt x="11434457" y="4126534"/>
                  <a:pt x="11434457" y="4126534"/>
                  <a:pt x="11437984" y="4130117"/>
                </a:cubicBezTo>
                <a:cubicBezTo>
                  <a:pt x="11459145" y="4115786"/>
                  <a:pt x="11459145" y="4115786"/>
                  <a:pt x="11459145" y="4115786"/>
                </a:cubicBezTo>
                <a:cubicBezTo>
                  <a:pt x="11448564" y="4144447"/>
                  <a:pt x="11448564" y="4144447"/>
                  <a:pt x="11448564" y="4144447"/>
                </a:cubicBezTo>
                <a:cubicBezTo>
                  <a:pt x="11452091" y="4148031"/>
                  <a:pt x="11452091" y="4148031"/>
                  <a:pt x="11455618" y="4151613"/>
                </a:cubicBezTo>
                <a:cubicBezTo>
                  <a:pt x="11487359" y="4122951"/>
                  <a:pt x="11487359" y="4122951"/>
                  <a:pt x="11487359" y="4122951"/>
                </a:cubicBezTo>
                <a:cubicBezTo>
                  <a:pt x="11487359" y="4119368"/>
                  <a:pt x="11483833" y="4119368"/>
                  <a:pt x="11483833" y="4115786"/>
                </a:cubicBezTo>
                <a:cubicBezTo>
                  <a:pt x="11462672" y="4133699"/>
                  <a:pt x="11462672" y="4133699"/>
                  <a:pt x="11462672" y="4133699"/>
                </a:cubicBezTo>
                <a:cubicBezTo>
                  <a:pt x="11473252" y="4105037"/>
                  <a:pt x="11473252" y="4105037"/>
                  <a:pt x="11473252" y="4105037"/>
                </a:cubicBezTo>
                <a:cubicBezTo>
                  <a:pt x="11469725" y="4101454"/>
                  <a:pt x="11469725" y="4101454"/>
                  <a:pt x="11466198" y="4097871"/>
                </a:cubicBezTo>
                <a:close/>
                <a:moveTo>
                  <a:pt x="11835338" y="4087123"/>
                </a:moveTo>
                <a:lnTo>
                  <a:pt x="11831307" y="4095184"/>
                </a:lnTo>
                <a:lnTo>
                  <a:pt x="11870270" y="4115338"/>
                </a:lnTo>
                <a:lnTo>
                  <a:pt x="11883706" y="4091154"/>
                </a:lnTo>
                <a:lnTo>
                  <a:pt x="11876988" y="4087123"/>
                </a:lnTo>
                <a:lnTo>
                  <a:pt x="11866239" y="4105933"/>
                </a:lnTo>
                <a:close/>
                <a:moveTo>
                  <a:pt x="11459634" y="4084436"/>
                </a:moveTo>
                <a:cubicBezTo>
                  <a:pt x="11424212" y="4105598"/>
                  <a:pt x="11424212" y="4105598"/>
                  <a:pt x="11424212" y="4105598"/>
                </a:cubicBezTo>
                <a:cubicBezTo>
                  <a:pt x="11424212" y="4105598"/>
                  <a:pt x="11424212" y="4109124"/>
                  <a:pt x="11427754" y="4112651"/>
                </a:cubicBezTo>
                <a:cubicBezTo>
                  <a:pt x="11463176" y="4091490"/>
                  <a:pt x="11463176" y="4091490"/>
                  <a:pt x="11463176" y="4091490"/>
                </a:cubicBezTo>
                <a:cubicBezTo>
                  <a:pt x="11463176" y="4087963"/>
                  <a:pt x="11459634" y="4087963"/>
                  <a:pt x="11459634" y="4084436"/>
                </a:cubicBezTo>
                <a:close/>
                <a:moveTo>
                  <a:pt x="11450927" y="4050826"/>
                </a:moveTo>
                <a:cubicBezTo>
                  <a:pt x="11452683" y="4051267"/>
                  <a:pt x="11454437" y="4053030"/>
                  <a:pt x="11456192" y="4056557"/>
                </a:cubicBezTo>
                <a:cubicBezTo>
                  <a:pt x="11487785" y="4134148"/>
                  <a:pt x="11561500" y="4187050"/>
                  <a:pt x="11649257" y="4187050"/>
                </a:cubicBezTo>
                <a:cubicBezTo>
                  <a:pt x="11737012" y="4187050"/>
                  <a:pt x="11810728" y="4134148"/>
                  <a:pt x="11842320" y="4056557"/>
                </a:cubicBezTo>
                <a:cubicBezTo>
                  <a:pt x="11844075" y="4053030"/>
                  <a:pt x="11845831" y="4051267"/>
                  <a:pt x="11847586" y="4050826"/>
                </a:cubicBezTo>
                <a:cubicBezTo>
                  <a:pt x="11849340" y="4050386"/>
                  <a:pt x="11851096" y="4051267"/>
                  <a:pt x="11852851" y="4053030"/>
                </a:cubicBezTo>
                <a:cubicBezTo>
                  <a:pt x="11852851" y="4053030"/>
                  <a:pt x="11852851" y="4053030"/>
                  <a:pt x="11891464" y="4063611"/>
                </a:cubicBezTo>
                <a:cubicBezTo>
                  <a:pt x="11894974" y="4067138"/>
                  <a:pt x="11898484" y="4070664"/>
                  <a:pt x="11898484" y="4074191"/>
                </a:cubicBezTo>
                <a:cubicBezTo>
                  <a:pt x="11859871" y="4176469"/>
                  <a:pt x="11761585" y="4247006"/>
                  <a:pt x="11649257" y="4247006"/>
                </a:cubicBezTo>
                <a:cubicBezTo>
                  <a:pt x="11536929" y="4247006"/>
                  <a:pt x="11438641" y="4176469"/>
                  <a:pt x="11400028" y="4077719"/>
                </a:cubicBezTo>
                <a:cubicBezTo>
                  <a:pt x="11400028" y="4070664"/>
                  <a:pt x="11400028" y="4067138"/>
                  <a:pt x="11407049" y="4063611"/>
                </a:cubicBezTo>
                <a:cubicBezTo>
                  <a:pt x="11407049" y="4063611"/>
                  <a:pt x="11407049" y="4063611"/>
                  <a:pt x="11445662" y="4053030"/>
                </a:cubicBezTo>
                <a:cubicBezTo>
                  <a:pt x="11447417" y="4051267"/>
                  <a:pt x="11449172" y="4050386"/>
                  <a:pt x="11450927" y="4050826"/>
                </a:cubicBezTo>
                <a:close/>
                <a:moveTo>
                  <a:pt x="11603442" y="4044988"/>
                </a:moveTo>
                <a:cubicBezTo>
                  <a:pt x="11606935" y="4041442"/>
                  <a:pt x="11610428" y="4041442"/>
                  <a:pt x="11613922" y="4044988"/>
                </a:cubicBezTo>
                <a:cubicBezTo>
                  <a:pt x="11613922" y="4044988"/>
                  <a:pt x="11617414" y="4048534"/>
                  <a:pt x="11617414" y="4052079"/>
                </a:cubicBezTo>
                <a:cubicBezTo>
                  <a:pt x="11617414" y="4052079"/>
                  <a:pt x="11624401" y="4154898"/>
                  <a:pt x="11624401" y="4154898"/>
                </a:cubicBezTo>
                <a:cubicBezTo>
                  <a:pt x="11624401" y="4161989"/>
                  <a:pt x="11624401" y="4165535"/>
                  <a:pt x="11620908" y="4165535"/>
                </a:cubicBezTo>
                <a:cubicBezTo>
                  <a:pt x="11620908" y="4169080"/>
                  <a:pt x="11617414" y="4169080"/>
                  <a:pt x="11613922" y="4165535"/>
                </a:cubicBezTo>
                <a:cubicBezTo>
                  <a:pt x="11568509" y="4154898"/>
                  <a:pt x="11537070" y="4137171"/>
                  <a:pt x="11505632" y="4101715"/>
                </a:cubicBezTo>
                <a:cubicBezTo>
                  <a:pt x="11502138" y="4101715"/>
                  <a:pt x="11502138" y="4098170"/>
                  <a:pt x="11502138" y="4098170"/>
                </a:cubicBezTo>
                <a:cubicBezTo>
                  <a:pt x="11502138" y="4094625"/>
                  <a:pt x="11502138" y="4094625"/>
                  <a:pt x="11502138" y="4094625"/>
                </a:cubicBezTo>
                <a:cubicBezTo>
                  <a:pt x="11502138" y="4091080"/>
                  <a:pt x="11505632" y="4091080"/>
                  <a:pt x="11509124" y="4091080"/>
                </a:cubicBezTo>
                <a:cubicBezTo>
                  <a:pt x="11509124" y="4091080"/>
                  <a:pt x="11509124" y="4091080"/>
                  <a:pt x="11603442" y="4044988"/>
                </a:cubicBezTo>
                <a:close/>
                <a:moveTo>
                  <a:pt x="11688084" y="4041442"/>
                </a:moveTo>
                <a:cubicBezTo>
                  <a:pt x="11691578" y="4041442"/>
                  <a:pt x="11695071" y="4041442"/>
                  <a:pt x="11698565" y="4041442"/>
                </a:cubicBezTo>
                <a:cubicBezTo>
                  <a:pt x="11698565" y="4041442"/>
                  <a:pt x="11698565" y="4041442"/>
                  <a:pt x="11789388" y="4087353"/>
                </a:cubicBezTo>
                <a:cubicBezTo>
                  <a:pt x="11792882" y="4090885"/>
                  <a:pt x="11796375" y="4090885"/>
                  <a:pt x="11796375" y="4094417"/>
                </a:cubicBezTo>
                <a:cubicBezTo>
                  <a:pt x="11796375" y="4097948"/>
                  <a:pt x="11796375" y="4097948"/>
                  <a:pt x="11792882" y="4101480"/>
                </a:cubicBezTo>
                <a:cubicBezTo>
                  <a:pt x="11761442" y="4136796"/>
                  <a:pt x="11730003" y="4154454"/>
                  <a:pt x="11684592" y="4165049"/>
                </a:cubicBezTo>
                <a:cubicBezTo>
                  <a:pt x="11681098" y="4165049"/>
                  <a:pt x="11677605" y="4165049"/>
                  <a:pt x="11677605" y="4165049"/>
                </a:cubicBezTo>
                <a:cubicBezTo>
                  <a:pt x="11674112" y="4161517"/>
                  <a:pt x="11674112" y="4157985"/>
                  <a:pt x="11674112" y="4154454"/>
                </a:cubicBezTo>
                <a:cubicBezTo>
                  <a:pt x="11674112" y="4154454"/>
                  <a:pt x="11674112" y="4154454"/>
                  <a:pt x="11684592" y="4052038"/>
                </a:cubicBezTo>
                <a:cubicBezTo>
                  <a:pt x="11684592" y="4048506"/>
                  <a:pt x="11684592" y="4044974"/>
                  <a:pt x="11688084" y="4041442"/>
                </a:cubicBezTo>
                <a:close/>
                <a:moveTo>
                  <a:pt x="10810283" y="4002478"/>
                </a:moveTo>
                <a:lnTo>
                  <a:pt x="10851862" y="4002478"/>
                </a:lnTo>
                <a:cubicBezTo>
                  <a:pt x="10851862" y="4002478"/>
                  <a:pt x="10851862" y="4002478"/>
                  <a:pt x="10851862" y="4045088"/>
                </a:cubicBezTo>
                <a:cubicBezTo>
                  <a:pt x="10851862" y="4045088"/>
                  <a:pt x="10824142" y="4052190"/>
                  <a:pt x="10803353" y="4052190"/>
                </a:cubicBezTo>
                <a:cubicBezTo>
                  <a:pt x="10786028" y="4052190"/>
                  <a:pt x="10786028" y="4037987"/>
                  <a:pt x="10786028" y="4027334"/>
                </a:cubicBezTo>
                <a:cubicBezTo>
                  <a:pt x="10786028" y="4013131"/>
                  <a:pt x="10792958" y="4006029"/>
                  <a:pt x="10810283" y="4002478"/>
                </a:cubicBezTo>
                <a:close/>
                <a:moveTo>
                  <a:pt x="10494479" y="3932613"/>
                </a:moveTo>
                <a:cubicBezTo>
                  <a:pt x="10525716" y="3932613"/>
                  <a:pt x="10536128" y="3946681"/>
                  <a:pt x="10536128" y="3988885"/>
                </a:cubicBezTo>
                <a:cubicBezTo>
                  <a:pt x="10536128" y="4027570"/>
                  <a:pt x="10529187" y="4052189"/>
                  <a:pt x="10494479" y="4052189"/>
                </a:cubicBezTo>
                <a:cubicBezTo>
                  <a:pt x="10459770" y="4052189"/>
                  <a:pt x="10452829" y="4031088"/>
                  <a:pt x="10452829" y="3988885"/>
                </a:cubicBezTo>
                <a:cubicBezTo>
                  <a:pt x="10452829" y="3946681"/>
                  <a:pt x="10463241" y="3932613"/>
                  <a:pt x="10494479" y="3932613"/>
                </a:cubicBezTo>
                <a:close/>
                <a:moveTo>
                  <a:pt x="11639005" y="3928584"/>
                </a:moveTo>
                <a:cubicBezTo>
                  <a:pt x="11639005" y="3928584"/>
                  <a:pt x="11639005" y="3928584"/>
                  <a:pt x="11660034" y="3928584"/>
                </a:cubicBezTo>
                <a:cubicBezTo>
                  <a:pt x="11660034" y="3928584"/>
                  <a:pt x="11660034" y="3935677"/>
                  <a:pt x="11660034" y="3939224"/>
                </a:cubicBezTo>
                <a:cubicBezTo>
                  <a:pt x="11677559" y="3942771"/>
                  <a:pt x="11691578" y="3960506"/>
                  <a:pt x="11691578" y="3978241"/>
                </a:cubicBezTo>
                <a:cubicBezTo>
                  <a:pt x="11691578" y="3999523"/>
                  <a:pt x="11670549" y="4017258"/>
                  <a:pt x="11649519" y="4017258"/>
                </a:cubicBezTo>
                <a:cubicBezTo>
                  <a:pt x="11628490" y="4017258"/>
                  <a:pt x="11610966" y="3999523"/>
                  <a:pt x="11610966" y="3978241"/>
                </a:cubicBezTo>
                <a:cubicBezTo>
                  <a:pt x="11610966" y="3960506"/>
                  <a:pt x="11621480" y="3942771"/>
                  <a:pt x="11639005" y="3939224"/>
                </a:cubicBezTo>
                <a:cubicBezTo>
                  <a:pt x="11639005" y="3939224"/>
                  <a:pt x="11639005" y="3928584"/>
                  <a:pt x="11639005" y="3928584"/>
                </a:cubicBezTo>
                <a:close/>
                <a:moveTo>
                  <a:pt x="11649257" y="3917835"/>
                </a:moveTo>
                <a:cubicBezTo>
                  <a:pt x="11616236" y="3917835"/>
                  <a:pt x="11589469" y="3944904"/>
                  <a:pt x="11589469" y="3978295"/>
                </a:cubicBezTo>
                <a:cubicBezTo>
                  <a:pt x="11589469" y="4011686"/>
                  <a:pt x="11616236" y="4038755"/>
                  <a:pt x="11649257" y="4038755"/>
                </a:cubicBezTo>
                <a:cubicBezTo>
                  <a:pt x="11682277" y="4038755"/>
                  <a:pt x="11709045" y="4011686"/>
                  <a:pt x="11709045" y="3978295"/>
                </a:cubicBezTo>
                <a:cubicBezTo>
                  <a:pt x="11709045" y="3944904"/>
                  <a:pt x="11682277" y="3917835"/>
                  <a:pt x="11649257" y="3917835"/>
                </a:cubicBezTo>
                <a:close/>
                <a:moveTo>
                  <a:pt x="11649257" y="3911118"/>
                </a:moveTo>
                <a:cubicBezTo>
                  <a:pt x="11685987" y="3911118"/>
                  <a:pt x="11715763" y="3941194"/>
                  <a:pt x="11715763" y="3978295"/>
                </a:cubicBezTo>
                <a:cubicBezTo>
                  <a:pt x="11715763" y="4015397"/>
                  <a:pt x="11685987" y="4045473"/>
                  <a:pt x="11649257" y="4045473"/>
                </a:cubicBezTo>
                <a:cubicBezTo>
                  <a:pt x="11612526" y="4045473"/>
                  <a:pt x="11582751" y="4015397"/>
                  <a:pt x="11582751" y="3978295"/>
                </a:cubicBezTo>
                <a:cubicBezTo>
                  <a:pt x="11582751" y="3941194"/>
                  <a:pt x="11612526" y="3911118"/>
                  <a:pt x="11649257" y="3911118"/>
                </a:cubicBezTo>
                <a:close/>
                <a:moveTo>
                  <a:pt x="11824549" y="3908431"/>
                </a:moveTo>
                <a:cubicBezTo>
                  <a:pt x="11828050" y="3908431"/>
                  <a:pt x="11828050" y="3911957"/>
                  <a:pt x="11828050" y="3915484"/>
                </a:cubicBezTo>
                <a:cubicBezTo>
                  <a:pt x="11842055" y="3957806"/>
                  <a:pt x="11842055" y="3996601"/>
                  <a:pt x="11828050" y="4038923"/>
                </a:cubicBezTo>
                <a:cubicBezTo>
                  <a:pt x="11828050" y="4045977"/>
                  <a:pt x="11828050" y="4045977"/>
                  <a:pt x="11824549" y="4045977"/>
                </a:cubicBezTo>
                <a:cubicBezTo>
                  <a:pt x="11821047" y="4049504"/>
                  <a:pt x="11817546" y="4045977"/>
                  <a:pt x="11817546" y="4045977"/>
                </a:cubicBezTo>
                <a:lnTo>
                  <a:pt x="11730012" y="3986021"/>
                </a:lnTo>
                <a:cubicBezTo>
                  <a:pt x="11726510" y="3982494"/>
                  <a:pt x="11726510" y="3978967"/>
                  <a:pt x="11726510" y="3978967"/>
                </a:cubicBezTo>
                <a:cubicBezTo>
                  <a:pt x="11726510" y="3975441"/>
                  <a:pt x="11726510" y="3971914"/>
                  <a:pt x="11730012" y="3968386"/>
                </a:cubicBezTo>
                <a:cubicBezTo>
                  <a:pt x="11730012" y="3968386"/>
                  <a:pt x="11730012" y="3968386"/>
                  <a:pt x="11814044" y="3911957"/>
                </a:cubicBezTo>
                <a:cubicBezTo>
                  <a:pt x="11821047" y="3908431"/>
                  <a:pt x="11824549" y="3908431"/>
                  <a:pt x="11824549" y="3908431"/>
                </a:cubicBezTo>
                <a:close/>
                <a:moveTo>
                  <a:pt x="11473964" y="3908431"/>
                </a:moveTo>
                <a:cubicBezTo>
                  <a:pt x="11477466" y="3908431"/>
                  <a:pt x="11480967" y="3908431"/>
                  <a:pt x="11480967" y="3911957"/>
                </a:cubicBezTo>
                <a:lnTo>
                  <a:pt x="11568501" y="3968386"/>
                </a:lnTo>
                <a:cubicBezTo>
                  <a:pt x="11572002" y="3971914"/>
                  <a:pt x="11572002" y="3975441"/>
                  <a:pt x="11572002" y="3978967"/>
                </a:cubicBezTo>
                <a:cubicBezTo>
                  <a:pt x="11572002" y="3982494"/>
                  <a:pt x="11572002" y="3986021"/>
                  <a:pt x="11568501" y="3986021"/>
                </a:cubicBezTo>
                <a:cubicBezTo>
                  <a:pt x="11568501" y="3986021"/>
                  <a:pt x="11568501" y="3986021"/>
                  <a:pt x="11480967" y="4045977"/>
                </a:cubicBezTo>
                <a:cubicBezTo>
                  <a:pt x="11477466" y="4045977"/>
                  <a:pt x="11473964" y="4049504"/>
                  <a:pt x="11473964" y="4045977"/>
                </a:cubicBezTo>
                <a:cubicBezTo>
                  <a:pt x="11470463" y="4045977"/>
                  <a:pt x="11470463" y="4042450"/>
                  <a:pt x="11466961" y="4042450"/>
                </a:cubicBezTo>
                <a:cubicBezTo>
                  <a:pt x="11456457" y="3996601"/>
                  <a:pt x="11456457" y="3957806"/>
                  <a:pt x="11466961" y="3915484"/>
                </a:cubicBezTo>
                <a:cubicBezTo>
                  <a:pt x="11470463" y="3911957"/>
                  <a:pt x="11470463" y="3908431"/>
                  <a:pt x="11473964" y="3908431"/>
                </a:cubicBezTo>
                <a:close/>
                <a:moveTo>
                  <a:pt x="11070316" y="3897682"/>
                </a:moveTo>
                <a:cubicBezTo>
                  <a:pt x="11070316" y="3901208"/>
                  <a:pt x="11066828" y="3901208"/>
                  <a:pt x="11070316" y="3904735"/>
                </a:cubicBezTo>
                <a:cubicBezTo>
                  <a:pt x="11112166" y="4066969"/>
                  <a:pt x="11112166" y="4066969"/>
                  <a:pt x="11112166" y="4066969"/>
                </a:cubicBezTo>
                <a:cubicBezTo>
                  <a:pt x="11112166" y="4074023"/>
                  <a:pt x="11119141" y="4088130"/>
                  <a:pt x="11133091" y="4088130"/>
                </a:cubicBezTo>
                <a:cubicBezTo>
                  <a:pt x="11143554" y="4088130"/>
                  <a:pt x="11143554" y="4088130"/>
                  <a:pt x="11143554" y="4088130"/>
                </a:cubicBezTo>
                <a:cubicBezTo>
                  <a:pt x="11140066" y="4091657"/>
                  <a:pt x="11140066" y="4091657"/>
                  <a:pt x="11140066" y="4095183"/>
                </a:cubicBezTo>
                <a:cubicBezTo>
                  <a:pt x="11136578" y="4105763"/>
                  <a:pt x="11133091" y="4116344"/>
                  <a:pt x="11112166" y="4116344"/>
                </a:cubicBezTo>
                <a:cubicBezTo>
                  <a:pt x="11077291" y="4112818"/>
                  <a:pt x="11077291" y="4112818"/>
                  <a:pt x="11077291" y="4112818"/>
                </a:cubicBezTo>
                <a:cubicBezTo>
                  <a:pt x="11077291" y="4112818"/>
                  <a:pt x="11073804" y="4112818"/>
                  <a:pt x="11073804" y="4116344"/>
                </a:cubicBezTo>
                <a:cubicBezTo>
                  <a:pt x="11070316" y="4116344"/>
                  <a:pt x="11070316" y="4119871"/>
                  <a:pt x="11070316" y="4119871"/>
                </a:cubicBezTo>
                <a:cubicBezTo>
                  <a:pt x="11070316" y="4141032"/>
                  <a:pt x="11070316" y="4141032"/>
                  <a:pt x="11070316" y="4141032"/>
                </a:cubicBezTo>
                <a:cubicBezTo>
                  <a:pt x="11070316" y="4144559"/>
                  <a:pt x="11073804" y="4144559"/>
                  <a:pt x="11077291" y="4148086"/>
                </a:cubicBezTo>
                <a:cubicBezTo>
                  <a:pt x="11087754" y="4148086"/>
                  <a:pt x="11108678" y="4151612"/>
                  <a:pt x="11122628" y="4151612"/>
                </a:cubicBezTo>
                <a:cubicBezTo>
                  <a:pt x="11126116" y="4151612"/>
                  <a:pt x="11126116" y="4151612"/>
                  <a:pt x="11126116" y="4151612"/>
                </a:cubicBezTo>
                <a:cubicBezTo>
                  <a:pt x="11154016" y="4151612"/>
                  <a:pt x="11171453" y="4133978"/>
                  <a:pt x="11181916" y="4098710"/>
                </a:cubicBezTo>
                <a:cubicBezTo>
                  <a:pt x="11192378" y="4059915"/>
                  <a:pt x="11206329" y="4007013"/>
                  <a:pt x="11213303" y="3968218"/>
                </a:cubicBezTo>
                <a:cubicBezTo>
                  <a:pt x="11220279" y="3950584"/>
                  <a:pt x="11223766" y="3936476"/>
                  <a:pt x="11227253" y="3925896"/>
                </a:cubicBezTo>
                <a:cubicBezTo>
                  <a:pt x="11230741" y="3904735"/>
                  <a:pt x="11230741" y="3904735"/>
                  <a:pt x="11230741" y="3904735"/>
                </a:cubicBezTo>
                <a:cubicBezTo>
                  <a:pt x="11230741" y="3901208"/>
                  <a:pt x="11230741" y="3901208"/>
                  <a:pt x="11230741" y="3897682"/>
                </a:cubicBezTo>
                <a:cubicBezTo>
                  <a:pt x="11227253" y="3897682"/>
                  <a:pt x="11227253" y="3897682"/>
                  <a:pt x="11223766" y="3897682"/>
                </a:cubicBezTo>
                <a:cubicBezTo>
                  <a:pt x="11195866" y="3897682"/>
                  <a:pt x="11195866" y="3897682"/>
                  <a:pt x="11195866" y="3897682"/>
                </a:cubicBezTo>
                <a:cubicBezTo>
                  <a:pt x="11192378" y="3897682"/>
                  <a:pt x="11188891" y="3897682"/>
                  <a:pt x="11188891" y="3901208"/>
                </a:cubicBezTo>
                <a:cubicBezTo>
                  <a:pt x="11150528" y="4045808"/>
                  <a:pt x="11150528" y="4045808"/>
                  <a:pt x="11150528" y="4045808"/>
                </a:cubicBezTo>
                <a:cubicBezTo>
                  <a:pt x="11147041" y="4045808"/>
                  <a:pt x="11147041" y="4045808"/>
                  <a:pt x="11147041" y="4045808"/>
                </a:cubicBezTo>
                <a:cubicBezTo>
                  <a:pt x="11112166" y="3901208"/>
                  <a:pt x="11112166" y="3901208"/>
                  <a:pt x="11112166" y="3901208"/>
                </a:cubicBezTo>
                <a:cubicBezTo>
                  <a:pt x="11108678" y="3897682"/>
                  <a:pt x="11108678" y="3897682"/>
                  <a:pt x="11105191" y="3897682"/>
                </a:cubicBezTo>
                <a:cubicBezTo>
                  <a:pt x="11077291" y="3897682"/>
                  <a:pt x="11077291" y="3897682"/>
                  <a:pt x="11077291" y="3897682"/>
                </a:cubicBezTo>
                <a:cubicBezTo>
                  <a:pt x="11073804" y="3897682"/>
                  <a:pt x="11070316" y="3897682"/>
                  <a:pt x="11070316" y="3897682"/>
                </a:cubicBezTo>
                <a:close/>
                <a:moveTo>
                  <a:pt x="11038289" y="3893651"/>
                </a:moveTo>
                <a:cubicBezTo>
                  <a:pt x="11017163" y="3893651"/>
                  <a:pt x="10999559" y="3907722"/>
                  <a:pt x="10985474" y="3914757"/>
                </a:cubicBezTo>
                <a:cubicBezTo>
                  <a:pt x="10985474" y="3904204"/>
                  <a:pt x="10985474" y="3904204"/>
                  <a:pt x="10985474" y="3904204"/>
                </a:cubicBezTo>
                <a:cubicBezTo>
                  <a:pt x="10985474" y="3897169"/>
                  <a:pt x="10981954" y="3897169"/>
                  <a:pt x="10978433" y="3897169"/>
                </a:cubicBezTo>
                <a:cubicBezTo>
                  <a:pt x="10950264" y="3897169"/>
                  <a:pt x="10950264" y="3897169"/>
                  <a:pt x="10950264" y="3897169"/>
                </a:cubicBezTo>
                <a:cubicBezTo>
                  <a:pt x="10946743" y="3897169"/>
                  <a:pt x="10943222" y="3897169"/>
                  <a:pt x="10943222" y="3904204"/>
                </a:cubicBezTo>
                <a:cubicBezTo>
                  <a:pt x="10943222" y="4080087"/>
                  <a:pt x="10943222" y="4080087"/>
                  <a:pt x="10943222" y="4080087"/>
                </a:cubicBezTo>
                <a:cubicBezTo>
                  <a:pt x="10943222" y="4083605"/>
                  <a:pt x="10946743" y="4087122"/>
                  <a:pt x="10950264" y="4087122"/>
                </a:cubicBezTo>
                <a:cubicBezTo>
                  <a:pt x="10978433" y="4087122"/>
                  <a:pt x="10978433" y="4087122"/>
                  <a:pt x="10978433" y="4087122"/>
                </a:cubicBezTo>
                <a:cubicBezTo>
                  <a:pt x="10981954" y="4087122"/>
                  <a:pt x="10985474" y="4083605"/>
                  <a:pt x="10985474" y="4080087"/>
                </a:cubicBezTo>
                <a:cubicBezTo>
                  <a:pt x="10985474" y="3956969"/>
                  <a:pt x="10985474" y="3956969"/>
                  <a:pt x="10985474" y="3956969"/>
                </a:cubicBezTo>
                <a:cubicBezTo>
                  <a:pt x="10992517" y="3953451"/>
                  <a:pt x="11013643" y="3935863"/>
                  <a:pt x="11038289" y="3935863"/>
                </a:cubicBezTo>
                <a:cubicBezTo>
                  <a:pt x="11041811" y="3932345"/>
                  <a:pt x="11045332" y="3932345"/>
                  <a:pt x="11045332" y="3928828"/>
                </a:cubicBezTo>
                <a:cubicBezTo>
                  <a:pt x="11045332" y="3900687"/>
                  <a:pt x="11045332" y="3900687"/>
                  <a:pt x="11045332" y="3900687"/>
                </a:cubicBezTo>
                <a:cubicBezTo>
                  <a:pt x="11045332" y="3900687"/>
                  <a:pt x="11045332" y="3897169"/>
                  <a:pt x="11041811" y="3897169"/>
                </a:cubicBezTo>
                <a:cubicBezTo>
                  <a:pt x="11041811" y="3893651"/>
                  <a:pt x="11038289" y="3893651"/>
                  <a:pt x="11038289" y="3893651"/>
                </a:cubicBezTo>
                <a:close/>
                <a:moveTo>
                  <a:pt x="10831647" y="3889620"/>
                </a:moveTo>
                <a:cubicBezTo>
                  <a:pt x="10810578" y="3889620"/>
                  <a:pt x="10775463" y="3896691"/>
                  <a:pt x="10761417" y="3896691"/>
                </a:cubicBezTo>
                <a:cubicBezTo>
                  <a:pt x="10757905" y="3896691"/>
                  <a:pt x="10754394" y="3900227"/>
                  <a:pt x="10754394" y="3903763"/>
                </a:cubicBezTo>
                <a:cubicBezTo>
                  <a:pt x="10754394" y="3903763"/>
                  <a:pt x="10754394" y="3903763"/>
                  <a:pt x="10754394" y="3928512"/>
                </a:cubicBezTo>
                <a:cubicBezTo>
                  <a:pt x="10754394" y="3932048"/>
                  <a:pt x="10754394" y="3932048"/>
                  <a:pt x="10757905" y="3935584"/>
                </a:cubicBezTo>
                <a:cubicBezTo>
                  <a:pt x="10757905" y="3935584"/>
                  <a:pt x="10761417" y="3935584"/>
                  <a:pt x="10761417" y="3935584"/>
                </a:cubicBezTo>
                <a:cubicBezTo>
                  <a:pt x="10778974" y="3935584"/>
                  <a:pt x="10807067" y="3932048"/>
                  <a:pt x="10828136" y="3932048"/>
                </a:cubicBezTo>
                <a:cubicBezTo>
                  <a:pt x="10842182" y="3932048"/>
                  <a:pt x="10852717" y="3942655"/>
                  <a:pt x="10852717" y="3956798"/>
                </a:cubicBezTo>
                <a:cubicBezTo>
                  <a:pt x="10852717" y="3956798"/>
                  <a:pt x="10852717" y="3956798"/>
                  <a:pt x="10852717" y="3967405"/>
                </a:cubicBezTo>
                <a:cubicBezTo>
                  <a:pt x="10852717" y="3967405"/>
                  <a:pt x="10852717" y="3967405"/>
                  <a:pt x="10803555" y="3970941"/>
                </a:cubicBezTo>
                <a:cubicBezTo>
                  <a:pt x="10761417" y="3974476"/>
                  <a:pt x="10740347" y="3992154"/>
                  <a:pt x="10740347" y="4031046"/>
                </a:cubicBezTo>
                <a:cubicBezTo>
                  <a:pt x="10740347" y="4069938"/>
                  <a:pt x="10761417" y="4091152"/>
                  <a:pt x="10796532" y="4091152"/>
                </a:cubicBezTo>
                <a:cubicBezTo>
                  <a:pt x="10824625" y="4091152"/>
                  <a:pt x="10859740" y="4077009"/>
                  <a:pt x="10859740" y="4077009"/>
                </a:cubicBezTo>
                <a:cubicBezTo>
                  <a:pt x="10866763" y="4084081"/>
                  <a:pt x="10873786" y="4087616"/>
                  <a:pt x="10887833" y="4091152"/>
                </a:cubicBezTo>
                <a:cubicBezTo>
                  <a:pt x="10891344" y="4091152"/>
                  <a:pt x="10891344" y="4091152"/>
                  <a:pt x="10894855" y="4087616"/>
                </a:cubicBezTo>
                <a:cubicBezTo>
                  <a:pt x="10894855" y="4087616"/>
                  <a:pt x="10894855" y="4084081"/>
                  <a:pt x="10894855" y="4084081"/>
                </a:cubicBezTo>
                <a:cubicBezTo>
                  <a:pt x="10894855" y="4084081"/>
                  <a:pt x="10894855" y="4084081"/>
                  <a:pt x="10894855" y="3956798"/>
                </a:cubicBezTo>
                <a:cubicBezTo>
                  <a:pt x="10894855" y="3910834"/>
                  <a:pt x="10873786" y="3889620"/>
                  <a:pt x="10831647" y="3889620"/>
                </a:cubicBezTo>
                <a:close/>
                <a:moveTo>
                  <a:pt x="10495822" y="3889619"/>
                </a:moveTo>
                <a:cubicBezTo>
                  <a:pt x="10448333" y="3889619"/>
                  <a:pt x="10409835" y="3934734"/>
                  <a:pt x="10409835" y="3990386"/>
                </a:cubicBezTo>
                <a:cubicBezTo>
                  <a:pt x="10409835" y="4046038"/>
                  <a:pt x="10448333" y="4091152"/>
                  <a:pt x="10495822" y="4091152"/>
                </a:cubicBezTo>
                <a:cubicBezTo>
                  <a:pt x="10543311" y="4091152"/>
                  <a:pt x="10581809" y="4046038"/>
                  <a:pt x="10581809" y="3990386"/>
                </a:cubicBezTo>
                <a:cubicBezTo>
                  <a:pt x="10581809" y="3934734"/>
                  <a:pt x="10543311" y="3889619"/>
                  <a:pt x="10495822" y="3889619"/>
                </a:cubicBezTo>
                <a:close/>
                <a:moveTo>
                  <a:pt x="10241892" y="3865436"/>
                </a:moveTo>
                <a:cubicBezTo>
                  <a:pt x="10248859" y="3865436"/>
                  <a:pt x="10255825" y="3865436"/>
                  <a:pt x="10273241" y="3865436"/>
                </a:cubicBezTo>
                <a:cubicBezTo>
                  <a:pt x="10273241" y="3865436"/>
                  <a:pt x="10273241" y="3865436"/>
                  <a:pt x="10290657" y="3865436"/>
                </a:cubicBezTo>
                <a:cubicBezTo>
                  <a:pt x="10322007" y="3865436"/>
                  <a:pt x="10335940" y="3886689"/>
                  <a:pt x="10335940" y="3904400"/>
                </a:cubicBezTo>
                <a:cubicBezTo>
                  <a:pt x="10335940" y="3929194"/>
                  <a:pt x="10318523" y="3943362"/>
                  <a:pt x="10287174" y="3943362"/>
                </a:cubicBezTo>
                <a:cubicBezTo>
                  <a:pt x="10266274" y="3943362"/>
                  <a:pt x="10248859" y="3943362"/>
                  <a:pt x="10241892" y="3943362"/>
                </a:cubicBezTo>
                <a:cubicBezTo>
                  <a:pt x="10241892" y="3943362"/>
                  <a:pt x="10241892" y="3943362"/>
                  <a:pt x="10241892" y="3865436"/>
                </a:cubicBezTo>
                <a:close/>
                <a:moveTo>
                  <a:pt x="10659063" y="3852001"/>
                </a:moveTo>
                <a:cubicBezTo>
                  <a:pt x="10659063" y="3852001"/>
                  <a:pt x="10659063" y="3852001"/>
                  <a:pt x="10627410" y="3859035"/>
                </a:cubicBezTo>
                <a:cubicBezTo>
                  <a:pt x="10623893" y="3859035"/>
                  <a:pt x="10623893" y="3862552"/>
                  <a:pt x="10623893" y="3866069"/>
                </a:cubicBezTo>
                <a:cubicBezTo>
                  <a:pt x="10623893" y="3866069"/>
                  <a:pt x="10623893" y="3866069"/>
                  <a:pt x="10623893" y="3897721"/>
                </a:cubicBezTo>
                <a:cubicBezTo>
                  <a:pt x="10623893" y="3897721"/>
                  <a:pt x="10623893" y="3897721"/>
                  <a:pt x="10606308" y="3897721"/>
                </a:cubicBezTo>
                <a:cubicBezTo>
                  <a:pt x="10602792" y="3897721"/>
                  <a:pt x="10599275" y="3897721"/>
                  <a:pt x="10599275" y="3904755"/>
                </a:cubicBezTo>
                <a:cubicBezTo>
                  <a:pt x="10599275" y="3904755"/>
                  <a:pt x="10599275" y="3904755"/>
                  <a:pt x="10599275" y="3929373"/>
                </a:cubicBezTo>
                <a:cubicBezTo>
                  <a:pt x="10599275" y="3932891"/>
                  <a:pt x="10602792" y="3936407"/>
                  <a:pt x="10606308" y="3936407"/>
                </a:cubicBezTo>
                <a:cubicBezTo>
                  <a:pt x="10606308" y="3936407"/>
                  <a:pt x="10606308" y="3936407"/>
                  <a:pt x="10623893" y="3936407"/>
                </a:cubicBezTo>
                <a:cubicBezTo>
                  <a:pt x="10623893" y="3936407"/>
                  <a:pt x="10623893" y="3936407"/>
                  <a:pt x="10623893" y="4020814"/>
                </a:cubicBezTo>
                <a:cubicBezTo>
                  <a:pt x="10623893" y="4073567"/>
                  <a:pt x="10637961" y="4091152"/>
                  <a:pt x="10680164" y="4091152"/>
                </a:cubicBezTo>
                <a:cubicBezTo>
                  <a:pt x="10690715" y="4091152"/>
                  <a:pt x="10701266" y="4087636"/>
                  <a:pt x="10711817" y="4087636"/>
                </a:cubicBezTo>
                <a:cubicBezTo>
                  <a:pt x="10715334" y="4087636"/>
                  <a:pt x="10718851" y="4084119"/>
                  <a:pt x="10718851" y="4080601"/>
                </a:cubicBezTo>
                <a:cubicBezTo>
                  <a:pt x="10718851" y="4080601"/>
                  <a:pt x="10718851" y="4080601"/>
                  <a:pt x="10718851" y="4055983"/>
                </a:cubicBezTo>
                <a:cubicBezTo>
                  <a:pt x="10718851" y="4052466"/>
                  <a:pt x="10715334" y="4048949"/>
                  <a:pt x="10711817" y="4048949"/>
                </a:cubicBezTo>
                <a:cubicBezTo>
                  <a:pt x="10704783" y="4048949"/>
                  <a:pt x="10694232" y="4048949"/>
                  <a:pt x="10687198" y="4048949"/>
                </a:cubicBezTo>
                <a:cubicBezTo>
                  <a:pt x="10666096" y="4048949"/>
                  <a:pt x="10666096" y="4041915"/>
                  <a:pt x="10666096" y="4013780"/>
                </a:cubicBezTo>
                <a:cubicBezTo>
                  <a:pt x="10666096" y="4013780"/>
                  <a:pt x="10666096" y="4013780"/>
                  <a:pt x="10666096" y="3936407"/>
                </a:cubicBezTo>
                <a:cubicBezTo>
                  <a:pt x="10666096" y="3936407"/>
                  <a:pt x="10666096" y="3936407"/>
                  <a:pt x="10711817" y="3936407"/>
                </a:cubicBezTo>
                <a:cubicBezTo>
                  <a:pt x="10715334" y="3936407"/>
                  <a:pt x="10718851" y="3932891"/>
                  <a:pt x="10718851" y="3929373"/>
                </a:cubicBezTo>
                <a:cubicBezTo>
                  <a:pt x="10718851" y="3929373"/>
                  <a:pt x="10718851" y="3929373"/>
                  <a:pt x="10718851" y="3904755"/>
                </a:cubicBezTo>
                <a:cubicBezTo>
                  <a:pt x="10718851" y="3897721"/>
                  <a:pt x="10715334" y="3897721"/>
                  <a:pt x="10711817" y="3897721"/>
                </a:cubicBezTo>
                <a:cubicBezTo>
                  <a:pt x="10711817" y="3897721"/>
                  <a:pt x="10711817" y="3897721"/>
                  <a:pt x="10666096" y="3897721"/>
                </a:cubicBezTo>
                <a:cubicBezTo>
                  <a:pt x="10666096" y="3897721"/>
                  <a:pt x="10666096" y="3897721"/>
                  <a:pt x="10666096" y="3859035"/>
                </a:cubicBezTo>
                <a:cubicBezTo>
                  <a:pt x="10666096" y="3855518"/>
                  <a:pt x="10666096" y="3855518"/>
                  <a:pt x="10662580" y="3852001"/>
                </a:cubicBezTo>
                <a:cubicBezTo>
                  <a:pt x="10662580" y="3852001"/>
                  <a:pt x="10659063" y="3852001"/>
                  <a:pt x="10659063" y="3852001"/>
                </a:cubicBezTo>
                <a:close/>
                <a:moveTo>
                  <a:pt x="10283668" y="3823787"/>
                </a:moveTo>
                <a:cubicBezTo>
                  <a:pt x="10273174" y="3823787"/>
                  <a:pt x="10241689" y="3823787"/>
                  <a:pt x="10203208" y="3827298"/>
                </a:cubicBezTo>
                <a:cubicBezTo>
                  <a:pt x="10199710" y="3827298"/>
                  <a:pt x="10196211" y="3830809"/>
                  <a:pt x="10196211" y="3834320"/>
                </a:cubicBezTo>
                <a:cubicBezTo>
                  <a:pt x="10196211" y="3834320"/>
                  <a:pt x="10196211" y="3834320"/>
                  <a:pt x="10196211" y="4080100"/>
                </a:cubicBezTo>
                <a:cubicBezTo>
                  <a:pt x="10196211" y="4083611"/>
                  <a:pt x="10199710" y="4087122"/>
                  <a:pt x="10203208" y="4087122"/>
                </a:cubicBezTo>
                <a:cubicBezTo>
                  <a:pt x="10203208" y="4087122"/>
                  <a:pt x="10203208" y="4087122"/>
                  <a:pt x="10234693" y="4087122"/>
                </a:cubicBezTo>
                <a:cubicBezTo>
                  <a:pt x="10238191" y="4087122"/>
                  <a:pt x="10241689" y="4083611"/>
                  <a:pt x="10241689" y="4080100"/>
                </a:cubicBezTo>
                <a:cubicBezTo>
                  <a:pt x="10241689" y="4080100"/>
                  <a:pt x="10241689" y="4080100"/>
                  <a:pt x="10241689" y="3981788"/>
                </a:cubicBezTo>
                <a:cubicBezTo>
                  <a:pt x="10252184" y="3985299"/>
                  <a:pt x="10269675" y="3985299"/>
                  <a:pt x="10290665" y="3985299"/>
                </a:cubicBezTo>
                <a:cubicBezTo>
                  <a:pt x="10290665" y="3985299"/>
                  <a:pt x="10290665" y="3985299"/>
                  <a:pt x="10336143" y="4083611"/>
                </a:cubicBezTo>
                <a:cubicBezTo>
                  <a:pt x="10336143" y="4083611"/>
                  <a:pt x="10339641" y="4087122"/>
                  <a:pt x="10343139" y="4087122"/>
                </a:cubicBezTo>
                <a:cubicBezTo>
                  <a:pt x="10343139" y="4087122"/>
                  <a:pt x="10343139" y="4087122"/>
                  <a:pt x="10374624" y="4087122"/>
                </a:cubicBezTo>
                <a:cubicBezTo>
                  <a:pt x="10378122" y="4087122"/>
                  <a:pt x="10381620" y="4083611"/>
                  <a:pt x="10381620" y="4083611"/>
                </a:cubicBezTo>
                <a:cubicBezTo>
                  <a:pt x="10381620" y="4080100"/>
                  <a:pt x="10381620" y="4080100"/>
                  <a:pt x="10381620" y="4076589"/>
                </a:cubicBezTo>
                <a:lnTo>
                  <a:pt x="10336143" y="3971255"/>
                </a:lnTo>
                <a:cubicBezTo>
                  <a:pt x="10367627" y="3957210"/>
                  <a:pt x="10381620" y="3936143"/>
                  <a:pt x="10381620" y="3904543"/>
                </a:cubicBezTo>
                <a:cubicBezTo>
                  <a:pt x="10381620" y="3865920"/>
                  <a:pt x="10364129" y="3823787"/>
                  <a:pt x="10290665" y="3823787"/>
                </a:cubicBezTo>
                <a:cubicBezTo>
                  <a:pt x="10290665" y="3823787"/>
                  <a:pt x="10287167" y="3823787"/>
                  <a:pt x="10283668" y="3823787"/>
                </a:cubicBezTo>
                <a:close/>
                <a:moveTo>
                  <a:pt x="11839186" y="3792865"/>
                </a:moveTo>
                <a:cubicBezTo>
                  <a:pt x="11841365" y="3793306"/>
                  <a:pt x="11843980" y="3795069"/>
                  <a:pt x="11845722" y="3798596"/>
                </a:cubicBezTo>
                <a:cubicBezTo>
                  <a:pt x="11901498" y="3855026"/>
                  <a:pt x="11929385" y="3946723"/>
                  <a:pt x="11908470" y="4038420"/>
                </a:cubicBezTo>
                <a:cubicBezTo>
                  <a:pt x="11908470" y="4041947"/>
                  <a:pt x="11904984" y="4045473"/>
                  <a:pt x="11898012" y="4041947"/>
                </a:cubicBezTo>
                <a:cubicBezTo>
                  <a:pt x="11898012" y="4041947"/>
                  <a:pt x="11898012" y="4041947"/>
                  <a:pt x="11859666" y="4031366"/>
                </a:cubicBezTo>
                <a:cubicBezTo>
                  <a:pt x="11856180" y="4031366"/>
                  <a:pt x="11852694" y="4027839"/>
                  <a:pt x="11852694" y="4020786"/>
                </a:cubicBezTo>
                <a:cubicBezTo>
                  <a:pt x="11866638" y="3946723"/>
                  <a:pt x="11849208" y="3886766"/>
                  <a:pt x="11807377" y="3840918"/>
                </a:cubicBezTo>
                <a:cubicBezTo>
                  <a:pt x="11800405" y="3837392"/>
                  <a:pt x="11800405" y="3830337"/>
                  <a:pt x="11807377" y="3826811"/>
                </a:cubicBezTo>
                <a:cubicBezTo>
                  <a:pt x="11807377" y="3826811"/>
                  <a:pt x="11807377" y="3826811"/>
                  <a:pt x="11835264" y="3795069"/>
                </a:cubicBezTo>
                <a:cubicBezTo>
                  <a:pt x="11835264" y="3793306"/>
                  <a:pt x="11837008" y="3792424"/>
                  <a:pt x="11839186" y="3792865"/>
                </a:cubicBezTo>
                <a:close/>
                <a:moveTo>
                  <a:pt x="11458923" y="3792865"/>
                </a:moveTo>
                <a:cubicBezTo>
                  <a:pt x="11461124" y="3792424"/>
                  <a:pt x="11462885" y="3793306"/>
                  <a:pt x="11462885" y="3795069"/>
                </a:cubicBezTo>
                <a:cubicBezTo>
                  <a:pt x="11462885" y="3795069"/>
                  <a:pt x="11462885" y="3795069"/>
                  <a:pt x="11494585" y="3826811"/>
                </a:cubicBezTo>
                <a:cubicBezTo>
                  <a:pt x="11498108" y="3830337"/>
                  <a:pt x="11498108" y="3837392"/>
                  <a:pt x="11491063" y="3840918"/>
                </a:cubicBezTo>
                <a:cubicBezTo>
                  <a:pt x="11448796" y="3886766"/>
                  <a:pt x="11431184" y="3946723"/>
                  <a:pt x="11445274" y="4020786"/>
                </a:cubicBezTo>
                <a:cubicBezTo>
                  <a:pt x="11445274" y="4027839"/>
                  <a:pt x="11441752" y="4031366"/>
                  <a:pt x="11438229" y="4031366"/>
                </a:cubicBezTo>
                <a:cubicBezTo>
                  <a:pt x="11438229" y="4031366"/>
                  <a:pt x="11438229" y="4031366"/>
                  <a:pt x="11399484" y="4041947"/>
                </a:cubicBezTo>
                <a:cubicBezTo>
                  <a:pt x="11392439" y="4045473"/>
                  <a:pt x="11388917" y="4041947"/>
                  <a:pt x="11388917" y="4038420"/>
                </a:cubicBezTo>
                <a:cubicBezTo>
                  <a:pt x="11367783" y="3946723"/>
                  <a:pt x="11395962" y="3855026"/>
                  <a:pt x="11452318" y="3798596"/>
                </a:cubicBezTo>
                <a:cubicBezTo>
                  <a:pt x="11454079" y="3795069"/>
                  <a:pt x="11456721" y="3793306"/>
                  <a:pt x="11458923" y="3792865"/>
                </a:cubicBezTo>
                <a:close/>
                <a:moveTo>
                  <a:pt x="11677605" y="3787511"/>
                </a:moveTo>
                <a:cubicBezTo>
                  <a:pt x="11681098" y="3787511"/>
                  <a:pt x="11681098" y="3787511"/>
                  <a:pt x="11684592" y="3787511"/>
                </a:cubicBezTo>
                <a:cubicBezTo>
                  <a:pt x="11730003" y="3798107"/>
                  <a:pt x="11761442" y="3815764"/>
                  <a:pt x="11792882" y="3851080"/>
                </a:cubicBezTo>
                <a:cubicBezTo>
                  <a:pt x="11796375" y="3854612"/>
                  <a:pt x="11796375" y="3854612"/>
                  <a:pt x="11796375" y="3858144"/>
                </a:cubicBezTo>
                <a:cubicBezTo>
                  <a:pt x="11796375" y="3861675"/>
                  <a:pt x="11792882" y="3861675"/>
                  <a:pt x="11789388" y="3865207"/>
                </a:cubicBezTo>
                <a:cubicBezTo>
                  <a:pt x="11789388" y="3865207"/>
                  <a:pt x="11789388" y="3865207"/>
                  <a:pt x="11698565" y="3911118"/>
                </a:cubicBezTo>
                <a:cubicBezTo>
                  <a:pt x="11695071" y="3911118"/>
                  <a:pt x="11691578" y="3911118"/>
                  <a:pt x="11688084" y="3911118"/>
                </a:cubicBezTo>
                <a:cubicBezTo>
                  <a:pt x="11684592" y="3907586"/>
                  <a:pt x="11684592" y="3904054"/>
                  <a:pt x="11681098" y="3900523"/>
                </a:cubicBezTo>
                <a:cubicBezTo>
                  <a:pt x="11681098" y="3900523"/>
                  <a:pt x="11681098" y="3900523"/>
                  <a:pt x="11674112" y="3798107"/>
                </a:cubicBezTo>
                <a:cubicBezTo>
                  <a:pt x="11674112" y="3794575"/>
                  <a:pt x="11674112" y="3791043"/>
                  <a:pt x="11677605" y="3787511"/>
                </a:cubicBezTo>
                <a:close/>
                <a:moveTo>
                  <a:pt x="11613922" y="3787511"/>
                </a:moveTo>
                <a:cubicBezTo>
                  <a:pt x="11617414" y="3787511"/>
                  <a:pt x="11617414" y="3787511"/>
                  <a:pt x="11620908" y="3787511"/>
                </a:cubicBezTo>
                <a:cubicBezTo>
                  <a:pt x="11620908" y="3791043"/>
                  <a:pt x="11624401" y="3794575"/>
                  <a:pt x="11624401" y="3798107"/>
                </a:cubicBezTo>
                <a:cubicBezTo>
                  <a:pt x="11624401" y="3798107"/>
                  <a:pt x="11624401" y="3798107"/>
                  <a:pt x="11613922" y="3904054"/>
                </a:cubicBezTo>
                <a:cubicBezTo>
                  <a:pt x="11613922" y="3907586"/>
                  <a:pt x="11613922" y="3911118"/>
                  <a:pt x="11610428" y="3911118"/>
                </a:cubicBezTo>
                <a:cubicBezTo>
                  <a:pt x="11606935" y="3911118"/>
                  <a:pt x="11603442" y="3911118"/>
                  <a:pt x="11599949" y="3911118"/>
                </a:cubicBezTo>
                <a:cubicBezTo>
                  <a:pt x="11599949" y="3911118"/>
                  <a:pt x="11599949" y="3911118"/>
                  <a:pt x="11509124" y="3865207"/>
                </a:cubicBezTo>
                <a:cubicBezTo>
                  <a:pt x="11505632" y="3865207"/>
                  <a:pt x="11502138" y="3861675"/>
                  <a:pt x="11502138" y="3858144"/>
                </a:cubicBezTo>
                <a:cubicBezTo>
                  <a:pt x="11502138" y="3858144"/>
                  <a:pt x="11502138" y="3854612"/>
                  <a:pt x="11505632" y="3851080"/>
                </a:cubicBezTo>
                <a:cubicBezTo>
                  <a:pt x="11537070" y="3819296"/>
                  <a:pt x="11568509" y="3798107"/>
                  <a:pt x="11613922" y="3787511"/>
                </a:cubicBezTo>
                <a:close/>
                <a:moveTo>
                  <a:pt x="11532772" y="3752579"/>
                </a:moveTo>
                <a:cubicBezTo>
                  <a:pt x="11536265" y="3752579"/>
                  <a:pt x="11539758" y="3756274"/>
                  <a:pt x="11539758" y="3759969"/>
                </a:cubicBezTo>
                <a:cubicBezTo>
                  <a:pt x="11539758" y="3763664"/>
                  <a:pt x="11539758" y="3763664"/>
                  <a:pt x="11536265" y="3763664"/>
                </a:cubicBezTo>
                <a:cubicBezTo>
                  <a:pt x="11536265" y="3763664"/>
                  <a:pt x="11536265" y="3763664"/>
                  <a:pt x="11529278" y="3767359"/>
                </a:cubicBezTo>
                <a:cubicBezTo>
                  <a:pt x="11529278" y="3767359"/>
                  <a:pt x="11529278" y="3767359"/>
                  <a:pt x="11525785" y="3759969"/>
                </a:cubicBezTo>
                <a:cubicBezTo>
                  <a:pt x="11525785" y="3759969"/>
                  <a:pt x="11525785" y="3759969"/>
                  <a:pt x="11522292" y="3759969"/>
                </a:cubicBezTo>
                <a:cubicBezTo>
                  <a:pt x="11525785" y="3756274"/>
                  <a:pt x="11529278" y="3756274"/>
                  <a:pt x="11532772" y="3752579"/>
                </a:cubicBezTo>
                <a:close/>
                <a:moveTo>
                  <a:pt x="11529297" y="3745382"/>
                </a:moveTo>
                <a:cubicBezTo>
                  <a:pt x="11525746" y="3748932"/>
                  <a:pt x="11518645" y="3752484"/>
                  <a:pt x="11511543" y="3756034"/>
                </a:cubicBezTo>
                <a:cubicBezTo>
                  <a:pt x="11511543" y="3756034"/>
                  <a:pt x="11511543" y="3756034"/>
                  <a:pt x="11515094" y="3759585"/>
                </a:cubicBezTo>
                <a:lnTo>
                  <a:pt x="11532848" y="3791543"/>
                </a:lnTo>
                <a:cubicBezTo>
                  <a:pt x="11536399" y="3791543"/>
                  <a:pt x="11536399" y="3787991"/>
                  <a:pt x="11539950" y="3787991"/>
                </a:cubicBezTo>
                <a:cubicBezTo>
                  <a:pt x="11539950" y="3787991"/>
                  <a:pt x="11539950" y="3787991"/>
                  <a:pt x="11532848" y="3773788"/>
                </a:cubicBezTo>
                <a:cubicBezTo>
                  <a:pt x="11532848" y="3773788"/>
                  <a:pt x="11532848" y="3773788"/>
                  <a:pt x="11539950" y="3770238"/>
                </a:cubicBezTo>
                <a:cubicBezTo>
                  <a:pt x="11539950" y="3770238"/>
                  <a:pt x="11539950" y="3770238"/>
                  <a:pt x="11554153" y="3780890"/>
                </a:cubicBezTo>
                <a:cubicBezTo>
                  <a:pt x="11557704" y="3777339"/>
                  <a:pt x="11557704" y="3777339"/>
                  <a:pt x="11561255" y="3777339"/>
                </a:cubicBezTo>
                <a:cubicBezTo>
                  <a:pt x="11561255" y="3777339"/>
                  <a:pt x="11561255" y="3777339"/>
                  <a:pt x="11547052" y="3763136"/>
                </a:cubicBezTo>
                <a:cubicBezTo>
                  <a:pt x="11547052" y="3763136"/>
                  <a:pt x="11547052" y="3763136"/>
                  <a:pt x="11547052" y="3759585"/>
                </a:cubicBezTo>
                <a:cubicBezTo>
                  <a:pt x="11550602" y="3752484"/>
                  <a:pt x="11539950" y="3741831"/>
                  <a:pt x="11529297" y="3745382"/>
                </a:cubicBezTo>
                <a:close/>
                <a:moveTo>
                  <a:pt x="11750205" y="3739144"/>
                </a:moveTo>
                <a:cubicBezTo>
                  <a:pt x="11753748" y="3763328"/>
                  <a:pt x="11753748" y="3763328"/>
                  <a:pt x="11753748" y="3763328"/>
                </a:cubicBezTo>
                <a:cubicBezTo>
                  <a:pt x="11746663" y="3780602"/>
                  <a:pt x="11746663" y="3780602"/>
                  <a:pt x="11746663" y="3780602"/>
                </a:cubicBezTo>
                <a:lnTo>
                  <a:pt x="11753748" y="3787511"/>
                </a:lnTo>
                <a:cubicBezTo>
                  <a:pt x="11760832" y="3770237"/>
                  <a:pt x="11760832" y="3770237"/>
                  <a:pt x="11760832" y="3770237"/>
                </a:cubicBezTo>
                <a:cubicBezTo>
                  <a:pt x="11785626" y="3756418"/>
                  <a:pt x="11785626" y="3756418"/>
                  <a:pt x="11785626" y="3756418"/>
                </a:cubicBezTo>
                <a:cubicBezTo>
                  <a:pt x="11785626" y="3756418"/>
                  <a:pt x="11782084" y="3752963"/>
                  <a:pt x="11778543" y="3752963"/>
                </a:cubicBezTo>
                <a:cubicBezTo>
                  <a:pt x="11760832" y="3759873"/>
                  <a:pt x="11760832" y="3759873"/>
                  <a:pt x="11760832" y="3759873"/>
                </a:cubicBezTo>
                <a:cubicBezTo>
                  <a:pt x="11757290" y="3742598"/>
                  <a:pt x="11757290" y="3742598"/>
                  <a:pt x="11757290" y="3742598"/>
                </a:cubicBezTo>
                <a:cubicBezTo>
                  <a:pt x="11753748" y="3739144"/>
                  <a:pt x="11753748" y="3739144"/>
                  <a:pt x="11750205" y="3739144"/>
                </a:cubicBezTo>
                <a:close/>
                <a:moveTo>
                  <a:pt x="11715224" y="3735114"/>
                </a:moveTo>
                <a:cubicBezTo>
                  <a:pt x="11718717" y="3735114"/>
                  <a:pt x="11722211" y="3735114"/>
                  <a:pt x="11725705" y="3738473"/>
                </a:cubicBezTo>
                <a:cubicBezTo>
                  <a:pt x="11725705" y="3738473"/>
                  <a:pt x="11729197" y="3738473"/>
                  <a:pt x="11729197" y="3741832"/>
                </a:cubicBezTo>
                <a:cubicBezTo>
                  <a:pt x="11729197" y="3745190"/>
                  <a:pt x="11725705" y="3748549"/>
                  <a:pt x="11722211" y="3748549"/>
                </a:cubicBezTo>
                <a:cubicBezTo>
                  <a:pt x="11722211" y="3748549"/>
                  <a:pt x="11722211" y="3748549"/>
                  <a:pt x="11711731" y="3745190"/>
                </a:cubicBezTo>
                <a:lnTo>
                  <a:pt x="11711731" y="3741832"/>
                </a:lnTo>
                <a:cubicBezTo>
                  <a:pt x="11711731" y="3741832"/>
                  <a:pt x="11711731" y="3741832"/>
                  <a:pt x="11715224" y="3735114"/>
                </a:cubicBezTo>
                <a:close/>
                <a:moveTo>
                  <a:pt x="11582079" y="3734609"/>
                </a:moveTo>
                <a:cubicBezTo>
                  <a:pt x="11589134" y="3731082"/>
                  <a:pt x="11596187" y="3738137"/>
                  <a:pt x="11596187" y="3745190"/>
                </a:cubicBezTo>
                <a:cubicBezTo>
                  <a:pt x="11596187" y="3752244"/>
                  <a:pt x="11589134" y="3759297"/>
                  <a:pt x="11582079" y="3759297"/>
                </a:cubicBezTo>
                <a:cubicBezTo>
                  <a:pt x="11575026" y="3759297"/>
                  <a:pt x="11567972" y="3755771"/>
                  <a:pt x="11567972" y="3748717"/>
                </a:cubicBezTo>
                <a:cubicBezTo>
                  <a:pt x="11567972" y="3748717"/>
                  <a:pt x="11567972" y="3748717"/>
                  <a:pt x="11567972" y="3745190"/>
                </a:cubicBezTo>
                <a:cubicBezTo>
                  <a:pt x="11567972" y="3738137"/>
                  <a:pt x="11575026" y="3734609"/>
                  <a:pt x="11582079" y="3734609"/>
                </a:cubicBezTo>
                <a:close/>
                <a:moveTo>
                  <a:pt x="11670081" y="3728395"/>
                </a:moveTo>
                <a:cubicBezTo>
                  <a:pt x="11670081" y="3728395"/>
                  <a:pt x="11670081" y="3728395"/>
                  <a:pt x="11673440" y="3738875"/>
                </a:cubicBezTo>
                <a:cubicBezTo>
                  <a:pt x="11673440" y="3738875"/>
                  <a:pt x="11673440" y="3738875"/>
                  <a:pt x="11676799" y="3745862"/>
                </a:cubicBezTo>
                <a:cubicBezTo>
                  <a:pt x="11673440" y="3745862"/>
                  <a:pt x="11666722" y="3745862"/>
                  <a:pt x="11663363" y="3745862"/>
                </a:cubicBezTo>
                <a:lnTo>
                  <a:pt x="11666722" y="3738875"/>
                </a:lnTo>
                <a:cubicBezTo>
                  <a:pt x="11666722" y="3738875"/>
                  <a:pt x="11666722" y="3738875"/>
                  <a:pt x="11670081" y="3728395"/>
                </a:cubicBezTo>
                <a:close/>
                <a:moveTo>
                  <a:pt x="11578609" y="3727879"/>
                </a:moveTo>
                <a:cubicBezTo>
                  <a:pt x="11568195" y="3727879"/>
                  <a:pt x="11561254" y="3734907"/>
                  <a:pt x="11561254" y="3745449"/>
                </a:cubicBezTo>
                <a:cubicBezTo>
                  <a:pt x="11561254" y="3748962"/>
                  <a:pt x="11561254" y="3748962"/>
                  <a:pt x="11561254" y="3748962"/>
                </a:cubicBezTo>
                <a:cubicBezTo>
                  <a:pt x="11561254" y="3759504"/>
                  <a:pt x="11571666" y="3770046"/>
                  <a:pt x="11582079" y="3766532"/>
                </a:cubicBezTo>
                <a:cubicBezTo>
                  <a:pt x="11595963" y="3766532"/>
                  <a:pt x="11602904" y="3759504"/>
                  <a:pt x="11602904" y="3745449"/>
                </a:cubicBezTo>
                <a:cubicBezTo>
                  <a:pt x="11602904" y="3734907"/>
                  <a:pt x="11592492" y="3724365"/>
                  <a:pt x="11578609" y="3727879"/>
                </a:cubicBezTo>
                <a:close/>
                <a:moveTo>
                  <a:pt x="11708922" y="3724365"/>
                </a:moveTo>
                <a:cubicBezTo>
                  <a:pt x="11708922" y="3724365"/>
                  <a:pt x="11708922" y="3724365"/>
                  <a:pt x="11705380" y="3742119"/>
                </a:cubicBezTo>
                <a:cubicBezTo>
                  <a:pt x="11705380" y="3742119"/>
                  <a:pt x="11705380" y="3742119"/>
                  <a:pt x="11698296" y="3763424"/>
                </a:cubicBezTo>
                <a:cubicBezTo>
                  <a:pt x="11701837" y="3766975"/>
                  <a:pt x="11705380" y="3766975"/>
                  <a:pt x="11708922" y="3766975"/>
                </a:cubicBezTo>
                <a:lnTo>
                  <a:pt x="11712464" y="3752772"/>
                </a:lnTo>
                <a:cubicBezTo>
                  <a:pt x="11712464" y="3752772"/>
                  <a:pt x="11712464" y="3752772"/>
                  <a:pt x="11719548" y="3752772"/>
                </a:cubicBezTo>
                <a:cubicBezTo>
                  <a:pt x="11719548" y="3752772"/>
                  <a:pt x="11719548" y="3752772"/>
                  <a:pt x="11723090" y="3770526"/>
                </a:cubicBezTo>
                <a:cubicBezTo>
                  <a:pt x="11726632" y="3774077"/>
                  <a:pt x="11726632" y="3774077"/>
                  <a:pt x="11730175" y="3774077"/>
                </a:cubicBezTo>
                <a:cubicBezTo>
                  <a:pt x="11730175" y="3774077"/>
                  <a:pt x="11730175" y="3774077"/>
                  <a:pt x="11726632" y="3756323"/>
                </a:cubicBezTo>
                <a:cubicBezTo>
                  <a:pt x="11733717" y="3752772"/>
                  <a:pt x="11737259" y="3745670"/>
                  <a:pt x="11737259" y="3742119"/>
                </a:cubicBezTo>
                <a:cubicBezTo>
                  <a:pt x="11737259" y="3735018"/>
                  <a:pt x="11733717" y="3731467"/>
                  <a:pt x="11730175" y="3731467"/>
                </a:cubicBezTo>
                <a:cubicBezTo>
                  <a:pt x="11723090" y="3727916"/>
                  <a:pt x="11716006" y="3724365"/>
                  <a:pt x="11708922" y="3724365"/>
                </a:cubicBezTo>
                <a:close/>
                <a:moveTo>
                  <a:pt x="11666295" y="3717647"/>
                </a:moveTo>
                <a:cubicBezTo>
                  <a:pt x="11666295" y="3717647"/>
                  <a:pt x="11666295" y="3717647"/>
                  <a:pt x="11659211" y="3738731"/>
                </a:cubicBezTo>
                <a:cubicBezTo>
                  <a:pt x="11659211" y="3738731"/>
                  <a:pt x="11659211" y="3738731"/>
                  <a:pt x="11648585" y="3759814"/>
                </a:cubicBezTo>
                <a:cubicBezTo>
                  <a:pt x="11652127" y="3759814"/>
                  <a:pt x="11652127" y="3759814"/>
                  <a:pt x="11655669" y="3759814"/>
                </a:cubicBezTo>
                <a:lnTo>
                  <a:pt x="11659211" y="3752786"/>
                </a:lnTo>
                <a:cubicBezTo>
                  <a:pt x="11666295" y="3752786"/>
                  <a:pt x="11669838" y="3752786"/>
                  <a:pt x="11676922" y="3752786"/>
                </a:cubicBezTo>
                <a:cubicBezTo>
                  <a:pt x="11676922" y="3752786"/>
                  <a:pt x="11676922" y="3752786"/>
                  <a:pt x="11680464" y="3759814"/>
                </a:cubicBezTo>
                <a:cubicBezTo>
                  <a:pt x="11684006" y="3759814"/>
                  <a:pt x="11684006" y="3763328"/>
                  <a:pt x="11687548" y="3763328"/>
                </a:cubicBezTo>
                <a:cubicBezTo>
                  <a:pt x="11687548" y="3763328"/>
                  <a:pt x="11687548" y="3763328"/>
                  <a:pt x="11680464" y="3738731"/>
                </a:cubicBezTo>
                <a:cubicBezTo>
                  <a:pt x="11680464" y="3738731"/>
                  <a:pt x="11680464" y="3738731"/>
                  <a:pt x="11676922" y="3717647"/>
                </a:cubicBezTo>
                <a:cubicBezTo>
                  <a:pt x="11676922" y="3717647"/>
                  <a:pt x="11676922" y="3717647"/>
                  <a:pt x="11666295" y="3717647"/>
                </a:cubicBezTo>
                <a:close/>
                <a:moveTo>
                  <a:pt x="11645898" y="3717647"/>
                </a:moveTo>
                <a:cubicBezTo>
                  <a:pt x="11628187" y="3717647"/>
                  <a:pt x="11621103" y="3717647"/>
                  <a:pt x="11606934" y="3721118"/>
                </a:cubicBezTo>
                <a:cubicBezTo>
                  <a:pt x="11606934" y="3728059"/>
                  <a:pt x="11606934" y="3728059"/>
                  <a:pt x="11606934" y="3728059"/>
                </a:cubicBezTo>
                <a:lnTo>
                  <a:pt x="11621103" y="3724589"/>
                </a:lnTo>
                <a:cubicBezTo>
                  <a:pt x="11624645" y="3759297"/>
                  <a:pt x="11624645" y="3759297"/>
                  <a:pt x="11624645" y="3759297"/>
                </a:cubicBezTo>
                <a:cubicBezTo>
                  <a:pt x="11635271" y="3759297"/>
                  <a:pt x="11635271" y="3759297"/>
                  <a:pt x="11635271" y="3759297"/>
                </a:cubicBezTo>
                <a:cubicBezTo>
                  <a:pt x="11631729" y="3724589"/>
                  <a:pt x="11631729" y="3724589"/>
                  <a:pt x="11631729" y="3724589"/>
                </a:cubicBezTo>
                <a:cubicBezTo>
                  <a:pt x="11645898" y="3724589"/>
                  <a:pt x="11645898" y="3724589"/>
                  <a:pt x="11645898" y="3724589"/>
                </a:cubicBezTo>
                <a:cubicBezTo>
                  <a:pt x="11645898" y="3717647"/>
                  <a:pt x="11645898" y="3717647"/>
                  <a:pt x="11645898" y="3717647"/>
                </a:cubicBezTo>
                <a:close/>
                <a:moveTo>
                  <a:pt x="11196257" y="3717646"/>
                </a:moveTo>
                <a:cubicBezTo>
                  <a:pt x="11214171" y="3717646"/>
                  <a:pt x="11221336" y="3735113"/>
                  <a:pt x="11221336" y="3752578"/>
                </a:cubicBezTo>
                <a:lnTo>
                  <a:pt x="11167595" y="3752578"/>
                </a:lnTo>
                <a:cubicBezTo>
                  <a:pt x="11167595" y="3735113"/>
                  <a:pt x="11178343" y="3717646"/>
                  <a:pt x="11196257" y="3717646"/>
                </a:cubicBezTo>
                <a:close/>
                <a:moveTo>
                  <a:pt x="11648585" y="3710930"/>
                </a:moveTo>
                <a:cubicBezTo>
                  <a:pt x="11711759" y="3710930"/>
                  <a:pt x="11767914" y="3731889"/>
                  <a:pt x="11813539" y="3766821"/>
                </a:cubicBezTo>
                <a:cubicBezTo>
                  <a:pt x="11820558" y="3773808"/>
                  <a:pt x="11820558" y="3777301"/>
                  <a:pt x="11817049" y="3780794"/>
                </a:cubicBezTo>
                <a:cubicBezTo>
                  <a:pt x="11817049" y="3780794"/>
                  <a:pt x="11817049" y="3780794"/>
                  <a:pt x="11788972" y="3812234"/>
                </a:cubicBezTo>
                <a:cubicBezTo>
                  <a:pt x="11785462" y="3815726"/>
                  <a:pt x="11781952" y="3815726"/>
                  <a:pt x="11774933" y="3812234"/>
                </a:cubicBezTo>
                <a:cubicBezTo>
                  <a:pt x="11739837" y="3784288"/>
                  <a:pt x="11694210" y="3766821"/>
                  <a:pt x="11648585" y="3766821"/>
                </a:cubicBezTo>
                <a:cubicBezTo>
                  <a:pt x="11599450" y="3766821"/>
                  <a:pt x="11557334" y="3784288"/>
                  <a:pt x="11522236" y="3812234"/>
                </a:cubicBezTo>
                <a:cubicBezTo>
                  <a:pt x="11515217" y="3815726"/>
                  <a:pt x="11511708" y="3815726"/>
                  <a:pt x="11508198" y="3812234"/>
                </a:cubicBezTo>
                <a:cubicBezTo>
                  <a:pt x="11508198" y="3812234"/>
                  <a:pt x="11508198" y="3812234"/>
                  <a:pt x="11480121" y="3780794"/>
                </a:cubicBezTo>
                <a:cubicBezTo>
                  <a:pt x="11476611" y="3777301"/>
                  <a:pt x="11476611" y="3773808"/>
                  <a:pt x="11483630" y="3766821"/>
                </a:cubicBezTo>
                <a:cubicBezTo>
                  <a:pt x="11529256" y="3731889"/>
                  <a:pt x="11585411" y="3710930"/>
                  <a:pt x="11648585" y="3710930"/>
                </a:cubicBezTo>
                <a:close/>
                <a:moveTo>
                  <a:pt x="11196481" y="3710929"/>
                </a:moveTo>
                <a:cubicBezTo>
                  <a:pt x="11172113" y="3710929"/>
                  <a:pt x="11158189" y="3728443"/>
                  <a:pt x="11158189" y="3759969"/>
                </a:cubicBezTo>
                <a:cubicBezTo>
                  <a:pt x="11158189" y="3787991"/>
                  <a:pt x="11168632" y="3809008"/>
                  <a:pt x="11199962" y="3809008"/>
                </a:cubicBezTo>
                <a:cubicBezTo>
                  <a:pt x="11206924" y="3809008"/>
                  <a:pt x="11220848" y="3805505"/>
                  <a:pt x="11227810" y="3802002"/>
                </a:cubicBezTo>
                <a:lnTo>
                  <a:pt x="11227810" y="3791494"/>
                </a:lnTo>
                <a:cubicBezTo>
                  <a:pt x="11220848" y="3794997"/>
                  <a:pt x="11210404" y="3798499"/>
                  <a:pt x="11199962" y="3798499"/>
                </a:cubicBezTo>
                <a:cubicBezTo>
                  <a:pt x="11179076" y="3798499"/>
                  <a:pt x="11168632" y="3780985"/>
                  <a:pt x="11168632" y="3763472"/>
                </a:cubicBezTo>
                <a:cubicBezTo>
                  <a:pt x="11168632" y="3763472"/>
                  <a:pt x="11168632" y="3763472"/>
                  <a:pt x="11234772" y="3763472"/>
                </a:cubicBezTo>
                <a:cubicBezTo>
                  <a:pt x="11234772" y="3763472"/>
                  <a:pt x="11234772" y="3763472"/>
                  <a:pt x="11234772" y="3756466"/>
                </a:cubicBezTo>
                <a:cubicBezTo>
                  <a:pt x="11234772" y="3731946"/>
                  <a:pt x="11224329" y="3710929"/>
                  <a:pt x="11196481" y="3710929"/>
                </a:cubicBezTo>
                <a:close/>
                <a:moveTo>
                  <a:pt x="10947253" y="3674653"/>
                </a:moveTo>
                <a:lnTo>
                  <a:pt x="10947253" y="3685401"/>
                </a:lnTo>
                <a:lnTo>
                  <a:pt x="10986216" y="3685401"/>
                </a:lnTo>
                <a:lnTo>
                  <a:pt x="10986216" y="3804977"/>
                </a:lnTo>
                <a:lnTo>
                  <a:pt x="10999652" y="3804977"/>
                </a:lnTo>
                <a:lnTo>
                  <a:pt x="10999652" y="3685401"/>
                </a:lnTo>
                <a:lnTo>
                  <a:pt x="11038614" y="3685401"/>
                </a:lnTo>
                <a:lnTo>
                  <a:pt x="11038614" y="3674653"/>
                </a:lnTo>
                <a:close/>
                <a:moveTo>
                  <a:pt x="11060111" y="3663904"/>
                </a:moveTo>
                <a:lnTo>
                  <a:pt x="11060111" y="3804977"/>
                </a:lnTo>
                <a:cubicBezTo>
                  <a:pt x="11060111" y="3804977"/>
                  <a:pt x="11060111" y="3804977"/>
                  <a:pt x="11070476" y="3804977"/>
                </a:cubicBezTo>
                <a:cubicBezTo>
                  <a:pt x="11070476" y="3804977"/>
                  <a:pt x="11070476" y="3804977"/>
                  <a:pt x="11070476" y="3755601"/>
                </a:cubicBezTo>
                <a:cubicBezTo>
                  <a:pt x="11070476" y="3737967"/>
                  <a:pt x="11077385" y="3716807"/>
                  <a:pt x="11098115" y="3716807"/>
                </a:cubicBezTo>
                <a:cubicBezTo>
                  <a:pt x="11118844" y="3716807"/>
                  <a:pt x="11118844" y="3730914"/>
                  <a:pt x="11118844" y="3748548"/>
                </a:cubicBezTo>
                <a:cubicBezTo>
                  <a:pt x="11118844" y="3748548"/>
                  <a:pt x="11118844" y="3748548"/>
                  <a:pt x="11118844" y="3804977"/>
                </a:cubicBezTo>
                <a:cubicBezTo>
                  <a:pt x="11118844" y="3804977"/>
                  <a:pt x="11118844" y="3804977"/>
                  <a:pt x="11132662" y="3804977"/>
                </a:cubicBezTo>
                <a:cubicBezTo>
                  <a:pt x="11132662" y="3804977"/>
                  <a:pt x="11132662" y="3804977"/>
                  <a:pt x="11132662" y="3748548"/>
                </a:cubicBezTo>
                <a:cubicBezTo>
                  <a:pt x="11132662" y="3723860"/>
                  <a:pt x="11125753" y="3709753"/>
                  <a:pt x="11101569" y="3709753"/>
                </a:cubicBezTo>
                <a:cubicBezTo>
                  <a:pt x="11087750" y="3709753"/>
                  <a:pt x="11077385" y="3716807"/>
                  <a:pt x="11070476" y="3727387"/>
                </a:cubicBezTo>
                <a:cubicBezTo>
                  <a:pt x="11070476" y="3727387"/>
                  <a:pt x="11070476" y="3727387"/>
                  <a:pt x="11070476" y="3663904"/>
                </a:cubicBezTo>
                <a:cubicBezTo>
                  <a:pt x="11070476" y="3663904"/>
                  <a:pt x="11070476" y="3663904"/>
                  <a:pt x="11060111" y="3663904"/>
                </a:cubicBezTo>
                <a:close/>
                <a:moveTo>
                  <a:pt x="11638739" y="3639721"/>
                </a:moveTo>
                <a:cubicBezTo>
                  <a:pt x="11628222" y="3657342"/>
                  <a:pt x="11624716" y="3674963"/>
                  <a:pt x="11624716" y="3692584"/>
                </a:cubicBezTo>
                <a:cubicBezTo>
                  <a:pt x="11621210" y="3692584"/>
                  <a:pt x="11603681" y="3696108"/>
                  <a:pt x="11600176" y="3696108"/>
                </a:cubicBezTo>
                <a:cubicBezTo>
                  <a:pt x="11596669" y="3678487"/>
                  <a:pt x="11586152" y="3660866"/>
                  <a:pt x="11575635" y="3650294"/>
                </a:cubicBezTo>
                <a:cubicBezTo>
                  <a:pt x="11575635" y="3650294"/>
                  <a:pt x="11575635" y="3650294"/>
                  <a:pt x="11572129" y="3650294"/>
                </a:cubicBezTo>
                <a:cubicBezTo>
                  <a:pt x="11565117" y="3650294"/>
                  <a:pt x="11558106" y="3653818"/>
                  <a:pt x="11551094" y="3653818"/>
                </a:cubicBezTo>
                <a:cubicBezTo>
                  <a:pt x="11551094" y="3653818"/>
                  <a:pt x="11551094" y="3653818"/>
                  <a:pt x="11551094" y="3657342"/>
                </a:cubicBezTo>
                <a:cubicBezTo>
                  <a:pt x="11547588" y="3664391"/>
                  <a:pt x="11547588" y="3671439"/>
                  <a:pt x="11547588" y="3682011"/>
                </a:cubicBezTo>
                <a:cubicBezTo>
                  <a:pt x="11547588" y="3692584"/>
                  <a:pt x="11547588" y="3699632"/>
                  <a:pt x="11551094" y="3710205"/>
                </a:cubicBezTo>
                <a:cubicBezTo>
                  <a:pt x="11547588" y="3710205"/>
                  <a:pt x="11530059" y="3717253"/>
                  <a:pt x="11530059" y="3717253"/>
                </a:cubicBezTo>
                <a:cubicBezTo>
                  <a:pt x="11519542" y="3703156"/>
                  <a:pt x="11505518" y="3689060"/>
                  <a:pt x="11491495" y="3682011"/>
                </a:cubicBezTo>
                <a:cubicBezTo>
                  <a:pt x="11484484" y="3682011"/>
                  <a:pt x="11477472" y="3689060"/>
                  <a:pt x="11470460" y="3692584"/>
                </a:cubicBezTo>
                <a:cubicBezTo>
                  <a:pt x="11470460" y="3710205"/>
                  <a:pt x="11473966" y="3727826"/>
                  <a:pt x="11484484" y="3745446"/>
                </a:cubicBezTo>
                <a:cubicBezTo>
                  <a:pt x="11480978" y="3745446"/>
                  <a:pt x="11470460" y="3756019"/>
                  <a:pt x="11466954" y="3756019"/>
                </a:cubicBezTo>
                <a:cubicBezTo>
                  <a:pt x="11456437" y="3745446"/>
                  <a:pt x="11438908" y="3734874"/>
                  <a:pt x="11421379" y="3731350"/>
                </a:cubicBezTo>
                <a:cubicBezTo>
                  <a:pt x="11414367" y="3734874"/>
                  <a:pt x="11407356" y="3741922"/>
                  <a:pt x="11403850" y="3745446"/>
                </a:cubicBezTo>
                <a:cubicBezTo>
                  <a:pt x="11403850" y="3745446"/>
                  <a:pt x="11403850" y="3745446"/>
                  <a:pt x="11403850" y="3748970"/>
                </a:cubicBezTo>
                <a:cubicBezTo>
                  <a:pt x="11407356" y="3763068"/>
                  <a:pt x="11417873" y="3780688"/>
                  <a:pt x="11431896" y="3794785"/>
                </a:cubicBezTo>
                <a:cubicBezTo>
                  <a:pt x="11428390" y="3794785"/>
                  <a:pt x="11417873" y="3812406"/>
                  <a:pt x="11417873" y="3812406"/>
                </a:cubicBezTo>
                <a:cubicBezTo>
                  <a:pt x="11400344" y="3805357"/>
                  <a:pt x="11382815" y="3798309"/>
                  <a:pt x="11365286" y="3798309"/>
                </a:cubicBezTo>
                <a:cubicBezTo>
                  <a:pt x="11361780" y="3805357"/>
                  <a:pt x="11354768" y="3812406"/>
                  <a:pt x="11354768" y="3819454"/>
                </a:cubicBezTo>
                <a:cubicBezTo>
                  <a:pt x="11361780" y="3833551"/>
                  <a:pt x="11375803" y="3847647"/>
                  <a:pt x="11389827" y="3858221"/>
                </a:cubicBezTo>
                <a:cubicBezTo>
                  <a:pt x="11389827" y="3861745"/>
                  <a:pt x="11382815" y="3875841"/>
                  <a:pt x="11382815" y="3879365"/>
                </a:cubicBezTo>
                <a:cubicBezTo>
                  <a:pt x="11365286" y="3872317"/>
                  <a:pt x="11344251" y="3872317"/>
                  <a:pt x="11330228" y="3879365"/>
                </a:cubicBezTo>
                <a:cubicBezTo>
                  <a:pt x="11326722" y="3886414"/>
                  <a:pt x="11323216" y="3893462"/>
                  <a:pt x="11323216" y="3900510"/>
                </a:cubicBezTo>
                <a:cubicBezTo>
                  <a:pt x="11333733" y="3914607"/>
                  <a:pt x="11351262" y="3921655"/>
                  <a:pt x="11368791" y="3928704"/>
                </a:cubicBezTo>
                <a:cubicBezTo>
                  <a:pt x="11368791" y="3932228"/>
                  <a:pt x="11365286" y="3946324"/>
                  <a:pt x="11365286" y="3949848"/>
                </a:cubicBezTo>
                <a:cubicBezTo>
                  <a:pt x="11347757" y="3949848"/>
                  <a:pt x="11330228" y="3956897"/>
                  <a:pt x="11316205" y="3963946"/>
                </a:cubicBezTo>
                <a:cubicBezTo>
                  <a:pt x="11316205" y="3963946"/>
                  <a:pt x="11316205" y="3963946"/>
                  <a:pt x="11312698" y="3963946"/>
                </a:cubicBezTo>
                <a:cubicBezTo>
                  <a:pt x="11312698" y="3967470"/>
                  <a:pt x="11312698" y="3970994"/>
                  <a:pt x="11312698" y="3978042"/>
                </a:cubicBezTo>
                <a:cubicBezTo>
                  <a:pt x="11312698" y="3981566"/>
                  <a:pt x="11312698" y="3985090"/>
                  <a:pt x="11312698" y="3988615"/>
                </a:cubicBezTo>
                <a:cubicBezTo>
                  <a:pt x="11312698" y="3988615"/>
                  <a:pt x="11312698" y="3988615"/>
                  <a:pt x="11316205" y="3988615"/>
                </a:cubicBezTo>
                <a:cubicBezTo>
                  <a:pt x="11330228" y="3999188"/>
                  <a:pt x="11347757" y="4002712"/>
                  <a:pt x="11365286" y="4002712"/>
                </a:cubicBezTo>
                <a:cubicBezTo>
                  <a:pt x="11365286" y="4006236"/>
                  <a:pt x="11368791" y="4023857"/>
                  <a:pt x="11368791" y="4023857"/>
                </a:cubicBezTo>
                <a:cubicBezTo>
                  <a:pt x="11351262" y="4030905"/>
                  <a:pt x="11333733" y="4041477"/>
                  <a:pt x="11323216" y="4052050"/>
                </a:cubicBezTo>
                <a:cubicBezTo>
                  <a:pt x="11323216" y="4052050"/>
                  <a:pt x="11323216" y="4052050"/>
                  <a:pt x="11323216" y="4055574"/>
                </a:cubicBezTo>
                <a:cubicBezTo>
                  <a:pt x="11323216" y="4059099"/>
                  <a:pt x="11326722" y="4069671"/>
                  <a:pt x="11330228" y="4076719"/>
                </a:cubicBezTo>
                <a:cubicBezTo>
                  <a:pt x="11347757" y="4080243"/>
                  <a:pt x="11365286" y="4080243"/>
                  <a:pt x="11382815" y="4076719"/>
                </a:cubicBezTo>
                <a:cubicBezTo>
                  <a:pt x="11382815" y="4076719"/>
                  <a:pt x="11389827" y="4094340"/>
                  <a:pt x="11393332" y="4097865"/>
                </a:cubicBezTo>
                <a:cubicBezTo>
                  <a:pt x="11375803" y="4104913"/>
                  <a:pt x="11361780" y="4119009"/>
                  <a:pt x="11354768" y="4133106"/>
                </a:cubicBezTo>
                <a:cubicBezTo>
                  <a:pt x="11354768" y="4133106"/>
                  <a:pt x="11354768" y="4133106"/>
                  <a:pt x="11354768" y="4136630"/>
                </a:cubicBezTo>
                <a:cubicBezTo>
                  <a:pt x="11358274" y="4140154"/>
                  <a:pt x="11361780" y="4150727"/>
                  <a:pt x="11365286" y="4154251"/>
                </a:cubicBezTo>
                <a:cubicBezTo>
                  <a:pt x="11382815" y="4154251"/>
                  <a:pt x="11400344" y="4150727"/>
                  <a:pt x="11417873" y="4140154"/>
                </a:cubicBezTo>
                <a:cubicBezTo>
                  <a:pt x="11417873" y="4143679"/>
                  <a:pt x="11428390" y="4157775"/>
                  <a:pt x="11431896" y="4161300"/>
                </a:cubicBezTo>
                <a:cubicBezTo>
                  <a:pt x="11417873" y="4171872"/>
                  <a:pt x="11410861" y="4189492"/>
                  <a:pt x="11403850" y="4207114"/>
                </a:cubicBezTo>
                <a:cubicBezTo>
                  <a:pt x="11410861" y="4210638"/>
                  <a:pt x="11414367" y="4217686"/>
                  <a:pt x="11421379" y="4221210"/>
                </a:cubicBezTo>
                <a:cubicBezTo>
                  <a:pt x="11438908" y="4217686"/>
                  <a:pt x="11456437" y="4210638"/>
                  <a:pt x="11466954" y="4196542"/>
                </a:cubicBezTo>
                <a:cubicBezTo>
                  <a:pt x="11470460" y="4196542"/>
                  <a:pt x="11484484" y="4210638"/>
                  <a:pt x="11484484" y="4210638"/>
                </a:cubicBezTo>
                <a:cubicBezTo>
                  <a:pt x="11477472" y="4224734"/>
                  <a:pt x="11473966" y="4245880"/>
                  <a:pt x="11473966" y="4259976"/>
                </a:cubicBezTo>
                <a:cubicBezTo>
                  <a:pt x="11473966" y="4259976"/>
                  <a:pt x="11473966" y="4263501"/>
                  <a:pt x="11473966" y="4263501"/>
                </a:cubicBezTo>
                <a:cubicBezTo>
                  <a:pt x="11477472" y="4267025"/>
                  <a:pt x="11484484" y="4270549"/>
                  <a:pt x="11491495" y="4274073"/>
                </a:cubicBezTo>
                <a:cubicBezTo>
                  <a:pt x="11491495" y="4274073"/>
                  <a:pt x="11491495" y="4274073"/>
                  <a:pt x="11495001" y="4274073"/>
                </a:cubicBezTo>
                <a:cubicBezTo>
                  <a:pt x="11509024" y="4267025"/>
                  <a:pt x="11523047" y="4252928"/>
                  <a:pt x="11530059" y="4235307"/>
                </a:cubicBezTo>
                <a:cubicBezTo>
                  <a:pt x="11533564" y="4238831"/>
                  <a:pt x="11547588" y="4242356"/>
                  <a:pt x="11551094" y="4245880"/>
                </a:cubicBezTo>
                <a:cubicBezTo>
                  <a:pt x="11547588" y="4252928"/>
                  <a:pt x="11547588" y="4263501"/>
                  <a:pt x="11547588" y="4270549"/>
                </a:cubicBezTo>
                <a:cubicBezTo>
                  <a:pt x="11547588" y="4281121"/>
                  <a:pt x="11547588" y="4288170"/>
                  <a:pt x="11551094" y="4298743"/>
                </a:cubicBezTo>
                <a:cubicBezTo>
                  <a:pt x="11558106" y="4302267"/>
                  <a:pt x="11565117" y="4302267"/>
                  <a:pt x="11572129" y="4305791"/>
                </a:cubicBezTo>
                <a:cubicBezTo>
                  <a:pt x="11572129" y="4305791"/>
                  <a:pt x="11572129" y="4305791"/>
                  <a:pt x="11575635" y="4305791"/>
                </a:cubicBezTo>
                <a:cubicBezTo>
                  <a:pt x="11586152" y="4291694"/>
                  <a:pt x="11596669" y="4274073"/>
                  <a:pt x="11600176" y="4259976"/>
                </a:cubicBezTo>
                <a:cubicBezTo>
                  <a:pt x="11603681" y="4259976"/>
                  <a:pt x="11621210" y="4259976"/>
                  <a:pt x="11624716" y="4259976"/>
                </a:cubicBezTo>
                <a:cubicBezTo>
                  <a:pt x="11624716" y="4281121"/>
                  <a:pt x="11628222" y="4298743"/>
                  <a:pt x="11638739" y="4312839"/>
                </a:cubicBezTo>
                <a:cubicBezTo>
                  <a:pt x="11645751" y="4312839"/>
                  <a:pt x="11656268" y="4312839"/>
                  <a:pt x="11659774" y="4312839"/>
                </a:cubicBezTo>
                <a:cubicBezTo>
                  <a:pt x="11659774" y="4312839"/>
                  <a:pt x="11659774" y="4312839"/>
                  <a:pt x="11663280" y="4312839"/>
                </a:cubicBezTo>
                <a:cubicBezTo>
                  <a:pt x="11670291" y="4298743"/>
                  <a:pt x="11677303" y="4281121"/>
                  <a:pt x="11677303" y="4259976"/>
                </a:cubicBezTo>
                <a:cubicBezTo>
                  <a:pt x="11677303" y="4259976"/>
                  <a:pt x="11694832" y="4259976"/>
                  <a:pt x="11698339" y="4259976"/>
                </a:cubicBezTo>
                <a:cubicBezTo>
                  <a:pt x="11701844" y="4274073"/>
                  <a:pt x="11712361" y="4291694"/>
                  <a:pt x="11722879" y="4305791"/>
                </a:cubicBezTo>
                <a:cubicBezTo>
                  <a:pt x="11722879" y="4305791"/>
                  <a:pt x="11722879" y="4305791"/>
                  <a:pt x="11726385" y="4305791"/>
                </a:cubicBezTo>
                <a:cubicBezTo>
                  <a:pt x="11733396" y="4302267"/>
                  <a:pt x="11740408" y="4302267"/>
                  <a:pt x="11747420" y="4298743"/>
                </a:cubicBezTo>
                <a:cubicBezTo>
                  <a:pt x="11750925" y="4288170"/>
                  <a:pt x="11750925" y="4281121"/>
                  <a:pt x="11750925" y="4270549"/>
                </a:cubicBezTo>
                <a:cubicBezTo>
                  <a:pt x="11750925" y="4263501"/>
                  <a:pt x="11750925" y="4252928"/>
                  <a:pt x="11747420" y="4245880"/>
                </a:cubicBezTo>
                <a:cubicBezTo>
                  <a:pt x="11750925" y="4242356"/>
                  <a:pt x="11764949" y="4235307"/>
                  <a:pt x="11768454" y="4235307"/>
                </a:cubicBezTo>
                <a:cubicBezTo>
                  <a:pt x="11778972" y="4252928"/>
                  <a:pt x="11789490" y="4263501"/>
                  <a:pt x="11807019" y="4274073"/>
                </a:cubicBezTo>
                <a:cubicBezTo>
                  <a:pt x="11814030" y="4270549"/>
                  <a:pt x="11821042" y="4267025"/>
                  <a:pt x="11824547" y="4263501"/>
                </a:cubicBezTo>
                <a:cubicBezTo>
                  <a:pt x="11824547" y="4263501"/>
                  <a:pt x="11824547" y="4263501"/>
                  <a:pt x="11828054" y="4263501"/>
                </a:cubicBezTo>
                <a:cubicBezTo>
                  <a:pt x="11828054" y="4263501"/>
                  <a:pt x="11828054" y="4259976"/>
                  <a:pt x="11828054" y="4259976"/>
                </a:cubicBezTo>
                <a:cubicBezTo>
                  <a:pt x="11828054" y="4242356"/>
                  <a:pt x="11821042" y="4224734"/>
                  <a:pt x="11814030" y="4210638"/>
                </a:cubicBezTo>
                <a:cubicBezTo>
                  <a:pt x="11814030" y="4207114"/>
                  <a:pt x="11828054" y="4196542"/>
                  <a:pt x="11831559" y="4196542"/>
                </a:cubicBezTo>
                <a:cubicBezTo>
                  <a:pt x="11842076" y="4207114"/>
                  <a:pt x="11859606" y="4217686"/>
                  <a:pt x="11877135" y="4221210"/>
                </a:cubicBezTo>
                <a:cubicBezTo>
                  <a:pt x="11884146" y="4217686"/>
                  <a:pt x="11891158" y="4210638"/>
                  <a:pt x="11894664" y="4207114"/>
                </a:cubicBezTo>
                <a:cubicBezTo>
                  <a:pt x="11894664" y="4207114"/>
                  <a:pt x="11894664" y="4207114"/>
                  <a:pt x="11894664" y="4203590"/>
                </a:cubicBezTo>
                <a:cubicBezTo>
                  <a:pt x="11891158" y="4189492"/>
                  <a:pt x="11880641" y="4171872"/>
                  <a:pt x="11866617" y="4157775"/>
                </a:cubicBezTo>
                <a:cubicBezTo>
                  <a:pt x="11870123" y="4157775"/>
                  <a:pt x="11880641" y="4143679"/>
                  <a:pt x="11880641" y="4140154"/>
                </a:cubicBezTo>
                <a:cubicBezTo>
                  <a:pt x="11898170" y="4150727"/>
                  <a:pt x="11915699" y="4154251"/>
                  <a:pt x="11933228" y="4154251"/>
                </a:cubicBezTo>
                <a:cubicBezTo>
                  <a:pt x="11936734" y="4147203"/>
                  <a:pt x="11940239" y="4140154"/>
                  <a:pt x="11943746" y="4136630"/>
                </a:cubicBezTo>
                <a:cubicBezTo>
                  <a:pt x="11943746" y="4136630"/>
                  <a:pt x="11943746" y="4136630"/>
                  <a:pt x="11943746" y="4133106"/>
                </a:cubicBezTo>
                <a:cubicBezTo>
                  <a:pt x="11936734" y="4119009"/>
                  <a:pt x="11922710" y="4104913"/>
                  <a:pt x="11908688" y="4094340"/>
                </a:cubicBezTo>
                <a:cubicBezTo>
                  <a:pt x="11908688" y="4094340"/>
                  <a:pt x="11915699" y="4076719"/>
                  <a:pt x="11915699" y="4076719"/>
                </a:cubicBezTo>
                <a:cubicBezTo>
                  <a:pt x="11933228" y="4080243"/>
                  <a:pt x="11950757" y="4080243"/>
                  <a:pt x="11968286" y="4076719"/>
                </a:cubicBezTo>
                <a:cubicBezTo>
                  <a:pt x="11968286" y="4076719"/>
                  <a:pt x="11968286" y="4076719"/>
                  <a:pt x="11968286" y="4073195"/>
                </a:cubicBezTo>
                <a:cubicBezTo>
                  <a:pt x="11971792" y="4069671"/>
                  <a:pt x="11975298" y="4059099"/>
                  <a:pt x="11975298" y="4052050"/>
                </a:cubicBezTo>
                <a:cubicBezTo>
                  <a:pt x="11961275" y="4037953"/>
                  <a:pt x="11947251" y="4030905"/>
                  <a:pt x="11929722" y="4023857"/>
                </a:cubicBezTo>
                <a:cubicBezTo>
                  <a:pt x="11929722" y="4023857"/>
                  <a:pt x="11929722" y="4006236"/>
                  <a:pt x="11933228" y="4002712"/>
                </a:cubicBezTo>
                <a:cubicBezTo>
                  <a:pt x="11950757" y="4002712"/>
                  <a:pt x="11968286" y="3999188"/>
                  <a:pt x="11982310" y="3988615"/>
                </a:cubicBezTo>
                <a:cubicBezTo>
                  <a:pt x="11985815" y="3985090"/>
                  <a:pt x="11985815" y="3981566"/>
                  <a:pt x="11985815" y="3978042"/>
                </a:cubicBezTo>
                <a:cubicBezTo>
                  <a:pt x="11985815" y="3974518"/>
                  <a:pt x="11985815" y="3970994"/>
                  <a:pt x="11982310" y="3967470"/>
                </a:cubicBezTo>
                <a:cubicBezTo>
                  <a:pt x="11982310" y="3967470"/>
                  <a:pt x="11982310" y="3967470"/>
                  <a:pt x="11982310" y="3963946"/>
                </a:cubicBezTo>
                <a:cubicBezTo>
                  <a:pt x="11968286" y="3956897"/>
                  <a:pt x="11950757" y="3949848"/>
                  <a:pt x="11933228" y="3949848"/>
                </a:cubicBezTo>
                <a:cubicBezTo>
                  <a:pt x="11933228" y="3949848"/>
                  <a:pt x="11929722" y="3932228"/>
                  <a:pt x="11929722" y="3928704"/>
                </a:cubicBezTo>
                <a:cubicBezTo>
                  <a:pt x="11947251" y="3925180"/>
                  <a:pt x="11964780" y="3914607"/>
                  <a:pt x="11975298" y="3904035"/>
                </a:cubicBezTo>
                <a:cubicBezTo>
                  <a:pt x="11975298" y="3904035"/>
                  <a:pt x="11975298" y="3904035"/>
                  <a:pt x="11975298" y="3900510"/>
                </a:cubicBezTo>
                <a:cubicBezTo>
                  <a:pt x="11975298" y="3893462"/>
                  <a:pt x="11971792" y="3886414"/>
                  <a:pt x="11968286" y="3879365"/>
                </a:cubicBezTo>
                <a:cubicBezTo>
                  <a:pt x="11950757" y="3875841"/>
                  <a:pt x="11933228" y="3875841"/>
                  <a:pt x="11915699" y="3879365"/>
                </a:cubicBezTo>
                <a:cubicBezTo>
                  <a:pt x="11915699" y="3875841"/>
                  <a:pt x="11908688" y="3861745"/>
                  <a:pt x="11908688" y="3858221"/>
                </a:cubicBezTo>
                <a:cubicBezTo>
                  <a:pt x="11922710" y="3847647"/>
                  <a:pt x="11936734" y="3837075"/>
                  <a:pt x="11943746" y="3819454"/>
                </a:cubicBezTo>
                <a:cubicBezTo>
                  <a:pt x="11943746" y="3812406"/>
                  <a:pt x="11936734" y="3805357"/>
                  <a:pt x="11933228" y="3801833"/>
                </a:cubicBezTo>
                <a:cubicBezTo>
                  <a:pt x="11933228" y="3801833"/>
                  <a:pt x="11933228" y="3801833"/>
                  <a:pt x="11933228" y="3798309"/>
                </a:cubicBezTo>
                <a:cubicBezTo>
                  <a:pt x="11915699" y="3798309"/>
                  <a:pt x="11898170" y="3805357"/>
                  <a:pt x="11880641" y="3812406"/>
                </a:cubicBezTo>
                <a:cubicBezTo>
                  <a:pt x="11880641" y="3812406"/>
                  <a:pt x="11870123" y="3798309"/>
                  <a:pt x="11866617" y="3794785"/>
                </a:cubicBezTo>
                <a:cubicBezTo>
                  <a:pt x="11880641" y="3780688"/>
                  <a:pt x="11891158" y="3766592"/>
                  <a:pt x="11894664" y="3748970"/>
                </a:cubicBezTo>
                <a:cubicBezTo>
                  <a:pt x="11891158" y="3741922"/>
                  <a:pt x="11884146" y="3734874"/>
                  <a:pt x="11877135" y="3731350"/>
                </a:cubicBezTo>
                <a:cubicBezTo>
                  <a:pt x="11859606" y="3734874"/>
                  <a:pt x="11845583" y="3745446"/>
                  <a:pt x="11831559" y="3759544"/>
                </a:cubicBezTo>
                <a:cubicBezTo>
                  <a:pt x="11828054" y="3756019"/>
                  <a:pt x="11814030" y="3745446"/>
                  <a:pt x="11814030" y="3745446"/>
                </a:cubicBezTo>
                <a:cubicBezTo>
                  <a:pt x="11821042" y="3727826"/>
                  <a:pt x="11828054" y="3710205"/>
                  <a:pt x="11828054" y="3692584"/>
                </a:cubicBezTo>
                <a:cubicBezTo>
                  <a:pt x="11821042" y="3689060"/>
                  <a:pt x="11814030" y="3682011"/>
                  <a:pt x="11807019" y="3682011"/>
                </a:cubicBezTo>
                <a:cubicBezTo>
                  <a:pt x="11792995" y="3689060"/>
                  <a:pt x="11778972" y="3703156"/>
                  <a:pt x="11768454" y="3717253"/>
                </a:cubicBezTo>
                <a:cubicBezTo>
                  <a:pt x="11764949" y="3717253"/>
                  <a:pt x="11750925" y="3710205"/>
                  <a:pt x="11747420" y="3710205"/>
                </a:cubicBezTo>
                <a:cubicBezTo>
                  <a:pt x="11750925" y="3699632"/>
                  <a:pt x="11750925" y="3692584"/>
                  <a:pt x="11750925" y="3682011"/>
                </a:cubicBezTo>
                <a:cubicBezTo>
                  <a:pt x="11750925" y="3671439"/>
                  <a:pt x="11750925" y="3664391"/>
                  <a:pt x="11747420" y="3657342"/>
                </a:cubicBezTo>
                <a:cubicBezTo>
                  <a:pt x="11747420" y="3657342"/>
                  <a:pt x="11747420" y="3657342"/>
                  <a:pt x="11747420" y="3653818"/>
                </a:cubicBezTo>
                <a:cubicBezTo>
                  <a:pt x="11740408" y="3653818"/>
                  <a:pt x="11733396" y="3650294"/>
                  <a:pt x="11726385" y="3650294"/>
                </a:cubicBezTo>
                <a:cubicBezTo>
                  <a:pt x="11726385" y="3650294"/>
                  <a:pt x="11726385" y="3650294"/>
                  <a:pt x="11722879" y="3650294"/>
                </a:cubicBezTo>
                <a:cubicBezTo>
                  <a:pt x="11712361" y="3660866"/>
                  <a:pt x="11701844" y="3678487"/>
                  <a:pt x="11698339" y="3696108"/>
                </a:cubicBezTo>
                <a:cubicBezTo>
                  <a:pt x="11694832" y="3696108"/>
                  <a:pt x="11677303" y="3692584"/>
                  <a:pt x="11673798" y="3692584"/>
                </a:cubicBezTo>
                <a:cubicBezTo>
                  <a:pt x="11673798" y="3674963"/>
                  <a:pt x="11670291" y="3657342"/>
                  <a:pt x="11659774" y="3639721"/>
                </a:cubicBezTo>
                <a:cubicBezTo>
                  <a:pt x="11652763" y="3639721"/>
                  <a:pt x="11645751" y="3639721"/>
                  <a:pt x="11638739" y="3639721"/>
                </a:cubicBezTo>
                <a:close/>
                <a:moveTo>
                  <a:pt x="0" y="0"/>
                </a:moveTo>
                <a:lnTo>
                  <a:pt x="12192000" y="0"/>
                </a:lnTo>
                <a:lnTo>
                  <a:pt x="12192000" y="4454665"/>
                </a:lnTo>
                <a:lnTo>
                  <a:pt x="0" y="4454665"/>
                </a:lnTo>
                <a:close/>
              </a:path>
            </a:pathLst>
          </a:custGeom>
        </p:spPr>
        <p:txBody>
          <a:bodyPr wrap="square">
            <a:noAutofit/>
          </a:bodyPr>
          <a:lstStyle/>
          <a:p>
            <a:endParaRPr lang="en-US" dirty="0"/>
          </a:p>
        </p:txBody>
      </p:sp>
      <p:sp>
        <p:nvSpPr>
          <p:cNvPr id="31" name="Rectangle 30">
            <a:extLst>
              <a:ext uri="{FF2B5EF4-FFF2-40B4-BE49-F238E27FC236}">
                <a16:creationId xmlns:a16="http://schemas.microsoft.com/office/drawing/2014/main" id="{9E9DC1D0-3644-45DF-A146-AEC5F8D9A0AF}"/>
              </a:ext>
            </a:extLst>
          </p:cNvPr>
          <p:cNvSpPr/>
          <p:nvPr userDrawn="1"/>
        </p:nvSpPr>
        <p:spPr>
          <a:xfrm>
            <a:off x="0" y="1"/>
            <a:ext cx="12192000" cy="2403334"/>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Text Placeholder 11">
            <a:extLst>
              <a:ext uri="{FF2B5EF4-FFF2-40B4-BE49-F238E27FC236}">
                <a16:creationId xmlns:a16="http://schemas.microsoft.com/office/drawing/2014/main" id="{9D3472EC-3332-4840-B3B3-3F529B60B0CF}"/>
              </a:ext>
            </a:extLst>
          </p:cNvPr>
          <p:cNvSpPr>
            <a:spLocks noGrp="1"/>
          </p:cNvSpPr>
          <p:nvPr>
            <p:ph type="body" sz="quarter" idx="14" hasCustomPrompt="1"/>
          </p:nvPr>
        </p:nvSpPr>
        <p:spPr>
          <a:xfrm>
            <a:off x="296333" y="593866"/>
            <a:ext cx="11065934" cy="635000"/>
          </a:xfrm>
        </p:spPr>
        <p:txBody>
          <a:bodyPr>
            <a:normAutofit/>
          </a:bodyPr>
          <a:lstStyle>
            <a:lvl1pPr marL="0" indent="0" algn="l">
              <a:buNone/>
              <a:defRPr sz="4400" b="1" cap="all" baseline="0">
                <a:solidFill>
                  <a:schemeClr val="bg1"/>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296333" y="1338932"/>
            <a:ext cx="11065934" cy="465667"/>
          </a:xfrm>
        </p:spPr>
        <p:txBody>
          <a:bodyPr/>
          <a:lstStyle>
            <a:lvl1pPr marL="0" indent="0" algn="l">
              <a:buNone/>
              <a:defRPr sz="2400">
                <a:solidFill>
                  <a:srgbClr val="33333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Freeform: Shape 10">
            <a:extLst>
              <a:ext uri="{FF2B5EF4-FFF2-40B4-BE49-F238E27FC236}">
                <a16:creationId xmlns:a16="http://schemas.microsoft.com/office/drawing/2014/main" id="{1AF19689-A240-4FF8-816D-3346000307FE}"/>
              </a:ext>
            </a:extLst>
          </p:cNvPr>
          <p:cNvSpPr/>
          <p:nvPr userDrawn="1"/>
        </p:nvSpPr>
        <p:spPr>
          <a:xfrm>
            <a:off x="0" y="2403335"/>
            <a:ext cx="12192000" cy="4454665"/>
          </a:xfrm>
          <a:custGeom>
            <a:avLst/>
            <a:gdLst>
              <a:gd name="connsiteX0" fmla="*/ 11946675 w 12192000"/>
              <a:gd name="connsiteY0" fmla="*/ 4274241 h 4454665"/>
              <a:gd name="connsiteX1" fmla="*/ 11952788 w 12192000"/>
              <a:gd name="connsiteY1" fmla="*/ 4274241 h 4454665"/>
              <a:gd name="connsiteX2" fmla="*/ 11958183 w 12192000"/>
              <a:gd name="connsiteY2" fmla="*/ 4274816 h 4454665"/>
              <a:gd name="connsiteX3" fmla="*/ 11960461 w 12192000"/>
              <a:gd name="connsiteY3" fmla="*/ 4276559 h 4454665"/>
              <a:gd name="connsiteX4" fmla="*/ 11961281 w 12192000"/>
              <a:gd name="connsiteY4" fmla="*/ 4279206 h 4454665"/>
              <a:gd name="connsiteX5" fmla="*/ 11959578 w 12192000"/>
              <a:gd name="connsiteY5" fmla="*/ 4282898 h 4454665"/>
              <a:gd name="connsiteX6" fmla="*/ 11953198 w 12192000"/>
              <a:gd name="connsiteY6" fmla="*/ 4284293 h 4454665"/>
              <a:gd name="connsiteX7" fmla="*/ 11946675 w 12192000"/>
              <a:gd name="connsiteY7" fmla="*/ 4284293 h 4454665"/>
              <a:gd name="connsiteX8" fmla="*/ 11941300 w 12192000"/>
              <a:gd name="connsiteY8" fmla="*/ 4269729 h 4454665"/>
              <a:gd name="connsiteX9" fmla="*/ 11941300 w 12192000"/>
              <a:gd name="connsiteY9" fmla="*/ 4303043 h 4454665"/>
              <a:gd name="connsiteX10" fmla="*/ 11946675 w 12192000"/>
              <a:gd name="connsiteY10" fmla="*/ 4303043 h 4454665"/>
              <a:gd name="connsiteX11" fmla="*/ 11946675 w 12192000"/>
              <a:gd name="connsiteY11" fmla="*/ 4288889 h 4454665"/>
              <a:gd name="connsiteX12" fmla="*/ 11949834 w 12192000"/>
              <a:gd name="connsiteY12" fmla="*/ 4288889 h 4454665"/>
              <a:gd name="connsiteX13" fmla="*/ 11954142 w 12192000"/>
              <a:gd name="connsiteY13" fmla="*/ 4290037 h 4454665"/>
              <a:gd name="connsiteX14" fmla="*/ 11959762 w 12192000"/>
              <a:gd name="connsiteY14" fmla="*/ 4297791 h 4454665"/>
              <a:gd name="connsiteX15" fmla="*/ 11962717 w 12192000"/>
              <a:gd name="connsiteY15" fmla="*/ 4303043 h 4454665"/>
              <a:gd name="connsiteX16" fmla="*/ 11969281 w 12192000"/>
              <a:gd name="connsiteY16" fmla="*/ 4303043 h 4454665"/>
              <a:gd name="connsiteX17" fmla="*/ 11965220 w 12192000"/>
              <a:gd name="connsiteY17" fmla="*/ 4296519 h 4454665"/>
              <a:gd name="connsiteX18" fmla="*/ 11960296 w 12192000"/>
              <a:gd name="connsiteY18" fmla="*/ 4289914 h 4454665"/>
              <a:gd name="connsiteX19" fmla="*/ 11957466 w 12192000"/>
              <a:gd name="connsiteY19" fmla="*/ 4288150 h 4454665"/>
              <a:gd name="connsiteX20" fmla="*/ 11964378 w 12192000"/>
              <a:gd name="connsiteY20" fmla="*/ 4285114 h 4454665"/>
              <a:gd name="connsiteX21" fmla="*/ 11966983 w 12192000"/>
              <a:gd name="connsiteY21" fmla="*/ 4278755 h 4454665"/>
              <a:gd name="connsiteX22" fmla="*/ 11965424 w 12192000"/>
              <a:gd name="connsiteY22" fmla="*/ 4273872 h 4454665"/>
              <a:gd name="connsiteX23" fmla="*/ 11961239 w 12192000"/>
              <a:gd name="connsiteY23" fmla="*/ 4270652 h 4454665"/>
              <a:gd name="connsiteX24" fmla="*/ 11952747 w 12192000"/>
              <a:gd name="connsiteY24" fmla="*/ 4269729 h 4454665"/>
              <a:gd name="connsiteX25" fmla="*/ 10902089 w 12192000"/>
              <a:gd name="connsiteY25" fmla="*/ 4267158 h 4454665"/>
              <a:gd name="connsiteX26" fmla="*/ 10905603 w 12192000"/>
              <a:gd name="connsiteY26" fmla="*/ 4267158 h 4454665"/>
              <a:gd name="connsiteX27" fmla="*/ 10905603 w 12192000"/>
              <a:gd name="connsiteY27" fmla="*/ 4270699 h 4454665"/>
              <a:gd name="connsiteX28" fmla="*/ 10877492 w 12192000"/>
              <a:gd name="connsiteY28" fmla="*/ 4306121 h 4454665"/>
              <a:gd name="connsiteX29" fmla="*/ 10859922 w 12192000"/>
              <a:gd name="connsiteY29" fmla="*/ 4288411 h 4454665"/>
              <a:gd name="connsiteX30" fmla="*/ 10902089 w 12192000"/>
              <a:gd name="connsiteY30" fmla="*/ 4267158 h 4454665"/>
              <a:gd name="connsiteX31" fmla="*/ 11954881 w 12192000"/>
              <a:gd name="connsiteY31" fmla="*/ 4260087 h 4454665"/>
              <a:gd name="connsiteX32" fmla="*/ 11967558 w 12192000"/>
              <a:gd name="connsiteY32" fmla="*/ 4263431 h 4454665"/>
              <a:gd name="connsiteX33" fmla="*/ 11977220 w 12192000"/>
              <a:gd name="connsiteY33" fmla="*/ 4272990 h 4454665"/>
              <a:gd name="connsiteX34" fmla="*/ 11980687 w 12192000"/>
              <a:gd name="connsiteY34" fmla="*/ 4285934 h 4454665"/>
              <a:gd name="connsiteX35" fmla="*/ 11977282 w 12192000"/>
              <a:gd name="connsiteY35" fmla="*/ 4298755 h 4454665"/>
              <a:gd name="connsiteX36" fmla="*/ 11967722 w 12192000"/>
              <a:gd name="connsiteY36" fmla="*/ 4308315 h 4454665"/>
              <a:gd name="connsiteX37" fmla="*/ 11954881 w 12192000"/>
              <a:gd name="connsiteY37" fmla="*/ 4311741 h 4454665"/>
              <a:gd name="connsiteX38" fmla="*/ 11942039 w 12192000"/>
              <a:gd name="connsiteY38" fmla="*/ 4308315 h 4454665"/>
              <a:gd name="connsiteX39" fmla="*/ 11932459 w 12192000"/>
              <a:gd name="connsiteY39" fmla="*/ 4298755 h 4454665"/>
              <a:gd name="connsiteX40" fmla="*/ 11929033 w 12192000"/>
              <a:gd name="connsiteY40" fmla="*/ 4285934 h 4454665"/>
              <a:gd name="connsiteX41" fmla="*/ 11932521 w 12192000"/>
              <a:gd name="connsiteY41" fmla="*/ 4272990 h 4454665"/>
              <a:gd name="connsiteX42" fmla="*/ 11942183 w 12192000"/>
              <a:gd name="connsiteY42" fmla="*/ 4263431 h 4454665"/>
              <a:gd name="connsiteX43" fmla="*/ 11954881 w 12192000"/>
              <a:gd name="connsiteY43" fmla="*/ 4260087 h 4454665"/>
              <a:gd name="connsiteX44" fmla="*/ 11954881 w 12192000"/>
              <a:gd name="connsiteY44" fmla="*/ 4254959 h 4454665"/>
              <a:gd name="connsiteX45" fmla="*/ 11939660 w 12192000"/>
              <a:gd name="connsiteY45" fmla="*/ 4258959 h 4454665"/>
              <a:gd name="connsiteX46" fmla="*/ 11928069 w 12192000"/>
              <a:gd name="connsiteY46" fmla="*/ 4270406 h 4454665"/>
              <a:gd name="connsiteX47" fmla="*/ 11923904 w 12192000"/>
              <a:gd name="connsiteY47" fmla="*/ 4285934 h 4454665"/>
              <a:gd name="connsiteX48" fmla="*/ 11928007 w 12192000"/>
              <a:gd name="connsiteY48" fmla="*/ 4301320 h 4454665"/>
              <a:gd name="connsiteX49" fmla="*/ 11939474 w 12192000"/>
              <a:gd name="connsiteY49" fmla="*/ 4312787 h 4454665"/>
              <a:gd name="connsiteX50" fmla="*/ 11954881 w 12192000"/>
              <a:gd name="connsiteY50" fmla="*/ 4316869 h 4454665"/>
              <a:gd name="connsiteX51" fmla="*/ 11970287 w 12192000"/>
              <a:gd name="connsiteY51" fmla="*/ 4312787 h 4454665"/>
              <a:gd name="connsiteX52" fmla="*/ 11981733 w 12192000"/>
              <a:gd name="connsiteY52" fmla="*/ 4301320 h 4454665"/>
              <a:gd name="connsiteX53" fmla="*/ 11985815 w 12192000"/>
              <a:gd name="connsiteY53" fmla="*/ 4285934 h 4454665"/>
              <a:gd name="connsiteX54" fmla="*/ 11981671 w 12192000"/>
              <a:gd name="connsiteY54" fmla="*/ 4270406 h 4454665"/>
              <a:gd name="connsiteX55" fmla="*/ 11970101 w 12192000"/>
              <a:gd name="connsiteY55" fmla="*/ 4258959 h 4454665"/>
              <a:gd name="connsiteX56" fmla="*/ 11954881 w 12192000"/>
              <a:gd name="connsiteY56" fmla="*/ 4254959 h 4454665"/>
              <a:gd name="connsiteX57" fmla="*/ 11091685 w 12192000"/>
              <a:gd name="connsiteY57" fmla="*/ 4225507 h 4454665"/>
              <a:gd name="connsiteX58" fmla="*/ 11123259 w 12192000"/>
              <a:gd name="connsiteY58" fmla="*/ 4265814 h 4454665"/>
              <a:gd name="connsiteX59" fmla="*/ 11091685 w 12192000"/>
              <a:gd name="connsiteY59" fmla="*/ 4306120 h 4454665"/>
              <a:gd name="connsiteX60" fmla="*/ 11060111 w 12192000"/>
              <a:gd name="connsiteY60" fmla="*/ 4265814 h 4454665"/>
              <a:gd name="connsiteX61" fmla="*/ 11091685 w 12192000"/>
              <a:gd name="connsiteY61" fmla="*/ 4225507 h 4454665"/>
              <a:gd name="connsiteX62" fmla="*/ 10781998 w 12192000"/>
              <a:gd name="connsiteY62" fmla="*/ 4225507 h 4454665"/>
              <a:gd name="connsiteX63" fmla="*/ 10810212 w 12192000"/>
              <a:gd name="connsiteY63" fmla="*/ 4265814 h 4454665"/>
              <a:gd name="connsiteX64" fmla="*/ 10781998 w 12192000"/>
              <a:gd name="connsiteY64" fmla="*/ 4306120 h 4454665"/>
              <a:gd name="connsiteX65" fmla="*/ 10753783 w 12192000"/>
              <a:gd name="connsiteY65" fmla="*/ 4265814 h 4454665"/>
              <a:gd name="connsiteX66" fmla="*/ 10781998 w 12192000"/>
              <a:gd name="connsiteY66" fmla="*/ 4225507 h 4454665"/>
              <a:gd name="connsiteX67" fmla="*/ 10469622 w 12192000"/>
              <a:gd name="connsiteY67" fmla="*/ 4225507 h 4454665"/>
              <a:gd name="connsiteX68" fmla="*/ 10501196 w 12192000"/>
              <a:gd name="connsiteY68" fmla="*/ 4265814 h 4454665"/>
              <a:gd name="connsiteX69" fmla="*/ 10469622 w 12192000"/>
              <a:gd name="connsiteY69" fmla="*/ 4306120 h 4454665"/>
              <a:gd name="connsiteX70" fmla="*/ 10438048 w 12192000"/>
              <a:gd name="connsiteY70" fmla="*/ 4265814 h 4454665"/>
              <a:gd name="connsiteX71" fmla="*/ 10469622 w 12192000"/>
              <a:gd name="connsiteY71" fmla="*/ 4225507 h 4454665"/>
              <a:gd name="connsiteX72" fmla="*/ 11014562 w 12192000"/>
              <a:gd name="connsiteY72" fmla="*/ 4220260 h 4454665"/>
              <a:gd name="connsiteX73" fmla="*/ 11014562 w 12192000"/>
              <a:gd name="connsiteY73" fmla="*/ 4316220 h 4454665"/>
              <a:gd name="connsiteX74" fmla="*/ 11026851 w 12192000"/>
              <a:gd name="connsiteY74" fmla="*/ 4316220 h 4454665"/>
              <a:gd name="connsiteX75" fmla="*/ 11026851 w 12192000"/>
              <a:gd name="connsiteY75" fmla="*/ 4220260 h 4454665"/>
              <a:gd name="connsiteX76" fmla="*/ 11158189 w 12192000"/>
              <a:gd name="connsiteY76" fmla="*/ 4218790 h 4454665"/>
              <a:gd name="connsiteX77" fmla="*/ 11158189 w 12192000"/>
              <a:gd name="connsiteY77" fmla="*/ 4243173 h 4454665"/>
              <a:gd name="connsiteX78" fmla="*/ 11158189 w 12192000"/>
              <a:gd name="connsiteY78" fmla="*/ 4312838 h 4454665"/>
              <a:gd name="connsiteX79" fmla="*/ 11172009 w 12192000"/>
              <a:gd name="connsiteY79" fmla="*/ 4312838 h 4454665"/>
              <a:gd name="connsiteX80" fmla="*/ 11172009 w 12192000"/>
              <a:gd name="connsiteY80" fmla="*/ 4260589 h 4454665"/>
              <a:gd name="connsiteX81" fmla="*/ 11199648 w 12192000"/>
              <a:gd name="connsiteY81" fmla="*/ 4225756 h 4454665"/>
              <a:gd name="connsiteX82" fmla="*/ 11220377 w 12192000"/>
              <a:gd name="connsiteY82" fmla="*/ 4257106 h 4454665"/>
              <a:gd name="connsiteX83" fmla="*/ 11220377 w 12192000"/>
              <a:gd name="connsiteY83" fmla="*/ 4312838 h 4454665"/>
              <a:gd name="connsiteX84" fmla="*/ 11230741 w 12192000"/>
              <a:gd name="connsiteY84" fmla="*/ 4312838 h 4454665"/>
              <a:gd name="connsiteX85" fmla="*/ 11230741 w 12192000"/>
              <a:gd name="connsiteY85" fmla="*/ 4253622 h 4454665"/>
              <a:gd name="connsiteX86" fmla="*/ 11199648 w 12192000"/>
              <a:gd name="connsiteY86" fmla="*/ 4218790 h 4454665"/>
              <a:gd name="connsiteX87" fmla="*/ 11168554 w 12192000"/>
              <a:gd name="connsiteY87" fmla="*/ 4236206 h 4454665"/>
              <a:gd name="connsiteX88" fmla="*/ 11168554 w 12192000"/>
              <a:gd name="connsiteY88" fmla="*/ 4218790 h 4454665"/>
              <a:gd name="connsiteX89" fmla="*/ 11158189 w 12192000"/>
              <a:gd name="connsiteY89" fmla="*/ 4218790 h 4454665"/>
              <a:gd name="connsiteX90" fmla="*/ 11088997 w 12192000"/>
              <a:gd name="connsiteY90" fmla="*/ 4218790 h 4454665"/>
              <a:gd name="connsiteX91" fmla="*/ 11045332 w 12192000"/>
              <a:gd name="connsiteY91" fmla="*/ 4267830 h 4454665"/>
              <a:gd name="connsiteX92" fmla="*/ 11088997 w 12192000"/>
              <a:gd name="connsiteY92" fmla="*/ 4316869 h 4454665"/>
              <a:gd name="connsiteX93" fmla="*/ 11132662 w 12192000"/>
              <a:gd name="connsiteY93" fmla="*/ 4267830 h 4454665"/>
              <a:gd name="connsiteX94" fmla="*/ 11088997 w 12192000"/>
              <a:gd name="connsiteY94" fmla="*/ 4218790 h 4454665"/>
              <a:gd name="connsiteX95" fmla="*/ 10883851 w 12192000"/>
              <a:gd name="connsiteY95" fmla="*/ 4218790 h 4454665"/>
              <a:gd name="connsiteX96" fmla="*/ 10855700 w 12192000"/>
              <a:gd name="connsiteY96" fmla="*/ 4222293 h 4454665"/>
              <a:gd name="connsiteX97" fmla="*/ 10855700 w 12192000"/>
              <a:gd name="connsiteY97" fmla="*/ 4236304 h 4454665"/>
              <a:gd name="connsiteX98" fmla="*/ 10883851 w 12192000"/>
              <a:gd name="connsiteY98" fmla="*/ 4225796 h 4454665"/>
              <a:gd name="connsiteX99" fmla="*/ 10904964 w 12192000"/>
              <a:gd name="connsiteY99" fmla="*/ 4250316 h 4454665"/>
              <a:gd name="connsiteX100" fmla="*/ 10904964 w 12192000"/>
              <a:gd name="connsiteY100" fmla="*/ 4257321 h 4454665"/>
              <a:gd name="connsiteX101" fmla="*/ 10845144 w 12192000"/>
              <a:gd name="connsiteY101" fmla="*/ 4288846 h 4454665"/>
              <a:gd name="connsiteX102" fmla="*/ 10876813 w 12192000"/>
              <a:gd name="connsiteY102" fmla="*/ 4316869 h 4454665"/>
              <a:gd name="connsiteX103" fmla="*/ 10904964 w 12192000"/>
              <a:gd name="connsiteY103" fmla="*/ 4299355 h 4454665"/>
              <a:gd name="connsiteX104" fmla="*/ 10908483 w 12192000"/>
              <a:gd name="connsiteY104" fmla="*/ 4299355 h 4454665"/>
              <a:gd name="connsiteX105" fmla="*/ 10908483 w 12192000"/>
              <a:gd name="connsiteY105" fmla="*/ 4313366 h 4454665"/>
              <a:gd name="connsiteX106" fmla="*/ 10919039 w 12192000"/>
              <a:gd name="connsiteY106" fmla="*/ 4313366 h 4454665"/>
              <a:gd name="connsiteX107" fmla="*/ 10919039 w 12192000"/>
              <a:gd name="connsiteY107" fmla="*/ 4295852 h 4454665"/>
              <a:gd name="connsiteX108" fmla="*/ 10919039 w 12192000"/>
              <a:gd name="connsiteY108" fmla="*/ 4253819 h 4454665"/>
              <a:gd name="connsiteX109" fmla="*/ 10883851 w 12192000"/>
              <a:gd name="connsiteY109" fmla="*/ 4218790 h 4454665"/>
              <a:gd name="connsiteX110" fmla="*/ 10642268 w 12192000"/>
              <a:gd name="connsiteY110" fmla="*/ 4218790 h 4454665"/>
              <a:gd name="connsiteX111" fmla="*/ 10642268 w 12192000"/>
              <a:gd name="connsiteY111" fmla="*/ 4243173 h 4454665"/>
              <a:gd name="connsiteX112" fmla="*/ 10642268 w 12192000"/>
              <a:gd name="connsiteY112" fmla="*/ 4312838 h 4454665"/>
              <a:gd name="connsiteX113" fmla="*/ 10656343 w 12192000"/>
              <a:gd name="connsiteY113" fmla="*/ 4312838 h 4454665"/>
              <a:gd name="connsiteX114" fmla="*/ 10656343 w 12192000"/>
              <a:gd name="connsiteY114" fmla="*/ 4260589 h 4454665"/>
              <a:gd name="connsiteX115" fmla="*/ 10684494 w 12192000"/>
              <a:gd name="connsiteY115" fmla="*/ 4225756 h 4454665"/>
              <a:gd name="connsiteX116" fmla="*/ 10705607 w 12192000"/>
              <a:gd name="connsiteY116" fmla="*/ 4257106 h 4454665"/>
              <a:gd name="connsiteX117" fmla="*/ 10705607 w 12192000"/>
              <a:gd name="connsiteY117" fmla="*/ 4312838 h 4454665"/>
              <a:gd name="connsiteX118" fmla="*/ 10716163 w 12192000"/>
              <a:gd name="connsiteY118" fmla="*/ 4312838 h 4454665"/>
              <a:gd name="connsiteX119" fmla="*/ 10716163 w 12192000"/>
              <a:gd name="connsiteY119" fmla="*/ 4253622 h 4454665"/>
              <a:gd name="connsiteX120" fmla="*/ 10684494 w 12192000"/>
              <a:gd name="connsiteY120" fmla="*/ 4218790 h 4454665"/>
              <a:gd name="connsiteX121" fmla="*/ 10652824 w 12192000"/>
              <a:gd name="connsiteY121" fmla="*/ 4236206 h 4454665"/>
              <a:gd name="connsiteX122" fmla="*/ 10652824 w 12192000"/>
              <a:gd name="connsiteY122" fmla="*/ 4218790 h 4454665"/>
              <a:gd name="connsiteX123" fmla="*/ 10642268 w 12192000"/>
              <a:gd name="connsiteY123" fmla="*/ 4218790 h 4454665"/>
              <a:gd name="connsiteX124" fmla="*/ 10540159 w 12192000"/>
              <a:gd name="connsiteY124" fmla="*/ 4218790 h 4454665"/>
              <a:gd name="connsiteX125" fmla="*/ 10540159 w 12192000"/>
              <a:gd name="connsiteY125" fmla="*/ 4281840 h 4454665"/>
              <a:gd name="connsiteX126" fmla="*/ 10571828 w 12192000"/>
              <a:gd name="connsiteY126" fmla="*/ 4316869 h 4454665"/>
              <a:gd name="connsiteX127" fmla="*/ 10603498 w 12192000"/>
              <a:gd name="connsiteY127" fmla="*/ 4299355 h 4454665"/>
              <a:gd name="connsiteX128" fmla="*/ 10603498 w 12192000"/>
              <a:gd name="connsiteY128" fmla="*/ 4313366 h 4454665"/>
              <a:gd name="connsiteX129" fmla="*/ 10614054 w 12192000"/>
              <a:gd name="connsiteY129" fmla="*/ 4313366 h 4454665"/>
              <a:gd name="connsiteX130" fmla="*/ 10614054 w 12192000"/>
              <a:gd name="connsiteY130" fmla="*/ 4292349 h 4454665"/>
              <a:gd name="connsiteX131" fmla="*/ 10614054 w 12192000"/>
              <a:gd name="connsiteY131" fmla="*/ 4218790 h 4454665"/>
              <a:gd name="connsiteX132" fmla="*/ 10599979 w 12192000"/>
              <a:gd name="connsiteY132" fmla="*/ 4218790 h 4454665"/>
              <a:gd name="connsiteX133" fmla="*/ 10599979 w 12192000"/>
              <a:gd name="connsiteY133" fmla="*/ 4271332 h 4454665"/>
              <a:gd name="connsiteX134" fmla="*/ 10571828 w 12192000"/>
              <a:gd name="connsiteY134" fmla="*/ 4306360 h 4454665"/>
              <a:gd name="connsiteX135" fmla="*/ 10550715 w 12192000"/>
              <a:gd name="connsiteY135" fmla="*/ 4278338 h 4454665"/>
              <a:gd name="connsiteX136" fmla="*/ 10550715 w 12192000"/>
              <a:gd name="connsiteY136" fmla="*/ 4218790 h 4454665"/>
              <a:gd name="connsiteX137" fmla="*/ 10540159 w 12192000"/>
              <a:gd name="connsiteY137" fmla="*/ 4218790 h 4454665"/>
              <a:gd name="connsiteX138" fmla="*/ 10471637 w 12192000"/>
              <a:gd name="connsiteY138" fmla="*/ 4218790 h 4454665"/>
              <a:gd name="connsiteX139" fmla="*/ 10427300 w 12192000"/>
              <a:gd name="connsiteY139" fmla="*/ 4267830 h 4454665"/>
              <a:gd name="connsiteX140" fmla="*/ 10471637 w 12192000"/>
              <a:gd name="connsiteY140" fmla="*/ 4316869 h 4454665"/>
              <a:gd name="connsiteX141" fmla="*/ 10515975 w 12192000"/>
              <a:gd name="connsiteY141" fmla="*/ 4267830 h 4454665"/>
              <a:gd name="connsiteX142" fmla="*/ 10471637 w 12192000"/>
              <a:gd name="connsiteY142" fmla="*/ 4218790 h 4454665"/>
              <a:gd name="connsiteX143" fmla="*/ 11655303 w 12192000"/>
              <a:gd name="connsiteY143" fmla="*/ 4204011 h 4454665"/>
              <a:gd name="connsiteX144" fmla="*/ 11659333 w 12192000"/>
              <a:gd name="connsiteY144" fmla="*/ 4214760 h 4454665"/>
              <a:gd name="connsiteX145" fmla="*/ 11663364 w 12192000"/>
              <a:gd name="connsiteY145" fmla="*/ 4221478 h 4454665"/>
              <a:gd name="connsiteX146" fmla="*/ 11648585 w 12192000"/>
              <a:gd name="connsiteY146" fmla="*/ 4221478 h 4454665"/>
              <a:gd name="connsiteX147" fmla="*/ 11652616 w 12192000"/>
              <a:gd name="connsiteY147" fmla="*/ 4214760 h 4454665"/>
              <a:gd name="connsiteX148" fmla="*/ 11659446 w 12192000"/>
              <a:gd name="connsiteY148" fmla="*/ 4193263 h 4454665"/>
              <a:gd name="connsiteX149" fmla="*/ 11649032 w 12192000"/>
              <a:gd name="connsiteY149" fmla="*/ 4196777 h 4454665"/>
              <a:gd name="connsiteX150" fmla="*/ 11645562 w 12192000"/>
              <a:gd name="connsiteY150" fmla="*/ 4214347 h 4454665"/>
              <a:gd name="connsiteX151" fmla="*/ 11635149 w 12192000"/>
              <a:gd name="connsiteY151" fmla="*/ 4235429 h 4454665"/>
              <a:gd name="connsiteX152" fmla="*/ 11645562 w 12192000"/>
              <a:gd name="connsiteY152" fmla="*/ 4238943 h 4454665"/>
              <a:gd name="connsiteX153" fmla="*/ 11645562 w 12192000"/>
              <a:gd name="connsiteY153" fmla="*/ 4228402 h 4454665"/>
              <a:gd name="connsiteX154" fmla="*/ 11666387 w 12192000"/>
              <a:gd name="connsiteY154" fmla="*/ 4228402 h 4454665"/>
              <a:gd name="connsiteX155" fmla="*/ 11666387 w 12192000"/>
              <a:gd name="connsiteY155" fmla="*/ 4235429 h 4454665"/>
              <a:gd name="connsiteX156" fmla="*/ 11676800 w 12192000"/>
              <a:gd name="connsiteY156" fmla="*/ 4235429 h 4454665"/>
              <a:gd name="connsiteX157" fmla="*/ 11666387 w 12192000"/>
              <a:gd name="connsiteY157" fmla="*/ 4214347 h 4454665"/>
              <a:gd name="connsiteX158" fmla="*/ 11659446 w 12192000"/>
              <a:gd name="connsiteY158" fmla="*/ 4196777 h 4454665"/>
              <a:gd name="connsiteX159" fmla="*/ 11659446 w 12192000"/>
              <a:gd name="connsiteY159" fmla="*/ 4193263 h 4454665"/>
              <a:gd name="connsiteX160" fmla="*/ 10964451 w 12192000"/>
              <a:gd name="connsiteY160" fmla="*/ 4193262 h 4454665"/>
              <a:gd name="connsiteX161" fmla="*/ 10953971 w 12192000"/>
              <a:gd name="connsiteY161" fmla="*/ 4196794 h 4454665"/>
              <a:gd name="connsiteX162" fmla="*/ 10953971 w 12192000"/>
              <a:gd name="connsiteY162" fmla="*/ 4217983 h 4454665"/>
              <a:gd name="connsiteX163" fmla="*/ 10936505 w 12192000"/>
              <a:gd name="connsiteY163" fmla="*/ 4217983 h 4454665"/>
              <a:gd name="connsiteX164" fmla="*/ 10936505 w 12192000"/>
              <a:gd name="connsiteY164" fmla="*/ 4228578 h 4454665"/>
              <a:gd name="connsiteX165" fmla="*/ 10953971 w 12192000"/>
              <a:gd name="connsiteY165" fmla="*/ 4228578 h 4454665"/>
              <a:gd name="connsiteX166" fmla="*/ 10953971 w 12192000"/>
              <a:gd name="connsiteY166" fmla="*/ 4285084 h 4454665"/>
              <a:gd name="connsiteX167" fmla="*/ 10974931 w 12192000"/>
              <a:gd name="connsiteY167" fmla="*/ 4316868 h 4454665"/>
              <a:gd name="connsiteX168" fmla="*/ 10988904 w 12192000"/>
              <a:gd name="connsiteY168" fmla="*/ 4313337 h 4454665"/>
              <a:gd name="connsiteX169" fmla="*/ 10988904 w 12192000"/>
              <a:gd name="connsiteY169" fmla="*/ 4302742 h 4454665"/>
              <a:gd name="connsiteX170" fmla="*/ 10978424 w 12192000"/>
              <a:gd name="connsiteY170" fmla="*/ 4306273 h 4454665"/>
              <a:gd name="connsiteX171" fmla="*/ 10964451 w 12192000"/>
              <a:gd name="connsiteY171" fmla="*/ 4292147 h 4454665"/>
              <a:gd name="connsiteX172" fmla="*/ 10964451 w 12192000"/>
              <a:gd name="connsiteY172" fmla="*/ 4228578 h 4454665"/>
              <a:gd name="connsiteX173" fmla="*/ 10985410 w 12192000"/>
              <a:gd name="connsiteY173" fmla="*/ 4228578 h 4454665"/>
              <a:gd name="connsiteX174" fmla="*/ 10985410 w 12192000"/>
              <a:gd name="connsiteY174" fmla="*/ 4217983 h 4454665"/>
              <a:gd name="connsiteX175" fmla="*/ 10964451 w 12192000"/>
              <a:gd name="connsiteY175" fmla="*/ 4217983 h 4454665"/>
              <a:gd name="connsiteX176" fmla="*/ 10964451 w 12192000"/>
              <a:gd name="connsiteY176" fmla="*/ 4193262 h 4454665"/>
              <a:gd name="connsiteX177" fmla="*/ 11599881 w 12192000"/>
              <a:gd name="connsiteY177" fmla="*/ 4190576 h 4454665"/>
              <a:gd name="connsiteX178" fmla="*/ 11589469 w 12192000"/>
              <a:gd name="connsiteY178" fmla="*/ 4232742 h 4454665"/>
              <a:gd name="connsiteX179" fmla="*/ 11599881 w 12192000"/>
              <a:gd name="connsiteY179" fmla="*/ 4232742 h 4454665"/>
              <a:gd name="connsiteX180" fmla="*/ 11603352 w 12192000"/>
              <a:gd name="connsiteY180" fmla="*/ 4208146 h 4454665"/>
              <a:gd name="connsiteX181" fmla="*/ 11617236 w 12192000"/>
              <a:gd name="connsiteY181" fmla="*/ 4236256 h 4454665"/>
              <a:gd name="connsiteX182" fmla="*/ 11624178 w 12192000"/>
              <a:gd name="connsiteY182" fmla="*/ 4236256 h 4454665"/>
              <a:gd name="connsiteX183" fmla="*/ 11631119 w 12192000"/>
              <a:gd name="connsiteY183" fmla="*/ 4194090 h 4454665"/>
              <a:gd name="connsiteX184" fmla="*/ 11624178 w 12192000"/>
              <a:gd name="connsiteY184" fmla="*/ 4194090 h 4454665"/>
              <a:gd name="connsiteX185" fmla="*/ 11620707 w 12192000"/>
              <a:gd name="connsiteY185" fmla="*/ 4222201 h 4454665"/>
              <a:gd name="connsiteX186" fmla="*/ 11606824 w 12192000"/>
              <a:gd name="connsiteY186" fmla="*/ 4190576 h 4454665"/>
              <a:gd name="connsiteX187" fmla="*/ 11599881 w 12192000"/>
              <a:gd name="connsiteY187" fmla="*/ 4190576 h 4454665"/>
              <a:gd name="connsiteX188" fmla="*/ 11709044 w 12192000"/>
              <a:gd name="connsiteY188" fmla="*/ 4186546 h 4454665"/>
              <a:gd name="connsiteX189" fmla="*/ 11674112 w 12192000"/>
              <a:gd name="connsiteY189" fmla="*/ 4193647 h 4454665"/>
              <a:gd name="connsiteX190" fmla="*/ 11674112 w 12192000"/>
              <a:gd name="connsiteY190" fmla="*/ 4200749 h 4454665"/>
              <a:gd name="connsiteX191" fmla="*/ 11688084 w 12192000"/>
              <a:gd name="connsiteY191" fmla="*/ 4200749 h 4454665"/>
              <a:gd name="connsiteX192" fmla="*/ 11695071 w 12192000"/>
              <a:gd name="connsiteY192" fmla="*/ 4236257 h 4454665"/>
              <a:gd name="connsiteX193" fmla="*/ 11702057 w 12192000"/>
              <a:gd name="connsiteY193" fmla="*/ 4232706 h 4454665"/>
              <a:gd name="connsiteX194" fmla="*/ 11695071 w 12192000"/>
              <a:gd name="connsiteY194" fmla="*/ 4197198 h 4454665"/>
              <a:gd name="connsiteX195" fmla="*/ 11709044 w 12192000"/>
              <a:gd name="connsiteY195" fmla="*/ 4193647 h 4454665"/>
              <a:gd name="connsiteX196" fmla="*/ 11564748 w 12192000"/>
              <a:gd name="connsiteY196" fmla="*/ 4186546 h 4454665"/>
              <a:gd name="connsiteX197" fmla="*/ 11575228 w 12192000"/>
              <a:gd name="connsiteY197" fmla="*/ 4189905 h 4454665"/>
              <a:gd name="connsiteX198" fmla="*/ 11578720 w 12192000"/>
              <a:gd name="connsiteY198" fmla="*/ 4193264 h 4454665"/>
              <a:gd name="connsiteX199" fmla="*/ 11578720 w 12192000"/>
              <a:gd name="connsiteY199" fmla="*/ 4196622 h 4454665"/>
              <a:gd name="connsiteX200" fmla="*/ 11571734 w 12192000"/>
              <a:gd name="connsiteY200" fmla="*/ 4199981 h 4454665"/>
              <a:gd name="connsiteX201" fmla="*/ 11561254 w 12192000"/>
              <a:gd name="connsiteY201" fmla="*/ 4196622 h 4454665"/>
              <a:gd name="connsiteX202" fmla="*/ 11564748 w 12192000"/>
              <a:gd name="connsiteY202" fmla="*/ 4193264 h 4454665"/>
              <a:gd name="connsiteX203" fmla="*/ 11564748 w 12192000"/>
              <a:gd name="connsiteY203" fmla="*/ 4186546 h 4454665"/>
              <a:gd name="connsiteX204" fmla="*/ 11014562 w 12192000"/>
              <a:gd name="connsiteY204" fmla="*/ 4184660 h 4454665"/>
              <a:gd name="connsiteX205" fmla="*/ 11014562 w 12192000"/>
              <a:gd name="connsiteY205" fmla="*/ 4198354 h 4454665"/>
              <a:gd name="connsiteX206" fmla="*/ 11026851 w 12192000"/>
              <a:gd name="connsiteY206" fmla="*/ 4198354 h 4454665"/>
              <a:gd name="connsiteX207" fmla="*/ 11026851 w 12192000"/>
              <a:gd name="connsiteY207" fmla="*/ 4184660 h 4454665"/>
              <a:gd name="connsiteX208" fmla="*/ 11715762 w 12192000"/>
              <a:gd name="connsiteY208" fmla="*/ 4182514 h 4454665"/>
              <a:gd name="connsiteX209" fmla="*/ 11729582 w 12192000"/>
              <a:gd name="connsiteY209" fmla="*/ 4225508 h 4454665"/>
              <a:gd name="connsiteX210" fmla="*/ 11739946 w 12192000"/>
              <a:gd name="connsiteY210" fmla="*/ 4221925 h 4454665"/>
              <a:gd name="connsiteX211" fmla="*/ 11726127 w 12192000"/>
              <a:gd name="connsiteY211" fmla="*/ 4182514 h 4454665"/>
              <a:gd name="connsiteX212" fmla="*/ 11715762 w 12192000"/>
              <a:gd name="connsiteY212" fmla="*/ 4182514 h 4454665"/>
              <a:gd name="connsiteX213" fmla="*/ 10346688 w 12192000"/>
              <a:gd name="connsiteY213" fmla="*/ 4182514 h 4454665"/>
              <a:gd name="connsiteX214" fmla="*/ 10346688 w 12192000"/>
              <a:gd name="connsiteY214" fmla="*/ 4312838 h 4454665"/>
              <a:gd name="connsiteX215" fmla="*/ 10361467 w 12192000"/>
              <a:gd name="connsiteY215" fmla="*/ 4312838 h 4454665"/>
              <a:gd name="connsiteX216" fmla="*/ 10361467 w 12192000"/>
              <a:gd name="connsiteY216" fmla="*/ 4253722 h 4454665"/>
              <a:gd name="connsiteX217" fmla="*/ 10407148 w 12192000"/>
              <a:gd name="connsiteY217" fmla="*/ 4253722 h 4454665"/>
              <a:gd name="connsiteX218" fmla="*/ 10407148 w 12192000"/>
              <a:gd name="connsiteY218" fmla="*/ 4242974 h 4454665"/>
              <a:gd name="connsiteX219" fmla="*/ 10361467 w 12192000"/>
              <a:gd name="connsiteY219" fmla="*/ 4242974 h 4454665"/>
              <a:gd name="connsiteX220" fmla="*/ 10361467 w 12192000"/>
              <a:gd name="connsiteY220" fmla="*/ 4193262 h 4454665"/>
              <a:gd name="connsiteX221" fmla="*/ 10409835 w 12192000"/>
              <a:gd name="connsiteY221" fmla="*/ 4193262 h 4454665"/>
              <a:gd name="connsiteX222" fmla="*/ 10409835 w 12192000"/>
              <a:gd name="connsiteY222" fmla="*/ 4182514 h 4454665"/>
              <a:gd name="connsiteX223" fmla="*/ 11561143 w 12192000"/>
              <a:gd name="connsiteY223" fmla="*/ 4175797 h 4454665"/>
              <a:gd name="connsiteX224" fmla="*/ 11554200 w 12192000"/>
              <a:gd name="connsiteY224" fmla="*/ 4193264 h 4454665"/>
              <a:gd name="connsiteX225" fmla="*/ 11554200 w 12192000"/>
              <a:gd name="connsiteY225" fmla="*/ 4196756 h 4454665"/>
              <a:gd name="connsiteX226" fmla="*/ 11543788 w 12192000"/>
              <a:gd name="connsiteY226" fmla="*/ 4214223 h 4454665"/>
              <a:gd name="connsiteX227" fmla="*/ 11554200 w 12192000"/>
              <a:gd name="connsiteY227" fmla="*/ 4217716 h 4454665"/>
              <a:gd name="connsiteX228" fmla="*/ 11557671 w 12192000"/>
              <a:gd name="connsiteY228" fmla="*/ 4203743 h 4454665"/>
              <a:gd name="connsiteX229" fmla="*/ 11568084 w 12192000"/>
              <a:gd name="connsiteY229" fmla="*/ 4207237 h 4454665"/>
              <a:gd name="connsiteX230" fmla="*/ 11568084 w 12192000"/>
              <a:gd name="connsiteY230" fmla="*/ 4224702 h 4454665"/>
              <a:gd name="connsiteX231" fmla="*/ 11578497 w 12192000"/>
              <a:gd name="connsiteY231" fmla="*/ 4228196 h 4454665"/>
              <a:gd name="connsiteX232" fmla="*/ 11575026 w 12192000"/>
              <a:gd name="connsiteY232" fmla="*/ 4207237 h 4454665"/>
              <a:gd name="connsiteX233" fmla="*/ 11585438 w 12192000"/>
              <a:gd name="connsiteY233" fmla="*/ 4196756 h 4454665"/>
              <a:gd name="connsiteX234" fmla="*/ 11585438 w 12192000"/>
              <a:gd name="connsiteY234" fmla="*/ 4193264 h 4454665"/>
              <a:gd name="connsiteX235" fmla="*/ 11578497 w 12192000"/>
              <a:gd name="connsiteY235" fmla="*/ 4182784 h 4454665"/>
              <a:gd name="connsiteX236" fmla="*/ 11561143 w 12192000"/>
              <a:gd name="connsiteY236" fmla="*/ 4175797 h 4454665"/>
              <a:gd name="connsiteX237" fmla="*/ 11766241 w 12192000"/>
              <a:gd name="connsiteY237" fmla="*/ 4173090 h 4454665"/>
              <a:gd name="connsiteX238" fmla="*/ 11774878 w 12192000"/>
              <a:gd name="connsiteY238" fmla="*/ 4178821 h 4454665"/>
              <a:gd name="connsiteX239" fmla="*/ 11774878 w 12192000"/>
              <a:gd name="connsiteY239" fmla="*/ 4185874 h 4454665"/>
              <a:gd name="connsiteX240" fmla="*/ 11771423 w 12192000"/>
              <a:gd name="connsiteY240" fmla="*/ 4196455 h 4454665"/>
              <a:gd name="connsiteX241" fmla="*/ 11767968 w 12192000"/>
              <a:gd name="connsiteY241" fmla="*/ 4199982 h 4454665"/>
              <a:gd name="connsiteX242" fmla="*/ 11754149 w 12192000"/>
              <a:gd name="connsiteY242" fmla="*/ 4196455 h 4454665"/>
              <a:gd name="connsiteX243" fmla="*/ 11750694 w 12192000"/>
              <a:gd name="connsiteY243" fmla="*/ 4192929 h 4454665"/>
              <a:gd name="connsiteX244" fmla="*/ 11750694 w 12192000"/>
              <a:gd name="connsiteY244" fmla="*/ 4185874 h 4454665"/>
              <a:gd name="connsiteX245" fmla="*/ 11757604 w 12192000"/>
              <a:gd name="connsiteY245" fmla="*/ 4175294 h 4454665"/>
              <a:gd name="connsiteX246" fmla="*/ 11766241 w 12192000"/>
              <a:gd name="connsiteY246" fmla="*/ 4173090 h 4454665"/>
              <a:gd name="connsiteX247" fmla="*/ 10810738 w 12192000"/>
              <a:gd name="connsiteY247" fmla="*/ 4171765 h 4454665"/>
              <a:gd name="connsiteX248" fmla="*/ 10810738 w 12192000"/>
              <a:gd name="connsiteY248" fmla="*/ 4235469 h 4454665"/>
              <a:gd name="connsiteX249" fmla="*/ 10782231 w 12192000"/>
              <a:gd name="connsiteY249" fmla="*/ 4217773 h 4454665"/>
              <a:gd name="connsiteX250" fmla="*/ 10743034 w 12192000"/>
              <a:gd name="connsiteY250" fmla="*/ 4267321 h 4454665"/>
              <a:gd name="connsiteX251" fmla="*/ 10782231 w 12192000"/>
              <a:gd name="connsiteY251" fmla="*/ 4316868 h 4454665"/>
              <a:gd name="connsiteX252" fmla="*/ 10810738 w 12192000"/>
              <a:gd name="connsiteY252" fmla="*/ 4299172 h 4454665"/>
              <a:gd name="connsiteX253" fmla="*/ 10810738 w 12192000"/>
              <a:gd name="connsiteY253" fmla="*/ 4313329 h 4454665"/>
              <a:gd name="connsiteX254" fmla="*/ 10824991 w 12192000"/>
              <a:gd name="connsiteY254" fmla="*/ 4313329 h 4454665"/>
              <a:gd name="connsiteX255" fmla="*/ 10824991 w 12192000"/>
              <a:gd name="connsiteY255" fmla="*/ 4171765 h 4454665"/>
              <a:gd name="connsiteX256" fmla="*/ 10810738 w 12192000"/>
              <a:gd name="connsiteY256" fmla="*/ 4171765 h 4454665"/>
              <a:gd name="connsiteX257" fmla="*/ 11768161 w 12192000"/>
              <a:gd name="connsiteY257" fmla="*/ 4166249 h 4454665"/>
              <a:gd name="connsiteX258" fmla="*/ 11750694 w 12192000"/>
              <a:gd name="connsiteY258" fmla="*/ 4169272 h 4454665"/>
              <a:gd name="connsiteX259" fmla="*/ 11739946 w 12192000"/>
              <a:gd name="connsiteY259" fmla="*/ 4186546 h 4454665"/>
              <a:gd name="connsiteX260" fmla="*/ 11743528 w 12192000"/>
              <a:gd name="connsiteY260" fmla="*/ 4196911 h 4454665"/>
              <a:gd name="connsiteX261" fmla="*/ 11772191 w 12192000"/>
              <a:gd name="connsiteY261" fmla="*/ 4203821 h 4454665"/>
              <a:gd name="connsiteX262" fmla="*/ 11782939 w 12192000"/>
              <a:gd name="connsiteY262" fmla="*/ 4196911 h 4454665"/>
              <a:gd name="connsiteX263" fmla="*/ 11782939 w 12192000"/>
              <a:gd name="connsiteY263" fmla="*/ 4186546 h 4454665"/>
              <a:gd name="connsiteX264" fmla="*/ 11782939 w 12192000"/>
              <a:gd name="connsiteY264" fmla="*/ 4176182 h 4454665"/>
              <a:gd name="connsiteX265" fmla="*/ 11768161 w 12192000"/>
              <a:gd name="connsiteY265" fmla="*/ 4166249 h 4454665"/>
              <a:gd name="connsiteX266" fmla="*/ 11525909 w 12192000"/>
              <a:gd name="connsiteY266" fmla="*/ 4158331 h 4454665"/>
              <a:gd name="connsiteX267" fmla="*/ 11504825 w 12192000"/>
              <a:gd name="connsiteY267" fmla="*/ 4193263 h 4454665"/>
              <a:gd name="connsiteX268" fmla="*/ 11529423 w 12192000"/>
              <a:gd name="connsiteY268" fmla="*/ 4210729 h 4454665"/>
              <a:gd name="connsiteX269" fmla="*/ 11532937 w 12192000"/>
              <a:gd name="connsiteY269" fmla="*/ 4203743 h 4454665"/>
              <a:gd name="connsiteX270" fmla="*/ 11515367 w 12192000"/>
              <a:gd name="connsiteY270" fmla="*/ 4193263 h 4454665"/>
              <a:gd name="connsiteX271" fmla="*/ 11522395 w 12192000"/>
              <a:gd name="connsiteY271" fmla="*/ 4182784 h 4454665"/>
              <a:gd name="connsiteX272" fmla="*/ 11532937 w 12192000"/>
              <a:gd name="connsiteY272" fmla="*/ 4189770 h 4454665"/>
              <a:gd name="connsiteX273" fmla="*/ 11536450 w 12192000"/>
              <a:gd name="connsiteY273" fmla="*/ 4182784 h 4454665"/>
              <a:gd name="connsiteX274" fmla="*/ 11525909 w 12192000"/>
              <a:gd name="connsiteY274" fmla="*/ 4175797 h 4454665"/>
              <a:gd name="connsiteX275" fmla="*/ 11529423 w 12192000"/>
              <a:gd name="connsiteY275" fmla="*/ 4168811 h 4454665"/>
              <a:gd name="connsiteX276" fmla="*/ 11546992 w 12192000"/>
              <a:gd name="connsiteY276" fmla="*/ 4179290 h 4454665"/>
              <a:gd name="connsiteX277" fmla="*/ 11550506 w 12192000"/>
              <a:gd name="connsiteY277" fmla="*/ 4172303 h 4454665"/>
              <a:gd name="connsiteX278" fmla="*/ 11525909 w 12192000"/>
              <a:gd name="connsiteY278" fmla="*/ 4158331 h 4454665"/>
              <a:gd name="connsiteX279" fmla="*/ 11803361 w 12192000"/>
              <a:gd name="connsiteY279" fmla="*/ 4130117 h 4454665"/>
              <a:gd name="connsiteX280" fmla="*/ 11796375 w 12192000"/>
              <a:gd name="connsiteY280" fmla="*/ 4137170 h 4454665"/>
              <a:gd name="connsiteX281" fmla="*/ 11813840 w 12192000"/>
              <a:gd name="connsiteY281" fmla="*/ 4154804 h 4454665"/>
              <a:gd name="connsiteX282" fmla="*/ 11785895 w 12192000"/>
              <a:gd name="connsiteY282" fmla="*/ 4147751 h 4454665"/>
              <a:gd name="connsiteX283" fmla="*/ 11778908 w 12192000"/>
              <a:gd name="connsiteY283" fmla="*/ 4151277 h 4454665"/>
              <a:gd name="connsiteX284" fmla="*/ 11803361 w 12192000"/>
              <a:gd name="connsiteY284" fmla="*/ 4186546 h 4454665"/>
              <a:gd name="connsiteX285" fmla="*/ 11810348 w 12192000"/>
              <a:gd name="connsiteY285" fmla="*/ 4179492 h 4454665"/>
              <a:gd name="connsiteX286" fmla="*/ 11796375 w 12192000"/>
              <a:gd name="connsiteY286" fmla="*/ 4158331 h 4454665"/>
              <a:gd name="connsiteX287" fmla="*/ 11824320 w 12192000"/>
              <a:gd name="connsiteY287" fmla="*/ 4168911 h 4454665"/>
              <a:gd name="connsiteX288" fmla="*/ 11831307 w 12192000"/>
              <a:gd name="connsiteY288" fmla="*/ 4161858 h 4454665"/>
              <a:gd name="connsiteX289" fmla="*/ 11803361 w 12192000"/>
              <a:gd name="connsiteY289" fmla="*/ 4130117 h 4454665"/>
              <a:gd name="connsiteX290" fmla="*/ 11495008 w 12192000"/>
              <a:gd name="connsiteY290" fmla="*/ 4130117 h 4454665"/>
              <a:gd name="connsiteX291" fmla="*/ 11487980 w 12192000"/>
              <a:gd name="connsiteY291" fmla="*/ 4133630 h 4454665"/>
              <a:gd name="connsiteX292" fmla="*/ 11498522 w 12192000"/>
              <a:gd name="connsiteY292" fmla="*/ 4144172 h 4454665"/>
              <a:gd name="connsiteX293" fmla="*/ 11473924 w 12192000"/>
              <a:gd name="connsiteY293" fmla="*/ 4168769 h 4454665"/>
              <a:gd name="connsiteX294" fmla="*/ 11480952 w 12192000"/>
              <a:gd name="connsiteY294" fmla="*/ 4175797 h 4454665"/>
              <a:gd name="connsiteX295" fmla="*/ 11505548 w 12192000"/>
              <a:gd name="connsiteY295" fmla="*/ 4151200 h 4454665"/>
              <a:gd name="connsiteX296" fmla="*/ 11516090 w 12192000"/>
              <a:gd name="connsiteY296" fmla="*/ 4158227 h 4454665"/>
              <a:gd name="connsiteX297" fmla="*/ 11519604 w 12192000"/>
              <a:gd name="connsiteY297" fmla="*/ 4151200 h 4454665"/>
              <a:gd name="connsiteX298" fmla="*/ 11495008 w 12192000"/>
              <a:gd name="connsiteY298" fmla="*/ 4130117 h 4454665"/>
              <a:gd name="connsiteX299" fmla="*/ 11824589 w 12192000"/>
              <a:gd name="connsiteY299" fmla="*/ 4119368 h 4454665"/>
              <a:gd name="connsiteX300" fmla="*/ 11842055 w 12192000"/>
              <a:gd name="connsiteY300" fmla="*/ 4126086 h 4454665"/>
              <a:gd name="connsiteX301" fmla="*/ 11842055 w 12192000"/>
              <a:gd name="connsiteY301" fmla="*/ 4130117 h 4454665"/>
              <a:gd name="connsiteX302" fmla="*/ 11835337 w 12192000"/>
              <a:gd name="connsiteY302" fmla="*/ 4136835 h 4454665"/>
              <a:gd name="connsiteX303" fmla="*/ 11831307 w 12192000"/>
              <a:gd name="connsiteY303" fmla="*/ 4130117 h 4454665"/>
              <a:gd name="connsiteX304" fmla="*/ 11820942 w 12192000"/>
              <a:gd name="connsiteY304" fmla="*/ 4112650 h 4454665"/>
              <a:gd name="connsiteX305" fmla="*/ 11813840 w 12192000"/>
              <a:gd name="connsiteY305" fmla="*/ 4119592 h 4454665"/>
              <a:gd name="connsiteX306" fmla="*/ 11820942 w 12192000"/>
              <a:gd name="connsiteY306" fmla="*/ 4130004 h 4454665"/>
              <a:gd name="connsiteX307" fmla="*/ 11838696 w 12192000"/>
              <a:gd name="connsiteY307" fmla="*/ 4154300 h 4454665"/>
              <a:gd name="connsiteX308" fmla="*/ 11842247 w 12192000"/>
              <a:gd name="connsiteY308" fmla="*/ 4150830 h 4454665"/>
              <a:gd name="connsiteX309" fmla="*/ 11838696 w 12192000"/>
              <a:gd name="connsiteY309" fmla="*/ 4143888 h 4454665"/>
              <a:gd name="connsiteX310" fmla="*/ 11849349 w 12192000"/>
              <a:gd name="connsiteY310" fmla="*/ 4130004 h 4454665"/>
              <a:gd name="connsiteX311" fmla="*/ 11856450 w 12192000"/>
              <a:gd name="connsiteY311" fmla="*/ 4130004 h 4454665"/>
              <a:gd name="connsiteX312" fmla="*/ 11860002 w 12192000"/>
              <a:gd name="connsiteY312" fmla="*/ 4130004 h 4454665"/>
              <a:gd name="connsiteX313" fmla="*/ 11863552 w 12192000"/>
              <a:gd name="connsiteY313" fmla="*/ 4123062 h 4454665"/>
              <a:gd name="connsiteX314" fmla="*/ 11820942 w 12192000"/>
              <a:gd name="connsiteY314" fmla="*/ 4112650 h 4454665"/>
              <a:gd name="connsiteX315" fmla="*/ 11466198 w 12192000"/>
              <a:gd name="connsiteY315" fmla="*/ 4097871 h 4454665"/>
              <a:gd name="connsiteX316" fmla="*/ 11430930 w 12192000"/>
              <a:gd name="connsiteY316" fmla="*/ 4122951 h 4454665"/>
              <a:gd name="connsiteX317" fmla="*/ 11437984 w 12192000"/>
              <a:gd name="connsiteY317" fmla="*/ 4130117 h 4454665"/>
              <a:gd name="connsiteX318" fmla="*/ 11459145 w 12192000"/>
              <a:gd name="connsiteY318" fmla="*/ 4115786 h 4454665"/>
              <a:gd name="connsiteX319" fmla="*/ 11448564 w 12192000"/>
              <a:gd name="connsiteY319" fmla="*/ 4144447 h 4454665"/>
              <a:gd name="connsiteX320" fmla="*/ 11455618 w 12192000"/>
              <a:gd name="connsiteY320" fmla="*/ 4151613 h 4454665"/>
              <a:gd name="connsiteX321" fmla="*/ 11487359 w 12192000"/>
              <a:gd name="connsiteY321" fmla="*/ 4122951 h 4454665"/>
              <a:gd name="connsiteX322" fmla="*/ 11483833 w 12192000"/>
              <a:gd name="connsiteY322" fmla="*/ 4115786 h 4454665"/>
              <a:gd name="connsiteX323" fmla="*/ 11462672 w 12192000"/>
              <a:gd name="connsiteY323" fmla="*/ 4133699 h 4454665"/>
              <a:gd name="connsiteX324" fmla="*/ 11473252 w 12192000"/>
              <a:gd name="connsiteY324" fmla="*/ 4105037 h 4454665"/>
              <a:gd name="connsiteX325" fmla="*/ 11466198 w 12192000"/>
              <a:gd name="connsiteY325" fmla="*/ 4097871 h 4454665"/>
              <a:gd name="connsiteX326" fmla="*/ 11835338 w 12192000"/>
              <a:gd name="connsiteY326" fmla="*/ 4087123 h 4454665"/>
              <a:gd name="connsiteX327" fmla="*/ 11831307 w 12192000"/>
              <a:gd name="connsiteY327" fmla="*/ 4095184 h 4454665"/>
              <a:gd name="connsiteX328" fmla="*/ 11870270 w 12192000"/>
              <a:gd name="connsiteY328" fmla="*/ 4115338 h 4454665"/>
              <a:gd name="connsiteX329" fmla="*/ 11883706 w 12192000"/>
              <a:gd name="connsiteY329" fmla="*/ 4091154 h 4454665"/>
              <a:gd name="connsiteX330" fmla="*/ 11876988 w 12192000"/>
              <a:gd name="connsiteY330" fmla="*/ 4087123 h 4454665"/>
              <a:gd name="connsiteX331" fmla="*/ 11866239 w 12192000"/>
              <a:gd name="connsiteY331" fmla="*/ 4105933 h 4454665"/>
              <a:gd name="connsiteX332" fmla="*/ 11459634 w 12192000"/>
              <a:gd name="connsiteY332" fmla="*/ 4084436 h 4454665"/>
              <a:gd name="connsiteX333" fmla="*/ 11424212 w 12192000"/>
              <a:gd name="connsiteY333" fmla="*/ 4105598 h 4454665"/>
              <a:gd name="connsiteX334" fmla="*/ 11427754 w 12192000"/>
              <a:gd name="connsiteY334" fmla="*/ 4112651 h 4454665"/>
              <a:gd name="connsiteX335" fmla="*/ 11463176 w 12192000"/>
              <a:gd name="connsiteY335" fmla="*/ 4091490 h 4454665"/>
              <a:gd name="connsiteX336" fmla="*/ 11459634 w 12192000"/>
              <a:gd name="connsiteY336" fmla="*/ 4084436 h 4454665"/>
              <a:gd name="connsiteX337" fmla="*/ 11450927 w 12192000"/>
              <a:gd name="connsiteY337" fmla="*/ 4050826 h 4454665"/>
              <a:gd name="connsiteX338" fmla="*/ 11456192 w 12192000"/>
              <a:gd name="connsiteY338" fmla="*/ 4056557 h 4454665"/>
              <a:gd name="connsiteX339" fmla="*/ 11649257 w 12192000"/>
              <a:gd name="connsiteY339" fmla="*/ 4187050 h 4454665"/>
              <a:gd name="connsiteX340" fmla="*/ 11842320 w 12192000"/>
              <a:gd name="connsiteY340" fmla="*/ 4056557 h 4454665"/>
              <a:gd name="connsiteX341" fmla="*/ 11847586 w 12192000"/>
              <a:gd name="connsiteY341" fmla="*/ 4050826 h 4454665"/>
              <a:gd name="connsiteX342" fmla="*/ 11852851 w 12192000"/>
              <a:gd name="connsiteY342" fmla="*/ 4053030 h 4454665"/>
              <a:gd name="connsiteX343" fmla="*/ 11891464 w 12192000"/>
              <a:gd name="connsiteY343" fmla="*/ 4063611 h 4454665"/>
              <a:gd name="connsiteX344" fmla="*/ 11898484 w 12192000"/>
              <a:gd name="connsiteY344" fmla="*/ 4074191 h 4454665"/>
              <a:gd name="connsiteX345" fmla="*/ 11649257 w 12192000"/>
              <a:gd name="connsiteY345" fmla="*/ 4247006 h 4454665"/>
              <a:gd name="connsiteX346" fmla="*/ 11400028 w 12192000"/>
              <a:gd name="connsiteY346" fmla="*/ 4077719 h 4454665"/>
              <a:gd name="connsiteX347" fmla="*/ 11407049 w 12192000"/>
              <a:gd name="connsiteY347" fmla="*/ 4063611 h 4454665"/>
              <a:gd name="connsiteX348" fmla="*/ 11445662 w 12192000"/>
              <a:gd name="connsiteY348" fmla="*/ 4053030 h 4454665"/>
              <a:gd name="connsiteX349" fmla="*/ 11450927 w 12192000"/>
              <a:gd name="connsiteY349" fmla="*/ 4050826 h 4454665"/>
              <a:gd name="connsiteX350" fmla="*/ 11603442 w 12192000"/>
              <a:gd name="connsiteY350" fmla="*/ 4044988 h 4454665"/>
              <a:gd name="connsiteX351" fmla="*/ 11613922 w 12192000"/>
              <a:gd name="connsiteY351" fmla="*/ 4044988 h 4454665"/>
              <a:gd name="connsiteX352" fmla="*/ 11617414 w 12192000"/>
              <a:gd name="connsiteY352" fmla="*/ 4052079 h 4454665"/>
              <a:gd name="connsiteX353" fmla="*/ 11624401 w 12192000"/>
              <a:gd name="connsiteY353" fmla="*/ 4154898 h 4454665"/>
              <a:gd name="connsiteX354" fmla="*/ 11620908 w 12192000"/>
              <a:gd name="connsiteY354" fmla="*/ 4165535 h 4454665"/>
              <a:gd name="connsiteX355" fmla="*/ 11613922 w 12192000"/>
              <a:gd name="connsiteY355" fmla="*/ 4165535 h 4454665"/>
              <a:gd name="connsiteX356" fmla="*/ 11505632 w 12192000"/>
              <a:gd name="connsiteY356" fmla="*/ 4101715 h 4454665"/>
              <a:gd name="connsiteX357" fmla="*/ 11502138 w 12192000"/>
              <a:gd name="connsiteY357" fmla="*/ 4098170 h 4454665"/>
              <a:gd name="connsiteX358" fmla="*/ 11502138 w 12192000"/>
              <a:gd name="connsiteY358" fmla="*/ 4094625 h 4454665"/>
              <a:gd name="connsiteX359" fmla="*/ 11509124 w 12192000"/>
              <a:gd name="connsiteY359" fmla="*/ 4091080 h 4454665"/>
              <a:gd name="connsiteX360" fmla="*/ 11603442 w 12192000"/>
              <a:gd name="connsiteY360" fmla="*/ 4044988 h 4454665"/>
              <a:gd name="connsiteX361" fmla="*/ 11688084 w 12192000"/>
              <a:gd name="connsiteY361" fmla="*/ 4041442 h 4454665"/>
              <a:gd name="connsiteX362" fmla="*/ 11698565 w 12192000"/>
              <a:gd name="connsiteY362" fmla="*/ 4041442 h 4454665"/>
              <a:gd name="connsiteX363" fmla="*/ 11789388 w 12192000"/>
              <a:gd name="connsiteY363" fmla="*/ 4087353 h 4454665"/>
              <a:gd name="connsiteX364" fmla="*/ 11796375 w 12192000"/>
              <a:gd name="connsiteY364" fmla="*/ 4094417 h 4454665"/>
              <a:gd name="connsiteX365" fmla="*/ 11792882 w 12192000"/>
              <a:gd name="connsiteY365" fmla="*/ 4101480 h 4454665"/>
              <a:gd name="connsiteX366" fmla="*/ 11684592 w 12192000"/>
              <a:gd name="connsiteY366" fmla="*/ 4165049 h 4454665"/>
              <a:gd name="connsiteX367" fmla="*/ 11677605 w 12192000"/>
              <a:gd name="connsiteY367" fmla="*/ 4165049 h 4454665"/>
              <a:gd name="connsiteX368" fmla="*/ 11674112 w 12192000"/>
              <a:gd name="connsiteY368" fmla="*/ 4154454 h 4454665"/>
              <a:gd name="connsiteX369" fmla="*/ 11684592 w 12192000"/>
              <a:gd name="connsiteY369" fmla="*/ 4052038 h 4454665"/>
              <a:gd name="connsiteX370" fmla="*/ 11688084 w 12192000"/>
              <a:gd name="connsiteY370" fmla="*/ 4041442 h 4454665"/>
              <a:gd name="connsiteX371" fmla="*/ 10810283 w 12192000"/>
              <a:gd name="connsiteY371" fmla="*/ 4002478 h 4454665"/>
              <a:gd name="connsiteX372" fmla="*/ 10851862 w 12192000"/>
              <a:gd name="connsiteY372" fmla="*/ 4002478 h 4454665"/>
              <a:gd name="connsiteX373" fmla="*/ 10851862 w 12192000"/>
              <a:gd name="connsiteY373" fmla="*/ 4045088 h 4454665"/>
              <a:gd name="connsiteX374" fmla="*/ 10803353 w 12192000"/>
              <a:gd name="connsiteY374" fmla="*/ 4052190 h 4454665"/>
              <a:gd name="connsiteX375" fmla="*/ 10786028 w 12192000"/>
              <a:gd name="connsiteY375" fmla="*/ 4027334 h 4454665"/>
              <a:gd name="connsiteX376" fmla="*/ 10810283 w 12192000"/>
              <a:gd name="connsiteY376" fmla="*/ 4002478 h 4454665"/>
              <a:gd name="connsiteX377" fmla="*/ 10494479 w 12192000"/>
              <a:gd name="connsiteY377" fmla="*/ 3932613 h 4454665"/>
              <a:gd name="connsiteX378" fmla="*/ 10536128 w 12192000"/>
              <a:gd name="connsiteY378" fmla="*/ 3988885 h 4454665"/>
              <a:gd name="connsiteX379" fmla="*/ 10494479 w 12192000"/>
              <a:gd name="connsiteY379" fmla="*/ 4052189 h 4454665"/>
              <a:gd name="connsiteX380" fmla="*/ 10452829 w 12192000"/>
              <a:gd name="connsiteY380" fmla="*/ 3988885 h 4454665"/>
              <a:gd name="connsiteX381" fmla="*/ 10494479 w 12192000"/>
              <a:gd name="connsiteY381" fmla="*/ 3932613 h 4454665"/>
              <a:gd name="connsiteX382" fmla="*/ 11639005 w 12192000"/>
              <a:gd name="connsiteY382" fmla="*/ 3928584 h 4454665"/>
              <a:gd name="connsiteX383" fmla="*/ 11660034 w 12192000"/>
              <a:gd name="connsiteY383" fmla="*/ 3928584 h 4454665"/>
              <a:gd name="connsiteX384" fmla="*/ 11660034 w 12192000"/>
              <a:gd name="connsiteY384" fmla="*/ 3939224 h 4454665"/>
              <a:gd name="connsiteX385" fmla="*/ 11691578 w 12192000"/>
              <a:gd name="connsiteY385" fmla="*/ 3978241 h 4454665"/>
              <a:gd name="connsiteX386" fmla="*/ 11649519 w 12192000"/>
              <a:gd name="connsiteY386" fmla="*/ 4017258 h 4454665"/>
              <a:gd name="connsiteX387" fmla="*/ 11610966 w 12192000"/>
              <a:gd name="connsiteY387" fmla="*/ 3978241 h 4454665"/>
              <a:gd name="connsiteX388" fmla="*/ 11639005 w 12192000"/>
              <a:gd name="connsiteY388" fmla="*/ 3939224 h 4454665"/>
              <a:gd name="connsiteX389" fmla="*/ 11639005 w 12192000"/>
              <a:gd name="connsiteY389" fmla="*/ 3928584 h 4454665"/>
              <a:gd name="connsiteX390" fmla="*/ 11649257 w 12192000"/>
              <a:gd name="connsiteY390" fmla="*/ 3917835 h 4454665"/>
              <a:gd name="connsiteX391" fmla="*/ 11589469 w 12192000"/>
              <a:gd name="connsiteY391" fmla="*/ 3978295 h 4454665"/>
              <a:gd name="connsiteX392" fmla="*/ 11649257 w 12192000"/>
              <a:gd name="connsiteY392" fmla="*/ 4038755 h 4454665"/>
              <a:gd name="connsiteX393" fmla="*/ 11709045 w 12192000"/>
              <a:gd name="connsiteY393" fmla="*/ 3978295 h 4454665"/>
              <a:gd name="connsiteX394" fmla="*/ 11649257 w 12192000"/>
              <a:gd name="connsiteY394" fmla="*/ 3917835 h 4454665"/>
              <a:gd name="connsiteX395" fmla="*/ 11649257 w 12192000"/>
              <a:gd name="connsiteY395" fmla="*/ 3911118 h 4454665"/>
              <a:gd name="connsiteX396" fmla="*/ 11715763 w 12192000"/>
              <a:gd name="connsiteY396" fmla="*/ 3978295 h 4454665"/>
              <a:gd name="connsiteX397" fmla="*/ 11649257 w 12192000"/>
              <a:gd name="connsiteY397" fmla="*/ 4045473 h 4454665"/>
              <a:gd name="connsiteX398" fmla="*/ 11582751 w 12192000"/>
              <a:gd name="connsiteY398" fmla="*/ 3978295 h 4454665"/>
              <a:gd name="connsiteX399" fmla="*/ 11649257 w 12192000"/>
              <a:gd name="connsiteY399" fmla="*/ 3911118 h 4454665"/>
              <a:gd name="connsiteX400" fmla="*/ 11824549 w 12192000"/>
              <a:gd name="connsiteY400" fmla="*/ 3908431 h 4454665"/>
              <a:gd name="connsiteX401" fmla="*/ 11828050 w 12192000"/>
              <a:gd name="connsiteY401" fmla="*/ 3915484 h 4454665"/>
              <a:gd name="connsiteX402" fmla="*/ 11828050 w 12192000"/>
              <a:gd name="connsiteY402" fmla="*/ 4038923 h 4454665"/>
              <a:gd name="connsiteX403" fmla="*/ 11824549 w 12192000"/>
              <a:gd name="connsiteY403" fmla="*/ 4045977 h 4454665"/>
              <a:gd name="connsiteX404" fmla="*/ 11817546 w 12192000"/>
              <a:gd name="connsiteY404" fmla="*/ 4045977 h 4454665"/>
              <a:gd name="connsiteX405" fmla="*/ 11730012 w 12192000"/>
              <a:gd name="connsiteY405" fmla="*/ 3986021 h 4454665"/>
              <a:gd name="connsiteX406" fmla="*/ 11726510 w 12192000"/>
              <a:gd name="connsiteY406" fmla="*/ 3978967 h 4454665"/>
              <a:gd name="connsiteX407" fmla="*/ 11730012 w 12192000"/>
              <a:gd name="connsiteY407" fmla="*/ 3968386 h 4454665"/>
              <a:gd name="connsiteX408" fmla="*/ 11814044 w 12192000"/>
              <a:gd name="connsiteY408" fmla="*/ 3911957 h 4454665"/>
              <a:gd name="connsiteX409" fmla="*/ 11824549 w 12192000"/>
              <a:gd name="connsiteY409" fmla="*/ 3908431 h 4454665"/>
              <a:gd name="connsiteX410" fmla="*/ 11473964 w 12192000"/>
              <a:gd name="connsiteY410" fmla="*/ 3908431 h 4454665"/>
              <a:gd name="connsiteX411" fmla="*/ 11480967 w 12192000"/>
              <a:gd name="connsiteY411" fmla="*/ 3911957 h 4454665"/>
              <a:gd name="connsiteX412" fmla="*/ 11568501 w 12192000"/>
              <a:gd name="connsiteY412" fmla="*/ 3968386 h 4454665"/>
              <a:gd name="connsiteX413" fmla="*/ 11572002 w 12192000"/>
              <a:gd name="connsiteY413" fmla="*/ 3978967 h 4454665"/>
              <a:gd name="connsiteX414" fmla="*/ 11568501 w 12192000"/>
              <a:gd name="connsiteY414" fmla="*/ 3986021 h 4454665"/>
              <a:gd name="connsiteX415" fmla="*/ 11480967 w 12192000"/>
              <a:gd name="connsiteY415" fmla="*/ 4045977 h 4454665"/>
              <a:gd name="connsiteX416" fmla="*/ 11473964 w 12192000"/>
              <a:gd name="connsiteY416" fmla="*/ 4045977 h 4454665"/>
              <a:gd name="connsiteX417" fmla="*/ 11466961 w 12192000"/>
              <a:gd name="connsiteY417" fmla="*/ 4042450 h 4454665"/>
              <a:gd name="connsiteX418" fmla="*/ 11466961 w 12192000"/>
              <a:gd name="connsiteY418" fmla="*/ 3915484 h 4454665"/>
              <a:gd name="connsiteX419" fmla="*/ 11473964 w 12192000"/>
              <a:gd name="connsiteY419" fmla="*/ 3908431 h 4454665"/>
              <a:gd name="connsiteX420" fmla="*/ 11070316 w 12192000"/>
              <a:gd name="connsiteY420" fmla="*/ 3897682 h 4454665"/>
              <a:gd name="connsiteX421" fmla="*/ 11070316 w 12192000"/>
              <a:gd name="connsiteY421" fmla="*/ 3904735 h 4454665"/>
              <a:gd name="connsiteX422" fmla="*/ 11112166 w 12192000"/>
              <a:gd name="connsiteY422" fmla="*/ 4066969 h 4454665"/>
              <a:gd name="connsiteX423" fmla="*/ 11133091 w 12192000"/>
              <a:gd name="connsiteY423" fmla="*/ 4088130 h 4454665"/>
              <a:gd name="connsiteX424" fmla="*/ 11143554 w 12192000"/>
              <a:gd name="connsiteY424" fmla="*/ 4088130 h 4454665"/>
              <a:gd name="connsiteX425" fmla="*/ 11140066 w 12192000"/>
              <a:gd name="connsiteY425" fmla="*/ 4095183 h 4454665"/>
              <a:gd name="connsiteX426" fmla="*/ 11112166 w 12192000"/>
              <a:gd name="connsiteY426" fmla="*/ 4116344 h 4454665"/>
              <a:gd name="connsiteX427" fmla="*/ 11077291 w 12192000"/>
              <a:gd name="connsiteY427" fmla="*/ 4112818 h 4454665"/>
              <a:gd name="connsiteX428" fmla="*/ 11073804 w 12192000"/>
              <a:gd name="connsiteY428" fmla="*/ 4116344 h 4454665"/>
              <a:gd name="connsiteX429" fmla="*/ 11070316 w 12192000"/>
              <a:gd name="connsiteY429" fmla="*/ 4119871 h 4454665"/>
              <a:gd name="connsiteX430" fmla="*/ 11070316 w 12192000"/>
              <a:gd name="connsiteY430" fmla="*/ 4141032 h 4454665"/>
              <a:gd name="connsiteX431" fmla="*/ 11077291 w 12192000"/>
              <a:gd name="connsiteY431" fmla="*/ 4148086 h 4454665"/>
              <a:gd name="connsiteX432" fmla="*/ 11122628 w 12192000"/>
              <a:gd name="connsiteY432" fmla="*/ 4151612 h 4454665"/>
              <a:gd name="connsiteX433" fmla="*/ 11126116 w 12192000"/>
              <a:gd name="connsiteY433" fmla="*/ 4151612 h 4454665"/>
              <a:gd name="connsiteX434" fmla="*/ 11181916 w 12192000"/>
              <a:gd name="connsiteY434" fmla="*/ 4098710 h 4454665"/>
              <a:gd name="connsiteX435" fmla="*/ 11213303 w 12192000"/>
              <a:gd name="connsiteY435" fmla="*/ 3968218 h 4454665"/>
              <a:gd name="connsiteX436" fmla="*/ 11227253 w 12192000"/>
              <a:gd name="connsiteY436" fmla="*/ 3925896 h 4454665"/>
              <a:gd name="connsiteX437" fmla="*/ 11230741 w 12192000"/>
              <a:gd name="connsiteY437" fmla="*/ 3904735 h 4454665"/>
              <a:gd name="connsiteX438" fmla="*/ 11230741 w 12192000"/>
              <a:gd name="connsiteY438" fmla="*/ 3897682 h 4454665"/>
              <a:gd name="connsiteX439" fmla="*/ 11223766 w 12192000"/>
              <a:gd name="connsiteY439" fmla="*/ 3897682 h 4454665"/>
              <a:gd name="connsiteX440" fmla="*/ 11195866 w 12192000"/>
              <a:gd name="connsiteY440" fmla="*/ 3897682 h 4454665"/>
              <a:gd name="connsiteX441" fmla="*/ 11188891 w 12192000"/>
              <a:gd name="connsiteY441" fmla="*/ 3901208 h 4454665"/>
              <a:gd name="connsiteX442" fmla="*/ 11150528 w 12192000"/>
              <a:gd name="connsiteY442" fmla="*/ 4045808 h 4454665"/>
              <a:gd name="connsiteX443" fmla="*/ 11147041 w 12192000"/>
              <a:gd name="connsiteY443" fmla="*/ 4045808 h 4454665"/>
              <a:gd name="connsiteX444" fmla="*/ 11112166 w 12192000"/>
              <a:gd name="connsiteY444" fmla="*/ 3901208 h 4454665"/>
              <a:gd name="connsiteX445" fmla="*/ 11105191 w 12192000"/>
              <a:gd name="connsiteY445" fmla="*/ 3897682 h 4454665"/>
              <a:gd name="connsiteX446" fmla="*/ 11077291 w 12192000"/>
              <a:gd name="connsiteY446" fmla="*/ 3897682 h 4454665"/>
              <a:gd name="connsiteX447" fmla="*/ 11070316 w 12192000"/>
              <a:gd name="connsiteY447" fmla="*/ 3897682 h 4454665"/>
              <a:gd name="connsiteX448" fmla="*/ 11038289 w 12192000"/>
              <a:gd name="connsiteY448" fmla="*/ 3893651 h 4454665"/>
              <a:gd name="connsiteX449" fmla="*/ 10985474 w 12192000"/>
              <a:gd name="connsiteY449" fmla="*/ 3914757 h 4454665"/>
              <a:gd name="connsiteX450" fmla="*/ 10985474 w 12192000"/>
              <a:gd name="connsiteY450" fmla="*/ 3904204 h 4454665"/>
              <a:gd name="connsiteX451" fmla="*/ 10978433 w 12192000"/>
              <a:gd name="connsiteY451" fmla="*/ 3897169 h 4454665"/>
              <a:gd name="connsiteX452" fmla="*/ 10950264 w 12192000"/>
              <a:gd name="connsiteY452" fmla="*/ 3897169 h 4454665"/>
              <a:gd name="connsiteX453" fmla="*/ 10943222 w 12192000"/>
              <a:gd name="connsiteY453" fmla="*/ 3904204 h 4454665"/>
              <a:gd name="connsiteX454" fmla="*/ 10943222 w 12192000"/>
              <a:gd name="connsiteY454" fmla="*/ 4080087 h 4454665"/>
              <a:gd name="connsiteX455" fmla="*/ 10950264 w 12192000"/>
              <a:gd name="connsiteY455" fmla="*/ 4087122 h 4454665"/>
              <a:gd name="connsiteX456" fmla="*/ 10978433 w 12192000"/>
              <a:gd name="connsiteY456" fmla="*/ 4087122 h 4454665"/>
              <a:gd name="connsiteX457" fmla="*/ 10985474 w 12192000"/>
              <a:gd name="connsiteY457" fmla="*/ 4080087 h 4454665"/>
              <a:gd name="connsiteX458" fmla="*/ 10985474 w 12192000"/>
              <a:gd name="connsiteY458" fmla="*/ 3956969 h 4454665"/>
              <a:gd name="connsiteX459" fmla="*/ 11038289 w 12192000"/>
              <a:gd name="connsiteY459" fmla="*/ 3935863 h 4454665"/>
              <a:gd name="connsiteX460" fmla="*/ 11045332 w 12192000"/>
              <a:gd name="connsiteY460" fmla="*/ 3928828 h 4454665"/>
              <a:gd name="connsiteX461" fmla="*/ 11045332 w 12192000"/>
              <a:gd name="connsiteY461" fmla="*/ 3900687 h 4454665"/>
              <a:gd name="connsiteX462" fmla="*/ 11041811 w 12192000"/>
              <a:gd name="connsiteY462" fmla="*/ 3897169 h 4454665"/>
              <a:gd name="connsiteX463" fmla="*/ 11038289 w 12192000"/>
              <a:gd name="connsiteY463" fmla="*/ 3893651 h 4454665"/>
              <a:gd name="connsiteX464" fmla="*/ 10831647 w 12192000"/>
              <a:gd name="connsiteY464" fmla="*/ 3889620 h 4454665"/>
              <a:gd name="connsiteX465" fmla="*/ 10761417 w 12192000"/>
              <a:gd name="connsiteY465" fmla="*/ 3896691 h 4454665"/>
              <a:gd name="connsiteX466" fmla="*/ 10754394 w 12192000"/>
              <a:gd name="connsiteY466" fmla="*/ 3903763 h 4454665"/>
              <a:gd name="connsiteX467" fmla="*/ 10754394 w 12192000"/>
              <a:gd name="connsiteY467" fmla="*/ 3928512 h 4454665"/>
              <a:gd name="connsiteX468" fmla="*/ 10757905 w 12192000"/>
              <a:gd name="connsiteY468" fmla="*/ 3935584 h 4454665"/>
              <a:gd name="connsiteX469" fmla="*/ 10761417 w 12192000"/>
              <a:gd name="connsiteY469" fmla="*/ 3935584 h 4454665"/>
              <a:gd name="connsiteX470" fmla="*/ 10828136 w 12192000"/>
              <a:gd name="connsiteY470" fmla="*/ 3932048 h 4454665"/>
              <a:gd name="connsiteX471" fmla="*/ 10852717 w 12192000"/>
              <a:gd name="connsiteY471" fmla="*/ 3956798 h 4454665"/>
              <a:gd name="connsiteX472" fmla="*/ 10852717 w 12192000"/>
              <a:gd name="connsiteY472" fmla="*/ 3967405 h 4454665"/>
              <a:gd name="connsiteX473" fmla="*/ 10803555 w 12192000"/>
              <a:gd name="connsiteY473" fmla="*/ 3970941 h 4454665"/>
              <a:gd name="connsiteX474" fmla="*/ 10740347 w 12192000"/>
              <a:gd name="connsiteY474" fmla="*/ 4031046 h 4454665"/>
              <a:gd name="connsiteX475" fmla="*/ 10796532 w 12192000"/>
              <a:gd name="connsiteY475" fmla="*/ 4091152 h 4454665"/>
              <a:gd name="connsiteX476" fmla="*/ 10859740 w 12192000"/>
              <a:gd name="connsiteY476" fmla="*/ 4077009 h 4454665"/>
              <a:gd name="connsiteX477" fmla="*/ 10887833 w 12192000"/>
              <a:gd name="connsiteY477" fmla="*/ 4091152 h 4454665"/>
              <a:gd name="connsiteX478" fmla="*/ 10894855 w 12192000"/>
              <a:gd name="connsiteY478" fmla="*/ 4087616 h 4454665"/>
              <a:gd name="connsiteX479" fmla="*/ 10894855 w 12192000"/>
              <a:gd name="connsiteY479" fmla="*/ 4084081 h 4454665"/>
              <a:gd name="connsiteX480" fmla="*/ 10894855 w 12192000"/>
              <a:gd name="connsiteY480" fmla="*/ 3956798 h 4454665"/>
              <a:gd name="connsiteX481" fmla="*/ 10831647 w 12192000"/>
              <a:gd name="connsiteY481" fmla="*/ 3889620 h 4454665"/>
              <a:gd name="connsiteX482" fmla="*/ 10495822 w 12192000"/>
              <a:gd name="connsiteY482" fmla="*/ 3889619 h 4454665"/>
              <a:gd name="connsiteX483" fmla="*/ 10409835 w 12192000"/>
              <a:gd name="connsiteY483" fmla="*/ 3990386 h 4454665"/>
              <a:gd name="connsiteX484" fmla="*/ 10495822 w 12192000"/>
              <a:gd name="connsiteY484" fmla="*/ 4091152 h 4454665"/>
              <a:gd name="connsiteX485" fmla="*/ 10581809 w 12192000"/>
              <a:gd name="connsiteY485" fmla="*/ 3990386 h 4454665"/>
              <a:gd name="connsiteX486" fmla="*/ 10495822 w 12192000"/>
              <a:gd name="connsiteY486" fmla="*/ 3889619 h 4454665"/>
              <a:gd name="connsiteX487" fmla="*/ 10241892 w 12192000"/>
              <a:gd name="connsiteY487" fmla="*/ 3865436 h 4454665"/>
              <a:gd name="connsiteX488" fmla="*/ 10273241 w 12192000"/>
              <a:gd name="connsiteY488" fmla="*/ 3865436 h 4454665"/>
              <a:gd name="connsiteX489" fmla="*/ 10290657 w 12192000"/>
              <a:gd name="connsiteY489" fmla="*/ 3865436 h 4454665"/>
              <a:gd name="connsiteX490" fmla="*/ 10335940 w 12192000"/>
              <a:gd name="connsiteY490" fmla="*/ 3904400 h 4454665"/>
              <a:gd name="connsiteX491" fmla="*/ 10287174 w 12192000"/>
              <a:gd name="connsiteY491" fmla="*/ 3943362 h 4454665"/>
              <a:gd name="connsiteX492" fmla="*/ 10241892 w 12192000"/>
              <a:gd name="connsiteY492" fmla="*/ 3943362 h 4454665"/>
              <a:gd name="connsiteX493" fmla="*/ 10241892 w 12192000"/>
              <a:gd name="connsiteY493" fmla="*/ 3865436 h 4454665"/>
              <a:gd name="connsiteX494" fmla="*/ 10659063 w 12192000"/>
              <a:gd name="connsiteY494" fmla="*/ 3852001 h 4454665"/>
              <a:gd name="connsiteX495" fmla="*/ 10627410 w 12192000"/>
              <a:gd name="connsiteY495" fmla="*/ 3859035 h 4454665"/>
              <a:gd name="connsiteX496" fmla="*/ 10623893 w 12192000"/>
              <a:gd name="connsiteY496" fmla="*/ 3866069 h 4454665"/>
              <a:gd name="connsiteX497" fmla="*/ 10623893 w 12192000"/>
              <a:gd name="connsiteY497" fmla="*/ 3897721 h 4454665"/>
              <a:gd name="connsiteX498" fmla="*/ 10606308 w 12192000"/>
              <a:gd name="connsiteY498" fmla="*/ 3897721 h 4454665"/>
              <a:gd name="connsiteX499" fmla="*/ 10599275 w 12192000"/>
              <a:gd name="connsiteY499" fmla="*/ 3904755 h 4454665"/>
              <a:gd name="connsiteX500" fmla="*/ 10599275 w 12192000"/>
              <a:gd name="connsiteY500" fmla="*/ 3929373 h 4454665"/>
              <a:gd name="connsiteX501" fmla="*/ 10606308 w 12192000"/>
              <a:gd name="connsiteY501" fmla="*/ 3936407 h 4454665"/>
              <a:gd name="connsiteX502" fmla="*/ 10623893 w 12192000"/>
              <a:gd name="connsiteY502" fmla="*/ 3936407 h 4454665"/>
              <a:gd name="connsiteX503" fmla="*/ 10623893 w 12192000"/>
              <a:gd name="connsiteY503" fmla="*/ 4020814 h 4454665"/>
              <a:gd name="connsiteX504" fmla="*/ 10680164 w 12192000"/>
              <a:gd name="connsiteY504" fmla="*/ 4091152 h 4454665"/>
              <a:gd name="connsiteX505" fmla="*/ 10711817 w 12192000"/>
              <a:gd name="connsiteY505" fmla="*/ 4087636 h 4454665"/>
              <a:gd name="connsiteX506" fmla="*/ 10718851 w 12192000"/>
              <a:gd name="connsiteY506" fmla="*/ 4080601 h 4454665"/>
              <a:gd name="connsiteX507" fmla="*/ 10718851 w 12192000"/>
              <a:gd name="connsiteY507" fmla="*/ 4055983 h 4454665"/>
              <a:gd name="connsiteX508" fmla="*/ 10711817 w 12192000"/>
              <a:gd name="connsiteY508" fmla="*/ 4048949 h 4454665"/>
              <a:gd name="connsiteX509" fmla="*/ 10687198 w 12192000"/>
              <a:gd name="connsiteY509" fmla="*/ 4048949 h 4454665"/>
              <a:gd name="connsiteX510" fmla="*/ 10666096 w 12192000"/>
              <a:gd name="connsiteY510" fmla="*/ 4013780 h 4454665"/>
              <a:gd name="connsiteX511" fmla="*/ 10666096 w 12192000"/>
              <a:gd name="connsiteY511" fmla="*/ 3936407 h 4454665"/>
              <a:gd name="connsiteX512" fmla="*/ 10711817 w 12192000"/>
              <a:gd name="connsiteY512" fmla="*/ 3936407 h 4454665"/>
              <a:gd name="connsiteX513" fmla="*/ 10718851 w 12192000"/>
              <a:gd name="connsiteY513" fmla="*/ 3929373 h 4454665"/>
              <a:gd name="connsiteX514" fmla="*/ 10718851 w 12192000"/>
              <a:gd name="connsiteY514" fmla="*/ 3904755 h 4454665"/>
              <a:gd name="connsiteX515" fmla="*/ 10711817 w 12192000"/>
              <a:gd name="connsiteY515" fmla="*/ 3897721 h 4454665"/>
              <a:gd name="connsiteX516" fmla="*/ 10666096 w 12192000"/>
              <a:gd name="connsiteY516" fmla="*/ 3897721 h 4454665"/>
              <a:gd name="connsiteX517" fmla="*/ 10666096 w 12192000"/>
              <a:gd name="connsiteY517" fmla="*/ 3859035 h 4454665"/>
              <a:gd name="connsiteX518" fmla="*/ 10662580 w 12192000"/>
              <a:gd name="connsiteY518" fmla="*/ 3852001 h 4454665"/>
              <a:gd name="connsiteX519" fmla="*/ 10659063 w 12192000"/>
              <a:gd name="connsiteY519" fmla="*/ 3852001 h 4454665"/>
              <a:gd name="connsiteX520" fmla="*/ 10283668 w 12192000"/>
              <a:gd name="connsiteY520" fmla="*/ 3823787 h 4454665"/>
              <a:gd name="connsiteX521" fmla="*/ 10203208 w 12192000"/>
              <a:gd name="connsiteY521" fmla="*/ 3827298 h 4454665"/>
              <a:gd name="connsiteX522" fmla="*/ 10196211 w 12192000"/>
              <a:gd name="connsiteY522" fmla="*/ 3834320 h 4454665"/>
              <a:gd name="connsiteX523" fmla="*/ 10196211 w 12192000"/>
              <a:gd name="connsiteY523" fmla="*/ 4080100 h 4454665"/>
              <a:gd name="connsiteX524" fmla="*/ 10203208 w 12192000"/>
              <a:gd name="connsiteY524" fmla="*/ 4087122 h 4454665"/>
              <a:gd name="connsiteX525" fmla="*/ 10234693 w 12192000"/>
              <a:gd name="connsiteY525" fmla="*/ 4087122 h 4454665"/>
              <a:gd name="connsiteX526" fmla="*/ 10241689 w 12192000"/>
              <a:gd name="connsiteY526" fmla="*/ 4080100 h 4454665"/>
              <a:gd name="connsiteX527" fmla="*/ 10241689 w 12192000"/>
              <a:gd name="connsiteY527" fmla="*/ 3981788 h 4454665"/>
              <a:gd name="connsiteX528" fmla="*/ 10290665 w 12192000"/>
              <a:gd name="connsiteY528" fmla="*/ 3985299 h 4454665"/>
              <a:gd name="connsiteX529" fmla="*/ 10336143 w 12192000"/>
              <a:gd name="connsiteY529" fmla="*/ 4083611 h 4454665"/>
              <a:gd name="connsiteX530" fmla="*/ 10343139 w 12192000"/>
              <a:gd name="connsiteY530" fmla="*/ 4087122 h 4454665"/>
              <a:gd name="connsiteX531" fmla="*/ 10374624 w 12192000"/>
              <a:gd name="connsiteY531" fmla="*/ 4087122 h 4454665"/>
              <a:gd name="connsiteX532" fmla="*/ 10381620 w 12192000"/>
              <a:gd name="connsiteY532" fmla="*/ 4083611 h 4454665"/>
              <a:gd name="connsiteX533" fmla="*/ 10381620 w 12192000"/>
              <a:gd name="connsiteY533" fmla="*/ 4076589 h 4454665"/>
              <a:gd name="connsiteX534" fmla="*/ 10336143 w 12192000"/>
              <a:gd name="connsiteY534" fmla="*/ 3971255 h 4454665"/>
              <a:gd name="connsiteX535" fmla="*/ 10381620 w 12192000"/>
              <a:gd name="connsiteY535" fmla="*/ 3904543 h 4454665"/>
              <a:gd name="connsiteX536" fmla="*/ 10290665 w 12192000"/>
              <a:gd name="connsiteY536" fmla="*/ 3823787 h 4454665"/>
              <a:gd name="connsiteX537" fmla="*/ 10283668 w 12192000"/>
              <a:gd name="connsiteY537" fmla="*/ 3823787 h 4454665"/>
              <a:gd name="connsiteX538" fmla="*/ 11839186 w 12192000"/>
              <a:gd name="connsiteY538" fmla="*/ 3792865 h 4454665"/>
              <a:gd name="connsiteX539" fmla="*/ 11845722 w 12192000"/>
              <a:gd name="connsiteY539" fmla="*/ 3798596 h 4454665"/>
              <a:gd name="connsiteX540" fmla="*/ 11908470 w 12192000"/>
              <a:gd name="connsiteY540" fmla="*/ 4038420 h 4454665"/>
              <a:gd name="connsiteX541" fmla="*/ 11898012 w 12192000"/>
              <a:gd name="connsiteY541" fmla="*/ 4041947 h 4454665"/>
              <a:gd name="connsiteX542" fmla="*/ 11859666 w 12192000"/>
              <a:gd name="connsiteY542" fmla="*/ 4031366 h 4454665"/>
              <a:gd name="connsiteX543" fmla="*/ 11852694 w 12192000"/>
              <a:gd name="connsiteY543" fmla="*/ 4020786 h 4454665"/>
              <a:gd name="connsiteX544" fmla="*/ 11807377 w 12192000"/>
              <a:gd name="connsiteY544" fmla="*/ 3840918 h 4454665"/>
              <a:gd name="connsiteX545" fmla="*/ 11807377 w 12192000"/>
              <a:gd name="connsiteY545" fmla="*/ 3826811 h 4454665"/>
              <a:gd name="connsiteX546" fmla="*/ 11835264 w 12192000"/>
              <a:gd name="connsiteY546" fmla="*/ 3795069 h 4454665"/>
              <a:gd name="connsiteX547" fmla="*/ 11839186 w 12192000"/>
              <a:gd name="connsiteY547" fmla="*/ 3792865 h 4454665"/>
              <a:gd name="connsiteX548" fmla="*/ 11458923 w 12192000"/>
              <a:gd name="connsiteY548" fmla="*/ 3792865 h 4454665"/>
              <a:gd name="connsiteX549" fmla="*/ 11462885 w 12192000"/>
              <a:gd name="connsiteY549" fmla="*/ 3795069 h 4454665"/>
              <a:gd name="connsiteX550" fmla="*/ 11494585 w 12192000"/>
              <a:gd name="connsiteY550" fmla="*/ 3826811 h 4454665"/>
              <a:gd name="connsiteX551" fmla="*/ 11491063 w 12192000"/>
              <a:gd name="connsiteY551" fmla="*/ 3840918 h 4454665"/>
              <a:gd name="connsiteX552" fmla="*/ 11445274 w 12192000"/>
              <a:gd name="connsiteY552" fmla="*/ 4020786 h 4454665"/>
              <a:gd name="connsiteX553" fmla="*/ 11438229 w 12192000"/>
              <a:gd name="connsiteY553" fmla="*/ 4031366 h 4454665"/>
              <a:gd name="connsiteX554" fmla="*/ 11399484 w 12192000"/>
              <a:gd name="connsiteY554" fmla="*/ 4041947 h 4454665"/>
              <a:gd name="connsiteX555" fmla="*/ 11388917 w 12192000"/>
              <a:gd name="connsiteY555" fmla="*/ 4038420 h 4454665"/>
              <a:gd name="connsiteX556" fmla="*/ 11452318 w 12192000"/>
              <a:gd name="connsiteY556" fmla="*/ 3798596 h 4454665"/>
              <a:gd name="connsiteX557" fmla="*/ 11458923 w 12192000"/>
              <a:gd name="connsiteY557" fmla="*/ 3792865 h 4454665"/>
              <a:gd name="connsiteX558" fmla="*/ 11677605 w 12192000"/>
              <a:gd name="connsiteY558" fmla="*/ 3787511 h 4454665"/>
              <a:gd name="connsiteX559" fmla="*/ 11684592 w 12192000"/>
              <a:gd name="connsiteY559" fmla="*/ 3787511 h 4454665"/>
              <a:gd name="connsiteX560" fmla="*/ 11792882 w 12192000"/>
              <a:gd name="connsiteY560" fmla="*/ 3851080 h 4454665"/>
              <a:gd name="connsiteX561" fmla="*/ 11796375 w 12192000"/>
              <a:gd name="connsiteY561" fmla="*/ 3858144 h 4454665"/>
              <a:gd name="connsiteX562" fmla="*/ 11789388 w 12192000"/>
              <a:gd name="connsiteY562" fmla="*/ 3865207 h 4454665"/>
              <a:gd name="connsiteX563" fmla="*/ 11698565 w 12192000"/>
              <a:gd name="connsiteY563" fmla="*/ 3911118 h 4454665"/>
              <a:gd name="connsiteX564" fmla="*/ 11688084 w 12192000"/>
              <a:gd name="connsiteY564" fmla="*/ 3911118 h 4454665"/>
              <a:gd name="connsiteX565" fmla="*/ 11681098 w 12192000"/>
              <a:gd name="connsiteY565" fmla="*/ 3900523 h 4454665"/>
              <a:gd name="connsiteX566" fmla="*/ 11674112 w 12192000"/>
              <a:gd name="connsiteY566" fmla="*/ 3798107 h 4454665"/>
              <a:gd name="connsiteX567" fmla="*/ 11677605 w 12192000"/>
              <a:gd name="connsiteY567" fmla="*/ 3787511 h 4454665"/>
              <a:gd name="connsiteX568" fmla="*/ 11613922 w 12192000"/>
              <a:gd name="connsiteY568" fmla="*/ 3787511 h 4454665"/>
              <a:gd name="connsiteX569" fmla="*/ 11620908 w 12192000"/>
              <a:gd name="connsiteY569" fmla="*/ 3787511 h 4454665"/>
              <a:gd name="connsiteX570" fmla="*/ 11624401 w 12192000"/>
              <a:gd name="connsiteY570" fmla="*/ 3798107 h 4454665"/>
              <a:gd name="connsiteX571" fmla="*/ 11613922 w 12192000"/>
              <a:gd name="connsiteY571" fmla="*/ 3904054 h 4454665"/>
              <a:gd name="connsiteX572" fmla="*/ 11610428 w 12192000"/>
              <a:gd name="connsiteY572" fmla="*/ 3911118 h 4454665"/>
              <a:gd name="connsiteX573" fmla="*/ 11599949 w 12192000"/>
              <a:gd name="connsiteY573" fmla="*/ 3911118 h 4454665"/>
              <a:gd name="connsiteX574" fmla="*/ 11509124 w 12192000"/>
              <a:gd name="connsiteY574" fmla="*/ 3865207 h 4454665"/>
              <a:gd name="connsiteX575" fmla="*/ 11502138 w 12192000"/>
              <a:gd name="connsiteY575" fmla="*/ 3858144 h 4454665"/>
              <a:gd name="connsiteX576" fmla="*/ 11505632 w 12192000"/>
              <a:gd name="connsiteY576" fmla="*/ 3851080 h 4454665"/>
              <a:gd name="connsiteX577" fmla="*/ 11613922 w 12192000"/>
              <a:gd name="connsiteY577" fmla="*/ 3787511 h 4454665"/>
              <a:gd name="connsiteX578" fmla="*/ 11532772 w 12192000"/>
              <a:gd name="connsiteY578" fmla="*/ 3752579 h 4454665"/>
              <a:gd name="connsiteX579" fmla="*/ 11539758 w 12192000"/>
              <a:gd name="connsiteY579" fmla="*/ 3759969 h 4454665"/>
              <a:gd name="connsiteX580" fmla="*/ 11536265 w 12192000"/>
              <a:gd name="connsiteY580" fmla="*/ 3763664 h 4454665"/>
              <a:gd name="connsiteX581" fmla="*/ 11529278 w 12192000"/>
              <a:gd name="connsiteY581" fmla="*/ 3767359 h 4454665"/>
              <a:gd name="connsiteX582" fmla="*/ 11525785 w 12192000"/>
              <a:gd name="connsiteY582" fmla="*/ 3759969 h 4454665"/>
              <a:gd name="connsiteX583" fmla="*/ 11522292 w 12192000"/>
              <a:gd name="connsiteY583" fmla="*/ 3759969 h 4454665"/>
              <a:gd name="connsiteX584" fmla="*/ 11532772 w 12192000"/>
              <a:gd name="connsiteY584" fmla="*/ 3752579 h 4454665"/>
              <a:gd name="connsiteX585" fmla="*/ 11529297 w 12192000"/>
              <a:gd name="connsiteY585" fmla="*/ 3745382 h 4454665"/>
              <a:gd name="connsiteX586" fmla="*/ 11511543 w 12192000"/>
              <a:gd name="connsiteY586" fmla="*/ 3756034 h 4454665"/>
              <a:gd name="connsiteX587" fmla="*/ 11515094 w 12192000"/>
              <a:gd name="connsiteY587" fmla="*/ 3759585 h 4454665"/>
              <a:gd name="connsiteX588" fmla="*/ 11532848 w 12192000"/>
              <a:gd name="connsiteY588" fmla="*/ 3791543 h 4454665"/>
              <a:gd name="connsiteX589" fmla="*/ 11539950 w 12192000"/>
              <a:gd name="connsiteY589" fmla="*/ 3787991 h 4454665"/>
              <a:gd name="connsiteX590" fmla="*/ 11532848 w 12192000"/>
              <a:gd name="connsiteY590" fmla="*/ 3773788 h 4454665"/>
              <a:gd name="connsiteX591" fmla="*/ 11539950 w 12192000"/>
              <a:gd name="connsiteY591" fmla="*/ 3770238 h 4454665"/>
              <a:gd name="connsiteX592" fmla="*/ 11554153 w 12192000"/>
              <a:gd name="connsiteY592" fmla="*/ 3780890 h 4454665"/>
              <a:gd name="connsiteX593" fmla="*/ 11561255 w 12192000"/>
              <a:gd name="connsiteY593" fmla="*/ 3777339 h 4454665"/>
              <a:gd name="connsiteX594" fmla="*/ 11547052 w 12192000"/>
              <a:gd name="connsiteY594" fmla="*/ 3763136 h 4454665"/>
              <a:gd name="connsiteX595" fmla="*/ 11547052 w 12192000"/>
              <a:gd name="connsiteY595" fmla="*/ 3759585 h 4454665"/>
              <a:gd name="connsiteX596" fmla="*/ 11529297 w 12192000"/>
              <a:gd name="connsiteY596" fmla="*/ 3745382 h 4454665"/>
              <a:gd name="connsiteX597" fmla="*/ 11750205 w 12192000"/>
              <a:gd name="connsiteY597" fmla="*/ 3739144 h 4454665"/>
              <a:gd name="connsiteX598" fmla="*/ 11753748 w 12192000"/>
              <a:gd name="connsiteY598" fmla="*/ 3763328 h 4454665"/>
              <a:gd name="connsiteX599" fmla="*/ 11746663 w 12192000"/>
              <a:gd name="connsiteY599" fmla="*/ 3780602 h 4454665"/>
              <a:gd name="connsiteX600" fmla="*/ 11753748 w 12192000"/>
              <a:gd name="connsiteY600" fmla="*/ 3787511 h 4454665"/>
              <a:gd name="connsiteX601" fmla="*/ 11760832 w 12192000"/>
              <a:gd name="connsiteY601" fmla="*/ 3770237 h 4454665"/>
              <a:gd name="connsiteX602" fmla="*/ 11785626 w 12192000"/>
              <a:gd name="connsiteY602" fmla="*/ 3756418 h 4454665"/>
              <a:gd name="connsiteX603" fmla="*/ 11778543 w 12192000"/>
              <a:gd name="connsiteY603" fmla="*/ 3752963 h 4454665"/>
              <a:gd name="connsiteX604" fmla="*/ 11760832 w 12192000"/>
              <a:gd name="connsiteY604" fmla="*/ 3759873 h 4454665"/>
              <a:gd name="connsiteX605" fmla="*/ 11757290 w 12192000"/>
              <a:gd name="connsiteY605" fmla="*/ 3742598 h 4454665"/>
              <a:gd name="connsiteX606" fmla="*/ 11750205 w 12192000"/>
              <a:gd name="connsiteY606" fmla="*/ 3739144 h 4454665"/>
              <a:gd name="connsiteX607" fmla="*/ 11715224 w 12192000"/>
              <a:gd name="connsiteY607" fmla="*/ 3735114 h 4454665"/>
              <a:gd name="connsiteX608" fmla="*/ 11725705 w 12192000"/>
              <a:gd name="connsiteY608" fmla="*/ 3738473 h 4454665"/>
              <a:gd name="connsiteX609" fmla="*/ 11729197 w 12192000"/>
              <a:gd name="connsiteY609" fmla="*/ 3741832 h 4454665"/>
              <a:gd name="connsiteX610" fmla="*/ 11722211 w 12192000"/>
              <a:gd name="connsiteY610" fmla="*/ 3748549 h 4454665"/>
              <a:gd name="connsiteX611" fmla="*/ 11711731 w 12192000"/>
              <a:gd name="connsiteY611" fmla="*/ 3745190 h 4454665"/>
              <a:gd name="connsiteX612" fmla="*/ 11711731 w 12192000"/>
              <a:gd name="connsiteY612" fmla="*/ 3741832 h 4454665"/>
              <a:gd name="connsiteX613" fmla="*/ 11715224 w 12192000"/>
              <a:gd name="connsiteY613" fmla="*/ 3735114 h 4454665"/>
              <a:gd name="connsiteX614" fmla="*/ 11582079 w 12192000"/>
              <a:gd name="connsiteY614" fmla="*/ 3734609 h 4454665"/>
              <a:gd name="connsiteX615" fmla="*/ 11596187 w 12192000"/>
              <a:gd name="connsiteY615" fmla="*/ 3745190 h 4454665"/>
              <a:gd name="connsiteX616" fmla="*/ 11582079 w 12192000"/>
              <a:gd name="connsiteY616" fmla="*/ 3759297 h 4454665"/>
              <a:gd name="connsiteX617" fmla="*/ 11567972 w 12192000"/>
              <a:gd name="connsiteY617" fmla="*/ 3748717 h 4454665"/>
              <a:gd name="connsiteX618" fmla="*/ 11567972 w 12192000"/>
              <a:gd name="connsiteY618" fmla="*/ 3745190 h 4454665"/>
              <a:gd name="connsiteX619" fmla="*/ 11582079 w 12192000"/>
              <a:gd name="connsiteY619" fmla="*/ 3734609 h 4454665"/>
              <a:gd name="connsiteX620" fmla="*/ 11670081 w 12192000"/>
              <a:gd name="connsiteY620" fmla="*/ 3728395 h 4454665"/>
              <a:gd name="connsiteX621" fmla="*/ 11673440 w 12192000"/>
              <a:gd name="connsiteY621" fmla="*/ 3738875 h 4454665"/>
              <a:gd name="connsiteX622" fmla="*/ 11676799 w 12192000"/>
              <a:gd name="connsiteY622" fmla="*/ 3745862 h 4454665"/>
              <a:gd name="connsiteX623" fmla="*/ 11663363 w 12192000"/>
              <a:gd name="connsiteY623" fmla="*/ 3745862 h 4454665"/>
              <a:gd name="connsiteX624" fmla="*/ 11666722 w 12192000"/>
              <a:gd name="connsiteY624" fmla="*/ 3738875 h 4454665"/>
              <a:gd name="connsiteX625" fmla="*/ 11670081 w 12192000"/>
              <a:gd name="connsiteY625" fmla="*/ 3728395 h 4454665"/>
              <a:gd name="connsiteX626" fmla="*/ 11578609 w 12192000"/>
              <a:gd name="connsiteY626" fmla="*/ 3727879 h 4454665"/>
              <a:gd name="connsiteX627" fmla="*/ 11561254 w 12192000"/>
              <a:gd name="connsiteY627" fmla="*/ 3745449 h 4454665"/>
              <a:gd name="connsiteX628" fmla="*/ 11561254 w 12192000"/>
              <a:gd name="connsiteY628" fmla="*/ 3748962 h 4454665"/>
              <a:gd name="connsiteX629" fmla="*/ 11582079 w 12192000"/>
              <a:gd name="connsiteY629" fmla="*/ 3766532 h 4454665"/>
              <a:gd name="connsiteX630" fmla="*/ 11602904 w 12192000"/>
              <a:gd name="connsiteY630" fmla="*/ 3745449 h 4454665"/>
              <a:gd name="connsiteX631" fmla="*/ 11578609 w 12192000"/>
              <a:gd name="connsiteY631" fmla="*/ 3727879 h 4454665"/>
              <a:gd name="connsiteX632" fmla="*/ 11708922 w 12192000"/>
              <a:gd name="connsiteY632" fmla="*/ 3724365 h 4454665"/>
              <a:gd name="connsiteX633" fmla="*/ 11705380 w 12192000"/>
              <a:gd name="connsiteY633" fmla="*/ 3742119 h 4454665"/>
              <a:gd name="connsiteX634" fmla="*/ 11698296 w 12192000"/>
              <a:gd name="connsiteY634" fmla="*/ 3763424 h 4454665"/>
              <a:gd name="connsiteX635" fmla="*/ 11708922 w 12192000"/>
              <a:gd name="connsiteY635" fmla="*/ 3766975 h 4454665"/>
              <a:gd name="connsiteX636" fmla="*/ 11712464 w 12192000"/>
              <a:gd name="connsiteY636" fmla="*/ 3752772 h 4454665"/>
              <a:gd name="connsiteX637" fmla="*/ 11719548 w 12192000"/>
              <a:gd name="connsiteY637" fmla="*/ 3752772 h 4454665"/>
              <a:gd name="connsiteX638" fmla="*/ 11723090 w 12192000"/>
              <a:gd name="connsiteY638" fmla="*/ 3770526 h 4454665"/>
              <a:gd name="connsiteX639" fmla="*/ 11730175 w 12192000"/>
              <a:gd name="connsiteY639" fmla="*/ 3774077 h 4454665"/>
              <a:gd name="connsiteX640" fmla="*/ 11726632 w 12192000"/>
              <a:gd name="connsiteY640" fmla="*/ 3756323 h 4454665"/>
              <a:gd name="connsiteX641" fmla="*/ 11737259 w 12192000"/>
              <a:gd name="connsiteY641" fmla="*/ 3742119 h 4454665"/>
              <a:gd name="connsiteX642" fmla="*/ 11730175 w 12192000"/>
              <a:gd name="connsiteY642" fmla="*/ 3731467 h 4454665"/>
              <a:gd name="connsiteX643" fmla="*/ 11708922 w 12192000"/>
              <a:gd name="connsiteY643" fmla="*/ 3724365 h 4454665"/>
              <a:gd name="connsiteX644" fmla="*/ 11666295 w 12192000"/>
              <a:gd name="connsiteY644" fmla="*/ 3717647 h 4454665"/>
              <a:gd name="connsiteX645" fmla="*/ 11659211 w 12192000"/>
              <a:gd name="connsiteY645" fmla="*/ 3738731 h 4454665"/>
              <a:gd name="connsiteX646" fmla="*/ 11648585 w 12192000"/>
              <a:gd name="connsiteY646" fmla="*/ 3759814 h 4454665"/>
              <a:gd name="connsiteX647" fmla="*/ 11655669 w 12192000"/>
              <a:gd name="connsiteY647" fmla="*/ 3759814 h 4454665"/>
              <a:gd name="connsiteX648" fmla="*/ 11659211 w 12192000"/>
              <a:gd name="connsiteY648" fmla="*/ 3752786 h 4454665"/>
              <a:gd name="connsiteX649" fmla="*/ 11676922 w 12192000"/>
              <a:gd name="connsiteY649" fmla="*/ 3752786 h 4454665"/>
              <a:gd name="connsiteX650" fmla="*/ 11680464 w 12192000"/>
              <a:gd name="connsiteY650" fmla="*/ 3759814 h 4454665"/>
              <a:gd name="connsiteX651" fmla="*/ 11687548 w 12192000"/>
              <a:gd name="connsiteY651" fmla="*/ 3763328 h 4454665"/>
              <a:gd name="connsiteX652" fmla="*/ 11680464 w 12192000"/>
              <a:gd name="connsiteY652" fmla="*/ 3738731 h 4454665"/>
              <a:gd name="connsiteX653" fmla="*/ 11676922 w 12192000"/>
              <a:gd name="connsiteY653" fmla="*/ 3717647 h 4454665"/>
              <a:gd name="connsiteX654" fmla="*/ 11666295 w 12192000"/>
              <a:gd name="connsiteY654" fmla="*/ 3717647 h 4454665"/>
              <a:gd name="connsiteX655" fmla="*/ 11645898 w 12192000"/>
              <a:gd name="connsiteY655" fmla="*/ 3717647 h 4454665"/>
              <a:gd name="connsiteX656" fmla="*/ 11606934 w 12192000"/>
              <a:gd name="connsiteY656" fmla="*/ 3721118 h 4454665"/>
              <a:gd name="connsiteX657" fmla="*/ 11606934 w 12192000"/>
              <a:gd name="connsiteY657" fmla="*/ 3728059 h 4454665"/>
              <a:gd name="connsiteX658" fmla="*/ 11621103 w 12192000"/>
              <a:gd name="connsiteY658" fmla="*/ 3724589 h 4454665"/>
              <a:gd name="connsiteX659" fmla="*/ 11624645 w 12192000"/>
              <a:gd name="connsiteY659" fmla="*/ 3759297 h 4454665"/>
              <a:gd name="connsiteX660" fmla="*/ 11635271 w 12192000"/>
              <a:gd name="connsiteY660" fmla="*/ 3759297 h 4454665"/>
              <a:gd name="connsiteX661" fmla="*/ 11631729 w 12192000"/>
              <a:gd name="connsiteY661" fmla="*/ 3724589 h 4454665"/>
              <a:gd name="connsiteX662" fmla="*/ 11645898 w 12192000"/>
              <a:gd name="connsiteY662" fmla="*/ 3724589 h 4454665"/>
              <a:gd name="connsiteX663" fmla="*/ 11645898 w 12192000"/>
              <a:gd name="connsiteY663" fmla="*/ 3717647 h 4454665"/>
              <a:gd name="connsiteX664" fmla="*/ 11196257 w 12192000"/>
              <a:gd name="connsiteY664" fmla="*/ 3717646 h 4454665"/>
              <a:gd name="connsiteX665" fmla="*/ 11221336 w 12192000"/>
              <a:gd name="connsiteY665" fmla="*/ 3752578 h 4454665"/>
              <a:gd name="connsiteX666" fmla="*/ 11167595 w 12192000"/>
              <a:gd name="connsiteY666" fmla="*/ 3752578 h 4454665"/>
              <a:gd name="connsiteX667" fmla="*/ 11196257 w 12192000"/>
              <a:gd name="connsiteY667" fmla="*/ 3717646 h 4454665"/>
              <a:gd name="connsiteX668" fmla="*/ 11648585 w 12192000"/>
              <a:gd name="connsiteY668" fmla="*/ 3710930 h 4454665"/>
              <a:gd name="connsiteX669" fmla="*/ 11813539 w 12192000"/>
              <a:gd name="connsiteY669" fmla="*/ 3766821 h 4454665"/>
              <a:gd name="connsiteX670" fmla="*/ 11817049 w 12192000"/>
              <a:gd name="connsiteY670" fmla="*/ 3780794 h 4454665"/>
              <a:gd name="connsiteX671" fmla="*/ 11788972 w 12192000"/>
              <a:gd name="connsiteY671" fmla="*/ 3812234 h 4454665"/>
              <a:gd name="connsiteX672" fmla="*/ 11774933 w 12192000"/>
              <a:gd name="connsiteY672" fmla="*/ 3812234 h 4454665"/>
              <a:gd name="connsiteX673" fmla="*/ 11648585 w 12192000"/>
              <a:gd name="connsiteY673" fmla="*/ 3766821 h 4454665"/>
              <a:gd name="connsiteX674" fmla="*/ 11522236 w 12192000"/>
              <a:gd name="connsiteY674" fmla="*/ 3812234 h 4454665"/>
              <a:gd name="connsiteX675" fmla="*/ 11508198 w 12192000"/>
              <a:gd name="connsiteY675" fmla="*/ 3812234 h 4454665"/>
              <a:gd name="connsiteX676" fmla="*/ 11480121 w 12192000"/>
              <a:gd name="connsiteY676" fmla="*/ 3780794 h 4454665"/>
              <a:gd name="connsiteX677" fmla="*/ 11483630 w 12192000"/>
              <a:gd name="connsiteY677" fmla="*/ 3766821 h 4454665"/>
              <a:gd name="connsiteX678" fmla="*/ 11648585 w 12192000"/>
              <a:gd name="connsiteY678" fmla="*/ 3710930 h 4454665"/>
              <a:gd name="connsiteX679" fmla="*/ 11196481 w 12192000"/>
              <a:gd name="connsiteY679" fmla="*/ 3710929 h 4454665"/>
              <a:gd name="connsiteX680" fmla="*/ 11158189 w 12192000"/>
              <a:gd name="connsiteY680" fmla="*/ 3759969 h 4454665"/>
              <a:gd name="connsiteX681" fmla="*/ 11199962 w 12192000"/>
              <a:gd name="connsiteY681" fmla="*/ 3809008 h 4454665"/>
              <a:gd name="connsiteX682" fmla="*/ 11227810 w 12192000"/>
              <a:gd name="connsiteY682" fmla="*/ 3802002 h 4454665"/>
              <a:gd name="connsiteX683" fmla="*/ 11227810 w 12192000"/>
              <a:gd name="connsiteY683" fmla="*/ 3791494 h 4454665"/>
              <a:gd name="connsiteX684" fmla="*/ 11199962 w 12192000"/>
              <a:gd name="connsiteY684" fmla="*/ 3798499 h 4454665"/>
              <a:gd name="connsiteX685" fmla="*/ 11168632 w 12192000"/>
              <a:gd name="connsiteY685" fmla="*/ 3763472 h 4454665"/>
              <a:gd name="connsiteX686" fmla="*/ 11234772 w 12192000"/>
              <a:gd name="connsiteY686" fmla="*/ 3763472 h 4454665"/>
              <a:gd name="connsiteX687" fmla="*/ 11234772 w 12192000"/>
              <a:gd name="connsiteY687" fmla="*/ 3756466 h 4454665"/>
              <a:gd name="connsiteX688" fmla="*/ 11196481 w 12192000"/>
              <a:gd name="connsiteY688" fmla="*/ 3710929 h 4454665"/>
              <a:gd name="connsiteX689" fmla="*/ 10947253 w 12192000"/>
              <a:gd name="connsiteY689" fmla="*/ 3674653 h 4454665"/>
              <a:gd name="connsiteX690" fmla="*/ 10947253 w 12192000"/>
              <a:gd name="connsiteY690" fmla="*/ 3685401 h 4454665"/>
              <a:gd name="connsiteX691" fmla="*/ 10986216 w 12192000"/>
              <a:gd name="connsiteY691" fmla="*/ 3685401 h 4454665"/>
              <a:gd name="connsiteX692" fmla="*/ 10986216 w 12192000"/>
              <a:gd name="connsiteY692" fmla="*/ 3804977 h 4454665"/>
              <a:gd name="connsiteX693" fmla="*/ 10999652 w 12192000"/>
              <a:gd name="connsiteY693" fmla="*/ 3804977 h 4454665"/>
              <a:gd name="connsiteX694" fmla="*/ 10999652 w 12192000"/>
              <a:gd name="connsiteY694" fmla="*/ 3685401 h 4454665"/>
              <a:gd name="connsiteX695" fmla="*/ 11038614 w 12192000"/>
              <a:gd name="connsiteY695" fmla="*/ 3685401 h 4454665"/>
              <a:gd name="connsiteX696" fmla="*/ 11038614 w 12192000"/>
              <a:gd name="connsiteY696" fmla="*/ 3674653 h 4454665"/>
              <a:gd name="connsiteX697" fmla="*/ 11060111 w 12192000"/>
              <a:gd name="connsiteY697" fmla="*/ 3663904 h 4454665"/>
              <a:gd name="connsiteX698" fmla="*/ 11060111 w 12192000"/>
              <a:gd name="connsiteY698" fmla="*/ 3804977 h 4454665"/>
              <a:gd name="connsiteX699" fmla="*/ 11070476 w 12192000"/>
              <a:gd name="connsiteY699" fmla="*/ 3804977 h 4454665"/>
              <a:gd name="connsiteX700" fmla="*/ 11070476 w 12192000"/>
              <a:gd name="connsiteY700" fmla="*/ 3755601 h 4454665"/>
              <a:gd name="connsiteX701" fmla="*/ 11098115 w 12192000"/>
              <a:gd name="connsiteY701" fmla="*/ 3716807 h 4454665"/>
              <a:gd name="connsiteX702" fmla="*/ 11118844 w 12192000"/>
              <a:gd name="connsiteY702" fmla="*/ 3748548 h 4454665"/>
              <a:gd name="connsiteX703" fmla="*/ 11118844 w 12192000"/>
              <a:gd name="connsiteY703" fmla="*/ 3804977 h 4454665"/>
              <a:gd name="connsiteX704" fmla="*/ 11132662 w 12192000"/>
              <a:gd name="connsiteY704" fmla="*/ 3804977 h 4454665"/>
              <a:gd name="connsiteX705" fmla="*/ 11132662 w 12192000"/>
              <a:gd name="connsiteY705" fmla="*/ 3748548 h 4454665"/>
              <a:gd name="connsiteX706" fmla="*/ 11101569 w 12192000"/>
              <a:gd name="connsiteY706" fmla="*/ 3709753 h 4454665"/>
              <a:gd name="connsiteX707" fmla="*/ 11070476 w 12192000"/>
              <a:gd name="connsiteY707" fmla="*/ 3727387 h 4454665"/>
              <a:gd name="connsiteX708" fmla="*/ 11070476 w 12192000"/>
              <a:gd name="connsiteY708" fmla="*/ 3663904 h 4454665"/>
              <a:gd name="connsiteX709" fmla="*/ 11060111 w 12192000"/>
              <a:gd name="connsiteY709" fmla="*/ 3663904 h 4454665"/>
              <a:gd name="connsiteX710" fmla="*/ 11638739 w 12192000"/>
              <a:gd name="connsiteY710" fmla="*/ 3639721 h 4454665"/>
              <a:gd name="connsiteX711" fmla="*/ 11624716 w 12192000"/>
              <a:gd name="connsiteY711" fmla="*/ 3692584 h 4454665"/>
              <a:gd name="connsiteX712" fmla="*/ 11600176 w 12192000"/>
              <a:gd name="connsiteY712" fmla="*/ 3696108 h 4454665"/>
              <a:gd name="connsiteX713" fmla="*/ 11575635 w 12192000"/>
              <a:gd name="connsiteY713" fmla="*/ 3650294 h 4454665"/>
              <a:gd name="connsiteX714" fmla="*/ 11572129 w 12192000"/>
              <a:gd name="connsiteY714" fmla="*/ 3650294 h 4454665"/>
              <a:gd name="connsiteX715" fmla="*/ 11551094 w 12192000"/>
              <a:gd name="connsiteY715" fmla="*/ 3653818 h 4454665"/>
              <a:gd name="connsiteX716" fmla="*/ 11551094 w 12192000"/>
              <a:gd name="connsiteY716" fmla="*/ 3657342 h 4454665"/>
              <a:gd name="connsiteX717" fmla="*/ 11547588 w 12192000"/>
              <a:gd name="connsiteY717" fmla="*/ 3682011 h 4454665"/>
              <a:gd name="connsiteX718" fmla="*/ 11551094 w 12192000"/>
              <a:gd name="connsiteY718" fmla="*/ 3710205 h 4454665"/>
              <a:gd name="connsiteX719" fmla="*/ 11530059 w 12192000"/>
              <a:gd name="connsiteY719" fmla="*/ 3717253 h 4454665"/>
              <a:gd name="connsiteX720" fmla="*/ 11491495 w 12192000"/>
              <a:gd name="connsiteY720" fmla="*/ 3682011 h 4454665"/>
              <a:gd name="connsiteX721" fmla="*/ 11470460 w 12192000"/>
              <a:gd name="connsiteY721" fmla="*/ 3692584 h 4454665"/>
              <a:gd name="connsiteX722" fmla="*/ 11484484 w 12192000"/>
              <a:gd name="connsiteY722" fmla="*/ 3745446 h 4454665"/>
              <a:gd name="connsiteX723" fmla="*/ 11466954 w 12192000"/>
              <a:gd name="connsiteY723" fmla="*/ 3756019 h 4454665"/>
              <a:gd name="connsiteX724" fmla="*/ 11421379 w 12192000"/>
              <a:gd name="connsiteY724" fmla="*/ 3731350 h 4454665"/>
              <a:gd name="connsiteX725" fmla="*/ 11403850 w 12192000"/>
              <a:gd name="connsiteY725" fmla="*/ 3745446 h 4454665"/>
              <a:gd name="connsiteX726" fmla="*/ 11403850 w 12192000"/>
              <a:gd name="connsiteY726" fmla="*/ 3748970 h 4454665"/>
              <a:gd name="connsiteX727" fmla="*/ 11431896 w 12192000"/>
              <a:gd name="connsiteY727" fmla="*/ 3794785 h 4454665"/>
              <a:gd name="connsiteX728" fmla="*/ 11417873 w 12192000"/>
              <a:gd name="connsiteY728" fmla="*/ 3812406 h 4454665"/>
              <a:gd name="connsiteX729" fmla="*/ 11365286 w 12192000"/>
              <a:gd name="connsiteY729" fmla="*/ 3798309 h 4454665"/>
              <a:gd name="connsiteX730" fmla="*/ 11354768 w 12192000"/>
              <a:gd name="connsiteY730" fmla="*/ 3819454 h 4454665"/>
              <a:gd name="connsiteX731" fmla="*/ 11389827 w 12192000"/>
              <a:gd name="connsiteY731" fmla="*/ 3858221 h 4454665"/>
              <a:gd name="connsiteX732" fmla="*/ 11382815 w 12192000"/>
              <a:gd name="connsiteY732" fmla="*/ 3879365 h 4454665"/>
              <a:gd name="connsiteX733" fmla="*/ 11330228 w 12192000"/>
              <a:gd name="connsiteY733" fmla="*/ 3879365 h 4454665"/>
              <a:gd name="connsiteX734" fmla="*/ 11323216 w 12192000"/>
              <a:gd name="connsiteY734" fmla="*/ 3900510 h 4454665"/>
              <a:gd name="connsiteX735" fmla="*/ 11368791 w 12192000"/>
              <a:gd name="connsiteY735" fmla="*/ 3928704 h 4454665"/>
              <a:gd name="connsiteX736" fmla="*/ 11365286 w 12192000"/>
              <a:gd name="connsiteY736" fmla="*/ 3949848 h 4454665"/>
              <a:gd name="connsiteX737" fmla="*/ 11316205 w 12192000"/>
              <a:gd name="connsiteY737" fmla="*/ 3963946 h 4454665"/>
              <a:gd name="connsiteX738" fmla="*/ 11312698 w 12192000"/>
              <a:gd name="connsiteY738" fmla="*/ 3963946 h 4454665"/>
              <a:gd name="connsiteX739" fmla="*/ 11312698 w 12192000"/>
              <a:gd name="connsiteY739" fmla="*/ 3978042 h 4454665"/>
              <a:gd name="connsiteX740" fmla="*/ 11312698 w 12192000"/>
              <a:gd name="connsiteY740" fmla="*/ 3988615 h 4454665"/>
              <a:gd name="connsiteX741" fmla="*/ 11316205 w 12192000"/>
              <a:gd name="connsiteY741" fmla="*/ 3988615 h 4454665"/>
              <a:gd name="connsiteX742" fmla="*/ 11365286 w 12192000"/>
              <a:gd name="connsiteY742" fmla="*/ 4002712 h 4454665"/>
              <a:gd name="connsiteX743" fmla="*/ 11368791 w 12192000"/>
              <a:gd name="connsiteY743" fmla="*/ 4023857 h 4454665"/>
              <a:gd name="connsiteX744" fmla="*/ 11323216 w 12192000"/>
              <a:gd name="connsiteY744" fmla="*/ 4052050 h 4454665"/>
              <a:gd name="connsiteX745" fmla="*/ 11323216 w 12192000"/>
              <a:gd name="connsiteY745" fmla="*/ 4055574 h 4454665"/>
              <a:gd name="connsiteX746" fmla="*/ 11330228 w 12192000"/>
              <a:gd name="connsiteY746" fmla="*/ 4076719 h 4454665"/>
              <a:gd name="connsiteX747" fmla="*/ 11382815 w 12192000"/>
              <a:gd name="connsiteY747" fmla="*/ 4076719 h 4454665"/>
              <a:gd name="connsiteX748" fmla="*/ 11393332 w 12192000"/>
              <a:gd name="connsiteY748" fmla="*/ 4097865 h 4454665"/>
              <a:gd name="connsiteX749" fmla="*/ 11354768 w 12192000"/>
              <a:gd name="connsiteY749" fmla="*/ 4133106 h 4454665"/>
              <a:gd name="connsiteX750" fmla="*/ 11354768 w 12192000"/>
              <a:gd name="connsiteY750" fmla="*/ 4136630 h 4454665"/>
              <a:gd name="connsiteX751" fmla="*/ 11365286 w 12192000"/>
              <a:gd name="connsiteY751" fmla="*/ 4154251 h 4454665"/>
              <a:gd name="connsiteX752" fmla="*/ 11417873 w 12192000"/>
              <a:gd name="connsiteY752" fmla="*/ 4140154 h 4454665"/>
              <a:gd name="connsiteX753" fmla="*/ 11431896 w 12192000"/>
              <a:gd name="connsiteY753" fmla="*/ 4161300 h 4454665"/>
              <a:gd name="connsiteX754" fmla="*/ 11403850 w 12192000"/>
              <a:gd name="connsiteY754" fmla="*/ 4207114 h 4454665"/>
              <a:gd name="connsiteX755" fmla="*/ 11421379 w 12192000"/>
              <a:gd name="connsiteY755" fmla="*/ 4221210 h 4454665"/>
              <a:gd name="connsiteX756" fmla="*/ 11466954 w 12192000"/>
              <a:gd name="connsiteY756" fmla="*/ 4196542 h 4454665"/>
              <a:gd name="connsiteX757" fmla="*/ 11484484 w 12192000"/>
              <a:gd name="connsiteY757" fmla="*/ 4210638 h 4454665"/>
              <a:gd name="connsiteX758" fmla="*/ 11473966 w 12192000"/>
              <a:gd name="connsiteY758" fmla="*/ 4259976 h 4454665"/>
              <a:gd name="connsiteX759" fmla="*/ 11473966 w 12192000"/>
              <a:gd name="connsiteY759" fmla="*/ 4263501 h 4454665"/>
              <a:gd name="connsiteX760" fmla="*/ 11491495 w 12192000"/>
              <a:gd name="connsiteY760" fmla="*/ 4274073 h 4454665"/>
              <a:gd name="connsiteX761" fmla="*/ 11495001 w 12192000"/>
              <a:gd name="connsiteY761" fmla="*/ 4274073 h 4454665"/>
              <a:gd name="connsiteX762" fmla="*/ 11530059 w 12192000"/>
              <a:gd name="connsiteY762" fmla="*/ 4235307 h 4454665"/>
              <a:gd name="connsiteX763" fmla="*/ 11551094 w 12192000"/>
              <a:gd name="connsiteY763" fmla="*/ 4245880 h 4454665"/>
              <a:gd name="connsiteX764" fmla="*/ 11547588 w 12192000"/>
              <a:gd name="connsiteY764" fmla="*/ 4270549 h 4454665"/>
              <a:gd name="connsiteX765" fmla="*/ 11551094 w 12192000"/>
              <a:gd name="connsiteY765" fmla="*/ 4298743 h 4454665"/>
              <a:gd name="connsiteX766" fmla="*/ 11572129 w 12192000"/>
              <a:gd name="connsiteY766" fmla="*/ 4305791 h 4454665"/>
              <a:gd name="connsiteX767" fmla="*/ 11575635 w 12192000"/>
              <a:gd name="connsiteY767" fmla="*/ 4305791 h 4454665"/>
              <a:gd name="connsiteX768" fmla="*/ 11600176 w 12192000"/>
              <a:gd name="connsiteY768" fmla="*/ 4259976 h 4454665"/>
              <a:gd name="connsiteX769" fmla="*/ 11624716 w 12192000"/>
              <a:gd name="connsiteY769" fmla="*/ 4259976 h 4454665"/>
              <a:gd name="connsiteX770" fmla="*/ 11638739 w 12192000"/>
              <a:gd name="connsiteY770" fmla="*/ 4312839 h 4454665"/>
              <a:gd name="connsiteX771" fmla="*/ 11659774 w 12192000"/>
              <a:gd name="connsiteY771" fmla="*/ 4312839 h 4454665"/>
              <a:gd name="connsiteX772" fmla="*/ 11663280 w 12192000"/>
              <a:gd name="connsiteY772" fmla="*/ 4312839 h 4454665"/>
              <a:gd name="connsiteX773" fmla="*/ 11677303 w 12192000"/>
              <a:gd name="connsiteY773" fmla="*/ 4259976 h 4454665"/>
              <a:gd name="connsiteX774" fmla="*/ 11698339 w 12192000"/>
              <a:gd name="connsiteY774" fmla="*/ 4259976 h 4454665"/>
              <a:gd name="connsiteX775" fmla="*/ 11722879 w 12192000"/>
              <a:gd name="connsiteY775" fmla="*/ 4305791 h 4454665"/>
              <a:gd name="connsiteX776" fmla="*/ 11726385 w 12192000"/>
              <a:gd name="connsiteY776" fmla="*/ 4305791 h 4454665"/>
              <a:gd name="connsiteX777" fmla="*/ 11747420 w 12192000"/>
              <a:gd name="connsiteY777" fmla="*/ 4298743 h 4454665"/>
              <a:gd name="connsiteX778" fmla="*/ 11750925 w 12192000"/>
              <a:gd name="connsiteY778" fmla="*/ 4270549 h 4454665"/>
              <a:gd name="connsiteX779" fmla="*/ 11747420 w 12192000"/>
              <a:gd name="connsiteY779" fmla="*/ 4245880 h 4454665"/>
              <a:gd name="connsiteX780" fmla="*/ 11768454 w 12192000"/>
              <a:gd name="connsiteY780" fmla="*/ 4235307 h 4454665"/>
              <a:gd name="connsiteX781" fmla="*/ 11807019 w 12192000"/>
              <a:gd name="connsiteY781" fmla="*/ 4274073 h 4454665"/>
              <a:gd name="connsiteX782" fmla="*/ 11824547 w 12192000"/>
              <a:gd name="connsiteY782" fmla="*/ 4263501 h 4454665"/>
              <a:gd name="connsiteX783" fmla="*/ 11828054 w 12192000"/>
              <a:gd name="connsiteY783" fmla="*/ 4263501 h 4454665"/>
              <a:gd name="connsiteX784" fmla="*/ 11828054 w 12192000"/>
              <a:gd name="connsiteY784" fmla="*/ 4259976 h 4454665"/>
              <a:gd name="connsiteX785" fmla="*/ 11814030 w 12192000"/>
              <a:gd name="connsiteY785" fmla="*/ 4210638 h 4454665"/>
              <a:gd name="connsiteX786" fmla="*/ 11831559 w 12192000"/>
              <a:gd name="connsiteY786" fmla="*/ 4196542 h 4454665"/>
              <a:gd name="connsiteX787" fmla="*/ 11877135 w 12192000"/>
              <a:gd name="connsiteY787" fmla="*/ 4221210 h 4454665"/>
              <a:gd name="connsiteX788" fmla="*/ 11894664 w 12192000"/>
              <a:gd name="connsiteY788" fmla="*/ 4207114 h 4454665"/>
              <a:gd name="connsiteX789" fmla="*/ 11894664 w 12192000"/>
              <a:gd name="connsiteY789" fmla="*/ 4203590 h 4454665"/>
              <a:gd name="connsiteX790" fmla="*/ 11866617 w 12192000"/>
              <a:gd name="connsiteY790" fmla="*/ 4157775 h 4454665"/>
              <a:gd name="connsiteX791" fmla="*/ 11880641 w 12192000"/>
              <a:gd name="connsiteY791" fmla="*/ 4140154 h 4454665"/>
              <a:gd name="connsiteX792" fmla="*/ 11933228 w 12192000"/>
              <a:gd name="connsiteY792" fmla="*/ 4154251 h 4454665"/>
              <a:gd name="connsiteX793" fmla="*/ 11943746 w 12192000"/>
              <a:gd name="connsiteY793" fmla="*/ 4136630 h 4454665"/>
              <a:gd name="connsiteX794" fmla="*/ 11943746 w 12192000"/>
              <a:gd name="connsiteY794" fmla="*/ 4133106 h 4454665"/>
              <a:gd name="connsiteX795" fmla="*/ 11908688 w 12192000"/>
              <a:gd name="connsiteY795" fmla="*/ 4094340 h 4454665"/>
              <a:gd name="connsiteX796" fmla="*/ 11915699 w 12192000"/>
              <a:gd name="connsiteY796" fmla="*/ 4076719 h 4454665"/>
              <a:gd name="connsiteX797" fmla="*/ 11968286 w 12192000"/>
              <a:gd name="connsiteY797" fmla="*/ 4076719 h 4454665"/>
              <a:gd name="connsiteX798" fmla="*/ 11968286 w 12192000"/>
              <a:gd name="connsiteY798" fmla="*/ 4073195 h 4454665"/>
              <a:gd name="connsiteX799" fmla="*/ 11975298 w 12192000"/>
              <a:gd name="connsiteY799" fmla="*/ 4052050 h 4454665"/>
              <a:gd name="connsiteX800" fmla="*/ 11929722 w 12192000"/>
              <a:gd name="connsiteY800" fmla="*/ 4023857 h 4454665"/>
              <a:gd name="connsiteX801" fmla="*/ 11933228 w 12192000"/>
              <a:gd name="connsiteY801" fmla="*/ 4002712 h 4454665"/>
              <a:gd name="connsiteX802" fmla="*/ 11982310 w 12192000"/>
              <a:gd name="connsiteY802" fmla="*/ 3988615 h 4454665"/>
              <a:gd name="connsiteX803" fmla="*/ 11985815 w 12192000"/>
              <a:gd name="connsiteY803" fmla="*/ 3978042 h 4454665"/>
              <a:gd name="connsiteX804" fmla="*/ 11982310 w 12192000"/>
              <a:gd name="connsiteY804" fmla="*/ 3967470 h 4454665"/>
              <a:gd name="connsiteX805" fmla="*/ 11982310 w 12192000"/>
              <a:gd name="connsiteY805" fmla="*/ 3963946 h 4454665"/>
              <a:gd name="connsiteX806" fmla="*/ 11933228 w 12192000"/>
              <a:gd name="connsiteY806" fmla="*/ 3949848 h 4454665"/>
              <a:gd name="connsiteX807" fmla="*/ 11929722 w 12192000"/>
              <a:gd name="connsiteY807" fmla="*/ 3928704 h 4454665"/>
              <a:gd name="connsiteX808" fmla="*/ 11975298 w 12192000"/>
              <a:gd name="connsiteY808" fmla="*/ 3904035 h 4454665"/>
              <a:gd name="connsiteX809" fmla="*/ 11975298 w 12192000"/>
              <a:gd name="connsiteY809" fmla="*/ 3900510 h 4454665"/>
              <a:gd name="connsiteX810" fmla="*/ 11968286 w 12192000"/>
              <a:gd name="connsiteY810" fmla="*/ 3879365 h 4454665"/>
              <a:gd name="connsiteX811" fmla="*/ 11915699 w 12192000"/>
              <a:gd name="connsiteY811" fmla="*/ 3879365 h 4454665"/>
              <a:gd name="connsiteX812" fmla="*/ 11908688 w 12192000"/>
              <a:gd name="connsiteY812" fmla="*/ 3858221 h 4454665"/>
              <a:gd name="connsiteX813" fmla="*/ 11943746 w 12192000"/>
              <a:gd name="connsiteY813" fmla="*/ 3819454 h 4454665"/>
              <a:gd name="connsiteX814" fmla="*/ 11933228 w 12192000"/>
              <a:gd name="connsiteY814" fmla="*/ 3801833 h 4454665"/>
              <a:gd name="connsiteX815" fmla="*/ 11933228 w 12192000"/>
              <a:gd name="connsiteY815" fmla="*/ 3798309 h 4454665"/>
              <a:gd name="connsiteX816" fmla="*/ 11880641 w 12192000"/>
              <a:gd name="connsiteY816" fmla="*/ 3812406 h 4454665"/>
              <a:gd name="connsiteX817" fmla="*/ 11866617 w 12192000"/>
              <a:gd name="connsiteY817" fmla="*/ 3794785 h 4454665"/>
              <a:gd name="connsiteX818" fmla="*/ 11894664 w 12192000"/>
              <a:gd name="connsiteY818" fmla="*/ 3748970 h 4454665"/>
              <a:gd name="connsiteX819" fmla="*/ 11877135 w 12192000"/>
              <a:gd name="connsiteY819" fmla="*/ 3731350 h 4454665"/>
              <a:gd name="connsiteX820" fmla="*/ 11831559 w 12192000"/>
              <a:gd name="connsiteY820" fmla="*/ 3759544 h 4454665"/>
              <a:gd name="connsiteX821" fmla="*/ 11814030 w 12192000"/>
              <a:gd name="connsiteY821" fmla="*/ 3745446 h 4454665"/>
              <a:gd name="connsiteX822" fmla="*/ 11828054 w 12192000"/>
              <a:gd name="connsiteY822" fmla="*/ 3692584 h 4454665"/>
              <a:gd name="connsiteX823" fmla="*/ 11807019 w 12192000"/>
              <a:gd name="connsiteY823" fmla="*/ 3682011 h 4454665"/>
              <a:gd name="connsiteX824" fmla="*/ 11768454 w 12192000"/>
              <a:gd name="connsiteY824" fmla="*/ 3717253 h 4454665"/>
              <a:gd name="connsiteX825" fmla="*/ 11747420 w 12192000"/>
              <a:gd name="connsiteY825" fmla="*/ 3710205 h 4454665"/>
              <a:gd name="connsiteX826" fmla="*/ 11750925 w 12192000"/>
              <a:gd name="connsiteY826" fmla="*/ 3682011 h 4454665"/>
              <a:gd name="connsiteX827" fmla="*/ 11747420 w 12192000"/>
              <a:gd name="connsiteY827" fmla="*/ 3657342 h 4454665"/>
              <a:gd name="connsiteX828" fmla="*/ 11747420 w 12192000"/>
              <a:gd name="connsiteY828" fmla="*/ 3653818 h 4454665"/>
              <a:gd name="connsiteX829" fmla="*/ 11726385 w 12192000"/>
              <a:gd name="connsiteY829" fmla="*/ 3650294 h 4454665"/>
              <a:gd name="connsiteX830" fmla="*/ 11722879 w 12192000"/>
              <a:gd name="connsiteY830" fmla="*/ 3650294 h 4454665"/>
              <a:gd name="connsiteX831" fmla="*/ 11698339 w 12192000"/>
              <a:gd name="connsiteY831" fmla="*/ 3696108 h 4454665"/>
              <a:gd name="connsiteX832" fmla="*/ 11673798 w 12192000"/>
              <a:gd name="connsiteY832" fmla="*/ 3692584 h 4454665"/>
              <a:gd name="connsiteX833" fmla="*/ 11659774 w 12192000"/>
              <a:gd name="connsiteY833" fmla="*/ 3639721 h 4454665"/>
              <a:gd name="connsiteX834" fmla="*/ 11638739 w 12192000"/>
              <a:gd name="connsiteY834" fmla="*/ 3639721 h 4454665"/>
              <a:gd name="connsiteX835" fmla="*/ 0 w 12192000"/>
              <a:gd name="connsiteY835" fmla="*/ 0 h 4454665"/>
              <a:gd name="connsiteX836" fmla="*/ 12192000 w 12192000"/>
              <a:gd name="connsiteY836" fmla="*/ 0 h 4454665"/>
              <a:gd name="connsiteX837" fmla="*/ 12192000 w 12192000"/>
              <a:gd name="connsiteY837" fmla="*/ 4454665 h 4454665"/>
              <a:gd name="connsiteX838" fmla="*/ 0 w 12192000"/>
              <a:gd name="connsiteY838" fmla="*/ 4454665 h 44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4454665">
                <a:moveTo>
                  <a:pt x="11946675" y="4274241"/>
                </a:moveTo>
                <a:lnTo>
                  <a:pt x="11952788" y="4274241"/>
                </a:lnTo>
                <a:cubicBezTo>
                  <a:pt x="11955414" y="4274241"/>
                  <a:pt x="11957212" y="4274433"/>
                  <a:pt x="11958183" y="4274816"/>
                </a:cubicBezTo>
                <a:cubicBezTo>
                  <a:pt x="11959154" y="4275199"/>
                  <a:pt x="11959913" y="4275780"/>
                  <a:pt x="11960461" y="4276559"/>
                </a:cubicBezTo>
                <a:cubicBezTo>
                  <a:pt x="11961008" y="4277339"/>
                  <a:pt x="11961281" y="4278222"/>
                  <a:pt x="11961281" y="4279206"/>
                </a:cubicBezTo>
                <a:cubicBezTo>
                  <a:pt x="11961281" y="4280738"/>
                  <a:pt x="11960713" y="4281968"/>
                  <a:pt x="11959578" y="4282898"/>
                </a:cubicBezTo>
                <a:cubicBezTo>
                  <a:pt x="11958443" y="4283829"/>
                  <a:pt x="11956316" y="4284293"/>
                  <a:pt x="11953198" y="4284293"/>
                </a:cubicBezTo>
                <a:lnTo>
                  <a:pt x="11946675" y="4284293"/>
                </a:lnTo>
                <a:close/>
                <a:moveTo>
                  <a:pt x="11941300" y="4269729"/>
                </a:moveTo>
                <a:lnTo>
                  <a:pt x="11941300" y="4303043"/>
                </a:lnTo>
                <a:lnTo>
                  <a:pt x="11946675" y="4303043"/>
                </a:lnTo>
                <a:lnTo>
                  <a:pt x="11946675" y="4288889"/>
                </a:lnTo>
                <a:lnTo>
                  <a:pt x="11949834" y="4288889"/>
                </a:lnTo>
                <a:cubicBezTo>
                  <a:pt x="11951722" y="4288889"/>
                  <a:pt x="11953158" y="4289271"/>
                  <a:pt x="11954142" y="4290037"/>
                </a:cubicBezTo>
                <a:cubicBezTo>
                  <a:pt x="11955564" y="4291076"/>
                  <a:pt x="11957438" y="4293661"/>
                  <a:pt x="11959762" y="4297791"/>
                </a:cubicBezTo>
                <a:lnTo>
                  <a:pt x="11962717" y="4303043"/>
                </a:lnTo>
                <a:lnTo>
                  <a:pt x="11969281" y="4303043"/>
                </a:lnTo>
                <a:lnTo>
                  <a:pt x="11965220" y="4296519"/>
                </a:lnTo>
                <a:cubicBezTo>
                  <a:pt x="11963277" y="4293428"/>
                  <a:pt x="11961636" y="4291227"/>
                  <a:pt x="11960296" y="4289914"/>
                </a:cubicBezTo>
                <a:cubicBezTo>
                  <a:pt x="11959585" y="4289231"/>
                  <a:pt x="11958641" y="4288642"/>
                  <a:pt x="11957466" y="4288150"/>
                </a:cubicBezTo>
                <a:cubicBezTo>
                  <a:pt x="11960337" y="4287931"/>
                  <a:pt x="11962642" y="4286919"/>
                  <a:pt x="11964378" y="4285114"/>
                </a:cubicBezTo>
                <a:cubicBezTo>
                  <a:pt x="11966115" y="4283309"/>
                  <a:pt x="11966983" y="4281189"/>
                  <a:pt x="11966983" y="4278755"/>
                </a:cubicBezTo>
                <a:cubicBezTo>
                  <a:pt x="11966983" y="4277032"/>
                  <a:pt x="11966464" y="4275404"/>
                  <a:pt x="11965424" y="4273872"/>
                </a:cubicBezTo>
                <a:cubicBezTo>
                  <a:pt x="11964385" y="4272340"/>
                  <a:pt x="11962990" y="4271267"/>
                  <a:pt x="11961239" y="4270652"/>
                </a:cubicBezTo>
                <a:cubicBezTo>
                  <a:pt x="11959489" y="4270036"/>
                  <a:pt x="11956658" y="4269729"/>
                  <a:pt x="11952747" y="4269729"/>
                </a:cubicBezTo>
                <a:close/>
                <a:moveTo>
                  <a:pt x="10902089" y="4267158"/>
                </a:moveTo>
                <a:cubicBezTo>
                  <a:pt x="10902089" y="4267158"/>
                  <a:pt x="10902089" y="4267158"/>
                  <a:pt x="10905603" y="4267158"/>
                </a:cubicBezTo>
                <a:lnTo>
                  <a:pt x="10905603" y="4270699"/>
                </a:lnTo>
                <a:cubicBezTo>
                  <a:pt x="10905603" y="4281326"/>
                  <a:pt x="10905603" y="4306121"/>
                  <a:pt x="10877492" y="4306121"/>
                </a:cubicBezTo>
                <a:cubicBezTo>
                  <a:pt x="10866950" y="4306121"/>
                  <a:pt x="10859922" y="4302579"/>
                  <a:pt x="10859922" y="4288411"/>
                </a:cubicBezTo>
                <a:cubicBezTo>
                  <a:pt x="10859922" y="4267158"/>
                  <a:pt x="10884520" y="4267158"/>
                  <a:pt x="10902089" y="4267158"/>
                </a:cubicBezTo>
                <a:close/>
                <a:moveTo>
                  <a:pt x="11954881" y="4260087"/>
                </a:moveTo>
                <a:cubicBezTo>
                  <a:pt x="11959202" y="4260087"/>
                  <a:pt x="11963428" y="4261202"/>
                  <a:pt x="11967558" y="4263431"/>
                </a:cubicBezTo>
                <a:cubicBezTo>
                  <a:pt x="11971688" y="4265660"/>
                  <a:pt x="11974909" y="4268847"/>
                  <a:pt x="11977220" y="4272990"/>
                </a:cubicBezTo>
                <a:cubicBezTo>
                  <a:pt x="11979531" y="4277134"/>
                  <a:pt x="11980687" y="4281449"/>
                  <a:pt x="11980687" y="4285934"/>
                </a:cubicBezTo>
                <a:cubicBezTo>
                  <a:pt x="11980687" y="4290393"/>
                  <a:pt x="11979552" y="4294667"/>
                  <a:pt x="11977282" y="4298755"/>
                </a:cubicBezTo>
                <a:cubicBezTo>
                  <a:pt x="11975012" y="4302845"/>
                  <a:pt x="11971825" y="4306031"/>
                  <a:pt x="11967722" y="4308315"/>
                </a:cubicBezTo>
                <a:cubicBezTo>
                  <a:pt x="11963619" y="4310599"/>
                  <a:pt x="11959339" y="4311741"/>
                  <a:pt x="11954881" y="4311741"/>
                </a:cubicBezTo>
                <a:cubicBezTo>
                  <a:pt x="11950422" y="4311741"/>
                  <a:pt x="11946142" y="4310599"/>
                  <a:pt x="11942039" y="4308315"/>
                </a:cubicBezTo>
                <a:cubicBezTo>
                  <a:pt x="11937936" y="4306031"/>
                  <a:pt x="11934742" y="4302845"/>
                  <a:pt x="11932459" y="4298755"/>
                </a:cubicBezTo>
                <a:cubicBezTo>
                  <a:pt x="11930175" y="4294667"/>
                  <a:pt x="11929033" y="4290393"/>
                  <a:pt x="11929033" y="4285934"/>
                </a:cubicBezTo>
                <a:cubicBezTo>
                  <a:pt x="11929033" y="4281449"/>
                  <a:pt x="11930195" y="4277134"/>
                  <a:pt x="11932521" y="4272990"/>
                </a:cubicBezTo>
                <a:cubicBezTo>
                  <a:pt x="11934846" y="4268847"/>
                  <a:pt x="11938066" y="4265660"/>
                  <a:pt x="11942183" y="4263431"/>
                </a:cubicBezTo>
                <a:cubicBezTo>
                  <a:pt x="11946299" y="4261202"/>
                  <a:pt x="11950532" y="4260087"/>
                  <a:pt x="11954881" y="4260087"/>
                </a:cubicBezTo>
                <a:close/>
                <a:moveTo>
                  <a:pt x="11954881" y="4254959"/>
                </a:moveTo>
                <a:cubicBezTo>
                  <a:pt x="11949684" y="4254959"/>
                  <a:pt x="11944610" y="4256292"/>
                  <a:pt x="11939660" y="4258959"/>
                </a:cubicBezTo>
                <a:cubicBezTo>
                  <a:pt x="11934709" y="4261625"/>
                  <a:pt x="11930845" y="4265441"/>
                  <a:pt x="11928069" y="4270406"/>
                </a:cubicBezTo>
                <a:cubicBezTo>
                  <a:pt x="11925293" y="4275369"/>
                  <a:pt x="11923904" y="4280546"/>
                  <a:pt x="11923904" y="4285934"/>
                </a:cubicBezTo>
                <a:cubicBezTo>
                  <a:pt x="11923904" y="4291268"/>
                  <a:pt x="11925272" y="4296397"/>
                  <a:pt x="11928007" y="4301320"/>
                </a:cubicBezTo>
                <a:cubicBezTo>
                  <a:pt x="11930743" y="4306243"/>
                  <a:pt x="11934565" y="4310066"/>
                  <a:pt x="11939474" y="4312787"/>
                </a:cubicBezTo>
                <a:cubicBezTo>
                  <a:pt x="11944385" y="4315508"/>
                  <a:pt x="11949519" y="4316869"/>
                  <a:pt x="11954881" y="4316869"/>
                </a:cubicBezTo>
                <a:cubicBezTo>
                  <a:pt x="11960242" y="4316869"/>
                  <a:pt x="11965376" y="4315508"/>
                  <a:pt x="11970287" y="4312787"/>
                </a:cubicBezTo>
                <a:cubicBezTo>
                  <a:pt x="11975196" y="4310066"/>
                  <a:pt x="11979011" y="4306243"/>
                  <a:pt x="11981733" y="4301320"/>
                </a:cubicBezTo>
                <a:cubicBezTo>
                  <a:pt x="11984454" y="4296397"/>
                  <a:pt x="11985815" y="4291268"/>
                  <a:pt x="11985815" y="4285934"/>
                </a:cubicBezTo>
                <a:cubicBezTo>
                  <a:pt x="11985815" y="4280546"/>
                  <a:pt x="11984434" y="4275369"/>
                  <a:pt x="11981671" y="4270406"/>
                </a:cubicBezTo>
                <a:cubicBezTo>
                  <a:pt x="11978909" y="4265441"/>
                  <a:pt x="11975052" y="4261625"/>
                  <a:pt x="11970101" y="4258959"/>
                </a:cubicBezTo>
                <a:cubicBezTo>
                  <a:pt x="11965151" y="4256292"/>
                  <a:pt x="11960077" y="4254959"/>
                  <a:pt x="11954881" y="4254959"/>
                </a:cubicBezTo>
                <a:close/>
                <a:moveTo>
                  <a:pt x="11091685" y="4225507"/>
                </a:moveTo>
                <a:cubicBezTo>
                  <a:pt x="11109123" y="4225507"/>
                  <a:pt x="11123259" y="4243553"/>
                  <a:pt x="11123259" y="4265814"/>
                </a:cubicBezTo>
                <a:cubicBezTo>
                  <a:pt x="11123259" y="4288075"/>
                  <a:pt x="11109123" y="4306120"/>
                  <a:pt x="11091685" y="4306120"/>
                </a:cubicBezTo>
                <a:cubicBezTo>
                  <a:pt x="11074247" y="4306120"/>
                  <a:pt x="11060111" y="4288075"/>
                  <a:pt x="11060111" y="4265814"/>
                </a:cubicBezTo>
                <a:cubicBezTo>
                  <a:pt x="11060111" y="4243553"/>
                  <a:pt x="11074247" y="4225507"/>
                  <a:pt x="11091685" y="4225507"/>
                </a:cubicBezTo>
                <a:close/>
                <a:moveTo>
                  <a:pt x="10781998" y="4225507"/>
                </a:moveTo>
                <a:cubicBezTo>
                  <a:pt x="10797580" y="4225507"/>
                  <a:pt x="10810212" y="4243553"/>
                  <a:pt x="10810212" y="4265814"/>
                </a:cubicBezTo>
                <a:cubicBezTo>
                  <a:pt x="10810212" y="4288075"/>
                  <a:pt x="10797580" y="4306120"/>
                  <a:pt x="10781998" y="4306120"/>
                </a:cubicBezTo>
                <a:cubicBezTo>
                  <a:pt x="10766415" y="4306120"/>
                  <a:pt x="10753783" y="4288075"/>
                  <a:pt x="10753783" y="4265814"/>
                </a:cubicBezTo>
                <a:cubicBezTo>
                  <a:pt x="10753783" y="4243553"/>
                  <a:pt x="10766415" y="4225507"/>
                  <a:pt x="10781998" y="4225507"/>
                </a:cubicBezTo>
                <a:close/>
                <a:moveTo>
                  <a:pt x="10469622" y="4225507"/>
                </a:moveTo>
                <a:cubicBezTo>
                  <a:pt x="10487060" y="4225507"/>
                  <a:pt x="10501196" y="4243553"/>
                  <a:pt x="10501196" y="4265814"/>
                </a:cubicBezTo>
                <a:cubicBezTo>
                  <a:pt x="10501196" y="4288075"/>
                  <a:pt x="10487060" y="4306120"/>
                  <a:pt x="10469622" y="4306120"/>
                </a:cubicBezTo>
                <a:cubicBezTo>
                  <a:pt x="10452185" y="4306120"/>
                  <a:pt x="10438048" y="4288075"/>
                  <a:pt x="10438048" y="4265814"/>
                </a:cubicBezTo>
                <a:cubicBezTo>
                  <a:pt x="10438048" y="4243553"/>
                  <a:pt x="10452185" y="4225507"/>
                  <a:pt x="10469622" y="4225507"/>
                </a:cubicBezTo>
                <a:close/>
                <a:moveTo>
                  <a:pt x="11014562" y="4220260"/>
                </a:moveTo>
                <a:lnTo>
                  <a:pt x="11014562" y="4316220"/>
                </a:lnTo>
                <a:lnTo>
                  <a:pt x="11026851" y="4316220"/>
                </a:lnTo>
                <a:lnTo>
                  <a:pt x="11026851" y="4220260"/>
                </a:lnTo>
                <a:close/>
                <a:moveTo>
                  <a:pt x="11158189" y="4218790"/>
                </a:moveTo>
                <a:cubicBezTo>
                  <a:pt x="11158189" y="4225756"/>
                  <a:pt x="11158189" y="4236206"/>
                  <a:pt x="11158189" y="4243173"/>
                </a:cubicBezTo>
                <a:lnTo>
                  <a:pt x="11158189" y="4312838"/>
                </a:lnTo>
                <a:cubicBezTo>
                  <a:pt x="11158189" y="4312838"/>
                  <a:pt x="11158189" y="4312838"/>
                  <a:pt x="11172009" y="4312838"/>
                </a:cubicBezTo>
                <a:cubicBezTo>
                  <a:pt x="11172009" y="4312838"/>
                  <a:pt x="11172009" y="4312838"/>
                  <a:pt x="11172009" y="4260589"/>
                </a:cubicBezTo>
                <a:cubicBezTo>
                  <a:pt x="11172009" y="4246656"/>
                  <a:pt x="11178918" y="4225756"/>
                  <a:pt x="11199648" y="4225756"/>
                </a:cubicBezTo>
                <a:cubicBezTo>
                  <a:pt x="11213466" y="4225756"/>
                  <a:pt x="11220377" y="4239689"/>
                  <a:pt x="11220377" y="4257106"/>
                </a:cubicBezTo>
                <a:cubicBezTo>
                  <a:pt x="11220377" y="4257106"/>
                  <a:pt x="11220377" y="4257106"/>
                  <a:pt x="11220377" y="4312838"/>
                </a:cubicBezTo>
                <a:cubicBezTo>
                  <a:pt x="11220377" y="4312838"/>
                  <a:pt x="11220377" y="4312838"/>
                  <a:pt x="11230741" y="4312838"/>
                </a:cubicBezTo>
                <a:cubicBezTo>
                  <a:pt x="11230741" y="4312838"/>
                  <a:pt x="11230741" y="4312838"/>
                  <a:pt x="11230741" y="4253622"/>
                </a:cubicBezTo>
                <a:cubicBezTo>
                  <a:pt x="11230741" y="4232723"/>
                  <a:pt x="11223831" y="4218790"/>
                  <a:pt x="11199648" y="4218790"/>
                </a:cubicBezTo>
                <a:cubicBezTo>
                  <a:pt x="11182373" y="4218790"/>
                  <a:pt x="11175464" y="4229239"/>
                  <a:pt x="11168554" y="4236206"/>
                </a:cubicBezTo>
                <a:cubicBezTo>
                  <a:pt x="11168554" y="4236206"/>
                  <a:pt x="11168554" y="4236206"/>
                  <a:pt x="11168554" y="4218790"/>
                </a:cubicBezTo>
                <a:cubicBezTo>
                  <a:pt x="11168554" y="4218790"/>
                  <a:pt x="11168554" y="4218790"/>
                  <a:pt x="11158189" y="4218790"/>
                </a:cubicBezTo>
                <a:close/>
                <a:moveTo>
                  <a:pt x="11088997" y="4218790"/>
                </a:moveTo>
                <a:cubicBezTo>
                  <a:pt x="11064881" y="4218790"/>
                  <a:pt x="11045332" y="4240745"/>
                  <a:pt x="11045332" y="4267830"/>
                </a:cubicBezTo>
                <a:cubicBezTo>
                  <a:pt x="11045332" y="4294914"/>
                  <a:pt x="11064881" y="4316869"/>
                  <a:pt x="11088997" y="4316869"/>
                </a:cubicBezTo>
                <a:cubicBezTo>
                  <a:pt x="11113113" y="4316869"/>
                  <a:pt x="11132662" y="4294914"/>
                  <a:pt x="11132662" y="4267830"/>
                </a:cubicBezTo>
                <a:cubicBezTo>
                  <a:pt x="11132662" y="4240745"/>
                  <a:pt x="11113113" y="4218790"/>
                  <a:pt x="11088997" y="4218790"/>
                </a:cubicBezTo>
                <a:close/>
                <a:moveTo>
                  <a:pt x="10883851" y="4218790"/>
                </a:moveTo>
                <a:cubicBezTo>
                  <a:pt x="10876813" y="4218790"/>
                  <a:pt x="10862738" y="4218790"/>
                  <a:pt x="10855700" y="4222293"/>
                </a:cubicBezTo>
                <a:cubicBezTo>
                  <a:pt x="10855700" y="4222293"/>
                  <a:pt x="10855700" y="4222293"/>
                  <a:pt x="10855700" y="4236304"/>
                </a:cubicBezTo>
                <a:cubicBezTo>
                  <a:pt x="10866257" y="4229299"/>
                  <a:pt x="10873294" y="4225796"/>
                  <a:pt x="10883851" y="4225796"/>
                </a:cubicBezTo>
                <a:cubicBezTo>
                  <a:pt x="10901445" y="4225796"/>
                  <a:pt x="10904964" y="4236304"/>
                  <a:pt x="10904964" y="4250316"/>
                </a:cubicBezTo>
                <a:cubicBezTo>
                  <a:pt x="10904964" y="4250316"/>
                  <a:pt x="10904964" y="4250316"/>
                  <a:pt x="10904964" y="4257321"/>
                </a:cubicBezTo>
                <a:cubicBezTo>
                  <a:pt x="10880332" y="4257321"/>
                  <a:pt x="10845144" y="4257321"/>
                  <a:pt x="10845144" y="4288846"/>
                </a:cubicBezTo>
                <a:cubicBezTo>
                  <a:pt x="10845144" y="4299355"/>
                  <a:pt x="10848663" y="4316869"/>
                  <a:pt x="10876813" y="4316869"/>
                </a:cubicBezTo>
                <a:cubicBezTo>
                  <a:pt x="10887370" y="4316869"/>
                  <a:pt x="10901445" y="4309863"/>
                  <a:pt x="10904964" y="4299355"/>
                </a:cubicBezTo>
                <a:cubicBezTo>
                  <a:pt x="10904964" y="4299355"/>
                  <a:pt x="10904964" y="4299355"/>
                  <a:pt x="10908483" y="4299355"/>
                </a:cubicBezTo>
                <a:lnTo>
                  <a:pt x="10908483" y="4313366"/>
                </a:lnTo>
                <a:cubicBezTo>
                  <a:pt x="10908483" y="4313366"/>
                  <a:pt x="10908483" y="4313366"/>
                  <a:pt x="10919039" y="4313366"/>
                </a:cubicBezTo>
                <a:cubicBezTo>
                  <a:pt x="10919039" y="4309863"/>
                  <a:pt x="10919039" y="4302858"/>
                  <a:pt x="10919039" y="4295852"/>
                </a:cubicBezTo>
                <a:cubicBezTo>
                  <a:pt x="10919039" y="4295852"/>
                  <a:pt x="10919039" y="4295852"/>
                  <a:pt x="10919039" y="4253819"/>
                </a:cubicBezTo>
                <a:cubicBezTo>
                  <a:pt x="10919039" y="4229299"/>
                  <a:pt x="10908483" y="4218790"/>
                  <a:pt x="10883851" y="4218790"/>
                </a:cubicBezTo>
                <a:close/>
                <a:moveTo>
                  <a:pt x="10642268" y="4218790"/>
                </a:moveTo>
                <a:cubicBezTo>
                  <a:pt x="10642268" y="4225756"/>
                  <a:pt x="10642268" y="4236206"/>
                  <a:pt x="10642268" y="4243173"/>
                </a:cubicBezTo>
                <a:lnTo>
                  <a:pt x="10642268" y="4312838"/>
                </a:lnTo>
                <a:cubicBezTo>
                  <a:pt x="10642268" y="4312838"/>
                  <a:pt x="10642268" y="4312838"/>
                  <a:pt x="10656343" y="4312838"/>
                </a:cubicBezTo>
                <a:cubicBezTo>
                  <a:pt x="10656343" y="4312838"/>
                  <a:pt x="10656343" y="4312838"/>
                  <a:pt x="10656343" y="4260589"/>
                </a:cubicBezTo>
                <a:cubicBezTo>
                  <a:pt x="10656343" y="4246656"/>
                  <a:pt x="10663381" y="4225756"/>
                  <a:pt x="10684494" y="4225756"/>
                </a:cubicBezTo>
                <a:cubicBezTo>
                  <a:pt x="10698569" y="4225756"/>
                  <a:pt x="10705607" y="4239689"/>
                  <a:pt x="10705607" y="4257106"/>
                </a:cubicBezTo>
                <a:cubicBezTo>
                  <a:pt x="10705607" y="4257106"/>
                  <a:pt x="10705607" y="4257106"/>
                  <a:pt x="10705607" y="4312838"/>
                </a:cubicBezTo>
                <a:cubicBezTo>
                  <a:pt x="10705607" y="4312838"/>
                  <a:pt x="10705607" y="4312838"/>
                  <a:pt x="10716163" y="4312838"/>
                </a:cubicBezTo>
                <a:cubicBezTo>
                  <a:pt x="10716163" y="4312838"/>
                  <a:pt x="10716163" y="4312838"/>
                  <a:pt x="10716163" y="4253622"/>
                </a:cubicBezTo>
                <a:cubicBezTo>
                  <a:pt x="10716163" y="4232723"/>
                  <a:pt x="10709125" y="4218790"/>
                  <a:pt x="10684494" y="4218790"/>
                </a:cubicBezTo>
                <a:cubicBezTo>
                  <a:pt x="10666900" y="4218790"/>
                  <a:pt x="10659862" y="4229239"/>
                  <a:pt x="10652824" y="4236206"/>
                </a:cubicBezTo>
                <a:cubicBezTo>
                  <a:pt x="10652824" y="4236206"/>
                  <a:pt x="10652824" y="4236206"/>
                  <a:pt x="10652824" y="4218790"/>
                </a:cubicBezTo>
                <a:cubicBezTo>
                  <a:pt x="10652824" y="4218790"/>
                  <a:pt x="10652824" y="4218790"/>
                  <a:pt x="10642268" y="4218790"/>
                </a:cubicBezTo>
                <a:close/>
                <a:moveTo>
                  <a:pt x="10540159" y="4218790"/>
                </a:moveTo>
                <a:cubicBezTo>
                  <a:pt x="10540159" y="4218790"/>
                  <a:pt x="10540159" y="4218790"/>
                  <a:pt x="10540159" y="4281840"/>
                </a:cubicBezTo>
                <a:cubicBezTo>
                  <a:pt x="10540159" y="4302858"/>
                  <a:pt x="10547196" y="4316869"/>
                  <a:pt x="10571828" y="4316869"/>
                </a:cubicBezTo>
                <a:cubicBezTo>
                  <a:pt x="10589422" y="4316869"/>
                  <a:pt x="10596460" y="4306360"/>
                  <a:pt x="10603498" y="4299355"/>
                </a:cubicBezTo>
                <a:cubicBezTo>
                  <a:pt x="10603498" y="4299355"/>
                  <a:pt x="10603498" y="4299355"/>
                  <a:pt x="10603498" y="4313366"/>
                </a:cubicBezTo>
                <a:cubicBezTo>
                  <a:pt x="10603498" y="4313366"/>
                  <a:pt x="10603498" y="4313366"/>
                  <a:pt x="10614054" y="4313366"/>
                </a:cubicBezTo>
                <a:cubicBezTo>
                  <a:pt x="10614054" y="4306360"/>
                  <a:pt x="10614054" y="4299355"/>
                  <a:pt x="10614054" y="4292349"/>
                </a:cubicBezTo>
                <a:lnTo>
                  <a:pt x="10614054" y="4218790"/>
                </a:lnTo>
                <a:cubicBezTo>
                  <a:pt x="10614054" y="4218790"/>
                  <a:pt x="10614054" y="4218790"/>
                  <a:pt x="10599979" y="4218790"/>
                </a:cubicBezTo>
                <a:cubicBezTo>
                  <a:pt x="10599979" y="4218790"/>
                  <a:pt x="10599979" y="4218790"/>
                  <a:pt x="10599979" y="4271332"/>
                </a:cubicBezTo>
                <a:cubicBezTo>
                  <a:pt x="10599979" y="4288846"/>
                  <a:pt x="10592941" y="4306360"/>
                  <a:pt x="10571828" y="4306360"/>
                </a:cubicBezTo>
                <a:cubicBezTo>
                  <a:pt x="10557753" y="4306360"/>
                  <a:pt x="10550715" y="4295852"/>
                  <a:pt x="10550715" y="4278338"/>
                </a:cubicBezTo>
                <a:cubicBezTo>
                  <a:pt x="10550715" y="4278338"/>
                  <a:pt x="10550715" y="4278338"/>
                  <a:pt x="10550715" y="4218790"/>
                </a:cubicBezTo>
                <a:cubicBezTo>
                  <a:pt x="10550715" y="4218790"/>
                  <a:pt x="10550715" y="4218790"/>
                  <a:pt x="10540159" y="4218790"/>
                </a:cubicBezTo>
                <a:close/>
                <a:moveTo>
                  <a:pt x="10471637" y="4218790"/>
                </a:moveTo>
                <a:cubicBezTo>
                  <a:pt x="10447151" y="4218790"/>
                  <a:pt x="10427300" y="4240745"/>
                  <a:pt x="10427300" y="4267830"/>
                </a:cubicBezTo>
                <a:cubicBezTo>
                  <a:pt x="10427300" y="4294914"/>
                  <a:pt x="10447151" y="4316869"/>
                  <a:pt x="10471637" y="4316869"/>
                </a:cubicBezTo>
                <a:cubicBezTo>
                  <a:pt x="10496124" y="4316869"/>
                  <a:pt x="10515975" y="4294914"/>
                  <a:pt x="10515975" y="4267830"/>
                </a:cubicBezTo>
                <a:cubicBezTo>
                  <a:pt x="10515975" y="4240745"/>
                  <a:pt x="10496124" y="4218790"/>
                  <a:pt x="10471637" y="4218790"/>
                </a:cubicBezTo>
                <a:close/>
                <a:moveTo>
                  <a:pt x="11655303" y="4204011"/>
                </a:moveTo>
                <a:lnTo>
                  <a:pt x="11659333" y="4214760"/>
                </a:lnTo>
                <a:lnTo>
                  <a:pt x="11663364" y="4221478"/>
                </a:lnTo>
                <a:lnTo>
                  <a:pt x="11648585" y="4221478"/>
                </a:lnTo>
                <a:lnTo>
                  <a:pt x="11652616" y="4214760"/>
                </a:lnTo>
                <a:close/>
                <a:moveTo>
                  <a:pt x="11659446" y="4193263"/>
                </a:moveTo>
                <a:cubicBezTo>
                  <a:pt x="11659446" y="4193263"/>
                  <a:pt x="11659446" y="4193263"/>
                  <a:pt x="11649032" y="4196777"/>
                </a:cubicBezTo>
                <a:cubicBezTo>
                  <a:pt x="11649032" y="4196777"/>
                  <a:pt x="11649032" y="4196777"/>
                  <a:pt x="11645562" y="4214347"/>
                </a:cubicBezTo>
                <a:cubicBezTo>
                  <a:pt x="11645562" y="4214347"/>
                  <a:pt x="11645562" y="4214347"/>
                  <a:pt x="11635149" y="4235429"/>
                </a:cubicBezTo>
                <a:cubicBezTo>
                  <a:pt x="11638620" y="4235429"/>
                  <a:pt x="11642091" y="4235429"/>
                  <a:pt x="11645562" y="4238943"/>
                </a:cubicBezTo>
                <a:cubicBezTo>
                  <a:pt x="11645562" y="4238943"/>
                  <a:pt x="11645562" y="4238943"/>
                  <a:pt x="11645562" y="4228402"/>
                </a:cubicBezTo>
                <a:cubicBezTo>
                  <a:pt x="11645562" y="4228402"/>
                  <a:pt x="11645562" y="4228402"/>
                  <a:pt x="11666387" y="4228402"/>
                </a:cubicBezTo>
                <a:cubicBezTo>
                  <a:pt x="11666387" y="4228402"/>
                  <a:pt x="11666387" y="4228402"/>
                  <a:pt x="11666387" y="4235429"/>
                </a:cubicBezTo>
                <a:cubicBezTo>
                  <a:pt x="11669858" y="4235429"/>
                  <a:pt x="11673329" y="4235429"/>
                  <a:pt x="11676800" y="4235429"/>
                </a:cubicBezTo>
                <a:cubicBezTo>
                  <a:pt x="11676800" y="4235429"/>
                  <a:pt x="11676800" y="4235429"/>
                  <a:pt x="11666387" y="4214347"/>
                </a:cubicBezTo>
                <a:lnTo>
                  <a:pt x="11659446" y="4196777"/>
                </a:lnTo>
                <a:cubicBezTo>
                  <a:pt x="11659446" y="4196777"/>
                  <a:pt x="11659446" y="4196777"/>
                  <a:pt x="11659446" y="4193263"/>
                </a:cubicBezTo>
                <a:close/>
                <a:moveTo>
                  <a:pt x="10964451" y="4193262"/>
                </a:moveTo>
                <a:cubicBezTo>
                  <a:pt x="10964451" y="4193262"/>
                  <a:pt x="10964451" y="4193262"/>
                  <a:pt x="10953971" y="4196794"/>
                </a:cubicBezTo>
                <a:cubicBezTo>
                  <a:pt x="10953971" y="4196794"/>
                  <a:pt x="10953971" y="4196794"/>
                  <a:pt x="10953971" y="4217983"/>
                </a:cubicBezTo>
                <a:cubicBezTo>
                  <a:pt x="10953971" y="4217983"/>
                  <a:pt x="10953971" y="4217983"/>
                  <a:pt x="10936505" y="4217983"/>
                </a:cubicBezTo>
                <a:cubicBezTo>
                  <a:pt x="10936505" y="4217983"/>
                  <a:pt x="10936505" y="4217983"/>
                  <a:pt x="10936505" y="4228578"/>
                </a:cubicBezTo>
                <a:cubicBezTo>
                  <a:pt x="10936505" y="4228578"/>
                  <a:pt x="10936505" y="4228578"/>
                  <a:pt x="10953971" y="4228578"/>
                </a:cubicBezTo>
                <a:cubicBezTo>
                  <a:pt x="10953971" y="4228578"/>
                  <a:pt x="10953971" y="4228578"/>
                  <a:pt x="10953971" y="4285084"/>
                </a:cubicBezTo>
                <a:cubicBezTo>
                  <a:pt x="10953971" y="4302742"/>
                  <a:pt x="10953971" y="4316868"/>
                  <a:pt x="10974931" y="4316868"/>
                </a:cubicBezTo>
                <a:cubicBezTo>
                  <a:pt x="10981917" y="4316868"/>
                  <a:pt x="10985410" y="4316868"/>
                  <a:pt x="10988904" y="4313337"/>
                </a:cubicBezTo>
                <a:cubicBezTo>
                  <a:pt x="10988904" y="4313337"/>
                  <a:pt x="10988904" y="4313337"/>
                  <a:pt x="10988904" y="4302742"/>
                </a:cubicBezTo>
                <a:cubicBezTo>
                  <a:pt x="10985410" y="4306273"/>
                  <a:pt x="10981917" y="4306273"/>
                  <a:pt x="10978424" y="4306273"/>
                </a:cubicBezTo>
                <a:cubicBezTo>
                  <a:pt x="10967944" y="4306273"/>
                  <a:pt x="10964451" y="4299211"/>
                  <a:pt x="10964451" y="4292147"/>
                </a:cubicBezTo>
                <a:cubicBezTo>
                  <a:pt x="10964451" y="4292147"/>
                  <a:pt x="10964451" y="4292147"/>
                  <a:pt x="10964451" y="4228578"/>
                </a:cubicBezTo>
                <a:cubicBezTo>
                  <a:pt x="10964451" y="4228578"/>
                  <a:pt x="10964451" y="4228578"/>
                  <a:pt x="10985410" y="4228578"/>
                </a:cubicBezTo>
                <a:lnTo>
                  <a:pt x="10985410" y="4217983"/>
                </a:lnTo>
                <a:cubicBezTo>
                  <a:pt x="10985410" y="4217983"/>
                  <a:pt x="10985410" y="4217983"/>
                  <a:pt x="10964451" y="4217983"/>
                </a:cubicBezTo>
                <a:cubicBezTo>
                  <a:pt x="10964451" y="4217983"/>
                  <a:pt x="10964451" y="4217983"/>
                  <a:pt x="10964451" y="4193262"/>
                </a:cubicBezTo>
                <a:close/>
                <a:moveTo>
                  <a:pt x="11599881" y="4190576"/>
                </a:moveTo>
                <a:cubicBezTo>
                  <a:pt x="11589469" y="4232742"/>
                  <a:pt x="11589469" y="4232742"/>
                  <a:pt x="11589469" y="4232742"/>
                </a:cubicBezTo>
                <a:cubicBezTo>
                  <a:pt x="11592940" y="4232742"/>
                  <a:pt x="11596410" y="4232742"/>
                  <a:pt x="11599881" y="4232742"/>
                </a:cubicBezTo>
                <a:cubicBezTo>
                  <a:pt x="11603352" y="4208146"/>
                  <a:pt x="11603352" y="4208146"/>
                  <a:pt x="11603352" y="4208146"/>
                </a:cubicBezTo>
                <a:cubicBezTo>
                  <a:pt x="11617236" y="4236256"/>
                  <a:pt x="11617236" y="4236256"/>
                  <a:pt x="11617236" y="4236256"/>
                </a:cubicBezTo>
                <a:cubicBezTo>
                  <a:pt x="11620707" y="4236256"/>
                  <a:pt x="11624178" y="4236256"/>
                  <a:pt x="11624178" y="4236256"/>
                </a:cubicBezTo>
                <a:cubicBezTo>
                  <a:pt x="11631119" y="4194090"/>
                  <a:pt x="11631119" y="4194090"/>
                  <a:pt x="11631119" y="4194090"/>
                </a:cubicBezTo>
                <a:cubicBezTo>
                  <a:pt x="11627648" y="4194090"/>
                  <a:pt x="11624178" y="4194090"/>
                  <a:pt x="11624178" y="4194090"/>
                </a:cubicBezTo>
                <a:cubicBezTo>
                  <a:pt x="11620707" y="4222201"/>
                  <a:pt x="11620707" y="4222201"/>
                  <a:pt x="11620707" y="4222201"/>
                </a:cubicBezTo>
                <a:cubicBezTo>
                  <a:pt x="11606824" y="4190576"/>
                  <a:pt x="11606824" y="4190576"/>
                  <a:pt x="11606824" y="4190576"/>
                </a:cubicBezTo>
                <a:cubicBezTo>
                  <a:pt x="11603352" y="4190576"/>
                  <a:pt x="11603352" y="4190576"/>
                  <a:pt x="11599881" y="4190576"/>
                </a:cubicBezTo>
                <a:close/>
                <a:moveTo>
                  <a:pt x="11709044" y="4186546"/>
                </a:moveTo>
                <a:cubicBezTo>
                  <a:pt x="11695071" y="4190097"/>
                  <a:pt x="11684592" y="4193647"/>
                  <a:pt x="11674112" y="4193647"/>
                </a:cubicBezTo>
                <a:cubicBezTo>
                  <a:pt x="11674112" y="4200749"/>
                  <a:pt x="11674112" y="4200749"/>
                  <a:pt x="11674112" y="4200749"/>
                </a:cubicBezTo>
                <a:cubicBezTo>
                  <a:pt x="11681098" y="4200749"/>
                  <a:pt x="11684592" y="4200749"/>
                  <a:pt x="11688084" y="4200749"/>
                </a:cubicBezTo>
                <a:cubicBezTo>
                  <a:pt x="11695071" y="4236257"/>
                  <a:pt x="11695071" y="4236257"/>
                  <a:pt x="11695071" y="4236257"/>
                </a:cubicBezTo>
                <a:cubicBezTo>
                  <a:pt x="11702057" y="4232706"/>
                  <a:pt x="11702057" y="4232706"/>
                  <a:pt x="11702057" y="4232706"/>
                </a:cubicBezTo>
                <a:cubicBezTo>
                  <a:pt x="11695071" y="4197198"/>
                  <a:pt x="11695071" y="4197198"/>
                  <a:pt x="11695071" y="4197198"/>
                </a:cubicBezTo>
                <a:cubicBezTo>
                  <a:pt x="11702057" y="4197198"/>
                  <a:pt x="11705551" y="4197198"/>
                  <a:pt x="11709044" y="4193647"/>
                </a:cubicBezTo>
                <a:close/>
                <a:moveTo>
                  <a:pt x="11564748" y="4186546"/>
                </a:moveTo>
                <a:cubicBezTo>
                  <a:pt x="11564748" y="4186546"/>
                  <a:pt x="11564748" y="4186546"/>
                  <a:pt x="11575228" y="4189905"/>
                </a:cubicBezTo>
                <a:cubicBezTo>
                  <a:pt x="11578720" y="4189905"/>
                  <a:pt x="11578720" y="4193264"/>
                  <a:pt x="11578720" y="4193264"/>
                </a:cubicBezTo>
                <a:cubicBezTo>
                  <a:pt x="11578720" y="4193264"/>
                  <a:pt x="11578720" y="4196622"/>
                  <a:pt x="11578720" y="4196622"/>
                </a:cubicBezTo>
                <a:cubicBezTo>
                  <a:pt x="11578720" y="4196622"/>
                  <a:pt x="11575228" y="4199981"/>
                  <a:pt x="11571734" y="4199981"/>
                </a:cubicBezTo>
                <a:cubicBezTo>
                  <a:pt x="11571734" y="4199981"/>
                  <a:pt x="11571734" y="4199981"/>
                  <a:pt x="11561254" y="4196622"/>
                </a:cubicBezTo>
                <a:cubicBezTo>
                  <a:pt x="11561254" y="4196622"/>
                  <a:pt x="11561254" y="4196622"/>
                  <a:pt x="11564748" y="4193264"/>
                </a:cubicBezTo>
                <a:cubicBezTo>
                  <a:pt x="11564748" y="4193264"/>
                  <a:pt x="11564748" y="4193264"/>
                  <a:pt x="11564748" y="4186546"/>
                </a:cubicBezTo>
                <a:close/>
                <a:moveTo>
                  <a:pt x="11014562" y="4184660"/>
                </a:moveTo>
                <a:lnTo>
                  <a:pt x="11014562" y="4198354"/>
                </a:lnTo>
                <a:lnTo>
                  <a:pt x="11026851" y="4198354"/>
                </a:lnTo>
                <a:lnTo>
                  <a:pt x="11026851" y="4184660"/>
                </a:lnTo>
                <a:close/>
                <a:moveTo>
                  <a:pt x="11715762" y="4182514"/>
                </a:moveTo>
                <a:cubicBezTo>
                  <a:pt x="11729582" y="4225508"/>
                  <a:pt x="11729582" y="4225508"/>
                  <a:pt x="11729582" y="4225508"/>
                </a:cubicBezTo>
                <a:cubicBezTo>
                  <a:pt x="11733036" y="4221925"/>
                  <a:pt x="11736491" y="4221925"/>
                  <a:pt x="11739946" y="4221925"/>
                </a:cubicBezTo>
                <a:cubicBezTo>
                  <a:pt x="11726127" y="4182514"/>
                  <a:pt x="11726127" y="4182514"/>
                  <a:pt x="11726127" y="4182514"/>
                </a:cubicBezTo>
                <a:cubicBezTo>
                  <a:pt x="11722671" y="4182514"/>
                  <a:pt x="11719217" y="4182514"/>
                  <a:pt x="11715762" y="4182514"/>
                </a:cubicBezTo>
                <a:close/>
                <a:moveTo>
                  <a:pt x="10346688" y="4182514"/>
                </a:moveTo>
                <a:lnTo>
                  <a:pt x="10346688" y="4312838"/>
                </a:lnTo>
                <a:lnTo>
                  <a:pt x="10361467" y="4312838"/>
                </a:lnTo>
                <a:lnTo>
                  <a:pt x="10361467" y="4253722"/>
                </a:lnTo>
                <a:lnTo>
                  <a:pt x="10407148" y="4253722"/>
                </a:lnTo>
                <a:lnTo>
                  <a:pt x="10407148" y="4242974"/>
                </a:lnTo>
                <a:lnTo>
                  <a:pt x="10361467" y="4242974"/>
                </a:lnTo>
                <a:lnTo>
                  <a:pt x="10361467" y="4193262"/>
                </a:lnTo>
                <a:lnTo>
                  <a:pt x="10409835" y="4193262"/>
                </a:lnTo>
                <a:lnTo>
                  <a:pt x="10409835" y="4182514"/>
                </a:lnTo>
                <a:close/>
                <a:moveTo>
                  <a:pt x="11561143" y="4175797"/>
                </a:moveTo>
                <a:cubicBezTo>
                  <a:pt x="11561143" y="4175797"/>
                  <a:pt x="11561143" y="4175797"/>
                  <a:pt x="11554200" y="4193264"/>
                </a:cubicBezTo>
                <a:cubicBezTo>
                  <a:pt x="11554200" y="4193264"/>
                  <a:pt x="11554200" y="4193264"/>
                  <a:pt x="11554200" y="4196756"/>
                </a:cubicBezTo>
                <a:cubicBezTo>
                  <a:pt x="11554200" y="4196756"/>
                  <a:pt x="11554200" y="4196756"/>
                  <a:pt x="11543788" y="4214223"/>
                </a:cubicBezTo>
                <a:cubicBezTo>
                  <a:pt x="11547259" y="4217716"/>
                  <a:pt x="11550730" y="4217716"/>
                  <a:pt x="11554200" y="4217716"/>
                </a:cubicBezTo>
                <a:cubicBezTo>
                  <a:pt x="11554200" y="4217716"/>
                  <a:pt x="11554200" y="4217716"/>
                  <a:pt x="11557671" y="4203743"/>
                </a:cubicBezTo>
                <a:cubicBezTo>
                  <a:pt x="11557671" y="4203743"/>
                  <a:pt x="11557671" y="4203743"/>
                  <a:pt x="11568084" y="4207237"/>
                </a:cubicBezTo>
                <a:cubicBezTo>
                  <a:pt x="11568084" y="4207237"/>
                  <a:pt x="11568084" y="4207237"/>
                  <a:pt x="11568084" y="4224702"/>
                </a:cubicBezTo>
                <a:cubicBezTo>
                  <a:pt x="11571555" y="4224702"/>
                  <a:pt x="11575026" y="4228196"/>
                  <a:pt x="11578497" y="4228196"/>
                </a:cubicBezTo>
                <a:cubicBezTo>
                  <a:pt x="11578497" y="4228196"/>
                  <a:pt x="11578497" y="4228196"/>
                  <a:pt x="11575026" y="4207237"/>
                </a:cubicBezTo>
                <a:cubicBezTo>
                  <a:pt x="11581968" y="4207237"/>
                  <a:pt x="11585438" y="4200250"/>
                  <a:pt x="11585438" y="4196756"/>
                </a:cubicBezTo>
                <a:cubicBezTo>
                  <a:pt x="11585438" y="4196756"/>
                  <a:pt x="11585438" y="4193264"/>
                  <a:pt x="11585438" y="4193264"/>
                </a:cubicBezTo>
                <a:cubicBezTo>
                  <a:pt x="11585438" y="4189770"/>
                  <a:pt x="11585438" y="4186277"/>
                  <a:pt x="11578497" y="4182784"/>
                </a:cubicBezTo>
                <a:cubicBezTo>
                  <a:pt x="11578497" y="4182784"/>
                  <a:pt x="11578497" y="4182784"/>
                  <a:pt x="11561143" y="4175797"/>
                </a:cubicBezTo>
                <a:close/>
                <a:moveTo>
                  <a:pt x="11766241" y="4173090"/>
                </a:moveTo>
                <a:cubicBezTo>
                  <a:pt x="11769696" y="4173531"/>
                  <a:pt x="11773151" y="4175294"/>
                  <a:pt x="11774878" y="4178821"/>
                </a:cubicBezTo>
                <a:cubicBezTo>
                  <a:pt x="11774878" y="4182348"/>
                  <a:pt x="11774878" y="4185874"/>
                  <a:pt x="11774878" y="4185874"/>
                </a:cubicBezTo>
                <a:cubicBezTo>
                  <a:pt x="11774878" y="4189401"/>
                  <a:pt x="11774878" y="4192929"/>
                  <a:pt x="11771423" y="4196455"/>
                </a:cubicBezTo>
                <a:cubicBezTo>
                  <a:pt x="11771423" y="4196455"/>
                  <a:pt x="11771423" y="4196455"/>
                  <a:pt x="11767968" y="4199982"/>
                </a:cubicBezTo>
                <a:cubicBezTo>
                  <a:pt x="11764514" y="4199982"/>
                  <a:pt x="11757604" y="4199982"/>
                  <a:pt x="11754149" y="4196455"/>
                </a:cubicBezTo>
                <a:cubicBezTo>
                  <a:pt x="11750694" y="4196455"/>
                  <a:pt x="11750694" y="4192929"/>
                  <a:pt x="11750694" y="4192929"/>
                </a:cubicBezTo>
                <a:cubicBezTo>
                  <a:pt x="11750694" y="4192929"/>
                  <a:pt x="11750694" y="4189401"/>
                  <a:pt x="11750694" y="4185874"/>
                </a:cubicBezTo>
                <a:cubicBezTo>
                  <a:pt x="11750694" y="4182348"/>
                  <a:pt x="11750694" y="4178821"/>
                  <a:pt x="11757604" y="4175294"/>
                </a:cubicBezTo>
                <a:cubicBezTo>
                  <a:pt x="11759332" y="4173531"/>
                  <a:pt x="11762786" y="4172649"/>
                  <a:pt x="11766241" y="4173090"/>
                </a:cubicBezTo>
                <a:close/>
                <a:moveTo>
                  <a:pt x="10810738" y="4171765"/>
                </a:moveTo>
                <a:cubicBezTo>
                  <a:pt x="10810738" y="4171765"/>
                  <a:pt x="10810738" y="4171765"/>
                  <a:pt x="10810738" y="4235469"/>
                </a:cubicBezTo>
                <a:cubicBezTo>
                  <a:pt x="10810738" y="4228391"/>
                  <a:pt x="10800048" y="4217773"/>
                  <a:pt x="10782231" y="4217773"/>
                </a:cubicBezTo>
                <a:cubicBezTo>
                  <a:pt x="10753724" y="4217773"/>
                  <a:pt x="10743034" y="4239008"/>
                  <a:pt x="10743034" y="4267321"/>
                </a:cubicBezTo>
                <a:cubicBezTo>
                  <a:pt x="10743034" y="4295634"/>
                  <a:pt x="10753724" y="4316868"/>
                  <a:pt x="10782231" y="4316868"/>
                </a:cubicBezTo>
                <a:cubicBezTo>
                  <a:pt x="10796484" y="4316868"/>
                  <a:pt x="10803611" y="4313329"/>
                  <a:pt x="10810738" y="4299172"/>
                </a:cubicBezTo>
                <a:cubicBezTo>
                  <a:pt x="10810738" y="4299172"/>
                  <a:pt x="10810738" y="4299172"/>
                  <a:pt x="10810738" y="4313329"/>
                </a:cubicBezTo>
                <a:cubicBezTo>
                  <a:pt x="10810738" y="4313329"/>
                  <a:pt x="10810738" y="4313329"/>
                  <a:pt x="10824991" y="4313329"/>
                </a:cubicBezTo>
                <a:lnTo>
                  <a:pt x="10824991" y="4171765"/>
                </a:lnTo>
                <a:cubicBezTo>
                  <a:pt x="10824991" y="4171765"/>
                  <a:pt x="10824991" y="4171765"/>
                  <a:pt x="10810738" y="4171765"/>
                </a:cubicBezTo>
                <a:close/>
                <a:moveTo>
                  <a:pt x="11768161" y="4166249"/>
                </a:moveTo>
                <a:cubicBezTo>
                  <a:pt x="11762338" y="4164954"/>
                  <a:pt x="11756068" y="4165817"/>
                  <a:pt x="11750694" y="4169272"/>
                </a:cubicBezTo>
                <a:cubicBezTo>
                  <a:pt x="11743528" y="4172727"/>
                  <a:pt x="11739946" y="4179637"/>
                  <a:pt x="11739946" y="4186546"/>
                </a:cubicBezTo>
                <a:cubicBezTo>
                  <a:pt x="11739946" y="4190001"/>
                  <a:pt x="11743528" y="4193456"/>
                  <a:pt x="11743528" y="4196911"/>
                </a:cubicBezTo>
                <a:cubicBezTo>
                  <a:pt x="11750694" y="4207276"/>
                  <a:pt x="11765025" y="4210730"/>
                  <a:pt x="11772191" y="4203821"/>
                </a:cubicBezTo>
                <a:cubicBezTo>
                  <a:pt x="11779357" y="4203821"/>
                  <a:pt x="11779357" y="4200366"/>
                  <a:pt x="11782939" y="4196911"/>
                </a:cubicBezTo>
                <a:cubicBezTo>
                  <a:pt x="11782939" y="4193456"/>
                  <a:pt x="11782939" y="4190001"/>
                  <a:pt x="11782939" y="4186546"/>
                </a:cubicBezTo>
                <a:cubicBezTo>
                  <a:pt x="11782939" y="4183092"/>
                  <a:pt x="11782939" y="4179637"/>
                  <a:pt x="11782939" y="4176182"/>
                </a:cubicBezTo>
                <a:cubicBezTo>
                  <a:pt x="11779357" y="4170999"/>
                  <a:pt x="11773982" y="4167545"/>
                  <a:pt x="11768161" y="4166249"/>
                </a:cubicBezTo>
                <a:close/>
                <a:moveTo>
                  <a:pt x="11525909" y="4158331"/>
                </a:moveTo>
                <a:cubicBezTo>
                  <a:pt x="11504825" y="4193263"/>
                  <a:pt x="11504825" y="4193263"/>
                  <a:pt x="11504825" y="4193263"/>
                </a:cubicBezTo>
                <a:cubicBezTo>
                  <a:pt x="11511853" y="4200249"/>
                  <a:pt x="11518881" y="4203743"/>
                  <a:pt x="11529423" y="4210729"/>
                </a:cubicBezTo>
                <a:cubicBezTo>
                  <a:pt x="11532937" y="4203743"/>
                  <a:pt x="11532937" y="4203743"/>
                  <a:pt x="11532937" y="4203743"/>
                </a:cubicBezTo>
                <a:cubicBezTo>
                  <a:pt x="11515367" y="4193263"/>
                  <a:pt x="11515367" y="4193263"/>
                  <a:pt x="11515367" y="4193263"/>
                </a:cubicBezTo>
                <a:cubicBezTo>
                  <a:pt x="11522395" y="4182784"/>
                  <a:pt x="11522395" y="4182784"/>
                  <a:pt x="11522395" y="4182784"/>
                </a:cubicBezTo>
                <a:cubicBezTo>
                  <a:pt x="11532937" y="4189770"/>
                  <a:pt x="11532937" y="4189770"/>
                  <a:pt x="11532937" y="4189770"/>
                </a:cubicBezTo>
                <a:cubicBezTo>
                  <a:pt x="11536450" y="4182784"/>
                  <a:pt x="11536450" y="4182784"/>
                  <a:pt x="11536450" y="4182784"/>
                </a:cubicBezTo>
                <a:cubicBezTo>
                  <a:pt x="11532937" y="4182784"/>
                  <a:pt x="11529423" y="4179290"/>
                  <a:pt x="11525909" y="4175797"/>
                </a:cubicBezTo>
                <a:lnTo>
                  <a:pt x="11529423" y="4168811"/>
                </a:lnTo>
                <a:cubicBezTo>
                  <a:pt x="11536450" y="4172303"/>
                  <a:pt x="11539964" y="4175797"/>
                  <a:pt x="11546992" y="4179290"/>
                </a:cubicBezTo>
                <a:cubicBezTo>
                  <a:pt x="11550506" y="4172303"/>
                  <a:pt x="11550506" y="4172303"/>
                  <a:pt x="11550506" y="4172303"/>
                </a:cubicBezTo>
                <a:cubicBezTo>
                  <a:pt x="11543478" y="4168811"/>
                  <a:pt x="11532937" y="4161824"/>
                  <a:pt x="11525909" y="4158331"/>
                </a:cubicBezTo>
                <a:close/>
                <a:moveTo>
                  <a:pt x="11803361" y="4130117"/>
                </a:moveTo>
                <a:cubicBezTo>
                  <a:pt x="11799868" y="4133643"/>
                  <a:pt x="11799868" y="4133643"/>
                  <a:pt x="11796375" y="4137170"/>
                </a:cubicBezTo>
                <a:cubicBezTo>
                  <a:pt x="11813840" y="4154804"/>
                  <a:pt x="11813840" y="4154804"/>
                  <a:pt x="11813840" y="4154804"/>
                </a:cubicBezTo>
                <a:cubicBezTo>
                  <a:pt x="11785895" y="4147751"/>
                  <a:pt x="11785895" y="4147751"/>
                  <a:pt x="11785895" y="4147751"/>
                </a:cubicBezTo>
                <a:cubicBezTo>
                  <a:pt x="11782402" y="4147751"/>
                  <a:pt x="11782402" y="4151277"/>
                  <a:pt x="11778908" y="4151277"/>
                </a:cubicBezTo>
                <a:cubicBezTo>
                  <a:pt x="11803361" y="4186546"/>
                  <a:pt x="11803361" y="4186546"/>
                  <a:pt x="11803361" y="4186546"/>
                </a:cubicBezTo>
                <a:cubicBezTo>
                  <a:pt x="11806854" y="4183019"/>
                  <a:pt x="11806854" y="4183019"/>
                  <a:pt x="11810348" y="4179492"/>
                </a:cubicBezTo>
                <a:cubicBezTo>
                  <a:pt x="11796375" y="4158331"/>
                  <a:pt x="11796375" y="4158331"/>
                  <a:pt x="11796375" y="4158331"/>
                </a:cubicBezTo>
                <a:cubicBezTo>
                  <a:pt x="11824320" y="4168911"/>
                  <a:pt x="11824320" y="4168911"/>
                  <a:pt x="11824320" y="4168911"/>
                </a:cubicBezTo>
                <a:cubicBezTo>
                  <a:pt x="11827814" y="4165385"/>
                  <a:pt x="11827814" y="4165385"/>
                  <a:pt x="11831307" y="4161858"/>
                </a:cubicBezTo>
                <a:cubicBezTo>
                  <a:pt x="11803361" y="4130117"/>
                  <a:pt x="11803361" y="4130117"/>
                  <a:pt x="11803361" y="4130117"/>
                </a:cubicBezTo>
                <a:close/>
                <a:moveTo>
                  <a:pt x="11495008" y="4130117"/>
                </a:moveTo>
                <a:cubicBezTo>
                  <a:pt x="11495008" y="4130117"/>
                  <a:pt x="11495008" y="4130117"/>
                  <a:pt x="11487980" y="4133630"/>
                </a:cubicBezTo>
                <a:cubicBezTo>
                  <a:pt x="11491494" y="4137144"/>
                  <a:pt x="11495008" y="4140658"/>
                  <a:pt x="11498522" y="4144172"/>
                </a:cubicBezTo>
                <a:cubicBezTo>
                  <a:pt x="11498522" y="4144172"/>
                  <a:pt x="11498522" y="4144172"/>
                  <a:pt x="11473924" y="4168769"/>
                </a:cubicBezTo>
                <a:cubicBezTo>
                  <a:pt x="11473924" y="4168769"/>
                  <a:pt x="11473924" y="4168769"/>
                  <a:pt x="11480952" y="4175797"/>
                </a:cubicBezTo>
                <a:cubicBezTo>
                  <a:pt x="11480952" y="4175797"/>
                  <a:pt x="11480952" y="4175797"/>
                  <a:pt x="11505548" y="4151200"/>
                </a:cubicBezTo>
                <a:cubicBezTo>
                  <a:pt x="11509062" y="4151200"/>
                  <a:pt x="11512576" y="4154713"/>
                  <a:pt x="11516090" y="4158227"/>
                </a:cubicBezTo>
                <a:cubicBezTo>
                  <a:pt x="11516090" y="4158227"/>
                  <a:pt x="11516090" y="4158227"/>
                  <a:pt x="11519604" y="4151200"/>
                </a:cubicBezTo>
                <a:cubicBezTo>
                  <a:pt x="11509062" y="4144172"/>
                  <a:pt x="11502036" y="4137144"/>
                  <a:pt x="11495008" y="4130117"/>
                </a:cubicBezTo>
                <a:close/>
                <a:moveTo>
                  <a:pt x="11824589" y="4119368"/>
                </a:moveTo>
                <a:lnTo>
                  <a:pt x="11842055" y="4126086"/>
                </a:lnTo>
                <a:lnTo>
                  <a:pt x="11842055" y="4130117"/>
                </a:lnTo>
                <a:lnTo>
                  <a:pt x="11835337" y="4136835"/>
                </a:lnTo>
                <a:lnTo>
                  <a:pt x="11831307" y="4130117"/>
                </a:lnTo>
                <a:close/>
                <a:moveTo>
                  <a:pt x="11820942" y="4112650"/>
                </a:moveTo>
                <a:lnTo>
                  <a:pt x="11813840" y="4119592"/>
                </a:lnTo>
                <a:cubicBezTo>
                  <a:pt x="11813840" y="4119592"/>
                  <a:pt x="11813840" y="4119592"/>
                  <a:pt x="11820942" y="4130004"/>
                </a:cubicBezTo>
                <a:cubicBezTo>
                  <a:pt x="11820942" y="4130004"/>
                  <a:pt x="11820942" y="4130004"/>
                  <a:pt x="11838696" y="4154300"/>
                </a:cubicBezTo>
                <a:cubicBezTo>
                  <a:pt x="11838696" y="4154300"/>
                  <a:pt x="11842247" y="4150830"/>
                  <a:pt x="11842247" y="4150830"/>
                </a:cubicBezTo>
                <a:cubicBezTo>
                  <a:pt x="11842247" y="4150830"/>
                  <a:pt x="11842247" y="4150830"/>
                  <a:pt x="11838696" y="4143888"/>
                </a:cubicBezTo>
                <a:cubicBezTo>
                  <a:pt x="11838696" y="4143888"/>
                  <a:pt x="11838696" y="4143888"/>
                  <a:pt x="11849349" y="4130004"/>
                </a:cubicBezTo>
                <a:cubicBezTo>
                  <a:pt x="11849349" y="4130004"/>
                  <a:pt x="11849349" y="4130004"/>
                  <a:pt x="11856450" y="4130004"/>
                </a:cubicBezTo>
                <a:cubicBezTo>
                  <a:pt x="11860002" y="4130004"/>
                  <a:pt x="11860002" y="4130004"/>
                  <a:pt x="11860002" y="4130004"/>
                </a:cubicBezTo>
                <a:cubicBezTo>
                  <a:pt x="11860002" y="4126533"/>
                  <a:pt x="11863552" y="4126533"/>
                  <a:pt x="11863552" y="4123062"/>
                </a:cubicBezTo>
                <a:cubicBezTo>
                  <a:pt x="11863552" y="4123062"/>
                  <a:pt x="11863552" y="4123062"/>
                  <a:pt x="11820942" y="4112650"/>
                </a:cubicBezTo>
                <a:close/>
                <a:moveTo>
                  <a:pt x="11466198" y="4097871"/>
                </a:moveTo>
                <a:cubicBezTo>
                  <a:pt x="11430930" y="4122951"/>
                  <a:pt x="11430930" y="4122951"/>
                  <a:pt x="11430930" y="4122951"/>
                </a:cubicBezTo>
                <a:cubicBezTo>
                  <a:pt x="11434457" y="4126534"/>
                  <a:pt x="11434457" y="4126534"/>
                  <a:pt x="11437984" y="4130117"/>
                </a:cubicBezTo>
                <a:cubicBezTo>
                  <a:pt x="11459145" y="4115786"/>
                  <a:pt x="11459145" y="4115786"/>
                  <a:pt x="11459145" y="4115786"/>
                </a:cubicBezTo>
                <a:cubicBezTo>
                  <a:pt x="11448564" y="4144447"/>
                  <a:pt x="11448564" y="4144447"/>
                  <a:pt x="11448564" y="4144447"/>
                </a:cubicBezTo>
                <a:cubicBezTo>
                  <a:pt x="11452091" y="4148031"/>
                  <a:pt x="11452091" y="4148031"/>
                  <a:pt x="11455618" y="4151613"/>
                </a:cubicBezTo>
                <a:cubicBezTo>
                  <a:pt x="11487359" y="4122951"/>
                  <a:pt x="11487359" y="4122951"/>
                  <a:pt x="11487359" y="4122951"/>
                </a:cubicBezTo>
                <a:cubicBezTo>
                  <a:pt x="11487359" y="4119368"/>
                  <a:pt x="11483833" y="4119368"/>
                  <a:pt x="11483833" y="4115786"/>
                </a:cubicBezTo>
                <a:cubicBezTo>
                  <a:pt x="11462672" y="4133699"/>
                  <a:pt x="11462672" y="4133699"/>
                  <a:pt x="11462672" y="4133699"/>
                </a:cubicBezTo>
                <a:cubicBezTo>
                  <a:pt x="11473252" y="4105037"/>
                  <a:pt x="11473252" y="4105037"/>
                  <a:pt x="11473252" y="4105037"/>
                </a:cubicBezTo>
                <a:cubicBezTo>
                  <a:pt x="11469725" y="4101454"/>
                  <a:pt x="11469725" y="4101454"/>
                  <a:pt x="11466198" y="4097871"/>
                </a:cubicBezTo>
                <a:close/>
                <a:moveTo>
                  <a:pt x="11835338" y="4087123"/>
                </a:moveTo>
                <a:lnTo>
                  <a:pt x="11831307" y="4095184"/>
                </a:lnTo>
                <a:lnTo>
                  <a:pt x="11870270" y="4115338"/>
                </a:lnTo>
                <a:lnTo>
                  <a:pt x="11883706" y="4091154"/>
                </a:lnTo>
                <a:lnTo>
                  <a:pt x="11876988" y="4087123"/>
                </a:lnTo>
                <a:lnTo>
                  <a:pt x="11866239" y="4105933"/>
                </a:lnTo>
                <a:close/>
                <a:moveTo>
                  <a:pt x="11459634" y="4084436"/>
                </a:moveTo>
                <a:cubicBezTo>
                  <a:pt x="11424212" y="4105598"/>
                  <a:pt x="11424212" y="4105598"/>
                  <a:pt x="11424212" y="4105598"/>
                </a:cubicBezTo>
                <a:cubicBezTo>
                  <a:pt x="11424212" y="4105598"/>
                  <a:pt x="11424212" y="4109124"/>
                  <a:pt x="11427754" y="4112651"/>
                </a:cubicBezTo>
                <a:cubicBezTo>
                  <a:pt x="11463176" y="4091490"/>
                  <a:pt x="11463176" y="4091490"/>
                  <a:pt x="11463176" y="4091490"/>
                </a:cubicBezTo>
                <a:cubicBezTo>
                  <a:pt x="11463176" y="4087963"/>
                  <a:pt x="11459634" y="4087963"/>
                  <a:pt x="11459634" y="4084436"/>
                </a:cubicBezTo>
                <a:close/>
                <a:moveTo>
                  <a:pt x="11450927" y="4050826"/>
                </a:moveTo>
                <a:cubicBezTo>
                  <a:pt x="11452683" y="4051267"/>
                  <a:pt x="11454437" y="4053030"/>
                  <a:pt x="11456192" y="4056557"/>
                </a:cubicBezTo>
                <a:cubicBezTo>
                  <a:pt x="11487785" y="4134148"/>
                  <a:pt x="11561500" y="4187050"/>
                  <a:pt x="11649257" y="4187050"/>
                </a:cubicBezTo>
                <a:cubicBezTo>
                  <a:pt x="11737012" y="4187050"/>
                  <a:pt x="11810728" y="4134148"/>
                  <a:pt x="11842320" y="4056557"/>
                </a:cubicBezTo>
                <a:cubicBezTo>
                  <a:pt x="11844075" y="4053030"/>
                  <a:pt x="11845831" y="4051267"/>
                  <a:pt x="11847586" y="4050826"/>
                </a:cubicBezTo>
                <a:cubicBezTo>
                  <a:pt x="11849340" y="4050386"/>
                  <a:pt x="11851096" y="4051267"/>
                  <a:pt x="11852851" y="4053030"/>
                </a:cubicBezTo>
                <a:cubicBezTo>
                  <a:pt x="11852851" y="4053030"/>
                  <a:pt x="11852851" y="4053030"/>
                  <a:pt x="11891464" y="4063611"/>
                </a:cubicBezTo>
                <a:cubicBezTo>
                  <a:pt x="11894974" y="4067138"/>
                  <a:pt x="11898484" y="4070664"/>
                  <a:pt x="11898484" y="4074191"/>
                </a:cubicBezTo>
                <a:cubicBezTo>
                  <a:pt x="11859871" y="4176469"/>
                  <a:pt x="11761585" y="4247006"/>
                  <a:pt x="11649257" y="4247006"/>
                </a:cubicBezTo>
                <a:cubicBezTo>
                  <a:pt x="11536929" y="4247006"/>
                  <a:pt x="11438641" y="4176469"/>
                  <a:pt x="11400028" y="4077719"/>
                </a:cubicBezTo>
                <a:cubicBezTo>
                  <a:pt x="11400028" y="4070664"/>
                  <a:pt x="11400028" y="4067138"/>
                  <a:pt x="11407049" y="4063611"/>
                </a:cubicBezTo>
                <a:cubicBezTo>
                  <a:pt x="11407049" y="4063611"/>
                  <a:pt x="11407049" y="4063611"/>
                  <a:pt x="11445662" y="4053030"/>
                </a:cubicBezTo>
                <a:cubicBezTo>
                  <a:pt x="11447417" y="4051267"/>
                  <a:pt x="11449172" y="4050386"/>
                  <a:pt x="11450927" y="4050826"/>
                </a:cubicBezTo>
                <a:close/>
                <a:moveTo>
                  <a:pt x="11603442" y="4044988"/>
                </a:moveTo>
                <a:cubicBezTo>
                  <a:pt x="11606935" y="4041442"/>
                  <a:pt x="11610428" y="4041442"/>
                  <a:pt x="11613922" y="4044988"/>
                </a:cubicBezTo>
                <a:cubicBezTo>
                  <a:pt x="11613922" y="4044988"/>
                  <a:pt x="11617414" y="4048534"/>
                  <a:pt x="11617414" y="4052079"/>
                </a:cubicBezTo>
                <a:cubicBezTo>
                  <a:pt x="11617414" y="4052079"/>
                  <a:pt x="11624401" y="4154898"/>
                  <a:pt x="11624401" y="4154898"/>
                </a:cubicBezTo>
                <a:cubicBezTo>
                  <a:pt x="11624401" y="4161989"/>
                  <a:pt x="11624401" y="4165535"/>
                  <a:pt x="11620908" y="4165535"/>
                </a:cubicBezTo>
                <a:cubicBezTo>
                  <a:pt x="11620908" y="4169080"/>
                  <a:pt x="11617414" y="4169080"/>
                  <a:pt x="11613922" y="4165535"/>
                </a:cubicBezTo>
                <a:cubicBezTo>
                  <a:pt x="11568509" y="4154898"/>
                  <a:pt x="11537070" y="4137171"/>
                  <a:pt x="11505632" y="4101715"/>
                </a:cubicBezTo>
                <a:cubicBezTo>
                  <a:pt x="11502138" y="4101715"/>
                  <a:pt x="11502138" y="4098170"/>
                  <a:pt x="11502138" y="4098170"/>
                </a:cubicBezTo>
                <a:cubicBezTo>
                  <a:pt x="11502138" y="4094625"/>
                  <a:pt x="11502138" y="4094625"/>
                  <a:pt x="11502138" y="4094625"/>
                </a:cubicBezTo>
                <a:cubicBezTo>
                  <a:pt x="11502138" y="4091080"/>
                  <a:pt x="11505632" y="4091080"/>
                  <a:pt x="11509124" y="4091080"/>
                </a:cubicBezTo>
                <a:cubicBezTo>
                  <a:pt x="11509124" y="4091080"/>
                  <a:pt x="11509124" y="4091080"/>
                  <a:pt x="11603442" y="4044988"/>
                </a:cubicBezTo>
                <a:close/>
                <a:moveTo>
                  <a:pt x="11688084" y="4041442"/>
                </a:moveTo>
                <a:cubicBezTo>
                  <a:pt x="11691578" y="4041442"/>
                  <a:pt x="11695071" y="4041442"/>
                  <a:pt x="11698565" y="4041442"/>
                </a:cubicBezTo>
                <a:cubicBezTo>
                  <a:pt x="11698565" y="4041442"/>
                  <a:pt x="11698565" y="4041442"/>
                  <a:pt x="11789388" y="4087353"/>
                </a:cubicBezTo>
                <a:cubicBezTo>
                  <a:pt x="11792882" y="4090885"/>
                  <a:pt x="11796375" y="4090885"/>
                  <a:pt x="11796375" y="4094417"/>
                </a:cubicBezTo>
                <a:cubicBezTo>
                  <a:pt x="11796375" y="4097948"/>
                  <a:pt x="11796375" y="4097948"/>
                  <a:pt x="11792882" y="4101480"/>
                </a:cubicBezTo>
                <a:cubicBezTo>
                  <a:pt x="11761442" y="4136796"/>
                  <a:pt x="11730003" y="4154454"/>
                  <a:pt x="11684592" y="4165049"/>
                </a:cubicBezTo>
                <a:cubicBezTo>
                  <a:pt x="11681098" y="4165049"/>
                  <a:pt x="11677605" y="4165049"/>
                  <a:pt x="11677605" y="4165049"/>
                </a:cubicBezTo>
                <a:cubicBezTo>
                  <a:pt x="11674112" y="4161517"/>
                  <a:pt x="11674112" y="4157985"/>
                  <a:pt x="11674112" y="4154454"/>
                </a:cubicBezTo>
                <a:cubicBezTo>
                  <a:pt x="11674112" y="4154454"/>
                  <a:pt x="11674112" y="4154454"/>
                  <a:pt x="11684592" y="4052038"/>
                </a:cubicBezTo>
                <a:cubicBezTo>
                  <a:pt x="11684592" y="4048506"/>
                  <a:pt x="11684592" y="4044974"/>
                  <a:pt x="11688084" y="4041442"/>
                </a:cubicBezTo>
                <a:close/>
                <a:moveTo>
                  <a:pt x="10810283" y="4002478"/>
                </a:moveTo>
                <a:lnTo>
                  <a:pt x="10851862" y="4002478"/>
                </a:lnTo>
                <a:cubicBezTo>
                  <a:pt x="10851862" y="4002478"/>
                  <a:pt x="10851862" y="4002478"/>
                  <a:pt x="10851862" y="4045088"/>
                </a:cubicBezTo>
                <a:cubicBezTo>
                  <a:pt x="10851862" y="4045088"/>
                  <a:pt x="10824142" y="4052190"/>
                  <a:pt x="10803353" y="4052190"/>
                </a:cubicBezTo>
                <a:cubicBezTo>
                  <a:pt x="10786028" y="4052190"/>
                  <a:pt x="10786028" y="4037987"/>
                  <a:pt x="10786028" y="4027334"/>
                </a:cubicBezTo>
                <a:cubicBezTo>
                  <a:pt x="10786028" y="4013131"/>
                  <a:pt x="10792958" y="4006029"/>
                  <a:pt x="10810283" y="4002478"/>
                </a:cubicBezTo>
                <a:close/>
                <a:moveTo>
                  <a:pt x="10494479" y="3932613"/>
                </a:moveTo>
                <a:cubicBezTo>
                  <a:pt x="10525716" y="3932613"/>
                  <a:pt x="10536128" y="3946681"/>
                  <a:pt x="10536128" y="3988885"/>
                </a:cubicBezTo>
                <a:cubicBezTo>
                  <a:pt x="10536128" y="4027570"/>
                  <a:pt x="10529187" y="4052189"/>
                  <a:pt x="10494479" y="4052189"/>
                </a:cubicBezTo>
                <a:cubicBezTo>
                  <a:pt x="10459770" y="4052189"/>
                  <a:pt x="10452829" y="4031088"/>
                  <a:pt x="10452829" y="3988885"/>
                </a:cubicBezTo>
                <a:cubicBezTo>
                  <a:pt x="10452829" y="3946681"/>
                  <a:pt x="10463241" y="3932613"/>
                  <a:pt x="10494479" y="3932613"/>
                </a:cubicBezTo>
                <a:close/>
                <a:moveTo>
                  <a:pt x="11639005" y="3928584"/>
                </a:moveTo>
                <a:cubicBezTo>
                  <a:pt x="11639005" y="3928584"/>
                  <a:pt x="11639005" y="3928584"/>
                  <a:pt x="11660034" y="3928584"/>
                </a:cubicBezTo>
                <a:cubicBezTo>
                  <a:pt x="11660034" y="3928584"/>
                  <a:pt x="11660034" y="3935677"/>
                  <a:pt x="11660034" y="3939224"/>
                </a:cubicBezTo>
                <a:cubicBezTo>
                  <a:pt x="11677559" y="3942771"/>
                  <a:pt x="11691578" y="3960506"/>
                  <a:pt x="11691578" y="3978241"/>
                </a:cubicBezTo>
                <a:cubicBezTo>
                  <a:pt x="11691578" y="3999523"/>
                  <a:pt x="11670549" y="4017258"/>
                  <a:pt x="11649519" y="4017258"/>
                </a:cubicBezTo>
                <a:cubicBezTo>
                  <a:pt x="11628490" y="4017258"/>
                  <a:pt x="11610966" y="3999523"/>
                  <a:pt x="11610966" y="3978241"/>
                </a:cubicBezTo>
                <a:cubicBezTo>
                  <a:pt x="11610966" y="3960506"/>
                  <a:pt x="11621480" y="3942771"/>
                  <a:pt x="11639005" y="3939224"/>
                </a:cubicBezTo>
                <a:cubicBezTo>
                  <a:pt x="11639005" y="3939224"/>
                  <a:pt x="11639005" y="3928584"/>
                  <a:pt x="11639005" y="3928584"/>
                </a:cubicBezTo>
                <a:close/>
                <a:moveTo>
                  <a:pt x="11649257" y="3917835"/>
                </a:moveTo>
                <a:cubicBezTo>
                  <a:pt x="11616236" y="3917835"/>
                  <a:pt x="11589469" y="3944904"/>
                  <a:pt x="11589469" y="3978295"/>
                </a:cubicBezTo>
                <a:cubicBezTo>
                  <a:pt x="11589469" y="4011686"/>
                  <a:pt x="11616236" y="4038755"/>
                  <a:pt x="11649257" y="4038755"/>
                </a:cubicBezTo>
                <a:cubicBezTo>
                  <a:pt x="11682277" y="4038755"/>
                  <a:pt x="11709045" y="4011686"/>
                  <a:pt x="11709045" y="3978295"/>
                </a:cubicBezTo>
                <a:cubicBezTo>
                  <a:pt x="11709045" y="3944904"/>
                  <a:pt x="11682277" y="3917835"/>
                  <a:pt x="11649257" y="3917835"/>
                </a:cubicBezTo>
                <a:close/>
                <a:moveTo>
                  <a:pt x="11649257" y="3911118"/>
                </a:moveTo>
                <a:cubicBezTo>
                  <a:pt x="11685987" y="3911118"/>
                  <a:pt x="11715763" y="3941194"/>
                  <a:pt x="11715763" y="3978295"/>
                </a:cubicBezTo>
                <a:cubicBezTo>
                  <a:pt x="11715763" y="4015397"/>
                  <a:pt x="11685987" y="4045473"/>
                  <a:pt x="11649257" y="4045473"/>
                </a:cubicBezTo>
                <a:cubicBezTo>
                  <a:pt x="11612526" y="4045473"/>
                  <a:pt x="11582751" y="4015397"/>
                  <a:pt x="11582751" y="3978295"/>
                </a:cubicBezTo>
                <a:cubicBezTo>
                  <a:pt x="11582751" y="3941194"/>
                  <a:pt x="11612526" y="3911118"/>
                  <a:pt x="11649257" y="3911118"/>
                </a:cubicBezTo>
                <a:close/>
                <a:moveTo>
                  <a:pt x="11824549" y="3908431"/>
                </a:moveTo>
                <a:cubicBezTo>
                  <a:pt x="11828050" y="3908431"/>
                  <a:pt x="11828050" y="3911957"/>
                  <a:pt x="11828050" y="3915484"/>
                </a:cubicBezTo>
                <a:cubicBezTo>
                  <a:pt x="11842055" y="3957806"/>
                  <a:pt x="11842055" y="3996601"/>
                  <a:pt x="11828050" y="4038923"/>
                </a:cubicBezTo>
                <a:cubicBezTo>
                  <a:pt x="11828050" y="4045977"/>
                  <a:pt x="11828050" y="4045977"/>
                  <a:pt x="11824549" y="4045977"/>
                </a:cubicBezTo>
                <a:cubicBezTo>
                  <a:pt x="11821047" y="4049504"/>
                  <a:pt x="11817546" y="4045977"/>
                  <a:pt x="11817546" y="4045977"/>
                </a:cubicBezTo>
                <a:lnTo>
                  <a:pt x="11730012" y="3986021"/>
                </a:lnTo>
                <a:cubicBezTo>
                  <a:pt x="11726510" y="3982494"/>
                  <a:pt x="11726510" y="3978967"/>
                  <a:pt x="11726510" y="3978967"/>
                </a:cubicBezTo>
                <a:cubicBezTo>
                  <a:pt x="11726510" y="3975441"/>
                  <a:pt x="11726510" y="3971914"/>
                  <a:pt x="11730012" y="3968386"/>
                </a:cubicBezTo>
                <a:cubicBezTo>
                  <a:pt x="11730012" y="3968386"/>
                  <a:pt x="11730012" y="3968386"/>
                  <a:pt x="11814044" y="3911957"/>
                </a:cubicBezTo>
                <a:cubicBezTo>
                  <a:pt x="11821047" y="3908431"/>
                  <a:pt x="11824549" y="3908431"/>
                  <a:pt x="11824549" y="3908431"/>
                </a:cubicBezTo>
                <a:close/>
                <a:moveTo>
                  <a:pt x="11473964" y="3908431"/>
                </a:moveTo>
                <a:cubicBezTo>
                  <a:pt x="11477466" y="3908431"/>
                  <a:pt x="11480967" y="3908431"/>
                  <a:pt x="11480967" y="3911957"/>
                </a:cubicBezTo>
                <a:lnTo>
                  <a:pt x="11568501" y="3968386"/>
                </a:lnTo>
                <a:cubicBezTo>
                  <a:pt x="11572002" y="3971914"/>
                  <a:pt x="11572002" y="3975441"/>
                  <a:pt x="11572002" y="3978967"/>
                </a:cubicBezTo>
                <a:cubicBezTo>
                  <a:pt x="11572002" y="3982494"/>
                  <a:pt x="11572002" y="3986021"/>
                  <a:pt x="11568501" y="3986021"/>
                </a:cubicBezTo>
                <a:cubicBezTo>
                  <a:pt x="11568501" y="3986021"/>
                  <a:pt x="11568501" y="3986021"/>
                  <a:pt x="11480967" y="4045977"/>
                </a:cubicBezTo>
                <a:cubicBezTo>
                  <a:pt x="11477466" y="4045977"/>
                  <a:pt x="11473964" y="4049504"/>
                  <a:pt x="11473964" y="4045977"/>
                </a:cubicBezTo>
                <a:cubicBezTo>
                  <a:pt x="11470463" y="4045977"/>
                  <a:pt x="11470463" y="4042450"/>
                  <a:pt x="11466961" y="4042450"/>
                </a:cubicBezTo>
                <a:cubicBezTo>
                  <a:pt x="11456457" y="3996601"/>
                  <a:pt x="11456457" y="3957806"/>
                  <a:pt x="11466961" y="3915484"/>
                </a:cubicBezTo>
                <a:cubicBezTo>
                  <a:pt x="11470463" y="3911957"/>
                  <a:pt x="11470463" y="3908431"/>
                  <a:pt x="11473964" y="3908431"/>
                </a:cubicBezTo>
                <a:close/>
                <a:moveTo>
                  <a:pt x="11070316" y="3897682"/>
                </a:moveTo>
                <a:cubicBezTo>
                  <a:pt x="11070316" y="3901208"/>
                  <a:pt x="11066828" y="3901208"/>
                  <a:pt x="11070316" y="3904735"/>
                </a:cubicBezTo>
                <a:cubicBezTo>
                  <a:pt x="11112166" y="4066969"/>
                  <a:pt x="11112166" y="4066969"/>
                  <a:pt x="11112166" y="4066969"/>
                </a:cubicBezTo>
                <a:cubicBezTo>
                  <a:pt x="11112166" y="4074023"/>
                  <a:pt x="11119141" y="4088130"/>
                  <a:pt x="11133091" y="4088130"/>
                </a:cubicBezTo>
                <a:cubicBezTo>
                  <a:pt x="11143554" y="4088130"/>
                  <a:pt x="11143554" y="4088130"/>
                  <a:pt x="11143554" y="4088130"/>
                </a:cubicBezTo>
                <a:cubicBezTo>
                  <a:pt x="11140066" y="4091657"/>
                  <a:pt x="11140066" y="4091657"/>
                  <a:pt x="11140066" y="4095183"/>
                </a:cubicBezTo>
                <a:cubicBezTo>
                  <a:pt x="11136578" y="4105763"/>
                  <a:pt x="11133091" y="4116344"/>
                  <a:pt x="11112166" y="4116344"/>
                </a:cubicBezTo>
                <a:cubicBezTo>
                  <a:pt x="11077291" y="4112818"/>
                  <a:pt x="11077291" y="4112818"/>
                  <a:pt x="11077291" y="4112818"/>
                </a:cubicBezTo>
                <a:cubicBezTo>
                  <a:pt x="11077291" y="4112818"/>
                  <a:pt x="11073804" y="4112818"/>
                  <a:pt x="11073804" y="4116344"/>
                </a:cubicBezTo>
                <a:cubicBezTo>
                  <a:pt x="11070316" y="4116344"/>
                  <a:pt x="11070316" y="4119871"/>
                  <a:pt x="11070316" y="4119871"/>
                </a:cubicBezTo>
                <a:cubicBezTo>
                  <a:pt x="11070316" y="4141032"/>
                  <a:pt x="11070316" y="4141032"/>
                  <a:pt x="11070316" y="4141032"/>
                </a:cubicBezTo>
                <a:cubicBezTo>
                  <a:pt x="11070316" y="4144559"/>
                  <a:pt x="11073804" y="4144559"/>
                  <a:pt x="11077291" y="4148086"/>
                </a:cubicBezTo>
                <a:cubicBezTo>
                  <a:pt x="11087754" y="4148086"/>
                  <a:pt x="11108678" y="4151612"/>
                  <a:pt x="11122628" y="4151612"/>
                </a:cubicBezTo>
                <a:cubicBezTo>
                  <a:pt x="11126116" y="4151612"/>
                  <a:pt x="11126116" y="4151612"/>
                  <a:pt x="11126116" y="4151612"/>
                </a:cubicBezTo>
                <a:cubicBezTo>
                  <a:pt x="11154016" y="4151612"/>
                  <a:pt x="11171453" y="4133978"/>
                  <a:pt x="11181916" y="4098710"/>
                </a:cubicBezTo>
                <a:cubicBezTo>
                  <a:pt x="11192378" y="4059915"/>
                  <a:pt x="11206329" y="4007013"/>
                  <a:pt x="11213303" y="3968218"/>
                </a:cubicBezTo>
                <a:cubicBezTo>
                  <a:pt x="11220279" y="3950584"/>
                  <a:pt x="11223766" y="3936476"/>
                  <a:pt x="11227253" y="3925896"/>
                </a:cubicBezTo>
                <a:cubicBezTo>
                  <a:pt x="11230741" y="3904735"/>
                  <a:pt x="11230741" y="3904735"/>
                  <a:pt x="11230741" y="3904735"/>
                </a:cubicBezTo>
                <a:cubicBezTo>
                  <a:pt x="11230741" y="3901208"/>
                  <a:pt x="11230741" y="3901208"/>
                  <a:pt x="11230741" y="3897682"/>
                </a:cubicBezTo>
                <a:cubicBezTo>
                  <a:pt x="11227253" y="3897682"/>
                  <a:pt x="11227253" y="3897682"/>
                  <a:pt x="11223766" y="3897682"/>
                </a:cubicBezTo>
                <a:cubicBezTo>
                  <a:pt x="11195866" y="3897682"/>
                  <a:pt x="11195866" y="3897682"/>
                  <a:pt x="11195866" y="3897682"/>
                </a:cubicBezTo>
                <a:cubicBezTo>
                  <a:pt x="11192378" y="3897682"/>
                  <a:pt x="11188891" y="3897682"/>
                  <a:pt x="11188891" y="3901208"/>
                </a:cubicBezTo>
                <a:cubicBezTo>
                  <a:pt x="11150528" y="4045808"/>
                  <a:pt x="11150528" y="4045808"/>
                  <a:pt x="11150528" y="4045808"/>
                </a:cubicBezTo>
                <a:cubicBezTo>
                  <a:pt x="11147041" y="4045808"/>
                  <a:pt x="11147041" y="4045808"/>
                  <a:pt x="11147041" y="4045808"/>
                </a:cubicBezTo>
                <a:cubicBezTo>
                  <a:pt x="11112166" y="3901208"/>
                  <a:pt x="11112166" y="3901208"/>
                  <a:pt x="11112166" y="3901208"/>
                </a:cubicBezTo>
                <a:cubicBezTo>
                  <a:pt x="11108678" y="3897682"/>
                  <a:pt x="11108678" y="3897682"/>
                  <a:pt x="11105191" y="3897682"/>
                </a:cubicBezTo>
                <a:cubicBezTo>
                  <a:pt x="11077291" y="3897682"/>
                  <a:pt x="11077291" y="3897682"/>
                  <a:pt x="11077291" y="3897682"/>
                </a:cubicBezTo>
                <a:cubicBezTo>
                  <a:pt x="11073804" y="3897682"/>
                  <a:pt x="11070316" y="3897682"/>
                  <a:pt x="11070316" y="3897682"/>
                </a:cubicBezTo>
                <a:close/>
                <a:moveTo>
                  <a:pt x="11038289" y="3893651"/>
                </a:moveTo>
                <a:cubicBezTo>
                  <a:pt x="11017163" y="3893651"/>
                  <a:pt x="10999559" y="3907722"/>
                  <a:pt x="10985474" y="3914757"/>
                </a:cubicBezTo>
                <a:cubicBezTo>
                  <a:pt x="10985474" y="3904204"/>
                  <a:pt x="10985474" y="3904204"/>
                  <a:pt x="10985474" y="3904204"/>
                </a:cubicBezTo>
                <a:cubicBezTo>
                  <a:pt x="10985474" y="3897169"/>
                  <a:pt x="10981954" y="3897169"/>
                  <a:pt x="10978433" y="3897169"/>
                </a:cubicBezTo>
                <a:cubicBezTo>
                  <a:pt x="10950264" y="3897169"/>
                  <a:pt x="10950264" y="3897169"/>
                  <a:pt x="10950264" y="3897169"/>
                </a:cubicBezTo>
                <a:cubicBezTo>
                  <a:pt x="10946743" y="3897169"/>
                  <a:pt x="10943222" y="3897169"/>
                  <a:pt x="10943222" y="3904204"/>
                </a:cubicBezTo>
                <a:cubicBezTo>
                  <a:pt x="10943222" y="4080087"/>
                  <a:pt x="10943222" y="4080087"/>
                  <a:pt x="10943222" y="4080087"/>
                </a:cubicBezTo>
                <a:cubicBezTo>
                  <a:pt x="10943222" y="4083605"/>
                  <a:pt x="10946743" y="4087122"/>
                  <a:pt x="10950264" y="4087122"/>
                </a:cubicBezTo>
                <a:cubicBezTo>
                  <a:pt x="10978433" y="4087122"/>
                  <a:pt x="10978433" y="4087122"/>
                  <a:pt x="10978433" y="4087122"/>
                </a:cubicBezTo>
                <a:cubicBezTo>
                  <a:pt x="10981954" y="4087122"/>
                  <a:pt x="10985474" y="4083605"/>
                  <a:pt x="10985474" y="4080087"/>
                </a:cubicBezTo>
                <a:cubicBezTo>
                  <a:pt x="10985474" y="3956969"/>
                  <a:pt x="10985474" y="3956969"/>
                  <a:pt x="10985474" y="3956969"/>
                </a:cubicBezTo>
                <a:cubicBezTo>
                  <a:pt x="10992517" y="3953451"/>
                  <a:pt x="11013643" y="3935863"/>
                  <a:pt x="11038289" y="3935863"/>
                </a:cubicBezTo>
                <a:cubicBezTo>
                  <a:pt x="11041811" y="3932345"/>
                  <a:pt x="11045332" y="3932345"/>
                  <a:pt x="11045332" y="3928828"/>
                </a:cubicBezTo>
                <a:cubicBezTo>
                  <a:pt x="11045332" y="3900687"/>
                  <a:pt x="11045332" y="3900687"/>
                  <a:pt x="11045332" y="3900687"/>
                </a:cubicBezTo>
                <a:cubicBezTo>
                  <a:pt x="11045332" y="3900687"/>
                  <a:pt x="11045332" y="3897169"/>
                  <a:pt x="11041811" y="3897169"/>
                </a:cubicBezTo>
                <a:cubicBezTo>
                  <a:pt x="11041811" y="3893651"/>
                  <a:pt x="11038289" y="3893651"/>
                  <a:pt x="11038289" y="3893651"/>
                </a:cubicBezTo>
                <a:close/>
                <a:moveTo>
                  <a:pt x="10831647" y="3889620"/>
                </a:moveTo>
                <a:cubicBezTo>
                  <a:pt x="10810578" y="3889620"/>
                  <a:pt x="10775463" y="3896691"/>
                  <a:pt x="10761417" y="3896691"/>
                </a:cubicBezTo>
                <a:cubicBezTo>
                  <a:pt x="10757905" y="3896691"/>
                  <a:pt x="10754394" y="3900227"/>
                  <a:pt x="10754394" y="3903763"/>
                </a:cubicBezTo>
                <a:cubicBezTo>
                  <a:pt x="10754394" y="3903763"/>
                  <a:pt x="10754394" y="3903763"/>
                  <a:pt x="10754394" y="3928512"/>
                </a:cubicBezTo>
                <a:cubicBezTo>
                  <a:pt x="10754394" y="3932048"/>
                  <a:pt x="10754394" y="3932048"/>
                  <a:pt x="10757905" y="3935584"/>
                </a:cubicBezTo>
                <a:cubicBezTo>
                  <a:pt x="10757905" y="3935584"/>
                  <a:pt x="10761417" y="3935584"/>
                  <a:pt x="10761417" y="3935584"/>
                </a:cubicBezTo>
                <a:cubicBezTo>
                  <a:pt x="10778974" y="3935584"/>
                  <a:pt x="10807067" y="3932048"/>
                  <a:pt x="10828136" y="3932048"/>
                </a:cubicBezTo>
                <a:cubicBezTo>
                  <a:pt x="10842182" y="3932048"/>
                  <a:pt x="10852717" y="3942655"/>
                  <a:pt x="10852717" y="3956798"/>
                </a:cubicBezTo>
                <a:cubicBezTo>
                  <a:pt x="10852717" y="3956798"/>
                  <a:pt x="10852717" y="3956798"/>
                  <a:pt x="10852717" y="3967405"/>
                </a:cubicBezTo>
                <a:cubicBezTo>
                  <a:pt x="10852717" y="3967405"/>
                  <a:pt x="10852717" y="3967405"/>
                  <a:pt x="10803555" y="3970941"/>
                </a:cubicBezTo>
                <a:cubicBezTo>
                  <a:pt x="10761417" y="3974476"/>
                  <a:pt x="10740347" y="3992154"/>
                  <a:pt x="10740347" y="4031046"/>
                </a:cubicBezTo>
                <a:cubicBezTo>
                  <a:pt x="10740347" y="4069938"/>
                  <a:pt x="10761417" y="4091152"/>
                  <a:pt x="10796532" y="4091152"/>
                </a:cubicBezTo>
                <a:cubicBezTo>
                  <a:pt x="10824625" y="4091152"/>
                  <a:pt x="10859740" y="4077009"/>
                  <a:pt x="10859740" y="4077009"/>
                </a:cubicBezTo>
                <a:cubicBezTo>
                  <a:pt x="10866763" y="4084081"/>
                  <a:pt x="10873786" y="4087616"/>
                  <a:pt x="10887833" y="4091152"/>
                </a:cubicBezTo>
                <a:cubicBezTo>
                  <a:pt x="10891344" y="4091152"/>
                  <a:pt x="10891344" y="4091152"/>
                  <a:pt x="10894855" y="4087616"/>
                </a:cubicBezTo>
                <a:cubicBezTo>
                  <a:pt x="10894855" y="4087616"/>
                  <a:pt x="10894855" y="4084081"/>
                  <a:pt x="10894855" y="4084081"/>
                </a:cubicBezTo>
                <a:cubicBezTo>
                  <a:pt x="10894855" y="4084081"/>
                  <a:pt x="10894855" y="4084081"/>
                  <a:pt x="10894855" y="3956798"/>
                </a:cubicBezTo>
                <a:cubicBezTo>
                  <a:pt x="10894855" y="3910834"/>
                  <a:pt x="10873786" y="3889620"/>
                  <a:pt x="10831647" y="3889620"/>
                </a:cubicBezTo>
                <a:close/>
                <a:moveTo>
                  <a:pt x="10495822" y="3889619"/>
                </a:moveTo>
                <a:cubicBezTo>
                  <a:pt x="10448333" y="3889619"/>
                  <a:pt x="10409835" y="3934734"/>
                  <a:pt x="10409835" y="3990386"/>
                </a:cubicBezTo>
                <a:cubicBezTo>
                  <a:pt x="10409835" y="4046038"/>
                  <a:pt x="10448333" y="4091152"/>
                  <a:pt x="10495822" y="4091152"/>
                </a:cubicBezTo>
                <a:cubicBezTo>
                  <a:pt x="10543311" y="4091152"/>
                  <a:pt x="10581809" y="4046038"/>
                  <a:pt x="10581809" y="3990386"/>
                </a:cubicBezTo>
                <a:cubicBezTo>
                  <a:pt x="10581809" y="3934734"/>
                  <a:pt x="10543311" y="3889619"/>
                  <a:pt x="10495822" y="3889619"/>
                </a:cubicBezTo>
                <a:close/>
                <a:moveTo>
                  <a:pt x="10241892" y="3865436"/>
                </a:moveTo>
                <a:cubicBezTo>
                  <a:pt x="10248859" y="3865436"/>
                  <a:pt x="10255825" y="3865436"/>
                  <a:pt x="10273241" y="3865436"/>
                </a:cubicBezTo>
                <a:cubicBezTo>
                  <a:pt x="10273241" y="3865436"/>
                  <a:pt x="10273241" y="3865436"/>
                  <a:pt x="10290657" y="3865436"/>
                </a:cubicBezTo>
                <a:cubicBezTo>
                  <a:pt x="10322007" y="3865436"/>
                  <a:pt x="10335940" y="3886689"/>
                  <a:pt x="10335940" y="3904400"/>
                </a:cubicBezTo>
                <a:cubicBezTo>
                  <a:pt x="10335940" y="3929194"/>
                  <a:pt x="10318523" y="3943362"/>
                  <a:pt x="10287174" y="3943362"/>
                </a:cubicBezTo>
                <a:cubicBezTo>
                  <a:pt x="10266274" y="3943362"/>
                  <a:pt x="10248859" y="3943362"/>
                  <a:pt x="10241892" y="3943362"/>
                </a:cubicBezTo>
                <a:cubicBezTo>
                  <a:pt x="10241892" y="3943362"/>
                  <a:pt x="10241892" y="3943362"/>
                  <a:pt x="10241892" y="3865436"/>
                </a:cubicBezTo>
                <a:close/>
                <a:moveTo>
                  <a:pt x="10659063" y="3852001"/>
                </a:moveTo>
                <a:cubicBezTo>
                  <a:pt x="10659063" y="3852001"/>
                  <a:pt x="10659063" y="3852001"/>
                  <a:pt x="10627410" y="3859035"/>
                </a:cubicBezTo>
                <a:cubicBezTo>
                  <a:pt x="10623893" y="3859035"/>
                  <a:pt x="10623893" y="3862552"/>
                  <a:pt x="10623893" y="3866069"/>
                </a:cubicBezTo>
                <a:cubicBezTo>
                  <a:pt x="10623893" y="3866069"/>
                  <a:pt x="10623893" y="3866069"/>
                  <a:pt x="10623893" y="3897721"/>
                </a:cubicBezTo>
                <a:cubicBezTo>
                  <a:pt x="10623893" y="3897721"/>
                  <a:pt x="10623893" y="3897721"/>
                  <a:pt x="10606308" y="3897721"/>
                </a:cubicBezTo>
                <a:cubicBezTo>
                  <a:pt x="10602792" y="3897721"/>
                  <a:pt x="10599275" y="3897721"/>
                  <a:pt x="10599275" y="3904755"/>
                </a:cubicBezTo>
                <a:cubicBezTo>
                  <a:pt x="10599275" y="3904755"/>
                  <a:pt x="10599275" y="3904755"/>
                  <a:pt x="10599275" y="3929373"/>
                </a:cubicBezTo>
                <a:cubicBezTo>
                  <a:pt x="10599275" y="3932891"/>
                  <a:pt x="10602792" y="3936407"/>
                  <a:pt x="10606308" y="3936407"/>
                </a:cubicBezTo>
                <a:cubicBezTo>
                  <a:pt x="10606308" y="3936407"/>
                  <a:pt x="10606308" y="3936407"/>
                  <a:pt x="10623893" y="3936407"/>
                </a:cubicBezTo>
                <a:cubicBezTo>
                  <a:pt x="10623893" y="3936407"/>
                  <a:pt x="10623893" y="3936407"/>
                  <a:pt x="10623893" y="4020814"/>
                </a:cubicBezTo>
                <a:cubicBezTo>
                  <a:pt x="10623893" y="4073567"/>
                  <a:pt x="10637961" y="4091152"/>
                  <a:pt x="10680164" y="4091152"/>
                </a:cubicBezTo>
                <a:cubicBezTo>
                  <a:pt x="10690715" y="4091152"/>
                  <a:pt x="10701266" y="4087636"/>
                  <a:pt x="10711817" y="4087636"/>
                </a:cubicBezTo>
                <a:cubicBezTo>
                  <a:pt x="10715334" y="4087636"/>
                  <a:pt x="10718851" y="4084119"/>
                  <a:pt x="10718851" y="4080601"/>
                </a:cubicBezTo>
                <a:cubicBezTo>
                  <a:pt x="10718851" y="4080601"/>
                  <a:pt x="10718851" y="4080601"/>
                  <a:pt x="10718851" y="4055983"/>
                </a:cubicBezTo>
                <a:cubicBezTo>
                  <a:pt x="10718851" y="4052466"/>
                  <a:pt x="10715334" y="4048949"/>
                  <a:pt x="10711817" y="4048949"/>
                </a:cubicBezTo>
                <a:cubicBezTo>
                  <a:pt x="10704783" y="4048949"/>
                  <a:pt x="10694232" y="4048949"/>
                  <a:pt x="10687198" y="4048949"/>
                </a:cubicBezTo>
                <a:cubicBezTo>
                  <a:pt x="10666096" y="4048949"/>
                  <a:pt x="10666096" y="4041915"/>
                  <a:pt x="10666096" y="4013780"/>
                </a:cubicBezTo>
                <a:cubicBezTo>
                  <a:pt x="10666096" y="4013780"/>
                  <a:pt x="10666096" y="4013780"/>
                  <a:pt x="10666096" y="3936407"/>
                </a:cubicBezTo>
                <a:cubicBezTo>
                  <a:pt x="10666096" y="3936407"/>
                  <a:pt x="10666096" y="3936407"/>
                  <a:pt x="10711817" y="3936407"/>
                </a:cubicBezTo>
                <a:cubicBezTo>
                  <a:pt x="10715334" y="3936407"/>
                  <a:pt x="10718851" y="3932891"/>
                  <a:pt x="10718851" y="3929373"/>
                </a:cubicBezTo>
                <a:cubicBezTo>
                  <a:pt x="10718851" y="3929373"/>
                  <a:pt x="10718851" y="3929373"/>
                  <a:pt x="10718851" y="3904755"/>
                </a:cubicBezTo>
                <a:cubicBezTo>
                  <a:pt x="10718851" y="3897721"/>
                  <a:pt x="10715334" y="3897721"/>
                  <a:pt x="10711817" y="3897721"/>
                </a:cubicBezTo>
                <a:cubicBezTo>
                  <a:pt x="10711817" y="3897721"/>
                  <a:pt x="10711817" y="3897721"/>
                  <a:pt x="10666096" y="3897721"/>
                </a:cubicBezTo>
                <a:cubicBezTo>
                  <a:pt x="10666096" y="3897721"/>
                  <a:pt x="10666096" y="3897721"/>
                  <a:pt x="10666096" y="3859035"/>
                </a:cubicBezTo>
                <a:cubicBezTo>
                  <a:pt x="10666096" y="3855518"/>
                  <a:pt x="10666096" y="3855518"/>
                  <a:pt x="10662580" y="3852001"/>
                </a:cubicBezTo>
                <a:cubicBezTo>
                  <a:pt x="10662580" y="3852001"/>
                  <a:pt x="10659063" y="3852001"/>
                  <a:pt x="10659063" y="3852001"/>
                </a:cubicBezTo>
                <a:close/>
                <a:moveTo>
                  <a:pt x="10283668" y="3823787"/>
                </a:moveTo>
                <a:cubicBezTo>
                  <a:pt x="10273174" y="3823787"/>
                  <a:pt x="10241689" y="3823787"/>
                  <a:pt x="10203208" y="3827298"/>
                </a:cubicBezTo>
                <a:cubicBezTo>
                  <a:pt x="10199710" y="3827298"/>
                  <a:pt x="10196211" y="3830809"/>
                  <a:pt x="10196211" y="3834320"/>
                </a:cubicBezTo>
                <a:cubicBezTo>
                  <a:pt x="10196211" y="3834320"/>
                  <a:pt x="10196211" y="3834320"/>
                  <a:pt x="10196211" y="4080100"/>
                </a:cubicBezTo>
                <a:cubicBezTo>
                  <a:pt x="10196211" y="4083611"/>
                  <a:pt x="10199710" y="4087122"/>
                  <a:pt x="10203208" y="4087122"/>
                </a:cubicBezTo>
                <a:cubicBezTo>
                  <a:pt x="10203208" y="4087122"/>
                  <a:pt x="10203208" y="4087122"/>
                  <a:pt x="10234693" y="4087122"/>
                </a:cubicBezTo>
                <a:cubicBezTo>
                  <a:pt x="10238191" y="4087122"/>
                  <a:pt x="10241689" y="4083611"/>
                  <a:pt x="10241689" y="4080100"/>
                </a:cubicBezTo>
                <a:cubicBezTo>
                  <a:pt x="10241689" y="4080100"/>
                  <a:pt x="10241689" y="4080100"/>
                  <a:pt x="10241689" y="3981788"/>
                </a:cubicBezTo>
                <a:cubicBezTo>
                  <a:pt x="10252184" y="3985299"/>
                  <a:pt x="10269675" y="3985299"/>
                  <a:pt x="10290665" y="3985299"/>
                </a:cubicBezTo>
                <a:cubicBezTo>
                  <a:pt x="10290665" y="3985299"/>
                  <a:pt x="10290665" y="3985299"/>
                  <a:pt x="10336143" y="4083611"/>
                </a:cubicBezTo>
                <a:cubicBezTo>
                  <a:pt x="10336143" y="4083611"/>
                  <a:pt x="10339641" y="4087122"/>
                  <a:pt x="10343139" y="4087122"/>
                </a:cubicBezTo>
                <a:cubicBezTo>
                  <a:pt x="10343139" y="4087122"/>
                  <a:pt x="10343139" y="4087122"/>
                  <a:pt x="10374624" y="4087122"/>
                </a:cubicBezTo>
                <a:cubicBezTo>
                  <a:pt x="10378122" y="4087122"/>
                  <a:pt x="10381620" y="4083611"/>
                  <a:pt x="10381620" y="4083611"/>
                </a:cubicBezTo>
                <a:cubicBezTo>
                  <a:pt x="10381620" y="4080100"/>
                  <a:pt x="10381620" y="4080100"/>
                  <a:pt x="10381620" y="4076589"/>
                </a:cubicBezTo>
                <a:lnTo>
                  <a:pt x="10336143" y="3971255"/>
                </a:lnTo>
                <a:cubicBezTo>
                  <a:pt x="10367627" y="3957210"/>
                  <a:pt x="10381620" y="3936143"/>
                  <a:pt x="10381620" y="3904543"/>
                </a:cubicBezTo>
                <a:cubicBezTo>
                  <a:pt x="10381620" y="3865920"/>
                  <a:pt x="10364129" y="3823787"/>
                  <a:pt x="10290665" y="3823787"/>
                </a:cubicBezTo>
                <a:cubicBezTo>
                  <a:pt x="10290665" y="3823787"/>
                  <a:pt x="10287167" y="3823787"/>
                  <a:pt x="10283668" y="3823787"/>
                </a:cubicBezTo>
                <a:close/>
                <a:moveTo>
                  <a:pt x="11839186" y="3792865"/>
                </a:moveTo>
                <a:cubicBezTo>
                  <a:pt x="11841365" y="3793306"/>
                  <a:pt x="11843980" y="3795069"/>
                  <a:pt x="11845722" y="3798596"/>
                </a:cubicBezTo>
                <a:cubicBezTo>
                  <a:pt x="11901498" y="3855026"/>
                  <a:pt x="11929385" y="3946723"/>
                  <a:pt x="11908470" y="4038420"/>
                </a:cubicBezTo>
                <a:cubicBezTo>
                  <a:pt x="11908470" y="4041947"/>
                  <a:pt x="11904984" y="4045473"/>
                  <a:pt x="11898012" y="4041947"/>
                </a:cubicBezTo>
                <a:cubicBezTo>
                  <a:pt x="11898012" y="4041947"/>
                  <a:pt x="11898012" y="4041947"/>
                  <a:pt x="11859666" y="4031366"/>
                </a:cubicBezTo>
                <a:cubicBezTo>
                  <a:pt x="11856180" y="4031366"/>
                  <a:pt x="11852694" y="4027839"/>
                  <a:pt x="11852694" y="4020786"/>
                </a:cubicBezTo>
                <a:cubicBezTo>
                  <a:pt x="11866638" y="3946723"/>
                  <a:pt x="11849208" y="3886766"/>
                  <a:pt x="11807377" y="3840918"/>
                </a:cubicBezTo>
                <a:cubicBezTo>
                  <a:pt x="11800405" y="3837392"/>
                  <a:pt x="11800405" y="3830337"/>
                  <a:pt x="11807377" y="3826811"/>
                </a:cubicBezTo>
                <a:cubicBezTo>
                  <a:pt x="11807377" y="3826811"/>
                  <a:pt x="11807377" y="3826811"/>
                  <a:pt x="11835264" y="3795069"/>
                </a:cubicBezTo>
                <a:cubicBezTo>
                  <a:pt x="11835264" y="3793306"/>
                  <a:pt x="11837008" y="3792424"/>
                  <a:pt x="11839186" y="3792865"/>
                </a:cubicBezTo>
                <a:close/>
                <a:moveTo>
                  <a:pt x="11458923" y="3792865"/>
                </a:moveTo>
                <a:cubicBezTo>
                  <a:pt x="11461124" y="3792424"/>
                  <a:pt x="11462885" y="3793306"/>
                  <a:pt x="11462885" y="3795069"/>
                </a:cubicBezTo>
                <a:cubicBezTo>
                  <a:pt x="11462885" y="3795069"/>
                  <a:pt x="11462885" y="3795069"/>
                  <a:pt x="11494585" y="3826811"/>
                </a:cubicBezTo>
                <a:cubicBezTo>
                  <a:pt x="11498108" y="3830337"/>
                  <a:pt x="11498108" y="3837392"/>
                  <a:pt x="11491063" y="3840918"/>
                </a:cubicBezTo>
                <a:cubicBezTo>
                  <a:pt x="11448796" y="3886766"/>
                  <a:pt x="11431184" y="3946723"/>
                  <a:pt x="11445274" y="4020786"/>
                </a:cubicBezTo>
                <a:cubicBezTo>
                  <a:pt x="11445274" y="4027839"/>
                  <a:pt x="11441752" y="4031366"/>
                  <a:pt x="11438229" y="4031366"/>
                </a:cubicBezTo>
                <a:cubicBezTo>
                  <a:pt x="11438229" y="4031366"/>
                  <a:pt x="11438229" y="4031366"/>
                  <a:pt x="11399484" y="4041947"/>
                </a:cubicBezTo>
                <a:cubicBezTo>
                  <a:pt x="11392439" y="4045473"/>
                  <a:pt x="11388917" y="4041947"/>
                  <a:pt x="11388917" y="4038420"/>
                </a:cubicBezTo>
                <a:cubicBezTo>
                  <a:pt x="11367783" y="3946723"/>
                  <a:pt x="11395962" y="3855026"/>
                  <a:pt x="11452318" y="3798596"/>
                </a:cubicBezTo>
                <a:cubicBezTo>
                  <a:pt x="11454079" y="3795069"/>
                  <a:pt x="11456721" y="3793306"/>
                  <a:pt x="11458923" y="3792865"/>
                </a:cubicBezTo>
                <a:close/>
                <a:moveTo>
                  <a:pt x="11677605" y="3787511"/>
                </a:moveTo>
                <a:cubicBezTo>
                  <a:pt x="11681098" y="3787511"/>
                  <a:pt x="11681098" y="3787511"/>
                  <a:pt x="11684592" y="3787511"/>
                </a:cubicBezTo>
                <a:cubicBezTo>
                  <a:pt x="11730003" y="3798107"/>
                  <a:pt x="11761442" y="3815764"/>
                  <a:pt x="11792882" y="3851080"/>
                </a:cubicBezTo>
                <a:cubicBezTo>
                  <a:pt x="11796375" y="3854612"/>
                  <a:pt x="11796375" y="3854612"/>
                  <a:pt x="11796375" y="3858144"/>
                </a:cubicBezTo>
                <a:cubicBezTo>
                  <a:pt x="11796375" y="3861675"/>
                  <a:pt x="11792882" y="3861675"/>
                  <a:pt x="11789388" y="3865207"/>
                </a:cubicBezTo>
                <a:cubicBezTo>
                  <a:pt x="11789388" y="3865207"/>
                  <a:pt x="11789388" y="3865207"/>
                  <a:pt x="11698565" y="3911118"/>
                </a:cubicBezTo>
                <a:cubicBezTo>
                  <a:pt x="11695071" y="3911118"/>
                  <a:pt x="11691578" y="3911118"/>
                  <a:pt x="11688084" y="3911118"/>
                </a:cubicBezTo>
                <a:cubicBezTo>
                  <a:pt x="11684592" y="3907586"/>
                  <a:pt x="11684592" y="3904054"/>
                  <a:pt x="11681098" y="3900523"/>
                </a:cubicBezTo>
                <a:cubicBezTo>
                  <a:pt x="11681098" y="3900523"/>
                  <a:pt x="11681098" y="3900523"/>
                  <a:pt x="11674112" y="3798107"/>
                </a:cubicBezTo>
                <a:cubicBezTo>
                  <a:pt x="11674112" y="3794575"/>
                  <a:pt x="11674112" y="3791043"/>
                  <a:pt x="11677605" y="3787511"/>
                </a:cubicBezTo>
                <a:close/>
                <a:moveTo>
                  <a:pt x="11613922" y="3787511"/>
                </a:moveTo>
                <a:cubicBezTo>
                  <a:pt x="11617414" y="3787511"/>
                  <a:pt x="11617414" y="3787511"/>
                  <a:pt x="11620908" y="3787511"/>
                </a:cubicBezTo>
                <a:cubicBezTo>
                  <a:pt x="11620908" y="3791043"/>
                  <a:pt x="11624401" y="3794575"/>
                  <a:pt x="11624401" y="3798107"/>
                </a:cubicBezTo>
                <a:cubicBezTo>
                  <a:pt x="11624401" y="3798107"/>
                  <a:pt x="11624401" y="3798107"/>
                  <a:pt x="11613922" y="3904054"/>
                </a:cubicBezTo>
                <a:cubicBezTo>
                  <a:pt x="11613922" y="3907586"/>
                  <a:pt x="11613922" y="3911118"/>
                  <a:pt x="11610428" y="3911118"/>
                </a:cubicBezTo>
                <a:cubicBezTo>
                  <a:pt x="11606935" y="3911118"/>
                  <a:pt x="11603442" y="3911118"/>
                  <a:pt x="11599949" y="3911118"/>
                </a:cubicBezTo>
                <a:cubicBezTo>
                  <a:pt x="11599949" y="3911118"/>
                  <a:pt x="11599949" y="3911118"/>
                  <a:pt x="11509124" y="3865207"/>
                </a:cubicBezTo>
                <a:cubicBezTo>
                  <a:pt x="11505632" y="3865207"/>
                  <a:pt x="11502138" y="3861675"/>
                  <a:pt x="11502138" y="3858144"/>
                </a:cubicBezTo>
                <a:cubicBezTo>
                  <a:pt x="11502138" y="3858144"/>
                  <a:pt x="11502138" y="3854612"/>
                  <a:pt x="11505632" y="3851080"/>
                </a:cubicBezTo>
                <a:cubicBezTo>
                  <a:pt x="11537070" y="3819296"/>
                  <a:pt x="11568509" y="3798107"/>
                  <a:pt x="11613922" y="3787511"/>
                </a:cubicBezTo>
                <a:close/>
                <a:moveTo>
                  <a:pt x="11532772" y="3752579"/>
                </a:moveTo>
                <a:cubicBezTo>
                  <a:pt x="11536265" y="3752579"/>
                  <a:pt x="11539758" y="3756274"/>
                  <a:pt x="11539758" y="3759969"/>
                </a:cubicBezTo>
                <a:cubicBezTo>
                  <a:pt x="11539758" y="3763664"/>
                  <a:pt x="11539758" y="3763664"/>
                  <a:pt x="11536265" y="3763664"/>
                </a:cubicBezTo>
                <a:cubicBezTo>
                  <a:pt x="11536265" y="3763664"/>
                  <a:pt x="11536265" y="3763664"/>
                  <a:pt x="11529278" y="3767359"/>
                </a:cubicBezTo>
                <a:cubicBezTo>
                  <a:pt x="11529278" y="3767359"/>
                  <a:pt x="11529278" y="3767359"/>
                  <a:pt x="11525785" y="3759969"/>
                </a:cubicBezTo>
                <a:cubicBezTo>
                  <a:pt x="11525785" y="3759969"/>
                  <a:pt x="11525785" y="3759969"/>
                  <a:pt x="11522292" y="3759969"/>
                </a:cubicBezTo>
                <a:cubicBezTo>
                  <a:pt x="11525785" y="3756274"/>
                  <a:pt x="11529278" y="3756274"/>
                  <a:pt x="11532772" y="3752579"/>
                </a:cubicBezTo>
                <a:close/>
                <a:moveTo>
                  <a:pt x="11529297" y="3745382"/>
                </a:moveTo>
                <a:cubicBezTo>
                  <a:pt x="11525746" y="3748932"/>
                  <a:pt x="11518645" y="3752484"/>
                  <a:pt x="11511543" y="3756034"/>
                </a:cubicBezTo>
                <a:cubicBezTo>
                  <a:pt x="11511543" y="3756034"/>
                  <a:pt x="11511543" y="3756034"/>
                  <a:pt x="11515094" y="3759585"/>
                </a:cubicBezTo>
                <a:lnTo>
                  <a:pt x="11532848" y="3791543"/>
                </a:lnTo>
                <a:cubicBezTo>
                  <a:pt x="11536399" y="3791543"/>
                  <a:pt x="11536399" y="3787991"/>
                  <a:pt x="11539950" y="3787991"/>
                </a:cubicBezTo>
                <a:cubicBezTo>
                  <a:pt x="11539950" y="3787991"/>
                  <a:pt x="11539950" y="3787991"/>
                  <a:pt x="11532848" y="3773788"/>
                </a:cubicBezTo>
                <a:cubicBezTo>
                  <a:pt x="11532848" y="3773788"/>
                  <a:pt x="11532848" y="3773788"/>
                  <a:pt x="11539950" y="3770238"/>
                </a:cubicBezTo>
                <a:cubicBezTo>
                  <a:pt x="11539950" y="3770238"/>
                  <a:pt x="11539950" y="3770238"/>
                  <a:pt x="11554153" y="3780890"/>
                </a:cubicBezTo>
                <a:cubicBezTo>
                  <a:pt x="11557704" y="3777339"/>
                  <a:pt x="11557704" y="3777339"/>
                  <a:pt x="11561255" y="3777339"/>
                </a:cubicBezTo>
                <a:cubicBezTo>
                  <a:pt x="11561255" y="3777339"/>
                  <a:pt x="11561255" y="3777339"/>
                  <a:pt x="11547052" y="3763136"/>
                </a:cubicBezTo>
                <a:cubicBezTo>
                  <a:pt x="11547052" y="3763136"/>
                  <a:pt x="11547052" y="3763136"/>
                  <a:pt x="11547052" y="3759585"/>
                </a:cubicBezTo>
                <a:cubicBezTo>
                  <a:pt x="11550602" y="3752484"/>
                  <a:pt x="11539950" y="3741831"/>
                  <a:pt x="11529297" y="3745382"/>
                </a:cubicBezTo>
                <a:close/>
                <a:moveTo>
                  <a:pt x="11750205" y="3739144"/>
                </a:moveTo>
                <a:cubicBezTo>
                  <a:pt x="11753748" y="3763328"/>
                  <a:pt x="11753748" y="3763328"/>
                  <a:pt x="11753748" y="3763328"/>
                </a:cubicBezTo>
                <a:cubicBezTo>
                  <a:pt x="11746663" y="3780602"/>
                  <a:pt x="11746663" y="3780602"/>
                  <a:pt x="11746663" y="3780602"/>
                </a:cubicBezTo>
                <a:lnTo>
                  <a:pt x="11753748" y="3787511"/>
                </a:lnTo>
                <a:cubicBezTo>
                  <a:pt x="11760832" y="3770237"/>
                  <a:pt x="11760832" y="3770237"/>
                  <a:pt x="11760832" y="3770237"/>
                </a:cubicBezTo>
                <a:cubicBezTo>
                  <a:pt x="11785626" y="3756418"/>
                  <a:pt x="11785626" y="3756418"/>
                  <a:pt x="11785626" y="3756418"/>
                </a:cubicBezTo>
                <a:cubicBezTo>
                  <a:pt x="11785626" y="3756418"/>
                  <a:pt x="11782084" y="3752963"/>
                  <a:pt x="11778543" y="3752963"/>
                </a:cubicBezTo>
                <a:cubicBezTo>
                  <a:pt x="11760832" y="3759873"/>
                  <a:pt x="11760832" y="3759873"/>
                  <a:pt x="11760832" y="3759873"/>
                </a:cubicBezTo>
                <a:cubicBezTo>
                  <a:pt x="11757290" y="3742598"/>
                  <a:pt x="11757290" y="3742598"/>
                  <a:pt x="11757290" y="3742598"/>
                </a:cubicBezTo>
                <a:cubicBezTo>
                  <a:pt x="11753748" y="3739144"/>
                  <a:pt x="11753748" y="3739144"/>
                  <a:pt x="11750205" y="3739144"/>
                </a:cubicBezTo>
                <a:close/>
                <a:moveTo>
                  <a:pt x="11715224" y="3735114"/>
                </a:moveTo>
                <a:cubicBezTo>
                  <a:pt x="11718717" y="3735114"/>
                  <a:pt x="11722211" y="3735114"/>
                  <a:pt x="11725705" y="3738473"/>
                </a:cubicBezTo>
                <a:cubicBezTo>
                  <a:pt x="11725705" y="3738473"/>
                  <a:pt x="11729197" y="3738473"/>
                  <a:pt x="11729197" y="3741832"/>
                </a:cubicBezTo>
                <a:cubicBezTo>
                  <a:pt x="11729197" y="3745190"/>
                  <a:pt x="11725705" y="3748549"/>
                  <a:pt x="11722211" y="3748549"/>
                </a:cubicBezTo>
                <a:cubicBezTo>
                  <a:pt x="11722211" y="3748549"/>
                  <a:pt x="11722211" y="3748549"/>
                  <a:pt x="11711731" y="3745190"/>
                </a:cubicBezTo>
                <a:lnTo>
                  <a:pt x="11711731" y="3741832"/>
                </a:lnTo>
                <a:cubicBezTo>
                  <a:pt x="11711731" y="3741832"/>
                  <a:pt x="11711731" y="3741832"/>
                  <a:pt x="11715224" y="3735114"/>
                </a:cubicBezTo>
                <a:close/>
                <a:moveTo>
                  <a:pt x="11582079" y="3734609"/>
                </a:moveTo>
                <a:cubicBezTo>
                  <a:pt x="11589134" y="3731082"/>
                  <a:pt x="11596187" y="3738137"/>
                  <a:pt x="11596187" y="3745190"/>
                </a:cubicBezTo>
                <a:cubicBezTo>
                  <a:pt x="11596187" y="3752244"/>
                  <a:pt x="11589134" y="3759297"/>
                  <a:pt x="11582079" y="3759297"/>
                </a:cubicBezTo>
                <a:cubicBezTo>
                  <a:pt x="11575026" y="3759297"/>
                  <a:pt x="11567972" y="3755771"/>
                  <a:pt x="11567972" y="3748717"/>
                </a:cubicBezTo>
                <a:cubicBezTo>
                  <a:pt x="11567972" y="3748717"/>
                  <a:pt x="11567972" y="3748717"/>
                  <a:pt x="11567972" y="3745190"/>
                </a:cubicBezTo>
                <a:cubicBezTo>
                  <a:pt x="11567972" y="3738137"/>
                  <a:pt x="11575026" y="3734609"/>
                  <a:pt x="11582079" y="3734609"/>
                </a:cubicBezTo>
                <a:close/>
                <a:moveTo>
                  <a:pt x="11670081" y="3728395"/>
                </a:moveTo>
                <a:cubicBezTo>
                  <a:pt x="11670081" y="3728395"/>
                  <a:pt x="11670081" y="3728395"/>
                  <a:pt x="11673440" y="3738875"/>
                </a:cubicBezTo>
                <a:cubicBezTo>
                  <a:pt x="11673440" y="3738875"/>
                  <a:pt x="11673440" y="3738875"/>
                  <a:pt x="11676799" y="3745862"/>
                </a:cubicBezTo>
                <a:cubicBezTo>
                  <a:pt x="11673440" y="3745862"/>
                  <a:pt x="11666722" y="3745862"/>
                  <a:pt x="11663363" y="3745862"/>
                </a:cubicBezTo>
                <a:lnTo>
                  <a:pt x="11666722" y="3738875"/>
                </a:lnTo>
                <a:cubicBezTo>
                  <a:pt x="11666722" y="3738875"/>
                  <a:pt x="11666722" y="3738875"/>
                  <a:pt x="11670081" y="3728395"/>
                </a:cubicBezTo>
                <a:close/>
                <a:moveTo>
                  <a:pt x="11578609" y="3727879"/>
                </a:moveTo>
                <a:cubicBezTo>
                  <a:pt x="11568195" y="3727879"/>
                  <a:pt x="11561254" y="3734907"/>
                  <a:pt x="11561254" y="3745449"/>
                </a:cubicBezTo>
                <a:cubicBezTo>
                  <a:pt x="11561254" y="3748962"/>
                  <a:pt x="11561254" y="3748962"/>
                  <a:pt x="11561254" y="3748962"/>
                </a:cubicBezTo>
                <a:cubicBezTo>
                  <a:pt x="11561254" y="3759504"/>
                  <a:pt x="11571666" y="3770046"/>
                  <a:pt x="11582079" y="3766532"/>
                </a:cubicBezTo>
                <a:cubicBezTo>
                  <a:pt x="11595963" y="3766532"/>
                  <a:pt x="11602904" y="3759504"/>
                  <a:pt x="11602904" y="3745449"/>
                </a:cubicBezTo>
                <a:cubicBezTo>
                  <a:pt x="11602904" y="3734907"/>
                  <a:pt x="11592492" y="3724365"/>
                  <a:pt x="11578609" y="3727879"/>
                </a:cubicBezTo>
                <a:close/>
                <a:moveTo>
                  <a:pt x="11708922" y="3724365"/>
                </a:moveTo>
                <a:cubicBezTo>
                  <a:pt x="11708922" y="3724365"/>
                  <a:pt x="11708922" y="3724365"/>
                  <a:pt x="11705380" y="3742119"/>
                </a:cubicBezTo>
                <a:cubicBezTo>
                  <a:pt x="11705380" y="3742119"/>
                  <a:pt x="11705380" y="3742119"/>
                  <a:pt x="11698296" y="3763424"/>
                </a:cubicBezTo>
                <a:cubicBezTo>
                  <a:pt x="11701837" y="3766975"/>
                  <a:pt x="11705380" y="3766975"/>
                  <a:pt x="11708922" y="3766975"/>
                </a:cubicBezTo>
                <a:lnTo>
                  <a:pt x="11712464" y="3752772"/>
                </a:lnTo>
                <a:cubicBezTo>
                  <a:pt x="11712464" y="3752772"/>
                  <a:pt x="11712464" y="3752772"/>
                  <a:pt x="11719548" y="3752772"/>
                </a:cubicBezTo>
                <a:cubicBezTo>
                  <a:pt x="11719548" y="3752772"/>
                  <a:pt x="11719548" y="3752772"/>
                  <a:pt x="11723090" y="3770526"/>
                </a:cubicBezTo>
                <a:cubicBezTo>
                  <a:pt x="11726632" y="3774077"/>
                  <a:pt x="11726632" y="3774077"/>
                  <a:pt x="11730175" y="3774077"/>
                </a:cubicBezTo>
                <a:cubicBezTo>
                  <a:pt x="11730175" y="3774077"/>
                  <a:pt x="11730175" y="3774077"/>
                  <a:pt x="11726632" y="3756323"/>
                </a:cubicBezTo>
                <a:cubicBezTo>
                  <a:pt x="11733717" y="3752772"/>
                  <a:pt x="11737259" y="3745670"/>
                  <a:pt x="11737259" y="3742119"/>
                </a:cubicBezTo>
                <a:cubicBezTo>
                  <a:pt x="11737259" y="3735018"/>
                  <a:pt x="11733717" y="3731467"/>
                  <a:pt x="11730175" y="3731467"/>
                </a:cubicBezTo>
                <a:cubicBezTo>
                  <a:pt x="11723090" y="3727916"/>
                  <a:pt x="11716006" y="3724365"/>
                  <a:pt x="11708922" y="3724365"/>
                </a:cubicBezTo>
                <a:close/>
                <a:moveTo>
                  <a:pt x="11666295" y="3717647"/>
                </a:moveTo>
                <a:cubicBezTo>
                  <a:pt x="11666295" y="3717647"/>
                  <a:pt x="11666295" y="3717647"/>
                  <a:pt x="11659211" y="3738731"/>
                </a:cubicBezTo>
                <a:cubicBezTo>
                  <a:pt x="11659211" y="3738731"/>
                  <a:pt x="11659211" y="3738731"/>
                  <a:pt x="11648585" y="3759814"/>
                </a:cubicBezTo>
                <a:cubicBezTo>
                  <a:pt x="11652127" y="3759814"/>
                  <a:pt x="11652127" y="3759814"/>
                  <a:pt x="11655669" y="3759814"/>
                </a:cubicBezTo>
                <a:lnTo>
                  <a:pt x="11659211" y="3752786"/>
                </a:lnTo>
                <a:cubicBezTo>
                  <a:pt x="11666295" y="3752786"/>
                  <a:pt x="11669838" y="3752786"/>
                  <a:pt x="11676922" y="3752786"/>
                </a:cubicBezTo>
                <a:cubicBezTo>
                  <a:pt x="11676922" y="3752786"/>
                  <a:pt x="11676922" y="3752786"/>
                  <a:pt x="11680464" y="3759814"/>
                </a:cubicBezTo>
                <a:cubicBezTo>
                  <a:pt x="11684006" y="3759814"/>
                  <a:pt x="11684006" y="3763328"/>
                  <a:pt x="11687548" y="3763328"/>
                </a:cubicBezTo>
                <a:cubicBezTo>
                  <a:pt x="11687548" y="3763328"/>
                  <a:pt x="11687548" y="3763328"/>
                  <a:pt x="11680464" y="3738731"/>
                </a:cubicBezTo>
                <a:cubicBezTo>
                  <a:pt x="11680464" y="3738731"/>
                  <a:pt x="11680464" y="3738731"/>
                  <a:pt x="11676922" y="3717647"/>
                </a:cubicBezTo>
                <a:cubicBezTo>
                  <a:pt x="11676922" y="3717647"/>
                  <a:pt x="11676922" y="3717647"/>
                  <a:pt x="11666295" y="3717647"/>
                </a:cubicBezTo>
                <a:close/>
                <a:moveTo>
                  <a:pt x="11645898" y="3717647"/>
                </a:moveTo>
                <a:cubicBezTo>
                  <a:pt x="11628187" y="3717647"/>
                  <a:pt x="11621103" y="3717647"/>
                  <a:pt x="11606934" y="3721118"/>
                </a:cubicBezTo>
                <a:cubicBezTo>
                  <a:pt x="11606934" y="3728059"/>
                  <a:pt x="11606934" y="3728059"/>
                  <a:pt x="11606934" y="3728059"/>
                </a:cubicBezTo>
                <a:lnTo>
                  <a:pt x="11621103" y="3724589"/>
                </a:lnTo>
                <a:cubicBezTo>
                  <a:pt x="11624645" y="3759297"/>
                  <a:pt x="11624645" y="3759297"/>
                  <a:pt x="11624645" y="3759297"/>
                </a:cubicBezTo>
                <a:cubicBezTo>
                  <a:pt x="11635271" y="3759297"/>
                  <a:pt x="11635271" y="3759297"/>
                  <a:pt x="11635271" y="3759297"/>
                </a:cubicBezTo>
                <a:cubicBezTo>
                  <a:pt x="11631729" y="3724589"/>
                  <a:pt x="11631729" y="3724589"/>
                  <a:pt x="11631729" y="3724589"/>
                </a:cubicBezTo>
                <a:cubicBezTo>
                  <a:pt x="11645898" y="3724589"/>
                  <a:pt x="11645898" y="3724589"/>
                  <a:pt x="11645898" y="3724589"/>
                </a:cubicBezTo>
                <a:cubicBezTo>
                  <a:pt x="11645898" y="3717647"/>
                  <a:pt x="11645898" y="3717647"/>
                  <a:pt x="11645898" y="3717647"/>
                </a:cubicBezTo>
                <a:close/>
                <a:moveTo>
                  <a:pt x="11196257" y="3717646"/>
                </a:moveTo>
                <a:cubicBezTo>
                  <a:pt x="11214171" y="3717646"/>
                  <a:pt x="11221336" y="3735113"/>
                  <a:pt x="11221336" y="3752578"/>
                </a:cubicBezTo>
                <a:lnTo>
                  <a:pt x="11167595" y="3752578"/>
                </a:lnTo>
                <a:cubicBezTo>
                  <a:pt x="11167595" y="3735113"/>
                  <a:pt x="11178343" y="3717646"/>
                  <a:pt x="11196257" y="3717646"/>
                </a:cubicBezTo>
                <a:close/>
                <a:moveTo>
                  <a:pt x="11648585" y="3710930"/>
                </a:moveTo>
                <a:cubicBezTo>
                  <a:pt x="11711759" y="3710930"/>
                  <a:pt x="11767914" y="3731889"/>
                  <a:pt x="11813539" y="3766821"/>
                </a:cubicBezTo>
                <a:cubicBezTo>
                  <a:pt x="11820558" y="3773808"/>
                  <a:pt x="11820558" y="3777301"/>
                  <a:pt x="11817049" y="3780794"/>
                </a:cubicBezTo>
                <a:cubicBezTo>
                  <a:pt x="11817049" y="3780794"/>
                  <a:pt x="11817049" y="3780794"/>
                  <a:pt x="11788972" y="3812234"/>
                </a:cubicBezTo>
                <a:cubicBezTo>
                  <a:pt x="11785462" y="3815726"/>
                  <a:pt x="11781952" y="3815726"/>
                  <a:pt x="11774933" y="3812234"/>
                </a:cubicBezTo>
                <a:cubicBezTo>
                  <a:pt x="11739837" y="3784288"/>
                  <a:pt x="11694210" y="3766821"/>
                  <a:pt x="11648585" y="3766821"/>
                </a:cubicBezTo>
                <a:cubicBezTo>
                  <a:pt x="11599450" y="3766821"/>
                  <a:pt x="11557334" y="3784288"/>
                  <a:pt x="11522236" y="3812234"/>
                </a:cubicBezTo>
                <a:cubicBezTo>
                  <a:pt x="11515217" y="3815726"/>
                  <a:pt x="11511708" y="3815726"/>
                  <a:pt x="11508198" y="3812234"/>
                </a:cubicBezTo>
                <a:cubicBezTo>
                  <a:pt x="11508198" y="3812234"/>
                  <a:pt x="11508198" y="3812234"/>
                  <a:pt x="11480121" y="3780794"/>
                </a:cubicBezTo>
                <a:cubicBezTo>
                  <a:pt x="11476611" y="3777301"/>
                  <a:pt x="11476611" y="3773808"/>
                  <a:pt x="11483630" y="3766821"/>
                </a:cubicBezTo>
                <a:cubicBezTo>
                  <a:pt x="11529256" y="3731889"/>
                  <a:pt x="11585411" y="3710930"/>
                  <a:pt x="11648585" y="3710930"/>
                </a:cubicBezTo>
                <a:close/>
                <a:moveTo>
                  <a:pt x="11196481" y="3710929"/>
                </a:moveTo>
                <a:cubicBezTo>
                  <a:pt x="11172113" y="3710929"/>
                  <a:pt x="11158189" y="3728443"/>
                  <a:pt x="11158189" y="3759969"/>
                </a:cubicBezTo>
                <a:cubicBezTo>
                  <a:pt x="11158189" y="3787991"/>
                  <a:pt x="11168632" y="3809008"/>
                  <a:pt x="11199962" y="3809008"/>
                </a:cubicBezTo>
                <a:cubicBezTo>
                  <a:pt x="11206924" y="3809008"/>
                  <a:pt x="11220848" y="3805505"/>
                  <a:pt x="11227810" y="3802002"/>
                </a:cubicBezTo>
                <a:lnTo>
                  <a:pt x="11227810" y="3791494"/>
                </a:lnTo>
                <a:cubicBezTo>
                  <a:pt x="11220848" y="3794997"/>
                  <a:pt x="11210404" y="3798499"/>
                  <a:pt x="11199962" y="3798499"/>
                </a:cubicBezTo>
                <a:cubicBezTo>
                  <a:pt x="11179076" y="3798499"/>
                  <a:pt x="11168632" y="3780985"/>
                  <a:pt x="11168632" y="3763472"/>
                </a:cubicBezTo>
                <a:cubicBezTo>
                  <a:pt x="11168632" y="3763472"/>
                  <a:pt x="11168632" y="3763472"/>
                  <a:pt x="11234772" y="3763472"/>
                </a:cubicBezTo>
                <a:cubicBezTo>
                  <a:pt x="11234772" y="3763472"/>
                  <a:pt x="11234772" y="3763472"/>
                  <a:pt x="11234772" y="3756466"/>
                </a:cubicBezTo>
                <a:cubicBezTo>
                  <a:pt x="11234772" y="3731946"/>
                  <a:pt x="11224329" y="3710929"/>
                  <a:pt x="11196481" y="3710929"/>
                </a:cubicBezTo>
                <a:close/>
                <a:moveTo>
                  <a:pt x="10947253" y="3674653"/>
                </a:moveTo>
                <a:lnTo>
                  <a:pt x="10947253" y="3685401"/>
                </a:lnTo>
                <a:lnTo>
                  <a:pt x="10986216" y="3685401"/>
                </a:lnTo>
                <a:lnTo>
                  <a:pt x="10986216" y="3804977"/>
                </a:lnTo>
                <a:lnTo>
                  <a:pt x="10999652" y="3804977"/>
                </a:lnTo>
                <a:lnTo>
                  <a:pt x="10999652" y="3685401"/>
                </a:lnTo>
                <a:lnTo>
                  <a:pt x="11038614" y="3685401"/>
                </a:lnTo>
                <a:lnTo>
                  <a:pt x="11038614" y="3674653"/>
                </a:lnTo>
                <a:close/>
                <a:moveTo>
                  <a:pt x="11060111" y="3663904"/>
                </a:moveTo>
                <a:lnTo>
                  <a:pt x="11060111" y="3804977"/>
                </a:lnTo>
                <a:cubicBezTo>
                  <a:pt x="11060111" y="3804977"/>
                  <a:pt x="11060111" y="3804977"/>
                  <a:pt x="11070476" y="3804977"/>
                </a:cubicBezTo>
                <a:cubicBezTo>
                  <a:pt x="11070476" y="3804977"/>
                  <a:pt x="11070476" y="3804977"/>
                  <a:pt x="11070476" y="3755601"/>
                </a:cubicBezTo>
                <a:cubicBezTo>
                  <a:pt x="11070476" y="3737967"/>
                  <a:pt x="11077385" y="3716807"/>
                  <a:pt x="11098115" y="3716807"/>
                </a:cubicBezTo>
                <a:cubicBezTo>
                  <a:pt x="11118844" y="3716807"/>
                  <a:pt x="11118844" y="3730914"/>
                  <a:pt x="11118844" y="3748548"/>
                </a:cubicBezTo>
                <a:cubicBezTo>
                  <a:pt x="11118844" y="3748548"/>
                  <a:pt x="11118844" y="3748548"/>
                  <a:pt x="11118844" y="3804977"/>
                </a:cubicBezTo>
                <a:cubicBezTo>
                  <a:pt x="11118844" y="3804977"/>
                  <a:pt x="11118844" y="3804977"/>
                  <a:pt x="11132662" y="3804977"/>
                </a:cubicBezTo>
                <a:cubicBezTo>
                  <a:pt x="11132662" y="3804977"/>
                  <a:pt x="11132662" y="3804977"/>
                  <a:pt x="11132662" y="3748548"/>
                </a:cubicBezTo>
                <a:cubicBezTo>
                  <a:pt x="11132662" y="3723860"/>
                  <a:pt x="11125753" y="3709753"/>
                  <a:pt x="11101569" y="3709753"/>
                </a:cubicBezTo>
                <a:cubicBezTo>
                  <a:pt x="11087750" y="3709753"/>
                  <a:pt x="11077385" y="3716807"/>
                  <a:pt x="11070476" y="3727387"/>
                </a:cubicBezTo>
                <a:cubicBezTo>
                  <a:pt x="11070476" y="3727387"/>
                  <a:pt x="11070476" y="3727387"/>
                  <a:pt x="11070476" y="3663904"/>
                </a:cubicBezTo>
                <a:cubicBezTo>
                  <a:pt x="11070476" y="3663904"/>
                  <a:pt x="11070476" y="3663904"/>
                  <a:pt x="11060111" y="3663904"/>
                </a:cubicBezTo>
                <a:close/>
                <a:moveTo>
                  <a:pt x="11638739" y="3639721"/>
                </a:moveTo>
                <a:cubicBezTo>
                  <a:pt x="11628222" y="3657342"/>
                  <a:pt x="11624716" y="3674963"/>
                  <a:pt x="11624716" y="3692584"/>
                </a:cubicBezTo>
                <a:cubicBezTo>
                  <a:pt x="11621210" y="3692584"/>
                  <a:pt x="11603681" y="3696108"/>
                  <a:pt x="11600176" y="3696108"/>
                </a:cubicBezTo>
                <a:cubicBezTo>
                  <a:pt x="11596669" y="3678487"/>
                  <a:pt x="11586152" y="3660866"/>
                  <a:pt x="11575635" y="3650294"/>
                </a:cubicBezTo>
                <a:cubicBezTo>
                  <a:pt x="11575635" y="3650294"/>
                  <a:pt x="11575635" y="3650294"/>
                  <a:pt x="11572129" y="3650294"/>
                </a:cubicBezTo>
                <a:cubicBezTo>
                  <a:pt x="11565117" y="3650294"/>
                  <a:pt x="11558106" y="3653818"/>
                  <a:pt x="11551094" y="3653818"/>
                </a:cubicBezTo>
                <a:cubicBezTo>
                  <a:pt x="11551094" y="3653818"/>
                  <a:pt x="11551094" y="3653818"/>
                  <a:pt x="11551094" y="3657342"/>
                </a:cubicBezTo>
                <a:cubicBezTo>
                  <a:pt x="11547588" y="3664391"/>
                  <a:pt x="11547588" y="3671439"/>
                  <a:pt x="11547588" y="3682011"/>
                </a:cubicBezTo>
                <a:cubicBezTo>
                  <a:pt x="11547588" y="3692584"/>
                  <a:pt x="11547588" y="3699632"/>
                  <a:pt x="11551094" y="3710205"/>
                </a:cubicBezTo>
                <a:cubicBezTo>
                  <a:pt x="11547588" y="3710205"/>
                  <a:pt x="11530059" y="3717253"/>
                  <a:pt x="11530059" y="3717253"/>
                </a:cubicBezTo>
                <a:cubicBezTo>
                  <a:pt x="11519542" y="3703156"/>
                  <a:pt x="11505518" y="3689060"/>
                  <a:pt x="11491495" y="3682011"/>
                </a:cubicBezTo>
                <a:cubicBezTo>
                  <a:pt x="11484484" y="3682011"/>
                  <a:pt x="11477472" y="3689060"/>
                  <a:pt x="11470460" y="3692584"/>
                </a:cubicBezTo>
                <a:cubicBezTo>
                  <a:pt x="11470460" y="3710205"/>
                  <a:pt x="11473966" y="3727826"/>
                  <a:pt x="11484484" y="3745446"/>
                </a:cubicBezTo>
                <a:cubicBezTo>
                  <a:pt x="11480978" y="3745446"/>
                  <a:pt x="11470460" y="3756019"/>
                  <a:pt x="11466954" y="3756019"/>
                </a:cubicBezTo>
                <a:cubicBezTo>
                  <a:pt x="11456437" y="3745446"/>
                  <a:pt x="11438908" y="3734874"/>
                  <a:pt x="11421379" y="3731350"/>
                </a:cubicBezTo>
                <a:cubicBezTo>
                  <a:pt x="11414367" y="3734874"/>
                  <a:pt x="11407356" y="3741922"/>
                  <a:pt x="11403850" y="3745446"/>
                </a:cubicBezTo>
                <a:cubicBezTo>
                  <a:pt x="11403850" y="3745446"/>
                  <a:pt x="11403850" y="3745446"/>
                  <a:pt x="11403850" y="3748970"/>
                </a:cubicBezTo>
                <a:cubicBezTo>
                  <a:pt x="11407356" y="3763068"/>
                  <a:pt x="11417873" y="3780688"/>
                  <a:pt x="11431896" y="3794785"/>
                </a:cubicBezTo>
                <a:cubicBezTo>
                  <a:pt x="11428390" y="3794785"/>
                  <a:pt x="11417873" y="3812406"/>
                  <a:pt x="11417873" y="3812406"/>
                </a:cubicBezTo>
                <a:cubicBezTo>
                  <a:pt x="11400344" y="3805357"/>
                  <a:pt x="11382815" y="3798309"/>
                  <a:pt x="11365286" y="3798309"/>
                </a:cubicBezTo>
                <a:cubicBezTo>
                  <a:pt x="11361780" y="3805357"/>
                  <a:pt x="11354768" y="3812406"/>
                  <a:pt x="11354768" y="3819454"/>
                </a:cubicBezTo>
                <a:cubicBezTo>
                  <a:pt x="11361780" y="3833551"/>
                  <a:pt x="11375803" y="3847647"/>
                  <a:pt x="11389827" y="3858221"/>
                </a:cubicBezTo>
                <a:cubicBezTo>
                  <a:pt x="11389827" y="3861745"/>
                  <a:pt x="11382815" y="3875841"/>
                  <a:pt x="11382815" y="3879365"/>
                </a:cubicBezTo>
                <a:cubicBezTo>
                  <a:pt x="11365286" y="3872317"/>
                  <a:pt x="11344251" y="3872317"/>
                  <a:pt x="11330228" y="3879365"/>
                </a:cubicBezTo>
                <a:cubicBezTo>
                  <a:pt x="11326722" y="3886414"/>
                  <a:pt x="11323216" y="3893462"/>
                  <a:pt x="11323216" y="3900510"/>
                </a:cubicBezTo>
                <a:cubicBezTo>
                  <a:pt x="11333733" y="3914607"/>
                  <a:pt x="11351262" y="3921655"/>
                  <a:pt x="11368791" y="3928704"/>
                </a:cubicBezTo>
                <a:cubicBezTo>
                  <a:pt x="11368791" y="3932228"/>
                  <a:pt x="11365286" y="3946324"/>
                  <a:pt x="11365286" y="3949848"/>
                </a:cubicBezTo>
                <a:cubicBezTo>
                  <a:pt x="11347757" y="3949848"/>
                  <a:pt x="11330228" y="3956897"/>
                  <a:pt x="11316205" y="3963946"/>
                </a:cubicBezTo>
                <a:cubicBezTo>
                  <a:pt x="11316205" y="3963946"/>
                  <a:pt x="11316205" y="3963946"/>
                  <a:pt x="11312698" y="3963946"/>
                </a:cubicBezTo>
                <a:cubicBezTo>
                  <a:pt x="11312698" y="3967470"/>
                  <a:pt x="11312698" y="3970994"/>
                  <a:pt x="11312698" y="3978042"/>
                </a:cubicBezTo>
                <a:cubicBezTo>
                  <a:pt x="11312698" y="3981566"/>
                  <a:pt x="11312698" y="3985090"/>
                  <a:pt x="11312698" y="3988615"/>
                </a:cubicBezTo>
                <a:cubicBezTo>
                  <a:pt x="11312698" y="3988615"/>
                  <a:pt x="11312698" y="3988615"/>
                  <a:pt x="11316205" y="3988615"/>
                </a:cubicBezTo>
                <a:cubicBezTo>
                  <a:pt x="11330228" y="3999188"/>
                  <a:pt x="11347757" y="4002712"/>
                  <a:pt x="11365286" y="4002712"/>
                </a:cubicBezTo>
                <a:cubicBezTo>
                  <a:pt x="11365286" y="4006236"/>
                  <a:pt x="11368791" y="4023857"/>
                  <a:pt x="11368791" y="4023857"/>
                </a:cubicBezTo>
                <a:cubicBezTo>
                  <a:pt x="11351262" y="4030905"/>
                  <a:pt x="11333733" y="4041477"/>
                  <a:pt x="11323216" y="4052050"/>
                </a:cubicBezTo>
                <a:cubicBezTo>
                  <a:pt x="11323216" y="4052050"/>
                  <a:pt x="11323216" y="4052050"/>
                  <a:pt x="11323216" y="4055574"/>
                </a:cubicBezTo>
                <a:cubicBezTo>
                  <a:pt x="11323216" y="4059099"/>
                  <a:pt x="11326722" y="4069671"/>
                  <a:pt x="11330228" y="4076719"/>
                </a:cubicBezTo>
                <a:cubicBezTo>
                  <a:pt x="11347757" y="4080243"/>
                  <a:pt x="11365286" y="4080243"/>
                  <a:pt x="11382815" y="4076719"/>
                </a:cubicBezTo>
                <a:cubicBezTo>
                  <a:pt x="11382815" y="4076719"/>
                  <a:pt x="11389827" y="4094340"/>
                  <a:pt x="11393332" y="4097865"/>
                </a:cubicBezTo>
                <a:cubicBezTo>
                  <a:pt x="11375803" y="4104913"/>
                  <a:pt x="11361780" y="4119009"/>
                  <a:pt x="11354768" y="4133106"/>
                </a:cubicBezTo>
                <a:cubicBezTo>
                  <a:pt x="11354768" y="4133106"/>
                  <a:pt x="11354768" y="4133106"/>
                  <a:pt x="11354768" y="4136630"/>
                </a:cubicBezTo>
                <a:cubicBezTo>
                  <a:pt x="11358274" y="4140154"/>
                  <a:pt x="11361780" y="4150727"/>
                  <a:pt x="11365286" y="4154251"/>
                </a:cubicBezTo>
                <a:cubicBezTo>
                  <a:pt x="11382815" y="4154251"/>
                  <a:pt x="11400344" y="4150727"/>
                  <a:pt x="11417873" y="4140154"/>
                </a:cubicBezTo>
                <a:cubicBezTo>
                  <a:pt x="11417873" y="4143679"/>
                  <a:pt x="11428390" y="4157775"/>
                  <a:pt x="11431896" y="4161300"/>
                </a:cubicBezTo>
                <a:cubicBezTo>
                  <a:pt x="11417873" y="4171872"/>
                  <a:pt x="11410861" y="4189492"/>
                  <a:pt x="11403850" y="4207114"/>
                </a:cubicBezTo>
                <a:cubicBezTo>
                  <a:pt x="11410861" y="4210638"/>
                  <a:pt x="11414367" y="4217686"/>
                  <a:pt x="11421379" y="4221210"/>
                </a:cubicBezTo>
                <a:cubicBezTo>
                  <a:pt x="11438908" y="4217686"/>
                  <a:pt x="11456437" y="4210638"/>
                  <a:pt x="11466954" y="4196542"/>
                </a:cubicBezTo>
                <a:cubicBezTo>
                  <a:pt x="11470460" y="4196542"/>
                  <a:pt x="11484484" y="4210638"/>
                  <a:pt x="11484484" y="4210638"/>
                </a:cubicBezTo>
                <a:cubicBezTo>
                  <a:pt x="11477472" y="4224734"/>
                  <a:pt x="11473966" y="4245880"/>
                  <a:pt x="11473966" y="4259976"/>
                </a:cubicBezTo>
                <a:cubicBezTo>
                  <a:pt x="11473966" y="4259976"/>
                  <a:pt x="11473966" y="4263501"/>
                  <a:pt x="11473966" y="4263501"/>
                </a:cubicBezTo>
                <a:cubicBezTo>
                  <a:pt x="11477472" y="4267025"/>
                  <a:pt x="11484484" y="4270549"/>
                  <a:pt x="11491495" y="4274073"/>
                </a:cubicBezTo>
                <a:cubicBezTo>
                  <a:pt x="11491495" y="4274073"/>
                  <a:pt x="11491495" y="4274073"/>
                  <a:pt x="11495001" y="4274073"/>
                </a:cubicBezTo>
                <a:cubicBezTo>
                  <a:pt x="11509024" y="4267025"/>
                  <a:pt x="11523047" y="4252928"/>
                  <a:pt x="11530059" y="4235307"/>
                </a:cubicBezTo>
                <a:cubicBezTo>
                  <a:pt x="11533564" y="4238831"/>
                  <a:pt x="11547588" y="4242356"/>
                  <a:pt x="11551094" y="4245880"/>
                </a:cubicBezTo>
                <a:cubicBezTo>
                  <a:pt x="11547588" y="4252928"/>
                  <a:pt x="11547588" y="4263501"/>
                  <a:pt x="11547588" y="4270549"/>
                </a:cubicBezTo>
                <a:cubicBezTo>
                  <a:pt x="11547588" y="4281121"/>
                  <a:pt x="11547588" y="4288170"/>
                  <a:pt x="11551094" y="4298743"/>
                </a:cubicBezTo>
                <a:cubicBezTo>
                  <a:pt x="11558106" y="4302267"/>
                  <a:pt x="11565117" y="4302267"/>
                  <a:pt x="11572129" y="4305791"/>
                </a:cubicBezTo>
                <a:cubicBezTo>
                  <a:pt x="11572129" y="4305791"/>
                  <a:pt x="11572129" y="4305791"/>
                  <a:pt x="11575635" y="4305791"/>
                </a:cubicBezTo>
                <a:cubicBezTo>
                  <a:pt x="11586152" y="4291694"/>
                  <a:pt x="11596669" y="4274073"/>
                  <a:pt x="11600176" y="4259976"/>
                </a:cubicBezTo>
                <a:cubicBezTo>
                  <a:pt x="11603681" y="4259976"/>
                  <a:pt x="11621210" y="4259976"/>
                  <a:pt x="11624716" y="4259976"/>
                </a:cubicBezTo>
                <a:cubicBezTo>
                  <a:pt x="11624716" y="4281121"/>
                  <a:pt x="11628222" y="4298743"/>
                  <a:pt x="11638739" y="4312839"/>
                </a:cubicBezTo>
                <a:cubicBezTo>
                  <a:pt x="11645751" y="4312839"/>
                  <a:pt x="11656268" y="4312839"/>
                  <a:pt x="11659774" y="4312839"/>
                </a:cubicBezTo>
                <a:cubicBezTo>
                  <a:pt x="11659774" y="4312839"/>
                  <a:pt x="11659774" y="4312839"/>
                  <a:pt x="11663280" y="4312839"/>
                </a:cubicBezTo>
                <a:cubicBezTo>
                  <a:pt x="11670291" y="4298743"/>
                  <a:pt x="11677303" y="4281121"/>
                  <a:pt x="11677303" y="4259976"/>
                </a:cubicBezTo>
                <a:cubicBezTo>
                  <a:pt x="11677303" y="4259976"/>
                  <a:pt x="11694832" y="4259976"/>
                  <a:pt x="11698339" y="4259976"/>
                </a:cubicBezTo>
                <a:cubicBezTo>
                  <a:pt x="11701844" y="4274073"/>
                  <a:pt x="11712361" y="4291694"/>
                  <a:pt x="11722879" y="4305791"/>
                </a:cubicBezTo>
                <a:cubicBezTo>
                  <a:pt x="11722879" y="4305791"/>
                  <a:pt x="11722879" y="4305791"/>
                  <a:pt x="11726385" y="4305791"/>
                </a:cubicBezTo>
                <a:cubicBezTo>
                  <a:pt x="11733396" y="4302267"/>
                  <a:pt x="11740408" y="4302267"/>
                  <a:pt x="11747420" y="4298743"/>
                </a:cubicBezTo>
                <a:cubicBezTo>
                  <a:pt x="11750925" y="4288170"/>
                  <a:pt x="11750925" y="4281121"/>
                  <a:pt x="11750925" y="4270549"/>
                </a:cubicBezTo>
                <a:cubicBezTo>
                  <a:pt x="11750925" y="4263501"/>
                  <a:pt x="11750925" y="4252928"/>
                  <a:pt x="11747420" y="4245880"/>
                </a:cubicBezTo>
                <a:cubicBezTo>
                  <a:pt x="11750925" y="4242356"/>
                  <a:pt x="11764949" y="4235307"/>
                  <a:pt x="11768454" y="4235307"/>
                </a:cubicBezTo>
                <a:cubicBezTo>
                  <a:pt x="11778972" y="4252928"/>
                  <a:pt x="11789490" y="4263501"/>
                  <a:pt x="11807019" y="4274073"/>
                </a:cubicBezTo>
                <a:cubicBezTo>
                  <a:pt x="11814030" y="4270549"/>
                  <a:pt x="11821042" y="4267025"/>
                  <a:pt x="11824547" y="4263501"/>
                </a:cubicBezTo>
                <a:cubicBezTo>
                  <a:pt x="11824547" y="4263501"/>
                  <a:pt x="11824547" y="4263501"/>
                  <a:pt x="11828054" y="4263501"/>
                </a:cubicBezTo>
                <a:cubicBezTo>
                  <a:pt x="11828054" y="4263501"/>
                  <a:pt x="11828054" y="4259976"/>
                  <a:pt x="11828054" y="4259976"/>
                </a:cubicBezTo>
                <a:cubicBezTo>
                  <a:pt x="11828054" y="4242356"/>
                  <a:pt x="11821042" y="4224734"/>
                  <a:pt x="11814030" y="4210638"/>
                </a:cubicBezTo>
                <a:cubicBezTo>
                  <a:pt x="11814030" y="4207114"/>
                  <a:pt x="11828054" y="4196542"/>
                  <a:pt x="11831559" y="4196542"/>
                </a:cubicBezTo>
                <a:cubicBezTo>
                  <a:pt x="11842076" y="4207114"/>
                  <a:pt x="11859606" y="4217686"/>
                  <a:pt x="11877135" y="4221210"/>
                </a:cubicBezTo>
                <a:cubicBezTo>
                  <a:pt x="11884146" y="4217686"/>
                  <a:pt x="11891158" y="4210638"/>
                  <a:pt x="11894664" y="4207114"/>
                </a:cubicBezTo>
                <a:cubicBezTo>
                  <a:pt x="11894664" y="4207114"/>
                  <a:pt x="11894664" y="4207114"/>
                  <a:pt x="11894664" y="4203590"/>
                </a:cubicBezTo>
                <a:cubicBezTo>
                  <a:pt x="11891158" y="4189492"/>
                  <a:pt x="11880641" y="4171872"/>
                  <a:pt x="11866617" y="4157775"/>
                </a:cubicBezTo>
                <a:cubicBezTo>
                  <a:pt x="11870123" y="4157775"/>
                  <a:pt x="11880641" y="4143679"/>
                  <a:pt x="11880641" y="4140154"/>
                </a:cubicBezTo>
                <a:cubicBezTo>
                  <a:pt x="11898170" y="4150727"/>
                  <a:pt x="11915699" y="4154251"/>
                  <a:pt x="11933228" y="4154251"/>
                </a:cubicBezTo>
                <a:cubicBezTo>
                  <a:pt x="11936734" y="4147203"/>
                  <a:pt x="11940239" y="4140154"/>
                  <a:pt x="11943746" y="4136630"/>
                </a:cubicBezTo>
                <a:cubicBezTo>
                  <a:pt x="11943746" y="4136630"/>
                  <a:pt x="11943746" y="4136630"/>
                  <a:pt x="11943746" y="4133106"/>
                </a:cubicBezTo>
                <a:cubicBezTo>
                  <a:pt x="11936734" y="4119009"/>
                  <a:pt x="11922710" y="4104913"/>
                  <a:pt x="11908688" y="4094340"/>
                </a:cubicBezTo>
                <a:cubicBezTo>
                  <a:pt x="11908688" y="4094340"/>
                  <a:pt x="11915699" y="4076719"/>
                  <a:pt x="11915699" y="4076719"/>
                </a:cubicBezTo>
                <a:cubicBezTo>
                  <a:pt x="11933228" y="4080243"/>
                  <a:pt x="11950757" y="4080243"/>
                  <a:pt x="11968286" y="4076719"/>
                </a:cubicBezTo>
                <a:cubicBezTo>
                  <a:pt x="11968286" y="4076719"/>
                  <a:pt x="11968286" y="4076719"/>
                  <a:pt x="11968286" y="4073195"/>
                </a:cubicBezTo>
                <a:cubicBezTo>
                  <a:pt x="11971792" y="4069671"/>
                  <a:pt x="11975298" y="4059099"/>
                  <a:pt x="11975298" y="4052050"/>
                </a:cubicBezTo>
                <a:cubicBezTo>
                  <a:pt x="11961275" y="4037953"/>
                  <a:pt x="11947251" y="4030905"/>
                  <a:pt x="11929722" y="4023857"/>
                </a:cubicBezTo>
                <a:cubicBezTo>
                  <a:pt x="11929722" y="4023857"/>
                  <a:pt x="11929722" y="4006236"/>
                  <a:pt x="11933228" y="4002712"/>
                </a:cubicBezTo>
                <a:cubicBezTo>
                  <a:pt x="11950757" y="4002712"/>
                  <a:pt x="11968286" y="3999188"/>
                  <a:pt x="11982310" y="3988615"/>
                </a:cubicBezTo>
                <a:cubicBezTo>
                  <a:pt x="11985815" y="3985090"/>
                  <a:pt x="11985815" y="3981566"/>
                  <a:pt x="11985815" y="3978042"/>
                </a:cubicBezTo>
                <a:cubicBezTo>
                  <a:pt x="11985815" y="3974518"/>
                  <a:pt x="11985815" y="3970994"/>
                  <a:pt x="11982310" y="3967470"/>
                </a:cubicBezTo>
                <a:cubicBezTo>
                  <a:pt x="11982310" y="3967470"/>
                  <a:pt x="11982310" y="3967470"/>
                  <a:pt x="11982310" y="3963946"/>
                </a:cubicBezTo>
                <a:cubicBezTo>
                  <a:pt x="11968286" y="3956897"/>
                  <a:pt x="11950757" y="3949848"/>
                  <a:pt x="11933228" y="3949848"/>
                </a:cubicBezTo>
                <a:cubicBezTo>
                  <a:pt x="11933228" y="3949848"/>
                  <a:pt x="11929722" y="3932228"/>
                  <a:pt x="11929722" y="3928704"/>
                </a:cubicBezTo>
                <a:cubicBezTo>
                  <a:pt x="11947251" y="3925180"/>
                  <a:pt x="11964780" y="3914607"/>
                  <a:pt x="11975298" y="3904035"/>
                </a:cubicBezTo>
                <a:cubicBezTo>
                  <a:pt x="11975298" y="3904035"/>
                  <a:pt x="11975298" y="3904035"/>
                  <a:pt x="11975298" y="3900510"/>
                </a:cubicBezTo>
                <a:cubicBezTo>
                  <a:pt x="11975298" y="3893462"/>
                  <a:pt x="11971792" y="3886414"/>
                  <a:pt x="11968286" y="3879365"/>
                </a:cubicBezTo>
                <a:cubicBezTo>
                  <a:pt x="11950757" y="3875841"/>
                  <a:pt x="11933228" y="3875841"/>
                  <a:pt x="11915699" y="3879365"/>
                </a:cubicBezTo>
                <a:cubicBezTo>
                  <a:pt x="11915699" y="3875841"/>
                  <a:pt x="11908688" y="3861745"/>
                  <a:pt x="11908688" y="3858221"/>
                </a:cubicBezTo>
                <a:cubicBezTo>
                  <a:pt x="11922710" y="3847647"/>
                  <a:pt x="11936734" y="3837075"/>
                  <a:pt x="11943746" y="3819454"/>
                </a:cubicBezTo>
                <a:cubicBezTo>
                  <a:pt x="11943746" y="3812406"/>
                  <a:pt x="11936734" y="3805357"/>
                  <a:pt x="11933228" y="3801833"/>
                </a:cubicBezTo>
                <a:cubicBezTo>
                  <a:pt x="11933228" y="3801833"/>
                  <a:pt x="11933228" y="3801833"/>
                  <a:pt x="11933228" y="3798309"/>
                </a:cubicBezTo>
                <a:cubicBezTo>
                  <a:pt x="11915699" y="3798309"/>
                  <a:pt x="11898170" y="3805357"/>
                  <a:pt x="11880641" y="3812406"/>
                </a:cubicBezTo>
                <a:cubicBezTo>
                  <a:pt x="11880641" y="3812406"/>
                  <a:pt x="11870123" y="3798309"/>
                  <a:pt x="11866617" y="3794785"/>
                </a:cubicBezTo>
                <a:cubicBezTo>
                  <a:pt x="11880641" y="3780688"/>
                  <a:pt x="11891158" y="3766592"/>
                  <a:pt x="11894664" y="3748970"/>
                </a:cubicBezTo>
                <a:cubicBezTo>
                  <a:pt x="11891158" y="3741922"/>
                  <a:pt x="11884146" y="3734874"/>
                  <a:pt x="11877135" y="3731350"/>
                </a:cubicBezTo>
                <a:cubicBezTo>
                  <a:pt x="11859606" y="3734874"/>
                  <a:pt x="11845583" y="3745446"/>
                  <a:pt x="11831559" y="3759544"/>
                </a:cubicBezTo>
                <a:cubicBezTo>
                  <a:pt x="11828054" y="3756019"/>
                  <a:pt x="11814030" y="3745446"/>
                  <a:pt x="11814030" y="3745446"/>
                </a:cubicBezTo>
                <a:cubicBezTo>
                  <a:pt x="11821042" y="3727826"/>
                  <a:pt x="11828054" y="3710205"/>
                  <a:pt x="11828054" y="3692584"/>
                </a:cubicBezTo>
                <a:cubicBezTo>
                  <a:pt x="11821042" y="3689060"/>
                  <a:pt x="11814030" y="3682011"/>
                  <a:pt x="11807019" y="3682011"/>
                </a:cubicBezTo>
                <a:cubicBezTo>
                  <a:pt x="11792995" y="3689060"/>
                  <a:pt x="11778972" y="3703156"/>
                  <a:pt x="11768454" y="3717253"/>
                </a:cubicBezTo>
                <a:cubicBezTo>
                  <a:pt x="11764949" y="3717253"/>
                  <a:pt x="11750925" y="3710205"/>
                  <a:pt x="11747420" y="3710205"/>
                </a:cubicBezTo>
                <a:cubicBezTo>
                  <a:pt x="11750925" y="3699632"/>
                  <a:pt x="11750925" y="3692584"/>
                  <a:pt x="11750925" y="3682011"/>
                </a:cubicBezTo>
                <a:cubicBezTo>
                  <a:pt x="11750925" y="3671439"/>
                  <a:pt x="11750925" y="3664391"/>
                  <a:pt x="11747420" y="3657342"/>
                </a:cubicBezTo>
                <a:cubicBezTo>
                  <a:pt x="11747420" y="3657342"/>
                  <a:pt x="11747420" y="3657342"/>
                  <a:pt x="11747420" y="3653818"/>
                </a:cubicBezTo>
                <a:cubicBezTo>
                  <a:pt x="11740408" y="3653818"/>
                  <a:pt x="11733396" y="3650294"/>
                  <a:pt x="11726385" y="3650294"/>
                </a:cubicBezTo>
                <a:cubicBezTo>
                  <a:pt x="11726385" y="3650294"/>
                  <a:pt x="11726385" y="3650294"/>
                  <a:pt x="11722879" y="3650294"/>
                </a:cubicBezTo>
                <a:cubicBezTo>
                  <a:pt x="11712361" y="3660866"/>
                  <a:pt x="11701844" y="3678487"/>
                  <a:pt x="11698339" y="3696108"/>
                </a:cubicBezTo>
                <a:cubicBezTo>
                  <a:pt x="11694832" y="3696108"/>
                  <a:pt x="11677303" y="3692584"/>
                  <a:pt x="11673798" y="3692584"/>
                </a:cubicBezTo>
                <a:cubicBezTo>
                  <a:pt x="11673798" y="3674963"/>
                  <a:pt x="11670291" y="3657342"/>
                  <a:pt x="11659774" y="3639721"/>
                </a:cubicBezTo>
                <a:cubicBezTo>
                  <a:pt x="11652763" y="3639721"/>
                  <a:pt x="11645751" y="3639721"/>
                  <a:pt x="11638739" y="3639721"/>
                </a:cubicBezTo>
                <a:close/>
                <a:moveTo>
                  <a:pt x="0" y="0"/>
                </a:moveTo>
                <a:lnTo>
                  <a:pt x="12192000" y="0"/>
                </a:lnTo>
                <a:lnTo>
                  <a:pt x="12192000" y="4454665"/>
                </a:lnTo>
                <a:lnTo>
                  <a:pt x="0" y="4454665"/>
                </a:lnTo>
                <a:close/>
              </a:path>
            </a:pathLst>
          </a:custGeom>
          <a:solidFill>
            <a:srgbClr val="01B0E3">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indent="-228600">
              <a:lnSpc>
                <a:spcPct val="90000"/>
              </a:lnSpc>
              <a:spcBef>
                <a:spcPts val="1000"/>
              </a:spcBef>
              <a:buFont typeface="Arial" panose="020B0604020202020204" pitchFamily="34" charset="0"/>
              <a:buChar char="•"/>
            </a:pPr>
            <a:r>
              <a:rPr lang="en-US" dirty="0">
                <a:solidFill>
                  <a:schemeClr val="bg1">
                    <a:alpha val="0"/>
                  </a:schemeClr>
                </a:solidFill>
              </a:rPr>
              <a:t>z</a:t>
            </a:r>
          </a:p>
        </p:txBody>
      </p:sp>
      <p:sp>
        <p:nvSpPr>
          <p:cNvPr id="15" name="Slide Number Placeholder 5">
            <a:extLst>
              <a:ext uri="{FF2B5EF4-FFF2-40B4-BE49-F238E27FC236}">
                <a16:creationId xmlns:a16="http://schemas.microsoft.com/office/drawing/2014/main" id="{117E5071-7349-4505-A053-38E7B450BB1D}"/>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13961793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sz="2025">
                <a:latin typeface="Arial Narrow"/>
                <a:cs typeface="Arial Narrow"/>
              </a:defRPr>
            </a:lvl1pPr>
          </a:lstStyle>
          <a:p>
            <a:r>
              <a:rPr lang="en-US"/>
              <a:t>Click to edit Master title style</a:t>
            </a:r>
            <a:endParaRPr lang="en-US" dirty="0"/>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1350" b="1">
                <a:latin typeface="Arial Narrow"/>
                <a:cs typeface="Arial Narrow"/>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1350">
                <a:latin typeface="Georgia"/>
                <a:cs typeface="Georgia"/>
              </a:defRPr>
            </a:lvl1pPr>
            <a:lvl2pPr>
              <a:defRPr sz="1125">
                <a:latin typeface="Georgia"/>
                <a:cs typeface="Georgia"/>
              </a:defRPr>
            </a:lvl2pPr>
            <a:lvl3pPr>
              <a:defRPr sz="1013">
                <a:latin typeface="Georgia"/>
                <a:cs typeface="Georgia"/>
              </a:defRPr>
            </a:lvl3pPr>
            <a:lvl4pPr>
              <a:defRPr sz="900">
                <a:latin typeface="Georgia"/>
                <a:cs typeface="Georgia"/>
              </a:defRPr>
            </a:lvl4pPr>
            <a:lvl5pPr>
              <a:defRPr sz="900">
                <a:latin typeface="Georgia"/>
                <a:cs typeface="Georgia"/>
              </a:defRPr>
            </a:lvl5pPr>
            <a:lvl6pPr>
              <a:defRPr sz="900"/>
            </a:lvl6pPr>
            <a:lvl7pPr>
              <a:defRPr sz="900"/>
            </a:lvl7pPr>
            <a:lvl8pPr>
              <a:defRPr sz="900"/>
            </a:lvl8pPr>
            <a:lvl9pPr>
              <a:defRPr sz="9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70" y="1535113"/>
            <a:ext cx="5389033" cy="639762"/>
          </a:xfrm>
          <a:prstGeom prst="rect">
            <a:avLst/>
          </a:prstGeom>
        </p:spPr>
        <p:txBody>
          <a:bodyPr anchor="b"/>
          <a:lstStyle>
            <a:lvl1pPr marL="0" indent="0">
              <a:buNone/>
              <a:defRPr sz="1350" b="1">
                <a:latin typeface="Arial Narrow"/>
                <a:cs typeface="Arial Narrow"/>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Master text styles</a:t>
            </a:r>
          </a:p>
        </p:txBody>
      </p:sp>
      <p:sp>
        <p:nvSpPr>
          <p:cNvPr id="6" name="Content Placeholder 5"/>
          <p:cNvSpPr>
            <a:spLocks noGrp="1"/>
          </p:cNvSpPr>
          <p:nvPr>
            <p:ph sz="quarter" idx="4"/>
          </p:nvPr>
        </p:nvSpPr>
        <p:spPr>
          <a:xfrm>
            <a:off x="6193370" y="2174875"/>
            <a:ext cx="5389033" cy="3951288"/>
          </a:xfrm>
          <a:prstGeom prst="rect">
            <a:avLst/>
          </a:prstGeom>
        </p:spPr>
        <p:txBody>
          <a:bodyPr/>
          <a:lstStyle>
            <a:lvl1pPr>
              <a:defRPr sz="1350">
                <a:latin typeface="Georgia"/>
                <a:cs typeface="Georgia"/>
              </a:defRPr>
            </a:lvl1pPr>
            <a:lvl2pPr>
              <a:defRPr sz="1125">
                <a:latin typeface="Georgia"/>
                <a:cs typeface="Georgia"/>
              </a:defRPr>
            </a:lvl2pPr>
            <a:lvl3pPr>
              <a:defRPr sz="1013">
                <a:latin typeface="Georgia"/>
                <a:cs typeface="Georgia"/>
              </a:defRPr>
            </a:lvl3pPr>
            <a:lvl4pPr>
              <a:defRPr sz="900">
                <a:latin typeface="Georgia"/>
                <a:cs typeface="Georgia"/>
              </a:defRPr>
            </a:lvl4pPr>
            <a:lvl5pPr>
              <a:defRPr sz="900">
                <a:latin typeface="Georgia"/>
                <a:cs typeface="Georgia"/>
              </a:defRPr>
            </a:lvl5pPr>
            <a:lvl6pPr>
              <a:defRPr sz="900"/>
            </a:lvl6pPr>
            <a:lvl7pPr>
              <a:defRPr sz="900"/>
            </a:lvl7pPr>
            <a:lvl8pPr>
              <a:defRPr sz="900"/>
            </a:lvl8pPr>
            <a:lvl9pPr>
              <a:defRPr sz="9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43775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sz="2025">
                <a:latin typeface="Arial Narrow"/>
                <a:cs typeface="Arial Narrow"/>
              </a:defRPr>
            </a:lvl1pPr>
          </a:lstStyle>
          <a:p>
            <a:r>
              <a:rPr lang="en-US"/>
              <a:t>Click to edit Master title style</a:t>
            </a:r>
            <a:endParaRPr lang="en-US" dirty="0"/>
          </a:p>
        </p:txBody>
      </p:sp>
    </p:spTree>
    <p:extLst>
      <p:ext uri="{BB962C8B-B14F-4D97-AF65-F5344CB8AC3E}">
        <p14:creationId xmlns:p14="http://schemas.microsoft.com/office/powerpoint/2010/main" val="34900216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1240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a:prstGeom prst="rect">
            <a:avLst/>
          </a:prstGeom>
        </p:spPr>
        <p:txBody>
          <a:bodyPr anchor="b"/>
          <a:lstStyle>
            <a:lvl1pPr algn="l">
              <a:defRPr sz="1125" b="1">
                <a:latin typeface="Arial Narrow"/>
                <a:cs typeface="Arial Narrow"/>
              </a:defRPr>
            </a:lvl1pPr>
          </a:lstStyle>
          <a:p>
            <a:r>
              <a:rPr lang="en-US" dirty="0"/>
              <a:t>Click to edit Master title style</a:t>
            </a:r>
          </a:p>
        </p:txBody>
      </p:sp>
      <p:sp>
        <p:nvSpPr>
          <p:cNvPr id="3" name="Content Placeholder 2"/>
          <p:cNvSpPr>
            <a:spLocks noGrp="1"/>
          </p:cNvSpPr>
          <p:nvPr>
            <p:ph idx="1"/>
          </p:nvPr>
        </p:nvSpPr>
        <p:spPr>
          <a:xfrm>
            <a:off x="4766733" y="273055"/>
            <a:ext cx="6815667" cy="5853113"/>
          </a:xfrm>
          <a:prstGeom prst="rect">
            <a:avLst/>
          </a:prstGeom>
        </p:spPr>
        <p:txBody>
          <a:bodyPr/>
          <a:lstStyle>
            <a:lvl1pPr>
              <a:defRPr sz="1800">
                <a:latin typeface="Georgia"/>
                <a:cs typeface="Georgia"/>
              </a:defRPr>
            </a:lvl1pPr>
            <a:lvl2pPr>
              <a:defRPr sz="1575">
                <a:latin typeface="Georgia"/>
                <a:cs typeface="Georgia"/>
              </a:defRPr>
            </a:lvl2pPr>
            <a:lvl3pPr>
              <a:defRPr sz="1350">
                <a:latin typeface="Georgia"/>
                <a:cs typeface="Georgia"/>
              </a:defRPr>
            </a:lvl3pPr>
            <a:lvl4pPr>
              <a:defRPr sz="1125">
                <a:latin typeface="Georgia"/>
                <a:cs typeface="Georgia"/>
              </a:defRPr>
            </a:lvl4pPr>
            <a:lvl5pPr>
              <a:defRPr sz="1125">
                <a:latin typeface="Georgia"/>
                <a:cs typeface="Georgia"/>
              </a:defRPr>
            </a:lvl5pPr>
            <a:lvl6pPr>
              <a:defRPr sz="1125"/>
            </a:lvl6pPr>
            <a:lvl7pPr>
              <a:defRPr sz="1125"/>
            </a:lvl7pPr>
            <a:lvl8pPr>
              <a:defRPr sz="1125"/>
            </a:lvl8pPr>
            <a:lvl9pPr>
              <a:defRPr sz="1125"/>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3" y="1435103"/>
            <a:ext cx="4011084" cy="4691063"/>
          </a:xfrm>
          <a:prstGeom prst="rect">
            <a:avLst/>
          </a:prstGeom>
        </p:spPr>
        <p:txBody>
          <a:bodyPr/>
          <a:lstStyle>
            <a:lvl1pPr marL="0" indent="0">
              <a:buNone/>
              <a:defRPr sz="788">
                <a:latin typeface="Georgia"/>
                <a:cs typeface="Georgia"/>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dirty="0"/>
              <a:t>Click to edit Master text styles</a:t>
            </a:r>
          </a:p>
        </p:txBody>
      </p:sp>
    </p:spTree>
    <p:extLst>
      <p:ext uri="{BB962C8B-B14F-4D97-AF65-F5344CB8AC3E}">
        <p14:creationId xmlns:p14="http://schemas.microsoft.com/office/powerpoint/2010/main" val="27364575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1125" b="1">
                <a:latin typeface="Arial Narrow"/>
                <a:cs typeface="Arial Narrow"/>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pPr lvl="0"/>
            <a:endParaRPr lang="en-US" noProof="0"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788">
                <a:latin typeface="Georgia"/>
                <a:cs typeface="Georgia"/>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dirty="0"/>
              <a:t>Click to edit Master text styles</a:t>
            </a:r>
          </a:p>
        </p:txBody>
      </p:sp>
    </p:spTree>
    <p:extLst>
      <p:ext uri="{BB962C8B-B14F-4D97-AF65-F5344CB8AC3E}">
        <p14:creationId xmlns:p14="http://schemas.microsoft.com/office/powerpoint/2010/main" val="18652990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932266"/>
      </p:ext>
    </p:extLst>
  </p:cSld>
  <p:clrMapOvr>
    <a:masterClrMapping/>
  </p:clrMapOvr>
  <p:transition spd="slow"/>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p:cNvSpPr/>
          <p:nvPr userDrawn="1"/>
        </p:nvSpPr>
        <p:spPr>
          <a:xfrm>
            <a:off x="-203200" y="2667000"/>
            <a:ext cx="12700000" cy="1600200"/>
          </a:xfrm>
          <a:prstGeom prst="rect">
            <a:avLst/>
          </a:prstGeom>
          <a:solidFill>
            <a:schemeClr val="accent1"/>
          </a:solidFill>
          <a:ln>
            <a:noFill/>
          </a:ln>
          <a:effectLst>
            <a:outerShdw blurRad="88900" dist="61087" dir="5400000" rotWithShape="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ctrTitle" hasCustomPrompt="1"/>
          </p:nvPr>
        </p:nvSpPr>
        <p:spPr>
          <a:xfrm>
            <a:off x="203200" y="2667000"/>
            <a:ext cx="11785600" cy="1600200"/>
          </a:xfrm>
          <a:prstGeom prst="rect">
            <a:avLst/>
          </a:prstGeom>
        </p:spPr>
        <p:txBody>
          <a:bodyPr lIns="0" tIns="0" rIns="0" bIns="0" anchor="ctr" anchorCtr="0"/>
          <a:lstStyle>
            <a:lvl1pPr>
              <a:defRPr sz="3200">
                <a:solidFill>
                  <a:schemeClr val="bg1"/>
                </a:solidFill>
                <a:latin typeface="Arial Narrow"/>
                <a:cs typeface="Arial Narrow"/>
              </a:defRPr>
            </a:lvl1pPr>
          </a:lstStyle>
          <a:p>
            <a:r>
              <a:rPr lang="en-US" dirty="0"/>
              <a:t>CLICK TO EDIT MASTER TITLE STYLE</a:t>
            </a:r>
          </a:p>
        </p:txBody>
      </p:sp>
    </p:spTree>
    <p:extLst>
      <p:ext uri="{BB962C8B-B14F-4D97-AF65-F5344CB8AC3E}">
        <p14:creationId xmlns:p14="http://schemas.microsoft.com/office/powerpoint/2010/main" val="11552410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p:cNvSpPr/>
          <p:nvPr userDrawn="1"/>
        </p:nvSpPr>
        <p:spPr>
          <a:xfrm>
            <a:off x="-203200" y="2667000"/>
            <a:ext cx="12700000" cy="1600200"/>
          </a:xfrm>
          <a:prstGeom prst="rect">
            <a:avLst/>
          </a:prstGeom>
          <a:solidFill>
            <a:srgbClr val="005DAA"/>
          </a:solidFill>
          <a:ln>
            <a:noFill/>
          </a:ln>
          <a:effectLst>
            <a:outerShdw blurRad="88900" dist="61087" dir="5400000" rotWithShape="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ctrTitle" hasCustomPrompt="1"/>
          </p:nvPr>
        </p:nvSpPr>
        <p:spPr>
          <a:xfrm>
            <a:off x="203200" y="2667000"/>
            <a:ext cx="11785600" cy="1600200"/>
          </a:xfrm>
          <a:prstGeom prst="rect">
            <a:avLst/>
          </a:prstGeom>
        </p:spPr>
        <p:txBody>
          <a:bodyPr lIns="0" tIns="0" rIns="0" bIns="0" anchor="ctr" anchorCtr="0"/>
          <a:lstStyle>
            <a:lvl1pPr>
              <a:defRPr sz="3200">
                <a:solidFill>
                  <a:schemeClr val="bg1"/>
                </a:solidFill>
                <a:latin typeface="Arial Narrow"/>
                <a:cs typeface="Arial Narrow"/>
              </a:defRPr>
            </a:lvl1pPr>
          </a:lstStyle>
          <a:p>
            <a:r>
              <a:rPr lang="en-US" dirty="0"/>
              <a:t>CLICK TO EDIT MASTER TITLE STYLE</a:t>
            </a:r>
          </a:p>
        </p:txBody>
      </p:sp>
    </p:spTree>
    <p:extLst>
      <p:ext uri="{BB962C8B-B14F-4D97-AF65-F5344CB8AC3E}">
        <p14:creationId xmlns:p14="http://schemas.microsoft.com/office/powerpoint/2010/main" val="33145464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p:cNvSpPr/>
          <p:nvPr userDrawn="1"/>
        </p:nvSpPr>
        <p:spPr>
          <a:xfrm>
            <a:off x="-203200" y="2667000"/>
            <a:ext cx="12700000" cy="1600200"/>
          </a:xfrm>
          <a:prstGeom prst="rect">
            <a:avLst/>
          </a:prstGeom>
          <a:solidFill>
            <a:schemeClr val="tx2"/>
          </a:solidFill>
          <a:ln>
            <a:noFill/>
          </a:ln>
          <a:effectLst>
            <a:outerShdw blurRad="88900" dist="61087" dir="5400000" rotWithShape="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ctrTitle" hasCustomPrompt="1"/>
          </p:nvPr>
        </p:nvSpPr>
        <p:spPr>
          <a:xfrm>
            <a:off x="203200" y="2667000"/>
            <a:ext cx="11785600" cy="1600200"/>
          </a:xfrm>
          <a:prstGeom prst="rect">
            <a:avLst/>
          </a:prstGeom>
        </p:spPr>
        <p:txBody>
          <a:bodyPr lIns="0" tIns="0" rIns="0" bIns="0" anchor="ctr" anchorCtr="0"/>
          <a:lstStyle>
            <a:lvl1pPr>
              <a:defRPr sz="3200">
                <a:solidFill>
                  <a:schemeClr val="bg1"/>
                </a:solidFill>
                <a:latin typeface="Arial Narrow"/>
                <a:cs typeface="Arial Narrow"/>
              </a:defRPr>
            </a:lvl1pPr>
          </a:lstStyle>
          <a:p>
            <a:r>
              <a:rPr lang="en-US" dirty="0"/>
              <a:t>CLICK TO EDIT MASTER TITLE STYLE</a:t>
            </a:r>
          </a:p>
        </p:txBody>
      </p:sp>
    </p:spTree>
    <p:extLst>
      <p:ext uri="{BB962C8B-B14F-4D97-AF65-F5344CB8AC3E}">
        <p14:creationId xmlns:p14="http://schemas.microsoft.com/office/powerpoint/2010/main" val="20832594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p:cNvSpPr/>
          <p:nvPr userDrawn="1"/>
        </p:nvSpPr>
        <p:spPr>
          <a:xfrm>
            <a:off x="-203200" y="2667000"/>
            <a:ext cx="12700000" cy="1600200"/>
          </a:xfrm>
          <a:prstGeom prst="rect">
            <a:avLst/>
          </a:prstGeom>
          <a:solidFill>
            <a:schemeClr val="accent3"/>
          </a:solidFill>
          <a:ln>
            <a:noFill/>
          </a:ln>
          <a:effectLst>
            <a:outerShdw blurRad="88900" dist="61087" dir="5400000" rotWithShape="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ctrTitle" hasCustomPrompt="1"/>
          </p:nvPr>
        </p:nvSpPr>
        <p:spPr>
          <a:xfrm>
            <a:off x="203200" y="2667000"/>
            <a:ext cx="11785600" cy="1600200"/>
          </a:xfrm>
          <a:prstGeom prst="rect">
            <a:avLst/>
          </a:prstGeom>
        </p:spPr>
        <p:txBody>
          <a:bodyPr lIns="0" tIns="0" rIns="0" bIns="0" anchor="ctr" anchorCtr="0"/>
          <a:lstStyle>
            <a:lvl1pPr>
              <a:defRPr sz="3200">
                <a:solidFill>
                  <a:schemeClr val="bg1"/>
                </a:solidFill>
                <a:latin typeface="Arial Narrow"/>
                <a:cs typeface="Arial Narrow"/>
              </a:defRPr>
            </a:lvl1pPr>
          </a:lstStyle>
          <a:p>
            <a:r>
              <a:rPr lang="en-US" dirty="0"/>
              <a:t>CLICK TO EDIT MASTER TITLE STYLE</a:t>
            </a:r>
          </a:p>
        </p:txBody>
      </p:sp>
    </p:spTree>
    <p:extLst>
      <p:ext uri="{BB962C8B-B14F-4D97-AF65-F5344CB8AC3E}">
        <p14:creationId xmlns:p14="http://schemas.microsoft.com/office/powerpoint/2010/main" val="2862508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3B5555C6-768D-4D30-811A-F66CBE74CEF0}"/>
              </a:ext>
            </a:extLst>
          </p:cNvPr>
          <p:cNvSpPr>
            <a:spLocks noGrp="1"/>
          </p:cNvSpPr>
          <p:nvPr>
            <p:ph type="pic" sz="quarter" idx="13"/>
          </p:nvPr>
        </p:nvSpPr>
        <p:spPr>
          <a:xfrm>
            <a:off x="0" y="0"/>
            <a:ext cx="12192000" cy="5043713"/>
          </a:xfrm>
          <a:prstGeom prst="rect">
            <a:avLst/>
          </a:prstGeom>
        </p:spPr>
        <p:txBody>
          <a:bodyPr wrap="square">
            <a:noAutofit/>
          </a:bodyPr>
          <a:lstStyle/>
          <a:p>
            <a:endParaRPr lang="en-US" dirty="0"/>
          </a:p>
        </p:txBody>
      </p:sp>
      <p:sp>
        <p:nvSpPr>
          <p:cNvPr id="24" name="Rectangle 23">
            <a:extLst>
              <a:ext uri="{FF2B5EF4-FFF2-40B4-BE49-F238E27FC236}">
                <a16:creationId xmlns:a16="http://schemas.microsoft.com/office/drawing/2014/main" id="{109702C4-ABB0-4FA9-AC7F-FD0C1056D0BB}"/>
              </a:ext>
            </a:extLst>
          </p:cNvPr>
          <p:cNvSpPr/>
          <p:nvPr userDrawn="1"/>
        </p:nvSpPr>
        <p:spPr>
          <a:xfrm>
            <a:off x="0" y="0"/>
            <a:ext cx="12192000" cy="5043713"/>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b"/>
          <a:lstStyle/>
          <a:p>
            <a:pPr algn="l"/>
            <a:r>
              <a:rPr lang="en-US" dirty="0">
                <a:solidFill>
                  <a:schemeClr val="lt1">
                    <a:alpha val="0"/>
                  </a:schemeClr>
                </a:solidFill>
              </a:rPr>
              <a:t>z</a:t>
            </a:r>
          </a:p>
        </p:txBody>
      </p:sp>
      <p:sp>
        <p:nvSpPr>
          <p:cNvPr id="27" name="Rectangle 26">
            <a:extLst>
              <a:ext uri="{FF2B5EF4-FFF2-40B4-BE49-F238E27FC236}">
                <a16:creationId xmlns:a16="http://schemas.microsoft.com/office/drawing/2014/main" id="{6D468973-885C-4EB1-BD5B-E7545B32CF5C}"/>
              </a:ext>
            </a:extLst>
          </p:cNvPr>
          <p:cNvSpPr/>
          <p:nvPr userDrawn="1"/>
        </p:nvSpPr>
        <p:spPr>
          <a:xfrm>
            <a:off x="0" y="5043714"/>
            <a:ext cx="12192000" cy="1814286"/>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Text Placeholder 11">
            <a:extLst>
              <a:ext uri="{FF2B5EF4-FFF2-40B4-BE49-F238E27FC236}">
                <a16:creationId xmlns:a16="http://schemas.microsoft.com/office/drawing/2014/main" id="{9D3472EC-3332-4840-B3B3-3F529B60B0CF}"/>
              </a:ext>
            </a:extLst>
          </p:cNvPr>
          <p:cNvSpPr>
            <a:spLocks noGrp="1"/>
          </p:cNvSpPr>
          <p:nvPr>
            <p:ph type="body" sz="quarter" idx="14" hasCustomPrompt="1"/>
          </p:nvPr>
        </p:nvSpPr>
        <p:spPr>
          <a:xfrm>
            <a:off x="296333" y="5297713"/>
            <a:ext cx="9733038" cy="635000"/>
          </a:xfrm>
        </p:spPr>
        <p:txBody>
          <a:bodyPr>
            <a:normAutofit/>
          </a:bodyPr>
          <a:lstStyle>
            <a:lvl1pPr marL="0" indent="0" algn="l">
              <a:buNone/>
              <a:defRPr sz="4400" b="1" cap="all" baseline="0">
                <a:solidFill>
                  <a:srgbClr val="01B0E3"/>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296333" y="6042779"/>
            <a:ext cx="9733038" cy="465667"/>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hidden="1">
            <a:extLst>
              <a:ext uri="{FF2B5EF4-FFF2-40B4-BE49-F238E27FC236}">
                <a16:creationId xmlns:a16="http://schemas.microsoft.com/office/drawing/2014/main" id="{14C5DF7C-5C7E-463F-BC2C-54928278EB71}"/>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11" name="Slide Number Placeholder 5">
            <a:extLst>
              <a:ext uri="{FF2B5EF4-FFF2-40B4-BE49-F238E27FC236}">
                <a16:creationId xmlns:a16="http://schemas.microsoft.com/office/drawing/2014/main" id="{71700CBF-B968-4177-A57B-11088BD7A2FC}"/>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
        <p:nvSpPr>
          <p:cNvPr id="10" name="Freeform: Shape 9">
            <a:extLst>
              <a:ext uri="{FF2B5EF4-FFF2-40B4-BE49-F238E27FC236}">
                <a16:creationId xmlns:a16="http://schemas.microsoft.com/office/drawing/2014/main" id="{DC8C9AA1-7FD7-448C-922E-18DCDB044640}"/>
              </a:ext>
            </a:extLst>
          </p:cNvPr>
          <p:cNvSpPr/>
          <p:nvPr userDrawn="1"/>
        </p:nvSpPr>
        <p:spPr>
          <a:xfrm>
            <a:off x="10196211" y="6043056"/>
            <a:ext cx="1789604" cy="677148"/>
          </a:xfrm>
          <a:custGeom>
            <a:avLst/>
            <a:gdLst>
              <a:gd name="connsiteX0" fmla="*/ 2068305 w 2114552"/>
              <a:gd name="connsiteY0" fmla="*/ 749732 h 800100"/>
              <a:gd name="connsiteX1" fmla="*/ 2068305 w 2114552"/>
              <a:gd name="connsiteY1" fmla="*/ 761609 h 800100"/>
              <a:gd name="connsiteX2" fmla="*/ 2076013 w 2114552"/>
              <a:gd name="connsiteY2" fmla="*/ 761609 h 800100"/>
              <a:gd name="connsiteX3" fmla="*/ 2083551 w 2114552"/>
              <a:gd name="connsiteY3" fmla="*/ 759961 h 800100"/>
              <a:gd name="connsiteX4" fmla="*/ 2085563 w 2114552"/>
              <a:gd name="connsiteY4" fmla="*/ 755598 h 800100"/>
              <a:gd name="connsiteX5" fmla="*/ 2084594 w 2114552"/>
              <a:gd name="connsiteY5" fmla="*/ 752471 h 800100"/>
              <a:gd name="connsiteX6" fmla="*/ 2081903 w 2114552"/>
              <a:gd name="connsiteY6" fmla="*/ 750411 h 800100"/>
              <a:gd name="connsiteX7" fmla="*/ 2075528 w 2114552"/>
              <a:gd name="connsiteY7" fmla="*/ 749732 h 800100"/>
              <a:gd name="connsiteX8" fmla="*/ 2061954 w 2114552"/>
              <a:gd name="connsiteY8" fmla="*/ 744400 h 800100"/>
              <a:gd name="connsiteX9" fmla="*/ 2075480 w 2114552"/>
              <a:gd name="connsiteY9" fmla="*/ 744400 h 800100"/>
              <a:gd name="connsiteX10" fmla="*/ 2085514 w 2114552"/>
              <a:gd name="connsiteY10" fmla="*/ 745491 h 800100"/>
              <a:gd name="connsiteX11" fmla="*/ 2090459 w 2114552"/>
              <a:gd name="connsiteY11" fmla="*/ 749296 h 800100"/>
              <a:gd name="connsiteX12" fmla="*/ 2092301 w 2114552"/>
              <a:gd name="connsiteY12" fmla="*/ 755065 h 800100"/>
              <a:gd name="connsiteX13" fmla="*/ 2089223 w 2114552"/>
              <a:gd name="connsiteY13" fmla="*/ 762579 h 800100"/>
              <a:gd name="connsiteX14" fmla="*/ 2081055 w 2114552"/>
              <a:gd name="connsiteY14" fmla="*/ 766166 h 800100"/>
              <a:gd name="connsiteX15" fmla="*/ 2084400 w 2114552"/>
              <a:gd name="connsiteY15" fmla="*/ 768251 h 800100"/>
              <a:gd name="connsiteX16" fmla="*/ 2090217 w 2114552"/>
              <a:gd name="connsiteY16" fmla="*/ 776055 h 800100"/>
              <a:gd name="connsiteX17" fmla="*/ 2095016 w 2114552"/>
              <a:gd name="connsiteY17" fmla="*/ 783763 h 800100"/>
              <a:gd name="connsiteX18" fmla="*/ 2087260 w 2114552"/>
              <a:gd name="connsiteY18" fmla="*/ 783763 h 800100"/>
              <a:gd name="connsiteX19" fmla="*/ 2083769 w 2114552"/>
              <a:gd name="connsiteY19" fmla="*/ 777558 h 800100"/>
              <a:gd name="connsiteX20" fmla="*/ 2077128 w 2114552"/>
              <a:gd name="connsiteY20" fmla="*/ 768396 h 800100"/>
              <a:gd name="connsiteX21" fmla="*/ 2072038 w 2114552"/>
              <a:gd name="connsiteY21" fmla="*/ 767039 h 800100"/>
              <a:gd name="connsiteX22" fmla="*/ 2068305 w 2114552"/>
              <a:gd name="connsiteY22" fmla="*/ 767039 h 800100"/>
              <a:gd name="connsiteX23" fmla="*/ 2068305 w 2114552"/>
              <a:gd name="connsiteY23" fmla="*/ 783763 h 800100"/>
              <a:gd name="connsiteX24" fmla="*/ 2061954 w 2114552"/>
              <a:gd name="connsiteY24" fmla="*/ 783763 h 800100"/>
              <a:gd name="connsiteX25" fmla="*/ 834048 w 2114552"/>
              <a:gd name="connsiteY25" fmla="*/ 741362 h 800100"/>
              <a:gd name="connsiteX26" fmla="*/ 784225 w 2114552"/>
              <a:gd name="connsiteY26" fmla="*/ 766474 h 800100"/>
              <a:gd name="connsiteX27" fmla="*/ 804985 w 2114552"/>
              <a:gd name="connsiteY27" fmla="*/ 787400 h 800100"/>
              <a:gd name="connsiteX28" fmla="*/ 838200 w 2114552"/>
              <a:gd name="connsiteY28" fmla="*/ 745547 h 800100"/>
              <a:gd name="connsiteX29" fmla="*/ 838200 w 2114552"/>
              <a:gd name="connsiteY29" fmla="*/ 741362 h 800100"/>
              <a:gd name="connsiteX30" fmla="*/ 834048 w 2114552"/>
              <a:gd name="connsiteY30" fmla="*/ 741362 h 800100"/>
              <a:gd name="connsiteX31" fmla="*/ 2078001 w 2114552"/>
              <a:gd name="connsiteY31" fmla="*/ 733008 h 800100"/>
              <a:gd name="connsiteX32" fmla="*/ 2062997 w 2114552"/>
              <a:gd name="connsiteY32" fmla="*/ 736959 h 800100"/>
              <a:gd name="connsiteX33" fmla="*/ 2051581 w 2114552"/>
              <a:gd name="connsiteY33" fmla="*/ 748254 h 800100"/>
              <a:gd name="connsiteX34" fmla="*/ 2047460 w 2114552"/>
              <a:gd name="connsiteY34" fmla="*/ 763548 h 800100"/>
              <a:gd name="connsiteX35" fmla="*/ 2051508 w 2114552"/>
              <a:gd name="connsiteY35" fmla="*/ 778697 h 800100"/>
              <a:gd name="connsiteX36" fmla="*/ 2062827 w 2114552"/>
              <a:gd name="connsiteY36" fmla="*/ 789993 h 800100"/>
              <a:gd name="connsiteX37" fmla="*/ 2078001 w 2114552"/>
              <a:gd name="connsiteY37" fmla="*/ 794041 h 800100"/>
              <a:gd name="connsiteX38" fmla="*/ 2093174 w 2114552"/>
              <a:gd name="connsiteY38" fmla="*/ 789993 h 800100"/>
              <a:gd name="connsiteX39" fmla="*/ 2104469 w 2114552"/>
              <a:gd name="connsiteY39" fmla="*/ 778697 h 800100"/>
              <a:gd name="connsiteX40" fmla="*/ 2108493 w 2114552"/>
              <a:gd name="connsiteY40" fmla="*/ 763548 h 800100"/>
              <a:gd name="connsiteX41" fmla="*/ 2104397 w 2114552"/>
              <a:gd name="connsiteY41" fmla="*/ 748254 h 800100"/>
              <a:gd name="connsiteX42" fmla="*/ 2092980 w 2114552"/>
              <a:gd name="connsiteY42" fmla="*/ 736959 h 800100"/>
              <a:gd name="connsiteX43" fmla="*/ 2078001 w 2114552"/>
              <a:gd name="connsiteY43" fmla="*/ 733008 h 800100"/>
              <a:gd name="connsiteX44" fmla="*/ 2078001 w 2114552"/>
              <a:gd name="connsiteY44" fmla="*/ 726948 h 800100"/>
              <a:gd name="connsiteX45" fmla="*/ 2095985 w 2114552"/>
              <a:gd name="connsiteY45" fmla="*/ 731675 h 800100"/>
              <a:gd name="connsiteX46" fmla="*/ 2109656 w 2114552"/>
              <a:gd name="connsiteY46" fmla="*/ 745200 h 800100"/>
              <a:gd name="connsiteX47" fmla="*/ 2114552 w 2114552"/>
              <a:gd name="connsiteY47" fmla="*/ 763548 h 800100"/>
              <a:gd name="connsiteX48" fmla="*/ 2109729 w 2114552"/>
              <a:gd name="connsiteY48" fmla="*/ 781727 h 800100"/>
              <a:gd name="connsiteX49" fmla="*/ 2096204 w 2114552"/>
              <a:gd name="connsiteY49" fmla="*/ 795277 h 800100"/>
              <a:gd name="connsiteX50" fmla="*/ 2078001 w 2114552"/>
              <a:gd name="connsiteY50" fmla="*/ 800100 h 800100"/>
              <a:gd name="connsiteX51" fmla="*/ 2059797 w 2114552"/>
              <a:gd name="connsiteY51" fmla="*/ 795277 h 800100"/>
              <a:gd name="connsiteX52" fmla="*/ 2046248 w 2114552"/>
              <a:gd name="connsiteY52" fmla="*/ 781727 h 800100"/>
              <a:gd name="connsiteX53" fmla="*/ 2041400 w 2114552"/>
              <a:gd name="connsiteY53" fmla="*/ 763548 h 800100"/>
              <a:gd name="connsiteX54" fmla="*/ 2046321 w 2114552"/>
              <a:gd name="connsiteY54" fmla="*/ 745200 h 800100"/>
              <a:gd name="connsiteX55" fmla="*/ 2060016 w 2114552"/>
              <a:gd name="connsiteY55" fmla="*/ 731675 h 800100"/>
              <a:gd name="connsiteX56" fmla="*/ 2078001 w 2114552"/>
              <a:gd name="connsiteY56" fmla="*/ 726948 h 800100"/>
              <a:gd name="connsiteX57" fmla="*/ 1058070 w 2114552"/>
              <a:gd name="connsiteY57" fmla="*/ 692149 h 800100"/>
              <a:gd name="connsiteX58" fmla="*/ 1020763 w 2114552"/>
              <a:gd name="connsiteY58" fmla="*/ 739774 h 800100"/>
              <a:gd name="connsiteX59" fmla="*/ 1058070 w 2114552"/>
              <a:gd name="connsiteY59" fmla="*/ 787399 h 800100"/>
              <a:gd name="connsiteX60" fmla="*/ 1095377 w 2114552"/>
              <a:gd name="connsiteY60" fmla="*/ 739774 h 800100"/>
              <a:gd name="connsiteX61" fmla="*/ 1058070 w 2114552"/>
              <a:gd name="connsiteY61" fmla="*/ 692149 h 800100"/>
              <a:gd name="connsiteX62" fmla="*/ 692151 w 2114552"/>
              <a:gd name="connsiteY62" fmla="*/ 692149 h 800100"/>
              <a:gd name="connsiteX63" fmla="*/ 658813 w 2114552"/>
              <a:gd name="connsiteY63" fmla="*/ 739774 h 800100"/>
              <a:gd name="connsiteX64" fmla="*/ 692151 w 2114552"/>
              <a:gd name="connsiteY64" fmla="*/ 787399 h 800100"/>
              <a:gd name="connsiteX65" fmla="*/ 725489 w 2114552"/>
              <a:gd name="connsiteY65" fmla="*/ 739774 h 800100"/>
              <a:gd name="connsiteX66" fmla="*/ 692151 w 2114552"/>
              <a:gd name="connsiteY66" fmla="*/ 692149 h 800100"/>
              <a:gd name="connsiteX67" fmla="*/ 323056 w 2114552"/>
              <a:gd name="connsiteY67" fmla="*/ 692149 h 800100"/>
              <a:gd name="connsiteX68" fmla="*/ 285749 w 2114552"/>
              <a:gd name="connsiteY68" fmla="*/ 739774 h 800100"/>
              <a:gd name="connsiteX69" fmla="*/ 323056 w 2114552"/>
              <a:gd name="connsiteY69" fmla="*/ 787399 h 800100"/>
              <a:gd name="connsiteX70" fmla="*/ 360363 w 2114552"/>
              <a:gd name="connsiteY70" fmla="*/ 739774 h 800100"/>
              <a:gd name="connsiteX71" fmla="*/ 323056 w 2114552"/>
              <a:gd name="connsiteY71" fmla="*/ 692149 h 800100"/>
              <a:gd name="connsiteX72" fmla="*/ 966943 w 2114552"/>
              <a:gd name="connsiteY72" fmla="*/ 685949 h 800100"/>
              <a:gd name="connsiteX73" fmla="*/ 981464 w 2114552"/>
              <a:gd name="connsiteY73" fmla="*/ 685949 h 800100"/>
              <a:gd name="connsiteX74" fmla="*/ 981464 w 2114552"/>
              <a:gd name="connsiteY74" fmla="*/ 799333 h 800100"/>
              <a:gd name="connsiteX75" fmla="*/ 966943 w 2114552"/>
              <a:gd name="connsiteY75" fmla="*/ 799333 h 800100"/>
              <a:gd name="connsiteX76" fmla="*/ 1136650 w 2114552"/>
              <a:gd name="connsiteY76" fmla="*/ 684212 h 800100"/>
              <a:gd name="connsiteX77" fmla="*/ 1148897 w 2114552"/>
              <a:gd name="connsiteY77" fmla="*/ 684212 h 800100"/>
              <a:gd name="connsiteX78" fmla="*/ 1148897 w 2114552"/>
              <a:gd name="connsiteY78" fmla="*/ 704791 h 800100"/>
              <a:gd name="connsiteX79" fmla="*/ 1185636 w 2114552"/>
              <a:gd name="connsiteY79" fmla="*/ 684212 h 800100"/>
              <a:gd name="connsiteX80" fmla="*/ 1222375 w 2114552"/>
              <a:gd name="connsiteY80" fmla="*/ 725369 h 800100"/>
              <a:gd name="connsiteX81" fmla="*/ 1222375 w 2114552"/>
              <a:gd name="connsiteY81" fmla="*/ 795337 h 800100"/>
              <a:gd name="connsiteX82" fmla="*/ 1210129 w 2114552"/>
              <a:gd name="connsiteY82" fmla="*/ 795337 h 800100"/>
              <a:gd name="connsiteX83" fmla="*/ 1210129 w 2114552"/>
              <a:gd name="connsiteY83" fmla="*/ 729485 h 800100"/>
              <a:gd name="connsiteX84" fmla="*/ 1185636 w 2114552"/>
              <a:gd name="connsiteY84" fmla="*/ 692443 h 800100"/>
              <a:gd name="connsiteX85" fmla="*/ 1152979 w 2114552"/>
              <a:gd name="connsiteY85" fmla="*/ 733601 h 800100"/>
              <a:gd name="connsiteX86" fmla="*/ 1152979 w 2114552"/>
              <a:gd name="connsiteY86" fmla="*/ 795337 h 800100"/>
              <a:gd name="connsiteX87" fmla="*/ 1136650 w 2114552"/>
              <a:gd name="connsiteY87" fmla="*/ 795337 h 800100"/>
              <a:gd name="connsiteX88" fmla="*/ 1136650 w 2114552"/>
              <a:gd name="connsiteY88" fmla="*/ 713022 h 800100"/>
              <a:gd name="connsiteX89" fmla="*/ 1136650 w 2114552"/>
              <a:gd name="connsiteY89" fmla="*/ 684212 h 800100"/>
              <a:gd name="connsiteX90" fmla="*/ 1054894 w 2114552"/>
              <a:gd name="connsiteY90" fmla="*/ 684212 h 800100"/>
              <a:gd name="connsiteX91" fmla="*/ 1106488 w 2114552"/>
              <a:gd name="connsiteY91" fmla="*/ 742156 h 800100"/>
              <a:gd name="connsiteX92" fmla="*/ 1054894 w 2114552"/>
              <a:gd name="connsiteY92" fmla="*/ 800100 h 800100"/>
              <a:gd name="connsiteX93" fmla="*/ 1003300 w 2114552"/>
              <a:gd name="connsiteY93" fmla="*/ 742156 h 800100"/>
              <a:gd name="connsiteX94" fmla="*/ 1054894 w 2114552"/>
              <a:gd name="connsiteY94" fmla="*/ 684212 h 800100"/>
              <a:gd name="connsiteX95" fmla="*/ 812499 w 2114552"/>
              <a:gd name="connsiteY95" fmla="*/ 684212 h 800100"/>
              <a:gd name="connsiteX96" fmla="*/ 854076 w 2114552"/>
              <a:gd name="connsiteY96" fmla="*/ 725601 h 800100"/>
              <a:gd name="connsiteX97" fmla="*/ 854076 w 2114552"/>
              <a:gd name="connsiteY97" fmla="*/ 775267 h 800100"/>
              <a:gd name="connsiteX98" fmla="*/ 854076 w 2114552"/>
              <a:gd name="connsiteY98" fmla="*/ 795961 h 800100"/>
              <a:gd name="connsiteX99" fmla="*/ 841603 w 2114552"/>
              <a:gd name="connsiteY99" fmla="*/ 795961 h 800100"/>
              <a:gd name="connsiteX100" fmla="*/ 841603 w 2114552"/>
              <a:gd name="connsiteY100" fmla="*/ 779406 h 800100"/>
              <a:gd name="connsiteX101" fmla="*/ 837445 w 2114552"/>
              <a:gd name="connsiteY101" fmla="*/ 779406 h 800100"/>
              <a:gd name="connsiteX102" fmla="*/ 804183 w 2114552"/>
              <a:gd name="connsiteY102" fmla="*/ 800100 h 800100"/>
              <a:gd name="connsiteX103" fmla="*/ 766763 w 2114552"/>
              <a:gd name="connsiteY103" fmla="*/ 766989 h 800100"/>
              <a:gd name="connsiteX104" fmla="*/ 837445 w 2114552"/>
              <a:gd name="connsiteY104" fmla="*/ 729739 h 800100"/>
              <a:gd name="connsiteX105" fmla="*/ 837445 w 2114552"/>
              <a:gd name="connsiteY105" fmla="*/ 721462 h 800100"/>
              <a:gd name="connsiteX106" fmla="*/ 812499 w 2114552"/>
              <a:gd name="connsiteY106" fmla="*/ 692490 h 800100"/>
              <a:gd name="connsiteX107" fmla="*/ 779236 w 2114552"/>
              <a:gd name="connsiteY107" fmla="*/ 704906 h 800100"/>
              <a:gd name="connsiteX108" fmla="*/ 779236 w 2114552"/>
              <a:gd name="connsiteY108" fmla="*/ 688351 h 800100"/>
              <a:gd name="connsiteX109" fmla="*/ 812499 w 2114552"/>
              <a:gd name="connsiteY109" fmla="*/ 684212 h 800100"/>
              <a:gd name="connsiteX110" fmla="*/ 527050 w 2114552"/>
              <a:gd name="connsiteY110" fmla="*/ 684212 h 800100"/>
              <a:gd name="connsiteX111" fmla="*/ 539523 w 2114552"/>
              <a:gd name="connsiteY111" fmla="*/ 684212 h 800100"/>
              <a:gd name="connsiteX112" fmla="*/ 539523 w 2114552"/>
              <a:gd name="connsiteY112" fmla="*/ 704791 h 800100"/>
              <a:gd name="connsiteX113" fmla="*/ 576943 w 2114552"/>
              <a:gd name="connsiteY113" fmla="*/ 684212 h 800100"/>
              <a:gd name="connsiteX114" fmla="*/ 614363 w 2114552"/>
              <a:gd name="connsiteY114" fmla="*/ 725369 h 800100"/>
              <a:gd name="connsiteX115" fmla="*/ 614363 w 2114552"/>
              <a:gd name="connsiteY115" fmla="*/ 795337 h 800100"/>
              <a:gd name="connsiteX116" fmla="*/ 601890 w 2114552"/>
              <a:gd name="connsiteY116" fmla="*/ 795337 h 800100"/>
              <a:gd name="connsiteX117" fmla="*/ 601890 w 2114552"/>
              <a:gd name="connsiteY117" fmla="*/ 729485 h 800100"/>
              <a:gd name="connsiteX118" fmla="*/ 576943 w 2114552"/>
              <a:gd name="connsiteY118" fmla="*/ 692443 h 800100"/>
              <a:gd name="connsiteX119" fmla="*/ 543681 w 2114552"/>
              <a:gd name="connsiteY119" fmla="*/ 733601 h 800100"/>
              <a:gd name="connsiteX120" fmla="*/ 543681 w 2114552"/>
              <a:gd name="connsiteY120" fmla="*/ 795337 h 800100"/>
              <a:gd name="connsiteX121" fmla="*/ 527050 w 2114552"/>
              <a:gd name="connsiteY121" fmla="*/ 795337 h 800100"/>
              <a:gd name="connsiteX122" fmla="*/ 527050 w 2114552"/>
              <a:gd name="connsiteY122" fmla="*/ 713022 h 800100"/>
              <a:gd name="connsiteX123" fmla="*/ 527050 w 2114552"/>
              <a:gd name="connsiteY123" fmla="*/ 684212 h 800100"/>
              <a:gd name="connsiteX124" fmla="*/ 406400 w 2114552"/>
              <a:gd name="connsiteY124" fmla="*/ 684212 h 800100"/>
              <a:gd name="connsiteX125" fmla="*/ 418873 w 2114552"/>
              <a:gd name="connsiteY125" fmla="*/ 684212 h 800100"/>
              <a:gd name="connsiteX126" fmla="*/ 418873 w 2114552"/>
              <a:gd name="connsiteY126" fmla="*/ 754573 h 800100"/>
              <a:gd name="connsiteX127" fmla="*/ 443820 w 2114552"/>
              <a:gd name="connsiteY127" fmla="*/ 787683 h 800100"/>
              <a:gd name="connsiteX128" fmla="*/ 477082 w 2114552"/>
              <a:gd name="connsiteY128" fmla="*/ 746295 h 800100"/>
              <a:gd name="connsiteX129" fmla="*/ 477082 w 2114552"/>
              <a:gd name="connsiteY129" fmla="*/ 684212 h 800100"/>
              <a:gd name="connsiteX130" fmla="*/ 493713 w 2114552"/>
              <a:gd name="connsiteY130" fmla="*/ 684212 h 800100"/>
              <a:gd name="connsiteX131" fmla="*/ 493713 w 2114552"/>
              <a:gd name="connsiteY131" fmla="*/ 771128 h 800100"/>
              <a:gd name="connsiteX132" fmla="*/ 493713 w 2114552"/>
              <a:gd name="connsiteY132" fmla="*/ 795961 h 800100"/>
              <a:gd name="connsiteX133" fmla="*/ 481240 w 2114552"/>
              <a:gd name="connsiteY133" fmla="*/ 795961 h 800100"/>
              <a:gd name="connsiteX134" fmla="*/ 481240 w 2114552"/>
              <a:gd name="connsiteY134" fmla="*/ 779406 h 800100"/>
              <a:gd name="connsiteX135" fmla="*/ 443820 w 2114552"/>
              <a:gd name="connsiteY135" fmla="*/ 800100 h 800100"/>
              <a:gd name="connsiteX136" fmla="*/ 406400 w 2114552"/>
              <a:gd name="connsiteY136" fmla="*/ 758711 h 800100"/>
              <a:gd name="connsiteX137" fmla="*/ 406400 w 2114552"/>
              <a:gd name="connsiteY137" fmla="*/ 684212 h 800100"/>
              <a:gd name="connsiteX138" fmla="*/ 325437 w 2114552"/>
              <a:gd name="connsiteY138" fmla="*/ 684212 h 800100"/>
              <a:gd name="connsiteX139" fmla="*/ 377825 w 2114552"/>
              <a:gd name="connsiteY139" fmla="*/ 742156 h 800100"/>
              <a:gd name="connsiteX140" fmla="*/ 325437 w 2114552"/>
              <a:gd name="connsiteY140" fmla="*/ 800100 h 800100"/>
              <a:gd name="connsiteX141" fmla="*/ 273049 w 2114552"/>
              <a:gd name="connsiteY141" fmla="*/ 742156 h 800100"/>
              <a:gd name="connsiteX142" fmla="*/ 325437 w 2114552"/>
              <a:gd name="connsiteY142" fmla="*/ 684212 h 800100"/>
              <a:gd name="connsiteX143" fmla="*/ 1724027 w 2114552"/>
              <a:gd name="connsiteY143" fmla="*/ 666750 h 800100"/>
              <a:gd name="connsiteX144" fmla="*/ 1720852 w 2114552"/>
              <a:gd name="connsiteY144" fmla="*/ 679450 h 800100"/>
              <a:gd name="connsiteX145" fmla="*/ 1716089 w 2114552"/>
              <a:gd name="connsiteY145" fmla="*/ 687388 h 800100"/>
              <a:gd name="connsiteX146" fmla="*/ 1733552 w 2114552"/>
              <a:gd name="connsiteY146" fmla="*/ 687388 h 800100"/>
              <a:gd name="connsiteX147" fmla="*/ 1728789 w 2114552"/>
              <a:gd name="connsiteY147" fmla="*/ 679450 h 800100"/>
              <a:gd name="connsiteX148" fmla="*/ 1728922 w 2114552"/>
              <a:gd name="connsiteY148" fmla="*/ 654050 h 800100"/>
              <a:gd name="connsiteX149" fmla="*/ 1728922 w 2114552"/>
              <a:gd name="connsiteY149" fmla="*/ 658202 h 800100"/>
              <a:gd name="connsiteX150" fmla="*/ 1737124 w 2114552"/>
              <a:gd name="connsiteY150" fmla="*/ 678962 h 800100"/>
              <a:gd name="connsiteX151" fmla="*/ 1749427 w 2114552"/>
              <a:gd name="connsiteY151" fmla="*/ 703873 h 800100"/>
              <a:gd name="connsiteX152" fmla="*/ 1737124 w 2114552"/>
              <a:gd name="connsiteY152" fmla="*/ 703873 h 800100"/>
              <a:gd name="connsiteX153" fmla="*/ 1737124 w 2114552"/>
              <a:gd name="connsiteY153" fmla="*/ 695569 h 800100"/>
              <a:gd name="connsiteX154" fmla="*/ 1712517 w 2114552"/>
              <a:gd name="connsiteY154" fmla="*/ 695569 h 800100"/>
              <a:gd name="connsiteX155" fmla="*/ 1712517 w 2114552"/>
              <a:gd name="connsiteY155" fmla="*/ 708025 h 800100"/>
              <a:gd name="connsiteX156" fmla="*/ 1700214 w 2114552"/>
              <a:gd name="connsiteY156" fmla="*/ 703873 h 800100"/>
              <a:gd name="connsiteX157" fmla="*/ 1712517 w 2114552"/>
              <a:gd name="connsiteY157" fmla="*/ 678962 h 800100"/>
              <a:gd name="connsiteX158" fmla="*/ 1716618 w 2114552"/>
              <a:gd name="connsiteY158" fmla="*/ 658202 h 800100"/>
              <a:gd name="connsiteX159" fmla="*/ 1728922 w 2114552"/>
              <a:gd name="connsiteY159" fmla="*/ 654050 h 800100"/>
              <a:gd name="connsiteX160" fmla="*/ 907733 w 2114552"/>
              <a:gd name="connsiteY160" fmla="*/ 654049 h 800100"/>
              <a:gd name="connsiteX161" fmla="*/ 907733 w 2114552"/>
              <a:gd name="connsiteY161" fmla="*/ 683259 h 800100"/>
              <a:gd name="connsiteX162" fmla="*/ 932498 w 2114552"/>
              <a:gd name="connsiteY162" fmla="*/ 683259 h 800100"/>
              <a:gd name="connsiteX163" fmla="*/ 932498 w 2114552"/>
              <a:gd name="connsiteY163" fmla="*/ 695778 h 800100"/>
              <a:gd name="connsiteX164" fmla="*/ 907733 w 2114552"/>
              <a:gd name="connsiteY164" fmla="*/ 695778 h 800100"/>
              <a:gd name="connsiteX165" fmla="*/ 907733 w 2114552"/>
              <a:gd name="connsiteY165" fmla="*/ 770889 h 800100"/>
              <a:gd name="connsiteX166" fmla="*/ 924243 w 2114552"/>
              <a:gd name="connsiteY166" fmla="*/ 787580 h 800100"/>
              <a:gd name="connsiteX167" fmla="*/ 936626 w 2114552"/>
              <a:gd name="connsiteY167" fmla="*/ 783408 h 800100"/>
              <a:gd name="connsiteX168" fmla="*/ 936626 w 2114552"/>
              <a:gd name="connsiteY168" fmla="*/ 795926 h 800100"/>
              <a:gd name="connsiteX169" fmla="*/ 920116 w 2114552"/>
              <a:gd name="connsiteY169" fmla="*/ 800099 h 800100"/>
              <a:gd name="connsiteX170" fmla="*/ 895351 w 2114552"/>
              <a:gd name="connsiteY170" fmla="*/ 762543 h 800100"/>
              <a:gd name="connsiteX171" fmla="*/ 895351 w 2114552"/>
              <a:gd name="connsiteY171" fmla="*/ 695778 h 800100"/>
              <a:gd name="connsiteX172" fmla="*/ 874713 w 2114552"/>
              <a:gd name="connsiteY172" fmla="*/ 695778 h 800100"/>
              <a:gd name="connsiteX173" fmla="*/ 874713 w 2114552"/>
              <a:gd name="connsiteY173" fmla="*/ 683259 h 800100"/>
              <a:gd name="connsiteX174" fmla="*/ 895351 w 2114552"/>
              <a:gd name="connsiteY174" fmla="*/ 683259 h 800100"/>
              <a:gd name="connsiteX175" fmla="*/ 895351 w 2114552"/>
              <a:gd name="connsiteY175" fmla="*/ 658222 h 800100"/>
              <a:gd name="connsiteX176" fmla="*/ 907733 w 2114552"/>
              <a:gd name="connsiteY176" fmla="*/ 654049 h 800100"/>
              <a:gd name="connsiteX177" fmla="*/ 1658542 w 2114552"/>
              <a:gd name="connsiteY177" fmla="*/ 650875 h 800100"/>
              <a:gd name="connsiteX178" fmla="*/ 1666745 w 2114552"/>
              <a:gd name="connsiteY178" fmla="*/ 650875 h 800100"/>
              <a:gd name="connsiteX179" fmla="*/ 1683149 w 2114552"/>
              <a:gd name="connsiteY179" fmla="*/ 688242 h 800100"/>
              <a:gd name="connsiteX180" fmla="*/ 1687250 w 2114552"/>
              <a:gd name="connsiteY180" fmla="*/ 655027 h 800100"/>
              <a:gd name="connsiteX181" fmla="*/ 1695452 w 2114552"/>
              <a:gd name="connsiteY181" fmla="*/ 655027 h 800100"/>
              <a:gd name="connsiteX182" fmla="*/ 1687250 w 2114552"/>
              <a:gd name="connsiteY182" fmla="*/ 704850 h 800100"/>
              <a:gd name="connsiteX183" fmla="*/ 1679048 w 2114552"/>
              <a:gd name="connsiteY183" fmla="*/ 704850 h 800100"/>
              <a:gd name="connsiteX184" fmla="*/ 1662643 w 2114552"/>
              <a:gd name="connsiteY184" fmla="*/ 671635 h 800100"/>
              <a:gd name="connsiteX185" fmla="*/ 1658542 w 2114552"/>
              <a:gd name="connsiteY185" fmla="*/ 700698 h 800100"/>
              <a:gd name="connsiteX186" fmla="*/ 1646239 w 2114552"/>
              <a:gd name="connsiteY186" fmla="*/ 700698 h 800100"/>
              <a:gd name="connsiteX187" fmla="*/ 1658542 w 2114552"/>
              <a:gd name="connsiteY187" fmla="*/ 650875 h 800100"/>
              <a:gd name="connsiteX188" fmla="*/ 1787526 w 2114552"/>
              <a:gd name="connsiteY188" fmla="*/ 646113 h 800100"/>
              <a:gd name="connsiteX189" fmla="*/ 1787526 w 2114552"/>
              <a:gd name="connsiteY189" fmla="*/ 654504 h 800100"/>
              <a:gd name="connsiteX190" fmla="*/ 1771016 w 2114552"/>
              <a:gd name="connsiteY190" fmla="*/ 658700 h 800100"/>
              <a:gd name="connsiteX191" fmla="*/ 1779271 w 2114552"/>
              <a:gd name="connsiteY191" fmla="*/ 700655 h 800100"/>
              <a:gd name="connsiteX192" fmla="*/ 1771016 w 2114552"/>
              <a:gd name="connsiteY192" fmla="*/ 704851 h 800100"/>
              <a:gd name="connsiteX193" fmla="*/ 1762761 w 2114552"/>
              <a:gd name="connsiteY193" fmla="*/ 662895 h 800100"/>
              <a:gd name="connsiteX194" fmla="*/ 1746251 w 2114552"/>
              <a:gd name="connsiteY194" fmla="*/ 662895 h 800100"/>
              <a:gd name="connsiteX195" fmla="*/ 1746251 w 2114552"/>
              <a:gd name="connsiteY195" fmla="*/ 654504 h 800100"/>
              <a:gd name="connsiteX196" fmla="*/ 1787526 w 2114552"/>
              <a:gd name="connsiteY196" fmla="*/ 646113 h 800100"/>
              <a:gd name="connsiteX197" fmla="*/ 1617029 w 2114552"/>
              <a:gd name="connsiteY197" fmla="*/ 646113 h 800100"/>
              <a:gd name="connsiteX198" fmla="*/ 1617029 w 2114552"/>
              <a:gd name="connsiteY198" fmla="*/ 654051 h 800100"/>
              <a:gd name="connsiteX199" fmla="*/ 1612901 w 2114552"/>
              <a:gd name="connsiteY199" fmla="*/ 658019 h 800100"/>
              <a:gd name="connsiteX200" fmla="*/ 1625284 w 2114552"/>
              <a:gd name="connsiteY200" fmla="*/ 661988 h 800100"/>
              <a:gd name="connsiteX201" fmla="*/ 1633539 w 2114552"/>
              <a:gd name="connsiteY201" fmla="*/ 658019 h 800100"/>
              <a:gd name="connsiteX202" fmla="*/ 1633539 w 2114552"/>
              <a:gd name="connsiteY202" fmla="*/ 654051 h 800100"/>
              <a:gd name="connsiteX203" fmla="*/ 1629412 w 2114552"/>
              <a:gd name="connsiteY203" fmla="*/ 650082 h 800100"/>
              <a:gd name="connsiteX204" fmla="*/ 1617029 w 2114552"/>
              <a:gd name="connsiteY204" fmla="*/ 646113 h 800100"/>
              <a:gd name="connsiteX205" fmla="*/ 966943 w 2114552"/>
              <a:gd name="connsiteY205" fmla="*/ 643885 h 800100"/>
              <a:gd name="connsiteX206" fmla="*/ 981464 w 2114552"/>
              <a:gd name="connsiteY206" fmla="*/ 643885 h 800100"/>
              <a:gd name="connsiteX207" fmla="*/ 981464 w 2114552"/>
              <a:gd name="connsiteY207" fmla="*/ 660066 h 800100"/>
              <a:gd name="connsiteX208" fmla="*/ 966943 w 2114552"/>
              <a:gd name="connsiteY208" fmla="*/ 660066 h 800100"/>
              <a:gd name="connsiteX209" fmla="*/ 1795464 w 2114552"/>
              <a:gd name="connsiteY209" fmla="*/ 641350 h 800100"/>
              <a:gd name="connsiteX210" fmla="*/ 1807711 w 2114552"/>
              <a:gd name="connsiteY210" fmla="*/ 641350 h 800100"/>
              <a:gd name="connsiteX211" fmla="*/ 1824039 w 2114552"/>
              <a:gd name="connsiteY211" fmla="*/ 687917 h 800100"/>
              <a:gd name="connsiteX212" fmla="*/ 1811793 w 2114552"/>
              <a:gd name="connsiteY212" fmla="*/ 692150 h 800100"/>
              <a:gd name="connsiteX213" fmla="*/ 1795464 w 2114552"/>
              <a:gd name="connsiteY213" fmla="*/ 641350 h 800100"/>
              <a:gd name="connsiteX214" fmla="*/ 177800 w 2114552"/>
              <a:gd name="connsiteY214" fmla="*/ 641349 h 800100"/>
              <a:gd name="connsiteX215" fmla="*/ 252413 w 2114552"/>
              <a:gd name="connsiteY215" fmla="*/ 641349 h 800100"/>
              <a:gd name="connsiteX216" fmla="*/ 252413 w 2114552"/>
              <a:gd name="connsiteY216" fmla="*/ 654049 h 800100"/>
              <a:gd name="connsiteX217" fmla="*/ 195262 w 2114552"/>
              <a:gd name="connsiteY217" fmla="*/ 654049 h 800100"/>
              <a:gd name="connsiteX218" fmla="*/ 195262 w 2114552"/>
              <a:gd name="connsiteY218" fmla="*/ 712787 h 800100"/>
              <a:gd name="connsiteX219" fmla="*/ 249238 w 2114552"/>
              <a:gd name="connsiteY219" fmla="*/ 712787 h 800100"/>
              <a:gd name="connsiteX220" fmla="*/ 249238 w 2114552"/>
              <a:gd name="connsiteY220" fmla="*/ 725487 h 800100"/>
              <a:gd name="connsiteX221" fmla="*/ 195262 w 2114552"/>
              <a:gd name="connsiteY221" fmla="*/ 725487 h 800100"/>
              <a:gd name="connsiteX222" fmla="*/ 195262 w 2114552"/>
              <a:gd name="connsiteY222" fmla="*/ 795337 h 800100"/>
              <a:gd name="connsiteX223" fmla="*/ 177800 w 2114552"/>
              <a:gd name="connsiteY223" fmla="*/ 795337 h 800100"/>
              <a:gd name="connsiteX224" fmla="*/ 1612770 w 2114552"/>
              <a:gd name="connsiteY224" fmla="*/ 633413 h 800100"/>
              <a:gd name="connsiteX225" fmla="*/ 1633275 w 2114552"/>
              <a:gd name="connsiteY225" fmla="*/ 641668 h 800100"/>
              <a:gd name="connsiteX226" fmla="*/ 1641477 w 2114552"/>
              <a:gd name="connsiteY226" fmla="*/ 654051 h 800100"/>
              <a:gd name="connsiteX227" fmla="*/ 1641477 w 2114552"/>
              <a:gd name="connsiteY227" fmla="*/ 658178 h 800100"/>
              <a:gd name="connsiteX228" fmla="*/ 1629174 w 2114552"/>
              <a:gd name="connsiteY228" fmla="*/ 670561 h 800100"/>
              <a:gd name="connsiteX229" fmla="*/ 1633275 w 2114552"/>
              <a:gd name="connsiteY229" fmla="*/ 695326 h 800100"/>
              <a:gd name="connsiteX230" fmla="*/ 1620972 w 2114552"/>
              <a:gd name="connsiteY230" fmla="*/ 691198 h 800100"/>
              <a:gd name="connsiteX231" fmla="*/ 1620972 w 2114552"/>
              <a:gd name="connsiteY231" fmla="*/ 670561 h 800100"/>
              <a:gd name="connsiteX232" fmla="*/ 1608668 w 2114552"/>
              <a:gd name="connsiteY232" fmla="*/ 666433 h 800100"/>
              <a:gd name="connsiteX233" fmla="*/ 1604567 w 2114552"/>
              <a:gd name="connsiteY233" fmla="*/ 682943 h 800100"/>
              <a:gd name="connsiteX234" fmla="*/ 1592264 w 2114552"/>
              <a:gd name="connsiteY234" fmla="*/ 678816 h 800100"/>
              <a:gd name="connsiteX235" fmla="*/ 1604567 w 2114552"/>
              <a:gd name="connsiteY235" fmla="*/ 658178 h 800100"/>
              <a:gd name="connsiteX236" fmla="*/ 1604567 w 2114552"/>
              <a:gd name="connsiteY236" fmla="*/ 654051 h 800100"/>
              <a:gd name="connsiteX237" fmla="*/ 1612770 w 2114552"/>
              <a:gd name="connsiteY237" fmla="*/ 633413 h 800100"/>
              <a:gd name="connsiteX238" fmla="*/ 1855109 w 2114552"/>
              <a:gd name="connsiteY238" fmla="*/ 630214 h 800100"/>
              <a:gd name="connsiteX239" fmla="*/ 1844903 w 2114552"/>
              <a:gd name="connsiteY239" fmla="*/ 632818 h 800100"/>
              <a:gd name="connsiteX240" fmla="*/ 1836739 w 2114552"/>
              <a:gd name="connsiteY240" fmla="*/ 645320 h 800100"/>
              <a:gd name="connsiteX241" fmla="*/ 1836739 w 2114552"/>
              <a:gd name="connsiteY241" fmla="*/ 653655 h 800100"/>
              <a:gd name="connsiteX242" fmla="*/ 1840821 w 2114552"/>
              <a:gd name="connsiteY242" fmla="*/ 657822 h 800100"/>
              <a:gd name="connsiteX243" fmla="*/ 1857150 w 2114552"/>
              <a:gd name="connsiteY243" fmla="*/ 661989 h 800100"/>
              <a:gd name="connsiteX244" fmla="*/ 1861232 w 2114552"/>
              <a:gd name="connsiteY244" fmla="*/ 657822 h 800100"/>
              <a:gd name="connsiteX245" fmla="*/ 1865314 w 2114552"/>
              <a:gd name="connsiteY245" fmla="*/ 645320 h 800100"/>
              <a:gd name="connsiteX246" fmla="*/ 1865314 w 2114552"/>
              <a:gd name="connsiteY246" fmla="*/ 636986 h 800100"/>
              <a:gd name="connsiteX247" fmla="*/ 1855109 w 2114552"/>
              <a:gd name="connsiteY247" fmla="*/ 630214 h 800100"/>
              <a:gd name="connsiteX248" fmla="*/ 726110 w 2114552"/>
              <a:gd name="connsiteY248" fmla="*/ 628649 h 800100"/>
              <a:gd name="connsiteX249" fmla="*/ 742951 w 2114552"/>
              <a:gd name="connsiteY249" fmla="*/ 628649 h 800100"/>
              <a:gd name="connsiteX250" fmla="*/ 742951 w 2114552"/>
              <a:gd name="connsiteY250" fmla="*/ 795917 h 800100"/>
              <a:gd name="connsiteX251" fmla="*/ 726110 w 2114552"/>
              <a:gd name="connsiteY251" fmla="*/ 795917 h 800100"/>
              <a:gd name="connsiteX252" fmla="*/ 726110 w 2114552"/>
              <a:gd name="connsiteY252" fmla="*/ 779190 h 800100"/>
              <a:gd name="connsiteX253" fmla="*/ 692427 w 2114552"/>
              <a:gd name="connsiteY253" fmla="*/ 800099 h 800100"/>
              <a:gd name="connsiteX254" fmla="*/ 646113 w 2114552"/>
              <a:gd name="connsiteY254" fmla="*/ 741555 h 800100"/>
              <a:gd name="connsiteX255" fmla="*/ 692427 w 2114552"/>
              <a:gd name="connsiteY255" fmla="*/ 683011 h 800100"/>
              <a:gd name="connsiteX256" fmla="*/ 726110 w 2114552"/>
              <a:gd name="connsiteY256" fmla="*/ 703920 h 800100"/>
              <a:gd name="connsiteX257" fmla="*/ 726110 w 2114552"/>
              <a:gd name="connsiteY257" fmla="*/ 628649 h 800100"/>
              <a:gd name="connsiteX258" fmla="*/ 1857377 w 2114552"/>
              <a:gd name="connsiteY258" fmla="*/ 622131 h 800100"/>
              <a:gd name="connsiteX259" fmla="*/ 1874839 w 2114552"/>
              <a:gd name="connsiteY259" fmla="*/ 633868 h 800100"/>
              <a:gd name="connsiteX260" fmla="*/ 1874839 w 2114552"/>
              <a:gd name="connsiteY260" fmla="*/ 646114 h 800100"/>
              <a:gd name="connsiteX261" fmla="*/ 1874839 w 2114552"/>
              <a:gd name="connsiteY261" fmla="*/ 658360 h 800100"/>
              <a:gd name="connsiteX262" fmla="*/ 1862139 w 2114552"/>
              <a:gd name="connsiteY262" fmla="*/ 666525 h 800100"/>
              <a:gd name="connsiteX263" fmla="*/ 1828272 w 2114552"/>
              <a:gd name="connsiteY263" fmla="*/ 658360 h 800100"/>
              <a:gd name="connsiteX264" fmla="*/ 1824039 w 2114552"/>
              <a:gd name="connsiteY264" fmla="*/ 646114 h 800100"/>
              <a:gd name="connsiteX265" fmla="*/ 1836739 w 2114552"/>
              <a:gd name="connsiteY265" fmla="*/ 625703 h 800100"/>
              <a:gd name="connsiteX266" fmla="*/ 1857377 w 2114552"/>
              <a:gd name="connsiteY266" fmla="*/ 622131 h 800100"/>
              <a:gd name="connsiteX267" fmla="*/ 1571138 w 2114552"/>
              <a:gd name="connsiteY267" fmla="*/ 612775 h 800100"/>
              <a:gd name="connsiteX268" fmla="*/ 1600201 w 2114552"/>
              <a:gd name="connsiteY268" fmla="*/ 629285 h 800100"/>
              <a:gd name="connsiteX269" fmla="*/ 1596049 w 2114552"/>
              <a:gd name="connsiteY269" fmla="*/ 637540 h 800100"/>
              <a:gd name="connsiteX270" fmla="*/ 1575290 w 2114552"/>
              <a:gd name="connsiteY270" fmla="*/ 625158 h 800100"/>
              <a:gd name="connsiteX271" fmla="*/ 1571138 w 2114552"/>
              <a:gd name="connsiteY271" fmla="*/ 633413 h 800100"/>
              <a:gd name="connsiteX272" fmla="*/ 1583593 w 2114552"/>
              <a:gd name="connsiteY272" fmla="*/ 641668 h 800100"/>
              <a:gd name="connsiteX273" fmla="*/ 1579442 w 2114552"/>
              <a:gd name="connsiteY273" fmla="*/ 649923 h 800100"/>
              <a:gd name="connsiteX274" fmla="*/ 1566986 w 2114552"/>
              <a:gd name="connsiteY274" fmla="*/ 641668 h 800100"/>
              <a:gd name="connsiteX275" fmla="*/ 1558682 w 2114552"/>
              <a:gd name="connsiteY275" fmla="*/ 654050 h 800100"/>
              <a:gd name="connsiteX276" fmla="*/ 1579442 w 2114552"/>
              <a:gd name="connsiteY276" fmla="*/ 666433 h 800100"/>
              <a:gd name="connsiteX277" fmla="*/ 1575290 w 2114552"/>
              <a:gd name="connsiteY277" fmla="*/ 674688 h 800100"/>
              <a:gd name="connsiteX278" fmla="*/ 1546226 w 2114552"/>
              <a:gd name="connsiteY278" fmla="*/ 654050 h 800100"/>
              <a:gd name="connsiteX279" fmla="*/ 1571138 w 2114552"/>
              <a:gd name="connsiteY279" fmla="*/ 612775 h 800100"/>
              <a:gd name="connsiteX280" fmla="*/ 1898969 w 2114552"/>
              <a:gd name="connsiteY280" fmla="*/ 579438 h 800100"/>
              <a:gd name="connsiteX281" fmla="*/ 1931989 w 2114552"/>
              <a:gd name="connsiteY281" fmla="*/ 616943 h 800100"/>
              <a:gd name="connsiteX282" fmla="*/ 1923734 w 2114552"/>
              <a:gd name="connsiteY282" fmla="*/ 625277 h 800100"/>
              <a:gd name="connsiteX283" fmla="*/ 1890714 w 2114552"/>
              <a:gd name="connsiteY283" fmla="*/ 612776 h 800100"/>
              <a:gd name="connsiteX284" fmla="*/ 1907224 w 2114552"/>
              <a:gd name="connsiteY284" fmla="*/ 637779 h 800100"/>
              <a:gd name="connsiteX285" fmla="*/ 1898969 w 2114552"/>
              <a:gd name="connsiteY285" fmla="*/ 646113 h 800100"/>
              <a:gd name="connsiteX286" fmla="*/ 1870076 w 2114552"/>
              <a:gd name="connsiteY286" fmla="*/ 604441 h 800100"/>
              <a:gd name="connsiteX287" fmla="*/ 1878331 w 2114552"/>
              <a:gd name="connsiteY287" fmla="*/ 600274 h 800100"/>
              <a:gd name="connsiteX288" fmla="*/ 1911351 w 2114552"/>
              <a:gd name="connsiteY288" fmla="*/ 608608 h 800100"/>
              <a:gd name="connsiteX289" fmla="*/ 1890714 w 2114552"/>
              <a:gd name="connsiteY289" fmla="*/ 587772 h 800100"/>
              <a:gd name="connsiteX290" fmla="*/ 1898969 w 2114552"/>
              <a:gd name="connsiteY290" fmla="*/ 579438 h 800100"/>
              <a:gd name="connsiteX291" fmla="*/ 1534626 w 2114552"/>
              <a:gd name="connsiteY291" fmla="*/ 579438 h 800100"/>
              <a:gd name="connsiteX292" fmla="*/ 1563689 w 2114552"/>
              <a:gd name="connsiteY292" fmla="*/ 604350 h 800100"/>
              <a:gd name="connsiteX293" fmla="*/ 1559537 w 2114552"/>
              <a:gd name="connsiteY293" fmla="*/ 612653 h 800100"/>
              <a:gd name="connsiteX294" fmla="*/ 1547081 w 2114552"/>
              <a:gd name="connsiteY294" fmla="*/ 604350 h 800100"/>
              <a:gd name="connsiteX295" fmla="*/ 1518018 w 2114552"/>
              <a:gd name="connsiteY295" fmla="*/ 633413 h 800100"/>
              <a:gd name="connsiteX296" fmla="*/ 1509714 w 2114552"/>
              <a:gd name="connsiteY296" fmla="*/ 625109 h 800100"/>
              <a:gd name="connsiteX297" fmla="*/ 1538778 w 2114552"/>
              <a:gd name="connsiteY297" fmla="*/ 596046 h 800100"/>
              <a:gd name="connsiteX298" fmla="*/ 1526322 w 2114552"/>
              <a:gd name="connsiteY298" fmla="*/ 583590 h 800100"/>
              <a:gd name="connsiteX299" fmla="*/ 1534626 w 2114552"/>
              <a:gd name="connsiteY299" fmla="*/ 579438 h 800100"/>
              <a:gd name="connsiteX300" fmla="*/ 1924051 w 2114552"/>
              <a:gd name="connsiteY300" fmla="*/ 566738 h 800100"/>
              <a:gd name="connsiteX301" fmla="*/ 1931989 w 2114552"/>
              <a:gd name="connsiteY301" fmla="*/ 579438 h 800100"/>
              <a:gd name="connsiteX302" fmla="*/ 1936751 w 2114552"/>
              <a:gd name="connsiteY302" fmla="*/ 587376 h 800100"/>
              <a:gd name="connsiteX303" fmla="*/ 1944689 w 2114552"/>
              <a:gd name="connsiteY303" fmla="*/ 579438 h 800100"/>
              <a:gd name="connsiteX304" fmla="*/ 1944689 w 2114552"/>
              <a:gd name="connsiteY304" fmla="*/ 574676 h 800100"/>
              <a:gd name="connsiteX305" fmla="*/ 1919742 w 2114552"/>
              <a:gd name="connsiteY305" fmla="*/ 558800 h 800100"/>
              <a:gd name="connsiteX306" fmla="*/ 1970089 w 2114552"/>
              <a:gd name="connsiteY306" fmla="*/ 571103 h 800100"/>
              <a:gd name="connsiteX307" fmla="*/ 1965894 w 2114552"/>
              <a:gd name="connsiteY307" fmla="*/ 579305 h 800100"/>
              <a:gd name="connsiteX308" fmla="*/ 1961698 w 2114552"/>
              <a:gd name="connsiteY308" fmla="*/ 579305 h 800100"/>
              <a:gd name="connsiteX309" fmla="*/ 1953307 w 2114552"/>
              <a:gd name="connsiteY309" fmla="*/ 579305 h 800100"/>
              <a:gd name="connsiteX310" fmla="*/ 1940720 w 2114552"/>
              <a:gd name="connsiteY310" fmla="*/ 595710 h 800100"/>
              <a:gd name="connsiteX311" fmla="*/ 1944916 w 2114552"/>
              <a:gd name="connsiteY311" fmla="*/ 603912 h 800100"/>
              <a:gd name="connsiteX312" fmla="*/ 1940720 w 2114552"/>
              <a:gd name="connsiteY312" fmla="*/ 608013 h 800100"/>
              <a:gd name="connsiteX313" fmla="*/ 1919742 w 2114552"/>
              <a:gd name="connsiteY313" fmla="*/ 579305 h 800100"/>
              <a:gd name="connsiteX314" fmla="*/ 1911351 w 2114552"/>
              <a:gd name="connsiteY314" fmla="*/ 567002 h 800100"/>
              <a:gd name="connsiteX315" fmla="*/ 1500586 w 2114552"/>
              <a:gd name="connsiteY315" fmla="*/ 541338 h 800100"/>
              <a:gd name="connsiteX316" fmla="*/ 1508920 w 2114552"/>
              <a:gd name="connsiteY316" fmla="*/ 549805 h 800100"/>
              <a:gd name="connsiteX317" fmla="*/ 1496419 w 2114552"/>
              <a:gd name="connsiteY317" fmla="*/ 583671 h 800100"/>
              <a:gd name="connsiteX318" fmla="*/ 1521422 w 2114552"/>
              <a:gd name="connsiteY318" fmla="*/ 562505 h 800100"/>
              <a:gd name="connsiteX319" fmla="*/ 1525589 w 2114552"/>
              <a:gd name="connsiteY319" fmla="*/ 570971 h 800100"/>
              <a:gd name="connsiteX320" fmla="*/ 1488084 w 2114552"/>
              <a:gd name="connsiteY320" fmla="*/ 604838 h 800100"/>
              <a:gd name="connsiteX321" fmla="*/ 1479750 w 2114552"/>
              <a:gd name="connsiteY321" fmla="*/ 596371 h 800100"/>
              <a:gd name="connsiteX322" fmla="*/ 1492252 w 2114552"/>
              <a:gd name="connsiteY322" fmla="*/ 562505 h 800100"/>
              <a:gd name="connsiteX323" fmla="*/ 1467249 w 2114552"/>
              <a:gd name="connsiteY323" fmla="*/ 579438 h 800100"/>
              <a:gd name="connsiteX324" fmla="*/ 1458914 w 2114552"/>
              <a:gd name="connsiteY324" fmla="*/ 570971 h 800100"/>
              <a:gd name="connsiteX325" fmla="*/ 1500586 w 2114552"/>
              <a:gd name="connsiteY325" fmla="*/ 541338 h 800100"/>
              <a:gd name="connsiteX326" fmla="*/ 1936752 w 2114552"/>
              <a:gd name="connsiteY326" fmla="*/ 528638 h 800100"/>
              <a:gd name="connsiteX327" fmla="*/ 1973264 w 2114552"/>
              <a:gd name="connsiteY327" fmla="*/ 550863 h 800100"/>
              <a:gd name="connsiteX328" fmla="*/ 1985965 w 2114552"/>
              <a:gd name="connsiteY328" fmla="*/ 528638 h 800100"/>
              <a:gd name="connsiteX329" fmla="*/ 1993902 w 2114552"/>
              <a:gd name="connsiteY329" fmla="*/ 533401 h 800100"/>
              <a:gd name="connsiteX330" fmla="*/ 1978027 w 2114552"/>
              <a:gd name="connsiteY330" fmla="*/ 561976 h 800100"/>
              <a:gd name="connsiteX331" fmla="*/ 1931989 w 2114552"/>
              <a:gd name="connsiteY331" fmla="*/ 538163 h 800100"/>
              <a:gd name="connsiteX332" fmla="*/ 1492829 w 2114552"/>
              <a:gd name="connsiteY332" fmla="*/ 525463 h 800100"/>
              <a:gd name="connsiteX333" fmla="*/ 1497014 w 2114552"/>
              <a:gd name="connsiteY333" fmla="*/ 533798 h 800100"/>
              <a:gd name="connsiteX334" fmla="*/ 1455161 w 2114552"/>
              <a:gd name="connsiteY334" fmla="*/ 558801 h 800100"/>
              <a:gd name="connsiteX335" fmla="*/ 1450976 w 2114552"/>
              <a:gd name="connsiteY335" fmla="*/ 550467 h 800100"/>
              <a:gd name="connsiteX336" fmla="*/ 1492829 w 2114552"/>
              <a:gd name="connsiteY336" fmla="*/ 525463 h 800100"/>
              <a:gd name="connsiteX337" fmla="*/ 1482542 w 2114552"/>
              <a:gd name="connsiteY337" fmla="*/ 485751 h 800100"/>
              <a:gd name="connsiteX338" fmla="*/ 1476320 w 2114552"/>
              <a:gd name="connsiteY338" fmla="*/ 488355 h 800100"/>
              <a:gd name="connsiteX339" fmla="*/ 1430696 w 2114552"/>
              <a:gd name="connsiteY339" fmla="*/ 500857 h 800100"/>
              <a:gd name="connsiteX340" fmla="*/ 1422401 w 2114552"/>
              <a:gd name="connsiteY340" fmla="*/ 517526 h 800100"/>
              <a:gd name="connsiteX341" fmla="*/ 1716883 w 2114552"/>
              <a:gd name="connsiteY341" fmla="*/ 717551 h 800100"/>
              <a:gd name="connsiteX342" fmla="*/ 2011364 w 2114552"/>
              <a:gd name="connsiteY342" fmla="*/ 513358 h 800100"/>
              <a:gd name="connsiteX343" fmla="*/ 2003069 w 2114552"/>
              <a:gd name="connsiteY343" fmla="*/ 500857 h 800100"/>
              <a:gd name="connsiteX344" fmla="*/ 1957445 w 2114552"/>
              <a:gd name="connsiteY344" fmla="*/ 488355 h 800100"/>
              <a:gd name="connsiteX345" fmla="*/ 1951224 w 2114552"/>
              <a:gd name="connsiteY345" fmla="*/ 485751 h 800100"/>
              <a:gd name="connsiteX346" fmla="*/ 1945002 w 2114552"/>
              <a:gd name="connsiteY346" fmla="*/ 492522 h 800100"/>
              <a:gd name="connsiteX347" fmla="*/ 1716883 w 2114552"/>
              <a:gd name="connsiteY347" fmla="*/ 646709 h 800100"/>
              <a:gd name="connsiteX348" fmla="*/ 1488763 w 2114552"/>
              <a:gd name="connsiteY348" fmla="*/ 492522 h 800100"/>
              <a:gd name="connsiteX349" fmla="*/ 1482542 w 2114552"/>
              <a:gd name="connsiteY349" fmla="*/ 485751 h 800100"/>
              <a:gd name="connsiteX350" fmla="*/ 1662749 w 2114552"/>
              <a:gd name="connsiteY350" fmla="*/ 478852 h 800100"/>
              <a:gd name="connsiteX351" fmla="*/ 1551306 w 2114552"/>
              <a:gd name="connsiteY351" fmla="*/ 533313 h 800100"/>
              <a:gd name="connsiteX352" fmla="*/ 1543051 w 2114552"/>
              <a:gd name="connsiteY352" fmla="*/ 537502 h 800100"/>
              <a:gd name="connsiteX353" fmla="*/ 1543051 w 2114552"/>
              <a:gd name="connsiteY353" fmla="*/ 541691 h 800100"/>
              <a:gd name="connsiteX354" fmla="*/ 1547179 w 2114552"/>
              <a:gd name="connsiteY354" fmla="*/ 545880 h 800100"/>
              <a:gd name="connsiteX355" fmla="*/ 1675132 w 2114552"/>
              <a:gd name="connsiteY355" fmla="*/ 621287 h 800100"/>
              <a:gd name="connsiteX356" fmla="*/ 1683387 w 2114552"/>
              <a:gd name="connsiteY356" fmla="*/ 621287 h 800100"/>
              <a:gd name="connsiteX357" fmla="*/ 1687514 w 2114552"/>
              <a:gd name="connsiteY357" fmla="*/ 608719 h 800100"/>
              <a:gd name="connsiteX358" fmla="*/ 1679259 w 2114552"/>
              <a:gd name="connsiteY358" fmla="*/ 487231 h 800100"/>
              <a:gd name="connsiteX359" fmla="*/ 1675132 w 2114552"/>
              <a:gd name="connsiteY359" fmla="*/ 478852 h 800100"/>
              <a:gd name="connsiteX360" fmla="*/ 1662749 w 2114552"/>
              <a:gd name="connsiteY360" fmla="*/ 478852 h 800100"/>
              <a:gd name="connsiteX361" fmla="*/ 1762761 w 2114552"/>
              <a:gd name="connsiteY361" fmla="*/ 474663 h 800100"/>
              <a:gd name="connsiteX362" fmla="*/ 1758634 w 2114552"/>
              <a:gd name="connsiteY362" fmla="*/ 487182 h 800100"/>
              <a:gd name="connsiteX363" fmla="*/ 1746251 w 2114552"/>
              <a:gd name="connsiteY363" fmla="*/ 608194 h 800100"/>
              <a:gd name="connsiteX364" fmla="*/ 1750379 w 2114552"/>
              <a:gd name="connsiteY364" fmla="*/ 620713 h 800100"/>
              <a:gd name="connsiteX365" fmla="*/ 1758634 w 2114552"/>
              <a:gd name="connsiteY365" fmla="*/ 620713 h 800100"/>
              <a:gd name="connsiteX366" fmla="*/ 1886587 w 2114552"/>
              <a:gd name="connsiteY366" fmla="*/ 545602 h 800100"/>
              <a:gd name="connsiteX367" fmla="*/ 1890714 w 2114552"/>
              <a:gd name="connsiteY367" fmla="*/ 537256 h 800100"/>
              <a:gd name="connsiteX368" fmla="*/ 1882459 w 2114552"/>
              <a:gd name="connsiteY368" fmla="*/ 528910 h 800100"/>
              <a:gd name="connsiteX369" fmla="*/ 1775144 w 2114552"/>
              <a:gd name="connsiteY369" fmla="*/ 474663 h 800100"/>
              <a:gd name="connsiteX370" fmla="*/ 1762761 w 2114552"/>
              <a:gd name="connsiteY370" fmla="*/ 474663 h 800100"/>
              <a:gd name="connsiteX371" fmla="*/ 725572 w 2114552"/>
              <a:gd name="connsiteY371" fmla="*/ 428624 h 800100"/>
              <a:gd name="connsiteX372" fmla="*/ 696913 w 2114552"/>
              <a:gd name="connsiteY372" fmla="*/ 457993 h 800100"/>
              <a:gd name="connsiteX373" fmla="*/ 717384 w 2114552"/>
              <a:gd name="connsiteY373" fmla="*/ 487362 h 800100"/>
              <a:gd name="connsiteX374" fmla="*/ 774701 w 2114552"/>
              <a:gd name="connsiteY374" fmla="*/ 478971 h 800100"/>
              <a:gd name="connsiteX375" fmla="*/ 774701 w 2114552"/>
              <a:gd name="connsiteY375" fmla="*/ 428624 h 800100"/>
              <a:gd name="connsiteX376" fmla="*/ 352426 w 2114552"/>
              <a:gd name="connsiteY376" fmla="*/ 346073 h 800100"/>
              <a:gd name="connsiteX377" fmla="*/ 303213 w 2114552"/>
              <a:gd name="connsiteY377" fmla="*/ 412562 h 800100"/>
              <a:gd name="connsiteX378" fmla="*/ 352426 w 2114552"/>
              <a:gd name="connsiteY378" fmla="*/ 487361 h 800100"/>
              <a:gd name="connsiteX379" fmla="*/ 401638 w 2114552"/>
              <a:gd name="connsiteY379" fmla="*/ 412562 h 800100"/>
              <a:gd name="connsiteX380" fmla="*/ 352426 w 2114552"/>
              <a:gd name="connsiteY380" fmla="*/ 346073 h 800100"/>
              <a:gd name="connsiteX381" fmla="*/ 1704770 w 2114552"/>
              <a:gd name="connsiteY381" fmla="*/ 341312 h 800100"/>
              <a:gd name="connsiteX382" fmla="*/ 1704770 w 2114552"/>
              <a:gd name="connsiteY382" fmla="*/ 353885 h 800100"/>
              <a:gd name="connsiteX383" fmla="*/ 1671639 w 2114552"/>
              <a:gd name="connsiteY383" fmla="*/ 399986 h 800100"/>
              <a:gd name="connsiteX384" fmla="*/ 1717193 w 2114552"/>
              <a:gd name="connsiteY384" fmla="*/ 446087 h 800100"/>
              <a:gd name="connsiteX385" fmla="*/ 1766889 w 2114552"/>
              <a:gd name="connsiteY385" fmla="*/ 399986 h 800100"/>
              <a:gd name="connsiteX386" fmla="*/ 1729617 w 2114552"/>
              <a:gd name="connsiteY386" fmla="*/ 353885 h 800100"/>
              <a:gd name="connsiteX387" fmla="*/ 1729617 w 2114552"/>
              <a:gd name="connsiteY387" fmla="*/ 341312 h 800100"/>
              <a:gd name="connsiteX388" fmla="*/ 1704770 w 2114552"/>
              <a:gd name="connsiteY388" fmla="*/ 341312 h 800100"/>
              <a:gd name="connsiteX389" fmla="*/ 1716883 w 2114552"/>
              <a:gd name="connsiteY389" fmla="*/ 328612 h 800100"/>
              <a:gd name="connsiteX390" fmla="*/ 1787527 w 2114552"/>
              <a:gd name="connsiteY390" fmla="*/ 400050 h 800100"/>
              <a:gd name="connsiteX391" fmla="*/ 1716883 w 2114552"/>
              <a:gd name="connsiteY391" fmla="*/ 471488 h 800100"/>
              <a:gd name="connsiteX392" fmla="*/ 1646239 w 2114552"/>
              <a:gd name="connsiteY392" fmla="*/ 400050 h 800100"/>
              <a:gd name="connsiteX393" fmla="*/ 1716883 w 2114552"/>
              <a:gd name="connsiteY393" fmla="*/ 328612 h 800100"/>
              <a:gd name="connsiteX394" fmla="*/ 1716883 w 2114552"/>
              <a:gd name="connsiteY394" fmla="*/ 320675 h 800100"/>
              <a:gd name="connsiteX395" fmla="*/ 1638301 w 2114552"/>
              <a:gd name="connsiteY395" fmla="*/ 400050 h 800100"/>
              <a:gd name="connsiteX396" fmla="*/ 1716883 w 2114552"/>
              <a:gd name="connsiteY396" fmla="*/ 479425 h 800100"/>
              <a:gd name="connsiteX397" fmla="*/ 1795465 w 2114552"/>
              <a:gd name="connsiteY397" fmla="*/ 400050 h 800100"/>
              <a:gd name="connsiteX398" fmla="*/ 1716883 w 2114552"/>
              <a:gd name="connsiteY398" fmla="*/ 320675 h 800100"/>
              <a:gd name="connsiteX399" fmla="*/ 1924004 w 2114552"/>
              <a:gd name="connsiteY399" fmla="*/ 317500 h 800100"/>
              <a:gd name="connsiteX400" fmla="*/ 1911592 w 2114552"/>
              <a:gd name="connsiteY400" fmla="*/ 321667 h 800100"/>
              <a:gd name="connsiteX401" fmla="*/ 1812301 w 2114552"/>
              <a:gd name="connsiteY401" fmla="*/ 388342 h 800100"/>
              <a:gd name="connsiteX402" fmla="*/ 1808164 w 2114552"/>
              <a:gd name="connsiteY402" fmla="*/ 400844 h 800100"/>
              <a:gd name="connsiteX403" fmla="*/ 1812301 w 2114552"/>
              <a:gd name="connsiteY403" fmla="*/ 409178 h 800100"/>
              <a:gd name="connsiteX404" fmla="*/ 1915729 w 2114552"/>
              <a:gd name="connsiteY404" fmla="*/ 480021 h 800100"/>
              <a:gd name="connsiteX405" fmla="*/ 1924004 w 2114552"/>
              <a:gd name="connsiteY405" fmla="*/ 480021 h 800100"/>
              <a:gd name="connsiteX406" fmla="*/ 1928141 w 2114552"/>
              <a:gd name="connsiteY406" fmla="*/ 471686 h 800100"/>
              <a:gd name="connsiteX407" fmla="*/ 1928141 w 2114552"/>
              <a:gd name="connsiteY407" fmla="*/ 325834 h 800100"/>
              <a:gd name="connsiteX408" fmla="*/ 1924004 w 2114552"/>
              <a:gd name="connsiteY408" fmla="*/ 317500 h 800100"/>
              <a:gd name="connsiteX409" fmla="*/ 1509762 w 2114552"/>
              <a:gd name="connsiteY409" fmla="*/ 317500 h 800100"/>
              <a:gd name="connsiteX410" fmla="*/ 1501487 w 2114552"/>
              <a:gd name="connsiteY410" fmla="*/ 325834 h 800100"/>
              <a:gd name="connsiteX411" fmla="*/ 1501487 w 2114552"/>
              <a:gd name="connsiteY411" fmla="*/ 475854 h 800100"/>
              <a:gd name="connsiteX412" fmla="*/ 1509762 w 2114552"/>
              <a:gd name="connsiteY412" fmla="*/ 480021 h 800100"/>
              <a:gd name="connsiteX413" fmla="*/ 1518036 w 2114552"/>
              <a:gd name="connsiteY413" fmla="*/ 480021 h 800100"/>
              <a:gd name="connsiteX414" fmla="*/ 1621464 w 2114552"/>
              <a:gd name="connsiteY414" fmla="*/ 409178 h 800100"/>
              <a:gd name="connsiteX415" fmla="*/ 1625601 w 2114552"/>
              <a:gd name="connsiteY415" fmla="*/ 400844 h 800100"/>
              <a:gd name="connsiteX416" fmla="*/ 1621464 w 2114552"/>
              <a:gd name="connsiteY416" fmla="*/ 388342 h 800100"/>
              <a:gd name="connsiteX417" fmla="*/ 1518036 w 2114552"/>
              <a:gd name="connsiteY417" fmla="*/ 321667 h 800100"/>
              <a:gd name="connsiteX418" fmla="*/ 1509762 w 2114552"/>
              <a:gd name="connsiteY418" fmla="*/ 317500 h 800100"/>
              <a:gd name="connsiteX419" fmla="*/ 1032821 w 2114552"/>
              <a:gd name="connsiteY419" fmla="*/ 304799 h 800100"/>
              <a:gd name="connsiteX420" fmla="*/ 1041062 w 2114552"/>
              <a:gd name="connsiteY420" fmla="*/ 304799 h 800100"/>
              <a:gd name="connsiteX421" fmla="*/ 1074028 w 2114552"/>
              <a:gd name="connsiteY421" fmla="*/ 304799 h 800100"/>
              <a:gd name="connsiteX422" fmla="*/ 1082270 w 2114552"/>
              <a:gd name="connsiteY422" fmla="*/ 308966 h 800100"/>
              <a:gd name="connsiteX423" fmla="*/ 1123477 w 2114552"/>
              <a:gd name="connsiteY423" fmla="*/ 479821 h 800100"/>
              <a:gd name="connsiteX424" fmla="*/ 1127598 w 2114552"/>
              <a:gd name="connsiteY424" fmla="*/ 479821 h 800100"/>
              <a:gd name="connsiteX425" fmla="*/ 1172926 w 2114552"/>
              <a:gd name="connsiteY425" fmla="*/ 308966 h 800100"/>
              <a:gd name="connsiteX426" fmla="*/ 1181168 w 2114552"/>
              <a:gd name="connsiteY426" fmla="*/ 304799 h 800100"/>
              <a:gd name="connsiteX427" fmla="*/ 1214134 w 2114552"/>
              <a:gd name="connsiteY427" fmla="*/ 304799 h 800100"/>
              <a:gd name="connsiteX428" fmla="*/ 1222375 w 2114552"/>
              <a:gd name="connsiteY428" fmla="*/ 304799 h 800100"/>
              <a:gd name="connsiteX429" fmla="*/ 1222375 w 2114552"/>
              <a:gd name="connsiteY429" fmla="*/ 313133 h 800100"/>
              <a:gd name="connsiteX430" fmla="*/ 1218254 w 2114552"/>
              <a:gd name="connsiteY430" fmla="*/ 338137 h 800100"/>
              <a:gd name="connsiteX431" fmla="*/ 1201771 w 2114552"/>
              <a:gd name="connsiteY431" fmla="*/ 388143 h 800100"/>
              <a:gd name="connsiteX432" fmla="*/ 1164685 w 2114552"/>
              <a:gd name="connsiteY432" fmla="*/ 542329 h 800100"/>
              <a:gd name="connsiteX433" fmla="*/ 1098753 w 2114552"/>
              <a:gd name="connsiteY433" fmla="*/ 604837 h 800100"/>
              <a:gd name="connsiteX434" fmla="*/ 1094632 w 2114552"/>
              <a:gd name="connsiteY434" fmla="*/ 604837 h 800100"/>
              <a:gd name="connsiteX435" fmla="*/ 1041062 w 2114552"/>
              <a:gd name="connsiteY435" fmla="*/ 600670 h 800100"/>
              <a:gd name="connsiteX436" fmla="*/ 1032821 w 2114552"/>
              <a:gd name="connsiteY436" fmla="*/ 592335 h 800100"/>
              <a:gd name="connsiteX437" fmla="*/ 1032821 w 2114552"/>
              <a:gd name="connsiteY437" fmla="*/ 567332 h 800100"/>
              <a:gd name="connsiteX438" fmla="*/ 1036942 w 2114552"/>
              <a:gd name="connsiteY438" fmla="*/ 563165 h 800100"/>
              <a:gd name="connsiteX439" fmla="*/ 1041062 w 2114552"/>
              <a:gd name="connsiteY439" fmla="*/ 558998 h 800100"/>
              <a:gd name="connsiteX440" fmla="*/ 1082270 w 2114552"/>
              <a:gd name="connsiteY440" fmla="*/ 563165 h 800100"/>
              <a:gd name="connsiteX441" fmla="*/ 1115236 w 2114552"/>
              <a:gd name="connsiteY441" fmla="*/ 538162 h 800100"/>
              <a:gd name="connsiteX442" fmla="*/ 1119357 w 2114552"/>
              <a:gd name="connsiteY442" fmla="*/ 529828 h 800100"/>
              <a:gd name="connsiteX443" fmla="*/ 1106994 w 2114552"/>
              <a:gd name="connsiteY443" fmla="*/ 529828 h 800100"/>
              <a:gd name="connsiteX444" fmla="*/ 1082270 w 2114552"/>
              <a:gd name="connsiteY444" fmla="*/ 504824 h 800100"/>
              <a:gd name="connsiteX445" fmla="*/ 1032821 w 2114552"/>
              <a:gd name="connsiteY445" fmla="*/ 313133 h 800100"/>
              <a:gd name="connsiteX446" fmla="*/ 1032821 w 2114552"/>
              <a:gd name="connsiteY446" fmla="*/ 304799 h 800100"/>
              <a:gd name="connsiteX447" fmla="*/ 994979 w 2114552"/>
              <a:gd name="connsiteY447" fmla="*/ 300037 h 800100"/>
              <a:gd name="connsiteX448" fmla="*/ 999140 w 2114552"/>
              <a:gd name="connsiteY448" fmla="*/ 304193 h 800100"/>
              <a:gd name="connsiteX449" fmla="*/ 1003300 w 2114552"/>
              <a:gd name="connsiteY449" fmla="*/ 308350 h 800100"/>
              <a:gd name="connsiteX450" fmla="*/ 1003300 w 2114552"/>
              <a:gd name="connsiteY450" fmla="*/ 341601 h 800100"/>
              <a:gd name="connsiteX451" fmla="*/ 994979 w 2114552"/>
              <a:gd name="connsiteY451" fmla="*/ 349913 h 800100"/>
              <a:gd name="connsiteX452" fmla="*/ 932574 w 2114552"/>
              <a:gd name="connsiteY452" fmla="*/ 374852 h 800100"/>
              <a:gd name="connsiteX453" fmla="*/ 932574 w 2114552"/>
              <a:gd name="connsiteY453" fmla="*/ 520324 h 800100"/>
              <a:gd name="connsiteX454" fmla="*/ 924254 w 2114552"/>
              <a:gd name="connsiteY454" fmla="*/ 528637 h 800100"/>
              <a:gd name="connsiteX455" fmla="*/ 890971 w 2114552"/>
              <a:gd name="connsiteY455" fmla="*/ 528637 h 800100"/>
              <a:gd name="connsiteX456" fmla="*/ 882650 w 2114552"/>
              <a:gd name="connsiteY456" fmla="*/ 520324 h 800100"/>
              <a:gd name="connsiteX457" fmla="*/ 882650 w 2114552"/>
              <a:gd name="connsiteY457" fmla="*/ 312506 h 800100"/>
              <a:gd name="connsiteX458" fmla="*/ 890971 w 2114552"/>
              <a:gd name="connsiteY458" fmla="*/ 304193 h 800100"/>
              <a:gd name="connsiteX459" fmla="*/ 924254 w 2114552"/>
              <a:gd name="connsiteY459" fmla="*/ 304193 h 800100"/>
              <a:gd name="connsiteX460" fmla="*/ 932574 w 2114552"/>
              <a:gd name="connsiteY460" fmla="*/ 312506 h 800100"/>
              <a:gd name="connsiteX461" fmla="*/ 932574 w 2114552"/>
              <a:gd name="connsiteY461" fmla="*/ 324975 h 800100"/>
              <a:gd name="connsiteX462" fmla="*/ 994979 w 2114552"/>
              <a:gd name="connsiteY462" fmla="*/ 300037 h 800100"/>
              <a:gd name="connsiteX463" fmla="*/ 750816 w 2114552"/>
              <a:gd name="connsiteY463" fmla="*/ 295274 h 800100"/>
              <a:gd name="connsiteX464" fmla="*/ 825501 w 2114552"/>
              <a:gd name="connsiteY464" fmla="*/ 374649 h 800100"/>
              <a:gd name="connsiteX465" fmla="*/ 825501 w 2114552"/>
              <a:gd name="connsiteY465" fmla="*/ 525044 h 800100"/>
              <a:gd name="connsiteX466" fmla="*/ 825501 w 2114552"/>
              <a:gd name="connsiteY466" fmla="*/ 529221 h 800100"/>
              <a:gd name="connsiteX467" fmla="*/ 817203 w 2114552"/>
              <a:gd name="connsiteY467" fmla="*/ 533399 h 800100"/>
              <a:gd name="connsiteX468" fmla="*/ 784010 w 2114552"/>
              <a:gd name="connsiteY468" fmla="*/ 516688 h 800100"/>
              <a:gd name="connsiteX469" fmla="*/ 709325 w 2114552"/>
              <a:gd name="connsiteY469" fmla="*/ 533399 h 800100"/>
              <a:gd name="connsiteX470" fmla="*/ 642938 w 2114552"/>
              <a:gd name="connsiteY470" fmla="*/ 462379 h 800100"/>
              <a:gd name="connsiteX471" fmla="*/ 717623 w 2114552"/>
              <a:gd name="connsiteY471" fmla="*/ 391360 h 800100"/>
              <a:gd name="connsiteX472" fmla="*/ 775711 w 2114552"/>
              <a:gd name="connsiteY472" fmla="*/ 387182 h 800100"/>
              <a:gd name="connsiteX473" fmla="*/ 775711 w 2114552"/>
              <a:gd name="connsiteY473" fmla="*/ 374649 h 800100"/>
              <a:gd name="connsiteX474" fmla="*/ 746667 w 2114552"/>
              <a:gd name="connsiteY474" fmla="*/ 345406 h 800100"/>
              <a:gd name="connsiteX475" fmla="*/ 667833 w 2114552"/>
              <a:gd name="connsiteY475" fmla="*/ 349583 h 800100"/>
              <a:gd name="connsiteX476" fmla="*/ 663684 w 2114552"/>
              <a:gd name="connsiteY476" fmla="*/ 349583 h 800100"/>
              <a:gd name="connsiteX477" fmla="*/ 659535 w 2114552"/>
              <a:gd name="connsiteY477" fmla="*/ 341228 h 800100"/>
              <a:gd name="connsiteX478" fmla="*/ 659535 w 2114552"/>
              <a:gd name="connsiteY478" fmla="*/ 311985 h 800100"/>
              <a:gd name="connsiteX479" fmla="*/ 667833 w 2114552"/>
              <a:gd name="connsiteY479" fmla="*/ 303629 h 800100"/>
              <a:gd name="connsiteX480" fmla="*/ 750816 w 2114552"/>
              <a:gd name="connsiteY480" fmla="*/ 295274 h 800100"/>
              <a:gd name="connsiteX481" fmla="*/ 354013 w 2114552"/>
              <a:gd name="connsiteY481" fmla="*/ 295273 h 800100"/>
              <a:gd name="connsiteX482" fmla="*/ 455613 w 2114552"/>
              <a:gd name="connsiteY482" fmla="*/ 414336 h 800100"/>
              <a:gd name="connsiteX483" fmla="*/ 354013 w 2114552"/>
              <a:gd name="connsiteY483" fmla="*/ 533399 h 800100"/>
              <a:gd name="connsiteX484" fmla="*/ 252413 w 2114552"/>
              <a:gd name="connsiteY484" fmla="*/ 414336 h 800100"/>
              <a:gd name="connsiteX485" fmla="*/ 354013 w 2114552"/>
              <a:gd name="connsiteY485" fmla="*/ 295273 h 800100"/>
              <a:gd name="connsiteX486" fmla="*/ 53975 w 2114552"/>
              <a:gd name="connsiteY486" fmla="*/ 266699 h 800100"/>
              <a:gd name="connsiteX487" fmla="*/ 53975 w 2114552"/>
              <a:gd name="connsiteY487" fmla="*/ 358774 h 800100"/>
              <a:gd name="connsiteX488" fmla="*/ 107480 w 2114552"/>
              <a:gd name="connsiteY488" fmla="*/ 358774 h 800100"/>
              <a:gd name="connsiteX489" fmla="*/ 165100 w 2114552"/>
              <a:gd name="connsiteY489" fmla="*/ 312737 h 800100"/>
              <a:gd name="connsiteX490" fmla="*/ 111595 w 2114552"/>
              <a:gd name="connsiteY490" fmla="*/ 266699 h 800100"/>
              <a:gd name="connsiteX491" fmla="*/ 91017 w 2114552"/>
              <a:gd name="connsiteY491" fmla="*/ 266699 h 800100"/>
              <a:gd name="connsiteX492" fmla="*/ 53975 w 2114552"/>
              <a:gd name="connsiteY492" fmla="*/ 266699 h 800100"/>
              <a:gd name="connsiteX493" fmla="*/ 546894 w 2114552"/>
              <a:gd name="connsiteY493" fmla="*/ 250824 h 800100"/>
              <a:gd name="connsiteX494" fmla="*/ 551050 w 2114552"/>
              <a:gd name="connsiteY494" fmla="*/ 250824 h 800100"/>
              <a:gd name="connsiteX495" fmla="*/ 555205 w 2114552"/>
              <a:gd name="connsiteY495" fmla="*/ 259135 h 800100"/>
              <a:gd name="connsiteX496" fmla="*/ 555205 w 2114552"/>
              <a:gd name="connsiteY496" fmla="*/ 304846 h 800100"/>
              <a:gd name="connsiteX497" fmla="*/ 609227 w 2114552"/>
              <a:gd name="connsiteY497" fmla="*/ 304846 h 800100"/>
              <a:gd name="connsiteX498" fmla="*/ 617538 w 2114552"/>
              <a:gd name="connsiteY498" fmla="*/ 313157 h 800100"/>
              <a:gd name="connsiteX499" fmla="*/ 617538 w 2114552"/>
              <a:gd name="connsiteY499" fmla="*/ 342245 h 800100"/>
              <a:gd name="connsiteX500" fmla="*/ 609227 w 2114552"/>
              <a:gd name="connsiteY500" fmla="*/ 350556 h 800100"/>
              <a:gd name="connsiteX501" fmla="*/ 555205 w 2114552"/>
              <a:gd name="connsiteY501" fmla="*/ 350556 h 800100"/>
              <a:gd name="connsiteX502" fmla="*/ 555205 w 2114552"/>
              <a:gd name="connsiteY502" fmla="*/ 441978 h 800100"/>
              <a:gd name="connsiteX503" fmla="*/ 580138 w 2114552"/>
              <a:gd name="connsiteY503" fmla="*/ 483533 h 800100"/>
              <a:gd name="connsiteX504" fmla="*/ 609227 w 2114552"/>
              <a:gd name="connsiteY504" fmla="*/ 483533 h 800100"/>
              <a:gd name="connsiteX505" fmla="*/ 617538 w 2114552"/>
              <a:gd name="connsiteY505" fmla="*/ 491844 h 800100"/>
              <a:gd name="connsiteX506" fmla="*/ 617538 w 2114552"/>
              <a:gd name="connsiteY506" fmla="*/ 520932 h 800100"/>
              <a:gd name="connsiteX507" fmla="*/ 609227 w 2114552"/>
              <a:gd name="connsiteY507" fmla="*/ 529244 h 800100"/>
              <a:gd name="connsiteX508" fmla="*/ 571827 w 2114552"/>
              <a:gd name="connsiteY508" fmla="*/ 533399 h 800100"/>
              <a:gd name="connsiteX509" fmla="*/ 505339 w 2114552"/>
              <a:gd name="connsiteY509" fmla="*/ 450289 h 800100"/>
              <a:gd name="connsiteX510" fmla="*/ 505339 w 2114552"/>
              <a:gd name="connsiteY510" fmla="*/ 350556 h 800100"/>
              <a:gd name="connsiteX511" fmla="*/ 484561 w 2114552"/>
              <a:gd name="connsiteY511" fmla="*/ 350556 h 800100"/>
              <a:gd name="connsiteX512" fmla="*/ 476250 w 2114552"/>
              <a:gd name="connsiteY512" fmla="*/ 342245 h 800100"/>
              <a:gd name="connsiteX513" fmla="*/ 476250 w 2114552"/>
              <a:gd name="connsiteY513" fmla="*/ 313157 h 800100"/>
              <a:gd name="connsiteX514" fmla="*/ 484561 w 2114552"/>
              <a:gd name="connsiteY514" fmla="*/ 304846 h 800100"/>
              <a:gd name="connsiteX515" fmla="*/ 505339 w 2114552"/>
              <a:gd name="connsiteY515" fmla="*/ 304846 h 800100"/>
              <a:gd name="connsiteX516" fmla="*/ 505339 w 2114552"/>
              <a:gd name="connsiteY516" fmla="*/ 267446 h 800100"/>
              <a:gd name="connsiteX517" fmla="*/ 509494 w 2114552"/>
              <a:gd name="connsiteY517" fmla="*/ 259135 h 800100"/>
              <a:gd name="connsiteX518" fmla="*/ 546894 w 2114552"/>
              <a:gd name="connsiteY518" fmla="*/ 250824 h 800100"/>
              <a:gd name="connsiteX519" fmla="*/ 103337 w 2114552"/>
              <a:gd name="connsiteY519" fmla="*/ 217487 h 800100"/>
              <a:gd name="connsiteX520" fmla="*/ 111604 w 2114552"/>
              <a:gd name="connsiteY520" fmla="*/ 217487 h 800100"/>
              <a:gd name="connsiteX521" fmla="*/ 219075 w 2114552"/>
              <a:gd name="connsiteY521" fmla="*/ 312906 h 800100"/>
              <a:gd name="connsiteX522" fmla="*/ 165340 w 2114552"/>
              <a:gd name="connsiteY522" fmla="*/ 391731 h 800100"/>
              <a:gd name="connsiteX523" fmla="*/ 219075 w 2114552"/>
              <a:gd name="connsiteY523" fmla="*/ 516191 h 800100"/>
              <a:gd name="connsiteX524" fmla="*/ 219075 w 2114552"/>
              <a:gd name="connsiteY524" fmla="*/ 524488 h 800100"/>
              <a:gd name="connsiteX525" fmla="*/ 210808 w 2114552"/>
              <a:gd name="connsiteY525" fmla="*/ 528637 h 800100"/>
              <a:gd name="connsiteX526" fmla="*/ 173607 w 2114552"/>
              <a:gd name="connsiteY526" fmla="*/ 528637 h 800100"/>
              <a:gd name="connsiteX527" fmla="*/ 165340 w 2114552"/>
              <a:gd name="connsiteY527" fmla="*/ 524488 h 800100"/>
              <a:gd name="connsiteX528" fmla="*/ 111604 w 2114552"/>
              <a:gd name="connsiteY528" fmla="*/ 408326 h 800100"/>
              <a:gd name="connsiteX529" fmla="*/ 53736 w 2114552"/>
              <a:gd name="connsiteY529" fmla="*/ 404177 h 800100"/>
              <a:gd name="connsiteX530" fmla="*/ 53736 w 2114552"/>
              <a:gd name="connsiteY530" fmla="*/ 520340 h 800100"/>
              <a:gd name="connsiteX531" fmla="*/ 45469 w 2114552"/>
              <a:gd name="connsiteY531" fmla="*/ 528637 h 800100"/>
              <a:gd name="connsiteX532" fmla="*/ 8267 w 2114552"/>
              <a:gd name="connsiteY532" fmla="*/ 528637 h 800100"/>
              <a:gd name="connsiteX533" fmla="*/ 0 w 2114552"/>
              <a:gd name="connsiteY533" fmla="*/ 520340 h 800100"/>
              <a:gd name="connsiteX534" fmla="*/ 0 w 2114552"/>
              <a:gd name="connsiteY534" fmla="*/ 229933 h 800100"/>
              <a:gd name="connsiteX535" fmla="*/ 8267 w 2114552"/>
              <a:gd name="connsiteY535" fmla="*/ 221636 h 800100"/>
              <a:gd name="connsiteX536" fmla="*/ 103337 w 2114552"/>
              <a:gd name="connsiteY536" fmla="*/ 217487 h 800100"/>
              <a:gd name="connsiteX537" fmla="*/ 1941299 w 2114552"/>
              <a:gd name="connsiteY537" fmla="*/ 180951 h 800100"/>
              <a:gd name="connsiteX538" fmla="*/ 1936665 w 2114552"/>
              <a:gd name="connsiteY538" fmla="*/ 183555 h 800100"/>
              <a:gd name="connsiteX539" fmla="*/ 1903714 w 2114552"/>
              <a:gd name="connsiteY539" fmla="*/ 221060 h 800100"/>
              <a:gd name="connsiteX540" fmla="*/ 1903714 w 2114552"/>
              <a:gd name="connsiteY540" fmla="*/ 237729 h 800100"/>
              <a:gd name="connsiteX541" fmla="*/ 1957260 w 2114552"/>
              <a:gd name="connsiteY541" fmla="*/ 450256 h 800100"/>
              <a:gd name="connsiteX542" fmla="*/ 1965498 w 2114552"/>
              <a:gd name="connsiteY542" fmla="*/ 462757 h 800100"/>
              <a:gd name="connsiteX543" fmla="*/ 2010806 w 2114552"/>
              <a:gd name="connsiteY543" fmla="*/ 475259 h 800100"/>
              <a:gd name="connsiteX544" fmla="*/ 2023163 w 2114552"/>
              <a:gd name="connsiteY544" fmla="*/ 471092 h 800100"/>
              <a:gd name="connsiteX545" fmla="*/ 1949022 w 2114552"/>
              <a:gd name="connsiteY545" fmla="*/ 187722 h 800100"/>
              <a:gd name="connsiteX546" fmla="*/ 1941299 w 2114552"/>
              <a:gd name="connsiteY546" fmla="*/ 180951 h 800100"/>
              <a:gd name="connsiteX547" fmla="*/ 1491989 w 2114552"/>
              <a:gd name="connsiteY547" fmla="*/ 180951 h 800100"/>
              <a:gd name="connsiteX548" fmla="*/ 1484185 w 2114552"/>
              <a:gd name="connsiteY548" fmla="*/ 187722 h 800100"/>
              <a:gd name="connsiteX549" fmla="*/ 1409272 w 2114552"/>
              <a:gd name="connsiteY549" fmla="*/ 471092 h 800100"/>
              <a:gd name="connsiteX550" fmla="*/ 1421758 w 2114552"/>
              <a:gd name="connsiteY550" fmla="*/ 475259 h 800100"/>
              <a:gd name="connsiteX551" fmla="*/ 1467538 w 2114552"/>
              <a:gd name="connsiteY551" fmla="*/ 462757 h 800100"/>
              <a:gd name="connsiteX552" fmla="*/ 1475862 w 2114552"/>
              <a:gd name="connsiteY552" fmla="*/ 450256 h 800100"/>
              <a:gd name="connsiteX553" fmla="*/ 1529965 w 2114552"/>
              <a:gd name="connsiteY553" fmla="*/ 237729 h 800100"/>
              <a:gd name="connsiteX554" fmla="*/ 1534127 w 2114552"/>
              <a:gd name="connsiteY554" fmla="*/ 221060 h 800100"/>
              <a:gd name="connsiteX555" fmla="*/ 1496671 w 2114552"/>
              <a:gd name="connsiteY555" fmla="*/ 183555 h 800100"/>
              <a:gd name="connsiteX556" fmla="*/ 1491989 w 2114552"/>
              <a:gd name="connsiteY556" fmla="*/ 180951 h 800100"/>
              <a:gd name="connsiteX557" fmla="*/ 1750379 w 2114552"/>
              <a:gd name="connsiteY557" fmla="*/ 174625 h 800100"/>
              <a:gd name="connsiteX558" fmla="*/ 1746251 w 2114552"/>
              <a:gd name="connsiteY558" fmla="*/ 187144 h 800100"/>
              <a:gd name="connsiteX559" fmla="*/ 1754506 w 2114552"/>
              <a:gd name="connsiteY559" fmla="*/ 308156 h 800100"/>
              <a:gd name="connsiteX560" fmla="*/ 1762761 w 2114552"/>
              <a:gd name="connsiteY560" fmla="*/ 320675 h 800100"/>
              <a:gd name="connsiteX561" fmla="*/ 1775144 w 2114552"/>
              <a:gd name="connsiteY561" fmla="*/ 320675 h 800100"/>
              <a:gd name="connsiteX562" fmla="*/ 1882459 w 2114552"/>
              <a:gd name="connsiteY562" fmla="*/ 266428 h 800100"/>
              <a:gd name="connsiteX563" fmla="*/ 1890714 w 2114552"/>
              <a:gd name="connsiteY563" fmla="*/ 258082 h 800100"/>
              <a:gd name="connsiteX564" fmla="*/ 1886587 w 2114552"/>
              <a:gd name="connsiteY564" fmla="*/ 249736 h 800100"/>
              <a:gd name="connsiteX565" fmla="*/ 1758634 w 2114552"/>
              <a:gd name="connsiteY565" fmla="*/ 174625 h 800100"/>
              <a:gd name="connsiteX566" fmla="*/ 1750379 w 2114552"/>
              <a:gd name="connsiteY566" fmla="*/ 174625 h 800100"/>
              <a:gd name="connsiteX567" fmla="*/ 1675132 w 2114552"/>
              <a:gd name="connsiteY567" fmla="*/ 174625 h 800100"/>
              <a:gd name="connsiteX568" fmla="*/ 1547179 w 2114552"/>
              <a:gd name="connsiteY568" fmla="*/ 249736 h 800100"/>
              <a:gd name="connsiteX569" fmla="*/ 1543051 w 2114552"/>
              <a:gd name="connsiteY569" fmla="*/ 258082 h 800100"/>
              <a:gd name="connsiteX570" fmla="*/ 1551306 w 2114552"/>
              <a:gd name="connsiteY570" fmla="*/ 266428 h 800100"/>
              <a:gd name="connsiteX571" fmla="*/ 1658622 w 2114552"/>
              <a:gd name="connsiteY571" fmla="*/ 320675 h 800100"/>
              <a:gd name="connsiteX572" fmla="*/ 1671004 w 2114552"/>
              <a:gd name="connsiteY572" fmla="*/ 320675 h 800100"/>
              <a:gd name="connsiteX573" fmla="*/ 1675132 w 2114552"/>
              <a:gd name="connsiteY573" fmla="*/ 312329 h 800100"/>
              <a:gd name="connsiteX574" fmla="*/ 1687514 w 2114552"/>
              <a:gd name="connsiteY574" fmla="*/ 187144 h 800100"/>
              <a:gd name="connsiteX575" fmla="*/ 1683387 w 2114552"/>
              <a:gd name="connsiteY575" fmla="*/ 174625 h 800100"/>
              <a:gd name="connsiteX576" fmla="*/ 1675132 w 2114552"/>
              <a:gd name="connsiteY576" fmla="*/ 174625 h 800100"/>
              <a:gd name="connsiteX577" fmla="*/ 1579247 w 2114552"/>
              <a:gd name="connsiteY577" fmla="*/ 133350 h 800100"/>
              <a:gd name="connsiteX578" fmla="*/ 1566864 w 2114552"/>
              <a:gd name="connsiteY578" fmla="*/ 142082 h 800100"/>
              <a:gd name="connsiteX579" fmla="*/ 1570992 w 2114552"/>
              <a:gd name="connsiteY579" fmla="*/ 142082 h 800100"/>
              <a:gd name="connsiteX580" fmla="*/ 1575119 w 2114552"/>
              <a:gd name="connsiteY580" fmla="*/ 150813 h 800100"/>
              <a:gd name="connsiteX581" fmla="*/ 1583375 w 2114552"/>
              <a:gd name="connsiteY581" fmla="*/ 146447 h 800100"/>
              <a:gd name="connsiteX582" fmla="*/ 1587502 w 2114552"/>
              <a:gd name="connsiteY582" fmla="*/ 142082 h 800100"/>
              <a:gd name="connsiteX583" fmla="*/ 1579247 w 2114552"/>
              <a:gd name="connsiteY583" fmla="*/ 133350 h 800100"/>
              <a:gd name="connsiteX584" fmla="*/ 1575142 w 2114552"/>
              <a:gd name="connsiteY584" fmla="*/ 124846 h 800100"/>
              <a:gd name="connsiteX585" fmla="*/ 1596120 w 2114552"/>
              <a:gd name="connsiteY585" fmla="*/ 141628 h 800100"/>
              <a:gd name="connsiteX586" fmla="*/ 1596120 w 2114552"/>
              <a:gd name="connsiteY586" fmla="*/ 145823 h 800100"/>
              <a:gd name="connsiteX587" fmla="*/ 1612902 w 2114552"/>
              <a:gd name="connsiteY587" fmla="*/ 162606 h 800100"/>
              <a:gd name="connsiteX588" fmla="*/ 1604511 w 2114552"/>
              <a:gd name="connsiteY588" fmla="*/ 166801 h 800100"/>
              <a:gd name="connsiteX589" fmla="*/ 1587729 w 2114552"/>
              <a:gd name="connsiteY589" fmla="*/ 154215 h 800100"/>
              <a:gd name="connsiteX590" fmla="*/ 1579338 w 2114552"/>
              <a:gd name="connsiteY590" fmla="*/ 158410 h 800100"/>
              <a:gd name="connsiteX591" fmla="*/ 1587729 w 2114552"/>
              <a:gd name="connsiteY591" fmla="*/ 175192 h 800100"/>
              <a:gd name="connsiteX592" fmla="*/ 1579338 w 2114552"/>
              <a:gd name="connsiteY592" fmla="*/ 179388 h 800100"/>
              <a:gd name="connsiteX593" fmla="*/ 1558360 w 2114552"/>
              <a:gd name="connsiteY593" fmla="*/ 141628 h 800100"/>
              <a:gd name="connsiteX594" fmla="*/ 1554164 w 2114552"/>
              <a:gd name="connsiteY594" fmla="*/ 137432 h 800100"/>
              <a:gd name="connsiteX595" fmla="*/ 1575142 w 2114552"/>
              <a:gd name="connsiteY595" fmla="*/ 124846 h 800100"/>
              <a:gd name="connsiteX596" fmla="*/ 1836161 w 2114552"/>
              <a:gd name="connsiteY596" fmla="*/ 117475 h 800100"/>
              <a:gd name="connsiteX597" fmla="*/ 1844532 w 2114552"/>
              <a:gd name="connsiteY597" fmla="*/ 121557 h 800100"/>
              <a:gd name="connsiteX598" fmla="*/ 1848717 w 2114552"/>
              <a:gd name="connsiteY598" fmla="*/ 141968 h 800100"/>
              <a:gd name="connsiteX599" fmla="*/ 1869644 w 2114552"/>
              <a:gd name="connsiteY599" fmla="*/ 133804 h 800100"/>
              <a:gd name="connsiteX600" fmla="*/ 1878014 w 2114552"/>
              <a:gd name="connsiteY600" fmla="*/ 137886 h 800100"/>
              <a:gd name="connsiteX601" fmla="*/ 1848717 w 2114552"/>
              <a:gd name="connsiteY601" fmla="*/ 154214 h 800100"/>
              <a:gd name="connsiteX602" fmla="*/ 1840347 w 2114552"/>
              <a:gd name="connsiteY602" fmla="*/ 174625 h 800100"/>
              <a:gd name="connsiteX603" fmla="*/ 1831976 w 2114552"/>
              <a:gd name="connsiteY603" fmla="*/ 166461 h 800100"/>
              <a:gd name="connsiteX604" fmla="*/ 1840347 w 2114552"/>
              <a:gd name="connsiteY604" fmla="*/ 146050 h 800100"/>
              <a:gd name="connsiteX605" fmla="*/ 1836161 w 2114552"/>
              <a:gd name="connsiteY605" fmla="*/ 117475 h 800100"/>
              <a:gd name="connsiteX606" fmla="*/ 1794829 w 2114552"/>
              <a:gd name="connsiteY606" fmla="*/ 112713 h 800100"/>
              <a:gd name="connsiteX607" fmla="*/ 1790701 w 2114552"/>
              <a:gd name="connsiteY607" fmla="*/ 120651 h 800100"/>
              <a:gd name="connsiteX608" fmla="*/ 1790701 w 2114552"/>
              <a:gd name="connsiteY608" fmla="*/ 124619 h 800100"/>
              <a:gd name="connsiteX609" fmla="*/ 1803084 w 2114552"/>
              <a:gd name="connsiteY609" fmla="*/ 128588 h 800100"/>
              <a:gd name="connsiteX610" fmla="*/ 1811339 w 2114552"/>
              <a:gd name="connsiteY610" fmla="*/ 120651 h 800100"/>
              <a:gd name="connsiteX611" fmla="*/ 1807212 w 2114552"/>
              <a:gd name="connsiteY611" fmla="*/ 116682 h 800100"/>
              <a:gd name="connsiteX612" fmla="*/ 1794829 w 2114552"/>
              <a:gd name="connsiteY612" fmla="*/ 112713 h 800100"/>
              <a:gd name="connsiteX613" fmla="*/ 1637508 w 2114552"/>
              <a:gd name="connsiteY613" fmla="*/ 112117 h 800100"/>
              <a:gd name="connsiteX614" fmla="*/ 1620839 w 2114552"/>
              <a:gd name="connsiteY614" fmla="*/ 124619 h 800100"/>
              <a:gd name="connsiteX615" fmla="*/ 1620839 w 2114552"/>
              <a:gd name="connsiteY615" fmla="*/ 128786 h 800100"/>
              <a:gd name="connsiteX616" fmla="*/ 1637508 w 2114552"/>
              <a:gd name="connsiteY616" fmla="*/ 141288 h 800100"/>
              <a:gd name="connsiteX617" fmla="*/ 1654177 w 2114552"/>
              <a:gd name="connsiteY617" fmla="*/ 124619 h 800100"/>
              <a:gd name="connsiteX618" fmla="*/ 1637508 w 2114552"/>
              <a:gd name="connsiteY618" fmla="*/ 112117 h 800100"/>
              <a:gd name="connsiteX619" fmla="*/ 1741489 w 2114552"/>
              <a:gd name="connsiteY619" fmla="*/ 104775 h 800100"/>
              <a:gd name="connsiteX620" fmla="*/ 1737520 w 2114552"/>
              <a:gd name="connsiteY620" fmla="*/ 117158 h 800100"/>
              <a:gd name="connsiteX621" fmla="*/ 1733551 w 2114552"/>
              <a:gd name="connsiteY621" fmla="*/ 125413 h 800100"/>
              <a:gd name="connsiteX622" fmla="*/ 1749426 w 2114552"/>
              <a:gd name="connsiteY622" fmla="*/ 125413 h 800100"/>
              <a:gd name="connsiteX623" fmla="*/ 1745457 w 2114552"/>
              <a:gd name="connsiteY623" fmla="*/ 117158 h 800100"/>
              <a:gd name="connsiteX624" fmla="*/ 1741489 w 2114552"/>
              <a:gd name="connsiteY624" fmla="*/ 104775 h 800100"/>
              <a:gd name="connsiteX625" fmla="*/ 1633407 w 2114552"/>
              <a:gd name="connsiteY625" fmla="*/ 104165 h 800100"/>
              <a:gd name="connsiteX626" fmla="*/ 1662114 w 2114552"/>
              <a:gd name="connsiteY626" fmla="*/ 124925 h 800100"/>
              <a:gd name="connsiteX627" fmla="*/ 1637508 w 2114552"/>
              <a:gd name="connsiteY627" fmla="*/ 149836 h 800100"/>
              <a:gd name="connsiteX628" fmla="*/ 1612901 w 2114552"/>
              <a:gd name="connsiteY628" fmla="*/ 129076 h 800100"/>
              <a:gd name="connsiteX629" fmla="*/ 1612901 w 2114552"/>
              <a:gd name="connsiteY629" fmla="*/ 124925 h 800100"/>
              <a:gd name="connsiteX630" fmla="*/ 1633407 w 2114552"/>
              <a:gd name="connsiteY630" fmla="*/ 104165 h 800100"/>
              <a:gd name="connsiteX631" fmla="*/ 1787382 w 2114552"/>
              <a:gd name="connsiteY631" fmla="*/ 100013 h 800100"/>
              <a:gd name="connsiteX632" fmla="*/ 1812494 w 2114552"/>
              <a:gd name="connsiteY632" fmla="*/ 108404 h 800100"/>
              <a:gd name="connsiteX633" fmla="*/ 1820864 w 2114552"/>
              <a:gd name="connsiteY633" fmla="*/ 120991 h 800100"/>
              <a:gd name="connsiteX634" fmla="*/ 1808308 w 2114552"/>
              <a:gd name="connsiteY634" fmla="*/ 137773 h 800100"/>
              <a:gd name="connsiteX635" fmla="*/ 1812494 w 2114552"/>
              <a:gd name="connsiteY635" fmla="*/ 158751 h 800100"/>
              <a:gd name="connsiteX636" fmla="*/ 1804123 w 2114552"/>
              <a:gd name="connsiteY636" fmla="*/ 154555 h 800100"/>
              <a:gd name="connsiteX637" fmla="*/ 1799938 w 2114552"/>
              <a:gd name="connsiteY637" fmla="*/ 133578 h 800100"/>
              <a:gd name="connsiteX638" fmla="*/ 1791567 w 2114552"/>
              <a:gd name="connsiteY638" fmla="*/ 133578 h 800100"/>
              <a:gd name="connsiteX639" fmla="*/ 1787382 w 2114552"/>
              <a:gd name="connsiteY639" fmla="*/ 150360 h 800100"/>
              <a:gd name="connsiteX640" fmla="*/ 1774826 w 2114552"/>
              <a:gd name="connsiteY640" fmla="*/ 146164 h 800100"/>
              <a:gd name="connsiteX641" fmla="*/ 1783197 w 2114552"/>
              <a:gd name="connsiteY641" fmla="*/ 120991 h 800100"/>
              <a:gd name="connsiteX642" fmla="*/ 1787382 w 2114552"/>
              <a:gd name="connsiteY642" fmla="*/ 100013 h 800100"/>
              <a:gd name="connsiteX643" fmla="*/ 1737015 w 2114552"/>
              <a:gd name="connsiteY643" fmla="*/ 92075 h 800100"/>
              <a:gd name="connsiteX644" fmla="*/ 1749571 w 2114552"/>
              <a:gd name="connsiteY644" fmla="*/ 92075 h 800100"/>
              <a:gd name="connsiteX645" fmla="*/ 1753757 w 2114552"/>
              <a:gd name="connsiteY645" fmla="*/ 116987 h 800100"/>
              <a:gd name="connsiteX646" fmla="*/ 1762127 w 2114552"/>
              <a:gd name="connsiteY646" fmla="*/ 146050 h 800100"/>
              <a:gd name="connsiteX647" fmla="*/ 1753757 w 2114552"/>
              <a:gd name="connsiteY647" fmla="*/ 141898 h 800100"/>
              <a:gd name="connsiteX648" fmla="*/ 1749571 w 2114552"/>
              <a:gd name="connsiteY648" fmla="*/ 133594 h 800100"/>
              <a:gd name="connsiteX649" fmla="*/ 1728645 w 2114552"/>
              <a:gd name="connsiteY649" fmla="*/ 133594 h 800100"/>
              <a:gd name="connsiteX650" fmla="*/ 1724460 w 2114552"/>
              <a:gd name="connsiteY650" fmla="*/ 141898 h 800100"/>
              <a:gd name="connsiteX651" fmla="*/ 1716089 w 2114552"/>
              <a:gd name="connsiteY651" fmla="*/ 141898 h 800100"/>
              <a:gd name="connsiteX652" fmla="*/ 1728645 w 2114552"/>
              <a:gd name="connsiteY652" fmla="*/ 116987 h 800100"/>
              <a:gd name="connsiteX653" fmla="*/ 1737015 w 2114552"/>
              <a:gd name="connsiteY653" fmla="*/ 92075 h 800100"/>
              <a:gd name="connsiteX654" fmla="*/ 1712914 w 2114552"/>
              <a:gd name="connsiteY654" fmla="*/ 92075 h 800100"/>
              <a:gd name="connsiteX655" fmla="*/ 1712914 w 2114552"/>
              <a:gd name="connsiteY655" fmla="*/ 100277 h 800100"/>
              <a:gd name="connsiteX656" fmla="*/ 1696173 w 2114552"/>
              <a:gd name="connsiteY656" fmla="*/ 100277 h 800100"/>
              <a:gd name="connsiteX657" fmla="*/ 1700358 w 2114552"/>
              <a:gd name="connsiteY657" fmla="*/ 141288 h 800100"/>
              <a:gd name="connsiteX658" fmla="*/ 1687802 w 2114552"/>
              <a:gd name="connsiteY658" fmla="*/ 141288 h 800100"/>
              <a:gd name="connsiteX659" fmla="*/ 1683617 w 2114552"/>
              <a:gd name="connsiteY659" fmla="*/ 100277 h 800100"/>
              <a:gd name="connsiteX660" fmla="*/ 1666876 w 2114552"/>
              <a:gd name="connsiteY660" fmla="*/ 104378 h 800100"/>
              <a:gd name="connsiteX661" fmla="*/ 1666876 w 2114552"/>
              <a:gd name="connsiteY661" fmla="*/ 96176 h 800100"/>
              <a:gd name="connsiteX662" fmla="*/ 1712914 w 2114552"/>
              <a:gd name="connsiteY662" fmla="*/ 92075 h 800100"/>
              <a:gd name="connsiteX663" fmla="*/ 1181630 w 2114552"/>
              <a:gd name="connsiteY663" fmla="*/ 92074 h 800100"/>
              <a:gd name="connsiteX664" fmla="*/ 1147763 w 2114552"/>
              <a:gd name="connsiteY664" fmla="*/ 133349 h 800100"/>
              <a:gd name="connsiteX665" fmla="*/ 1211263 w 2114552"/>
              <a:gd name="connsiteY665" fmla="*/ 133349 h 800100"/>
              <a:gd name="connsiteX666" fmla="*/ 1181630 w 2114552"/>
              <a:gd name="connsiteY666" fmla="*/ 92074 h 800100"/>
              <a:gd name="connsiteX667" fmla="*/ 1716089 w 2114552"/>
              <a:gd name="connsiteY667" fmla="*/ 84138 h 800100"/>
              <a:gd name="connsiteX668" fmla="*/ 1521183 w 2114552"/>
              <a:gd name="connsiteY668" fmla="*/ 150178 h 800100"/>
              <a:gd name="connsiteX669" fmla="*/ 1517036 w 2114552"/>
              <a:gd name="connsiteY669" fmla="*/ 166688 h 800100"/>
              <a:gd name="connsiteX670" fmla="*/ 1550212 w 2114552"/>
              <a:gd name="connsiteY670" fmla="*/ 203836 h 800100"/>
              <a:gd name="connsiteX671" fmla="*/ 1566799 w 2114552"/>
              <a:gd name="connsiteY671" fmla="*/ 203836 h 800100"/>
              <a:gd name="connsiteX672" fmla="*/ 1716089 w 2114552"/>
              <a:gd name="connsiteY672" fmla="*/ 150178 h 800100"/>
              <a:gd name="connsiteX673" fmla="*/ 1865379 w 2114552"/>
              <a:gd name="connsiteY673" fmla="*/ 203836 h 800100"/>
              <a:gd name="connsiteX674" fmla="*/ 1881967 w 2114552"/>
              <a:gd name="connsiteY674" fmla="*/ 203836 h 800100"/>
              <a:gd name="connsiteX675" fmla="*/ 1915142 w 2114552"/>
              <a:gd name="connsiteY675" fmla="*/ 166688 h 800100"/>
              <a:gd name="connsiteX676" fmla="*/ 1910995 w 2114552"/>
              <a:gd name="connsiteY676" fmla="*/ 150178 h 800100"/>
              <a:gd name="connsiteX677" fmla="*/ 1716089 w 2114552"/>
              <a:gd name="connsiteY677" fmla="*/ 84138 h 800100"/>
              <a:gd name="connsiteX678" fmla="*/ 1181894 w 2114552"/>
              <a:gd name="connsiteY678" fmla="*/ 84137 h 800100"/>
              <a:gd name="connsiteX679" fmla="*/ 1227138 w 2114552"/>
              <a:gd name="connsiteY679" fmla="*/ 137942 h 800100"/>
              <a:gd name="connsiteX680" fmla="*/ 1227138 w 2114552"/>
              <a:gd name="connsiteY680" fmla="*/ 146220 h 800100"/>
              <a:gd name="connsiteX681" fmla="*/ 1148989 w 2114552"/>
              <a:gd name="connsiteY681" fmla="*/ 146220 h 800100"/>
              <a:gd name="connsiteX682" fmla="*/ 1186007 w 2114552"/>
              <a:gd name="connsiteY682" fmla="*/ 187608 h 800100"/>
              <a:gd name="connsiteX683" fmla="*/ 1218912 w 2114552"/>
              <a:gd name="connsiteY683" fmla="*/ 179331 h 800100"/>
              <a:gd name="connsiteX684" fmla="*/ 1218912 w 2114552"/>
              <a:gd name="connsiteY684" fmla="*/ 191747 h 800100"/>
              <a:gd name="connsiteX685" fmla="*/ 1186007 w 2114552"/>
              <a:gd name="connsiteY685" fmla="*/ 200025 h 800100"/>
              <a:gd name="connsiteX686" fmla="*/ 1136650 w 2114552"/>
              <a:gd name="connsiteY686" fmla="*/ 142081 h 800100"/>
              <a:gd name="connsiteX687" fmla="*/ 1181894 w 2114552"/>
              <a:gd name="connsiteY687" fmla="*/ 84137 h 800100"/>
              <a:gd name="connsiteX688" fmla="*/ 887413 w 2114552"/>
              <a:gd name="connsiteY688" fmla="*/ 41274 h 800100"/>
              <a:gd name="connsiteX689" fmla="*/ 995363 w 2114552"/>
              <a:gd name="connsiteY689" fmla="*/ 41274 h 800100"/>
              <a:gd name="connsiteX690" fmla="*/ 995363 w 2114552"/>
              <a:gd name="connsiteY690" fmla="*/ 53974 h 800100"/>
              <a:gd name="connsiteX691" fmla="*/ 949326 w 2114552"/>
              <a:gd name="connsiteY691" fmla="*/ 53974 h 800100"/>
              <a:gd name="connsiteX692" fmla="*/ 949326 w 2114552"/>
              <a:gd name="connsiteY692" fmla="*/ 195262 h 800100"/>
              <a:gd name="connsiteX693" fmla="*/ 933451 w 2114552"/>
              <a:gd name="connsiteY693" fmla="*/ 195262 h 800100"/>
              <a:gd name="connsiteX694" fmla="*/ 933451 w 2114552"/>
              <a:gd name="connsiteY694" fmla="*/ 53974 h 800100"/>
              <a:gd name="connsiteX695" fmla="*/ 887413 w 2114552"/>
              <a:gd name="connsiteY695" fmla="*/ 53974 h 800100"/>
              <a:gd name="connsiteX696" fmla="*/ 1020763 w 2114552"/>
              <a:gd name="connsiteY696" fmla="*/ 28574 h 800100"/>
              <a:gd name="connsiteX697" fmla="*/ 1033010 w 2114552"/>
              <a:gd name="connsiteY697" fmla="*/ 28574 h 800100"/>
              <a:gd name="connsiteX698" fmla="*/ 1033010 w 2114552"/>
              <a:gd name="connsiteY698" fmla="*/ 103584 h 800100"/>
              <a:gd name="connsiteX699" fmla="*/ 1069749 w 2114552"/>
              <a:gd name="connsiteY699" fmla="*/ 82748 h 800100"/>
              <a:gd name="connsiteX700" fmla="*/ 1106488 w 2114552"/>
              <a:gd name="connsiteY700" fmla="*/ 128587 h 800100"/>
              <a:gd name="connsiteX701" fmla="*/ 1106488 w 2114552"/>
              <a:gd name="connsiteY701" fmla="*/ 195262 h 800100"/>
              <a:gd name="connsiteX702" fmla="*/ 1090160 w 2114552"/>
              <a:gd name="connsiteY702" fmla="*/ 195262 h 800100"/>
              <a:gd name="connsiteX703" fmla="*/ 1090160 w 2114552"/>
              <a:gd name="connsiteY703" fmla="*/ 128587 h 800100"/>
              <a:gd name="connsiteX704" fmla="*/ 1065667 w 2114552"/>
              <a:gd name="connsiteY704" fmla="*/ 91082 h 800100"/>
              <a:gd name="connsiteX705" fmla="*/ 1033010 w 2114552"/>
              <a:gd name="connsiteY705" fmla="*/ 136921 h 800100"/>
              <a:gd name="connsiteX706" fmla="*/ 1033010 w 2114552"/>
              <a:gd name="connsiteY706" fmla="*/ 195262 h 800100"/>
              <a:gd name="connsiteX707" fmla="*/ 1020763 w 2114552"/>
              <a:gd name="connsiteY707" fmla="*/ 195262 h 800100"/>
              <a:gd name="connsiteX708" fmla="*/ 1704456 w 2114552"/>
              <a:gd name="connsiteY708" fmla="*/ 0 h 800100"/>
              <a:gd name="connsiteX709" fmla="*/ 1729310 w 2114552"/>
              <a:gd name="connsiteY709" fmla="*/ 0 h 800100"/>
              <a:gd name="connsiteX710" fmla="*/ 1745880 w 2114552"/>
              <a:gd name="connsiteY710" fmla="*/ 62461 h 800100"/>
              <a:gd name="connsiteX711" fmla="*/ 1774877 w 2114552"/>
              <a:gd name="connsiteY711" fmla="*/ 66625 h 800100"/>
              <a:gd name="connsiteX712" fmla="*/ 1803873 w 2114552"/>
              <a:gd name="connsiteY712" fmla="*/ 12492 h 800100"/>
              <a:gd name="connsiteX713" fmla="*/ 1808016 w 2114552"/>
              <a:gd name="connsiteY713" fmla="*/ 12492 h 800100"/>
              <a:gd name="connsiteX714" fmla="*/ 1832870 w 2114552"/>
              <a:gd name="connsiteY714" fmla="*/ 16656 h 800100"/>
              <a:gd name="connsiteX715" fmla="*/ 1832870 w 2114552"/>
              <a:gd name="connsiteY715" fmla="*/ 20820 h 800100"/>
              <a:gd name="connsiteX716" fmla="*/ 1837012 w 2114552"/>
              <a:gd name="connsiteY716" fmla="*/ 49969 h 800100"/>
              <a:gd name="connsiteX717" fmla="*/ 1832870 w 2114552"/>
              <a:gd name="connsiteY717" fmla="*/ 83282 h 800100"/>
              <a:gd name="connsiteX718" fmla="*/ 1857724 w 2114552"/>
              <a:gd name="connsiteY718" fmla="*/ 91610 h 800100"/>
              <a:gd name="connsiteX719" fmla="*/ 1903291 w 2114552"/>
              <a:gd name="connsiteY719" fmla="*/ 49969 h 800100"/>
              <a:gd name="connsiteX720" fmla="*/ 1928145 w 2114552"/>
              <a:gd name="connsiteY720" fmla="*/ 62461 h 800100"/>
              <a:gd name="connsiteX721" fmla="*/ 1911575 w 2114552"/>
              <a:gd name="connsiteY721" fmla="*/ 124922 h 800100"/>
              <a:gd name="connsiteX722" fmla="*/ 1932287 w 2114552"/>
              <a:gd name="connsiteY722" fmla="*/ 141579 h 800100"/>
              <a:gd name="connsiteX723" fmla="*/ 1986138 w 2114552"/>
              <a:gd name="connsiteY723" fmla="*/ 108266 h 800100"/>
              <a:gd name="connsiteX724" fmla="*/ 2006850 w 2114552"/>
              <a:gd name="connsiteY724" fmla="*/ 129086 h 800100"/>
              <a:gd name="connsiteX725" fmla="*/ 1973711 w 2114552"/>
              <a:gd name="connsiteY725" fmla="*/ 183219 h 800100"/>
              <a:gd name="connsiteX726" fmla="*/ 1990281 w 2114552"/>
              <a:gd name="connsiteY726" fmla="*/ 204040 h 800100"/>
              <a:gd name="connsiteX727" fmla="*/ 2052416 w 2114552"/>
              <a:gd name="connsiteY727" fmla="*/ 187383 h 800100"/>
              <a:gd name="connsiteX728" fmla="*/ 2052416 w 2114552"/>
              <a:gd name="connsiteY728" fmla="*/ 191547 h 800100"/>
              <a:gd name="connsiteX729" fmla="*/ 2064844 w 2114552"/>
              <a:gd name="connsiteY729" fmla="*/ 212368 h 800100"/>
              <a:gd name="connsiteX730" fmla="*/ 2023420 w 2114552"/>
              <a:gd name="connsiteY730" fmla="*/ 258173 h 800100"/>
              <a:gd name="connsiteX731" fmla="*/ 2031705 w 2114552"/>
              <a:gd name="connsiteY731" fmla="*/ 283157 h 800100"/>
              <a:gd name="connsiteX732" fmla="*/ 2093840 w 2114552"/>
              <a:gd name="connsiteY732" fmla="*/ 283157 h 800100"/>
              <a:gd name="connsiteX733" fmla="*/ 2102125 w 2114552"/>
              <a:gd name="connsiteY733" fmla="*/ 308141 h 800100"/>
              <a:gd name="connsiteX734" fmla="*/ 2102125 w 2114552"/>
              <a:gd name="connsiteY734" fmla="*/ 312306 h 800100"/>
              <a:gd name="connsiteX735" fmla="*/ 2048274 w 2114552"/>
              <a:gd name="connsiteY735" fmla="*/ 341454 h 800100"/>
              <a:gd name="connsiteX736" fmla="*/ 2052416 w 2114552"/>
              <a:gd name="connsiteY736" fmla="*/ 366438 h 800100"/>
              <a:gd name="connsiteX737" fmla="*/ 2110410 w 2114552"/>
              <a:gd name="connsiteY737" fmla="*/ 383095 h 800100"/>
              <a:gd name="connsiteX738" fmla="*/ 2110410 w 2114552"/>
              <a:gd name="connsiteY738" fmla="*/ 387259 h 800100"/>
              <a:gd name="connsiteX739" fmla="*/ 2114552 w 2114552"/>
              <a:gd name="connsiteY739" fmla="*/ 399751 h 800100"/>
              <a:gd name="connsiteX740" fmla="*/ 2110410 w 2114552"/>
              <a:gd name="connsiteY740" fmla="*/ 412243 h 800100"/>
              <a:gd name="connsiteX741" fmla="*/ 2052416 w 2114552"/>
              <a:gd name="connsiteY741" fmla="*/ 428900 h 800100"/>
              <a:gd name="connsiteX742" fmla="*/ 2048274 w 2114552"/>
              <a:gd name="connsiteY742" fmla="*/ 453884 h 800100"/>
              <a:gd name="connsiteX743" fmla="*/ 2102125 w 2114552"/>
              <a:gd name="connsiteY743" fmla="*/ 487197 h 800100"/>
              <a:gd name="connsiteX744" fmla="*/ 2093840 w 2114552"/>
              <a:gd name="connsiteY744" fmla="*/ 512181 h 800100"/>
              <a:gd name="connsiteX745" fmla="*/ 2093840 w 2114552"/>
              <a:gd name="connsiteY745" fmla="*/ 516345 h 800100"/>
              <a:gd name="connsiteX746" fmla="*/ 2031705 w 2114552"/>
              <a:gd name="connsiteY746" fmla="*/ 516345 h 800100"/>
              <a:gd name="connsiteX747" fmla="*/ 2023420 w 2114552"/>
              <a:gd name="connsiteY747" fmla="*/ 537165 h 800100"/>
              <a:gd name="connsiteX748" fmla="*/ 2064844 w 2114552"/>
              <a:gd name="connsiteY748" fmla="*/ 582970 h 800100"/>
              <a:gd name="connsiteX749" fmla="*/ 2064844 w 2114552"/>
              <a:gd name="connsiteY749" fmla="*/ 587134 h 800100"/>
              <a:gd name="connsiteX750" fmla="*/ 2052416 w 2114552"/>
              <a:gd name="connsiteY750" fmla="*/ 607955 h 800100"/>
              <a:gd name="connsiteX751" fmla="*/ 1990281 w 2114552"/>
              <a:gd name="connsiteY751" fmla="*/ 591298 h 800100"/>
              <a:gd name="connsiteX752" fmla="*/ 1973711 w 2114552"/>
              <a:gd name="connsiteY752" fmla="*/ 612119 h 800100"/>
              <a:gd name="connsiteX753" fmla="*/ 2006850 w 2114552"/>
              <a:gd name="connsiteY753" fmla="*/ 666252 h 800100"/>
              <a:gd name="connsiteX754" fmla="*/ 2006850 w 2114552"/>
              <a:gd name="connsiteY754" fmla="*/ 670416 h 800100"/>
              <a:gd name="connsiteX755" fmla="*/ 1986138 w 2114552"/>
              <a:gd name="connsiteY755" fmla="*/ 687072 h 800100"/>
              <a:gd name="connsiteX756" fmla="*/ 1932287 w 2114552"/>
              <a:gd name="connsiteY756" fmla="*/ 657924 h 800100"/>
              <a:gd name="connsiteX757" fmla="*/ 1911575 w 2114552"/>
              <a:gd name="connsiteY757" fmla="*/ 674580 h 800100"/>
              <a:gd name="connsiteX758" fmla="*/ 1928145 w 2114552"/>
              <a:gd name="connsiteY758" fmla="*/ 732877 h 800100"/>
              <a:gd name="connsiteX759" fmla="*/ 1928145 w 2114552"/>
              <a:gd name="connsiteY759" fmla="*/ 737041 h 800100"/>
              <a:gd name="connsiteX760" fmla="*/ 1924002 w 2114552"/>
              <a:gd name="connsiteY760" fmla="*/ 737041 h 800100"/>
              <a:gd name="connsiteX761" fmla="*/ 1903291 w 2114552"/>
              <a:gd name="connsiteY761" fmla="*/ 749533 h 800100"/>
              <a:gd name="connsiteX762" fmla="*/ 1857724 w 2114552"/>
              <a:gd name="connsiteY762" fmla="*/ 703728 h 800100"/>
              <a:gd name="connsiteX763" fmla="*/ 1832870 w 2114552"/>
              <a:gd name="connsiteY763" fmla="*/ 716221 h 800100"/>
              <a:gd name="connsiteX764" fmla="*/ 1837012 w 2114552"/>
              <a:gd name="connsiteY764" fmla="*/ 745369 h 800100"/>
              <a:gd name="connsiteX765" fmla="*/ 1832870 w 2114552"/>
              <a:gd name="connsiteY765" fmla="*/ 778682 h 800100"/>
              <a:gd name="connsiteX766" fmla="*/ 1808016 w 2114552"/>
              <a:gd name="connsiteY766" fmla="*/ 787010 h 800100"/>
              <a:gd name="connsiteX767" fmla="*/ 1803873 w 2114552"/>
              <a:gd name="connsiteY767" fmla="*/ 787010 h 800100"/>
              <a:gd name="connsiteX768" fmla="*/ 1774877 w 2114552"/>
              <a:gd name="connsiteY768" fmla="*/ 732877 h 800100"/>
              <a:gd name="connsiteX769" fmla="*/ 1750022 w 2114552"/>
              <a:gd name="connsiteY769" fmla="*/ 732877 h 800100"/>
              <a:gd name="connsiteX770" fmla="*/ 1733453 w 2114552"/>
              <a:gd name="connsiteY770" fmla="*/ 795338 h 800100"/>
              <a:gd name="connsiteX771" fmla="*/ 1729310 w 2114552"/>
              <a:gd name="connsiteY771" fmla="*/ 795338 h 800100"/>
              <a:gd name="connsiteX772" fmla="*/ 1704456 w 2114552"/>
              <a:gd name="connsiteY772" fmla="*/ 795338 h 800100"/>
              <a:gd name="connsiteX773" fmla="*/ 1687886 w 2114552"/>
              <a:gd name="connsiteY773" fmla="*/ 732877 h 800100"/>
              <a:gd name="connsiteX774" fmla="*/ 1658890 w 2114552"/>
              <a:gd name="connsiteY774" fmla="*/ 732877 h 800100"/>
              <a:gd name="connsiteX775" fmla="*/ 1629893 w 2114552"/>
              <a:gd name="connsiteY775" fmla="*/ 787010 h 800100"/>
              <a:gd name="connsiteX776" fmla="*/ 1625751 w 2114552"/>
              <a:gd name="connsiteY776" fmla="*/ 787010 h 800100"/>
              <a:gd name="connsiteX777" fmla="*/ 1600896 w 2114552"/>
              <a:gd name="connsiteY777" fmla="*/ 778682 h 800100"/>
              <a:gd name="connsiteX778" fmla="*/ 1596754 w 2114552"/>
              <a:gd name="connsiteY778" fmla="*/ 745369 h 800100"/>
              <a:gd name="connsiteX779" fmla="*/ 1600896 w 2114552"/>
              <a:gd name="connsiteY779" fmla="*/ 716221 h 800100"/>
              <a:gd name="connsiteX780" fmla="*/ 1576042 w 2114552"/>
              <a:gd name="connsiteY780" fmla="*/ 703728 h 800100"/>
              <a:gd name="connsiteX781" fmla="*/ 1534618 w 2114552"/>
              <a:gd name="connsiteY781" fmla="*/ 749533 h 800100"/>
              <a:gd name="connsiteX782" fmla="*/ 1530476 w 2114552"/>
              <a:gd name="connsiteY782" fmla="*/ 749533 h 800100"/>
              <a:gd name="connsiteX783" fmla="*/ 1509764 w 2114552"/>
              <a:gd name="connsiteY783" fmla="*/ 737041 h 800100"/>
              <a:gd name="connsiteX784" fmla="*/ 1509764 w 2114552"/>
              <a:gd name="connsiteY784" fmla="*/ 732877 h 800100"/>
              <a:gd name="connsiteX785" fmla="*/ 1522191 w 2114552"/>
              <a:gd name="connsiteY785" fmla="*/ 674580 h 800100"/>
              <a:gd name="connsiteX786" fmla="*/ 1501479 w 2114552"/>
              <a:gd name="connsiteY786" fmla="*/ 657924 h 800100"/>
              <a:gd name="connsiteX787" fmla="*/ 1447628 w 2114552"/>
              <a:gd name="connsiteY787" fmla="*/ 687072 h 800100"/>
              <a:gd name="connsiteX788" fmla="*/ 1426916 w 2114552"/>
              <a:gd name="connsiteY788" fmla="*/ 670416 h 800100"/>
              <a:gd name="connsiteX789" fmla="*/ 1460055 w 2114552"/>
              <a:gd name="connsiteY789" fmla="*/ 616283 h 800100"/>
              <a:gd name="connsiteX790" fmla="*/ 1443486 w 2114552"/>
              <a:gd name="connsiteY790" fmla="*/ 591298 h 800100"/>
              <a:gd name="connsiteX791" fmla="*/ 1381350 w 2114552"/>
              <a:gd name="connsiteY791" fmla="*/ 607955 h 800100"/>
              <a:gd name="connsiteX792" fmla="*/ 1368923 w 2114552"/>
              <a:gd name="connsiteY792" fmla="*/ 587134 h 800100"/>
              <a:gd name="connsiteX793" fmla="*/ 1368923 w 2114552"/>
              <a:gd name="connsiteY793" fmla="*/ 582970 h 800100"/>
              <a:gd name="connsiteX794" fmla="*/ 1414489 w 2114552"/>
              <a:gd name="connsiteY794" fmla="*/ 541330 h 800100"/>
              <a:gd name="connsiteX795" fmla="*/ 1402062 w 2114552"/>
              <a:gd name="connsiteY795" fmla="*/ 516345 h 800100"/>
              <a:gd name="connsiteX796" fmla="*/ 1339926 w 2114552"/>
              <a:gd name="connsiteY796" fmla="*/ 516345 h 800100"/>
              <a:gd name="connsiteX797" fmla="*/ 1331641 w 2114552"/>
              <a:gd name="connsiteY797" fmla="*/ 491361 h 800100"/>
              <a:gd name="connsiteX798" fmla="*/ 1331641 w 2114552"/>
              <a:gd name="connsiteY798" fmla="*/ 487197 h 800100"/>
              <a:gd name="connsiteX799" fmla="*/ 1385492 w 2114552"/>
              <a:gd name="connsiteY799" fmla="*/ 453884 h 800100"/>
              <a:gd name="connsiteX800" fmla="*/ 1381350 w 2114552"/>
              <a:gd name="connsiteY800" fmla="*/ 428900 h 800100"/>
              <a:gd name="connsiteX801" fmla="*/ 1323357 w 2114552"/>
              <a:gd name="connsiteY801" fmla="*/ 412243 h 800100"/>
              <a:gd name="connsiteX802" fmla="*/ 1319214 w 2114552"/>
              <a:gd name="connsiteY802" fmla="*/ 412243 h 800100"/>
              <a:gd name="connsiteX803" fmla="*/ 1319214 w 2114552"/>
              <a:gd name="connsiteY803" fmla="*/ 399751 h 800100"/>
              <a:gd name="connsiteX804" fmla="*/ 1319214 w 2114552"/>
              <a:gd name="connsiteY804" fmla="*/ 383095 h 800100"/>
              <a:gd name="connsiteX805" fmla="*/ 1323357 w 2114552"/>
              <a:gd name="connsiteY805" fmla="*/ 383095 h 800100"/>
              <a:gd name="connsiteX806" fmla="*/ 1381350 w 2114552"/>
              <a:gd name="connsiteY806" fmla="*/ 366438 h 800100"/>
              <a:gd name="connsiteX807" fmla="*/ 1385492 w 2114552"/>
              <a:gd name="connsiteY807" fmla="*/ 341454 h 800100"/>
              <a:gd name="connsiteX808" fmla="*/ 1331641 w 2114552"/>
              <a:gd name="connsiteY808" fmla="*/ 308141 h 800100"/>
              <a:gd name="connsiteX809" fmla="*/ 1339926 w 2114552"/>
              <a:gd name="connsiteY809" fmla="*/ 283157 h 800100"/>
              <a:gd name="connsiteX810" fmla="*/ 1402062 w 2114552"/>
              <a:gd name="connsiteY810" fmla="*/ 283157 h 800100"/>
              <a:gd name="connsiteX811" fmla="*/ 1410347 w 2114552"/>
              <a:gd name="connsiteY811" fmla="*/ 258173 h 800100"/>
              <a:gd name="connsiteX812" fmla="*/ 1368923 w 2114552"/>
              <a:gd name="connsiteY812" fmla="*/ 212368 h 800100"/>
              <a:gd name="connsiteX813" fmla="*/ 1381350 w 2114552"/>
              <a:gd name="connsiteY813" fmla="*/ 187383 h 800100"/>
              <a:gd name="connsiteX814" fmla="*/ 1443486 w 2114552"/>
              <a:gd name="connsiteY814" fmla="*/ 204040 h 800100"/>
              <a:gd name="connsiteX815" fmla="*/ 1460055 w 2114552"/>
              <a:gd name="connsiteY815" fmla="*/ 183219 h 800100"/>
              <a:gd name="connsiteX816" fmla="*/ 1426916 w 2114552"/>
              <a:gd name="connsiteY816" fmla="*/ 129086 h 800100"/>
              <a:gd name="connsiteX817" fmla="*/ 1426916 w 2114552"/>
              <a:gd name="connsiteY817" fmla="*/ 124922 h 800100"/>
              <a:gd name="connsiteX818" fmla="*/ 1447628 w 2114552"/>
              <a:gd name="connsiteY818" fmla="*/ 108266 h 800100"/>
              <a:gd name="connsiteX819" fmla="*/ 1501479 w 2114552"/>
              <a:gd name="connsiteY819" fmla="*/ 137414 h 800100"/>
              <a:gd name="connsiteX820" fmla="*/ 1522191 w 2114552"/>
              <a:gd name="connsiteY820" fmla="*/ 124922 h 800100"/>
              <a:gd name="connsiteX821" fmla="*/ 1505621 w 2114552"/>
              <a:gd name="connsiteY821" fmla="*/ 62461 h 800100"/>
              <a:gd name="connsiteX822" fmla="*/ 1530476 w 2114552"/>
              <a:gd name="connsiteY822" fmla="*/ 49969 h 800100"/>
              <a:gd name="connsiteX823" fmla="*/ 1576042 w 2114552"/>
              <a:gd name="connsiteY823" fmla="*/ 91610 h 800100"/>
              <a:gd name="connsiteX824" fmla="*/ 1600896 w 2114552"/>
              <a:gd name="connsiteY824" fmla="*/ 83282 h 800100"/>
              <a:gd name="connsiteX825" fmla="*/ 1596754 w 2114552"/>
              <a:gd name="connsiteY825" fmla="*/ 49969 h 800100"/>
              <a:gd name="connsiteX826" fmla="*/ 1600896 w 2114552"/>
              <a:gd name="connsiteY826" fmla="*/ 20820 h 800100"/>
              <a:gd name="connsiteX827" fmla="*/ 1600896 w 2114552"/>
              <a:gd name="connsiteY827" fmla="*/ 16656 h 800100"/>
              <a:gd name="connsiteX828" fmla="*/ 1625751 w 2114552"/>
              <a:gd name="connsiteY828" fmla="*/ 12492 h 800100"/>
              <a:gd name="connsiteX829" fmla="*/ 1629893 w 2114552"/>
              <a:gd name="connsiteY829" fmla="*/ 12492 h 800100"/>
              <a:gd name="connsiteX830" fmla="*/ 1658890 w 2114552"/>
              <a:gd name="connsiteY830" fmla="*/ 66625 h 800100"/>
              <a:gd name="connsiteX831" fmla="*/ 1687886 w 2114552"/>
              <a:gd name="connsiteY831" fmla="*/ 62461 h 800100"/>
              <a:gd name="connsiteX832" fmla="*/ 1704456 w 2114552"/>
              <a:gd name="connsiteY832"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2114552" h="800100">
                <a:moveTo>
                  <a:pt x="2068305" y="749732"/>
                </a:moveTo>
                <a:lnTo>
                  <a:pt x="2068305" y="761609"/>
                </a:lnTo>
                <a:lnTo>
                  <a:pt x="2076013" y="761609"/>
                </a:lnTo>
                <a:cubicBezTo>
                  <a:pt x="2079697" y="761609"/>
                  <a:pt x="2082210" y="761060"/>
                  <a:pt x="2083551" y="759961"/>
                </a:cubicBezTo>
                <a:cubicBezTo>
                  <a:pt x="2084892" y="758862"/>
                  <a:pt x="2085563" y="757408"/>
                  <a:pt x="2085563" y="755598"/>
                </a:cubicBezTo>
                <a:cubicBezTo>
                  <a:pt x="2085563" y="754435"/>
                  <a:pt x="2085240" y="753392"/>
                  <a:pt x="2084594" y="752471"/>
                </a:cubicBezTo>
                <a:cubicBezTo>
                  <a:pt x="2083947" y="751550"/>
                  <a:pt x="2083050" y="750863"/>
                  <a:pt x="2081903" y="750411"/>
                </a:cubicBezTo>
                <a:cubicBezTo>
                  <a:pt x="2080756" y="749959"/>
                  <a:pt x="2078631" y="749732"/>
                  <a:pt x="2075528" y="749732"/>
                </a:cubicBezTo>
                <a:close/>
                <a:moveTo>
                  <a:pt x="2061954" y="744400"/>
                </a:moveTo>
                <a:lnTo>
                  <a:pt x="2075480" y="744400"/>
                </a:lnTo>
                <a:cubicBezTo>
                  <a:pt x="2080101" y="744400"/>
                  <a:pt x="2083446" y="744763"/>
                  <a:pt x="2085514" y="745491"/>
                </a:cubicBezTo>
                <a:cubicBezTo>
                  <a:pt x="2087583" y="746218"/>
                  <a:pt x="2089231" y="747486"/>
                  <a:pt x="2090459" y="749296"/>
                </a:cubicBezTo>
                <a:cubicBezTo>
                  <a:pt x="2091687" y="751106"/>
                  <a:pt x="2092301" y="753029"/>
                  <a:pt x="2092301" y="755065"/>
                </a:cubicBezTo>
                <a:cubicBezTo>
                  <a:pt x="2092301" y="757941"/>
                  <a:pt x="2091275" y="760446"/>
                  <a:pt x="2089223" y="762579"/>
                </a:cubicBezTo>
                <a:cubicBezTo>
                  <a:pt x="2087171" y="764712"/>
                  <a:pt x="2084448" y="765907"/>
                  <a:pt x="2081055" y="766166"/>
                </a:cubicBezTo>
                <a:cubicBezTo>
                  <a:pt x="2082444" y="766748"/>
                  <a:pt x="2083559" y="767443"/>
                  <a:pt x="2084400" y="768251"/>
                </a:cubicBezTo>
                <a:cubicBezTo>
                  <a:pt x="2085983" y="769802"/>
                  <a:pt x="2087922" y="772403"/>
                  <a:pt x="2090217" y="776055"/>
                </a:cubicBezTo>
                <a:lnTo>
                  <a:pt x="2095016" y="783763"/>
                </a:lnTo>
                <a:lnTo>
                  <a:pt x="2087260" y="783763"/>
                </a:lnTo>
                <a:lnTo>
                  <a:pt x="2083769" y="777558"/>
                </a:lnTo>
                <a:cubicBezTo>
                  <a:pt x="2081022" y="772678"/>
                  <a:pt x="2078808" y="769624"/>
                  <a:pt x="2077128" y="768396"/>
                </a:cubicBezTo>
                <a:cubicBezTo>
                  <a:pt x="2075965" y="767491"/>
                  <a:pt x="2074268" y="767039"/>
                  <a:pt x="2072038" y="767039"/>
                </a:cubicBezTo>
                <a:lnTo>
                  <a:pt x="2068305" y="767039"/>
                </a:lnTo>
                <a:lnTo>
                  <a:pt x="2068305" y="783763"/>
                </a:lnTo>
                <a:lnTo>
                  <a:pt x="2061954" y="783763"/>
                </a:lnTo>
                <a:close/>
                <a:moveTo>
                  <a:pt x="834048" y="741362"/>
                </a:moveTo>
                <a:cubicBezTo>
                  <a:pt x="813289" y="741362"/>
                  <a:pt x="784225" y="741362"/>
                  <a:pt x="784225" y="766474"/>
                </a:cubicBezTo>
                <a:cubicBezTo>
                  <a:pt x="784225" y="783215"/>
                  <a:pt x="792529" y="787400"/>
                  <a:pt x="804985" y="787400"/>
                </a:cubicBezTo>
                <a:cubicBezTo>
                  <a:pt x="838200" y="787400"/>
                  <a:pt x="838200" y="758103"/>
                  <a:pt x="838200" y="745547"/>
                </a:cubicBezTo>
                <a:lnTo>
                  <a:pt x="838200" y="741362"/>
                </a:lnTo>
                <a:cubicBezTo>
                  <a:pt x="834048" y="741362"/>
                  <a:pt x="834048" y="741362"/>
                  <a:pt x="834048" y="741362"/>
                </a:cubicBezTo>
                <a:close/>
                <a:moveTo>
                  <a:pt x="2078001" y="733008"/>
                </a:moveTo>
                <a:cubicBezTo>
                  <a:pt x="2072862" y="733008"/>
                  <a:pt x="2067861" y="734325"/>
                  <a:pt x="2062997" y="736959"/>
                </a:cubicBezTo>
                <a:cubicBezTo>
                  <a:pt x="2058133" y="739592"/>
                  <a:pt x="2054328" y="743358"/>
                  <a:pt x="2051581" y="748254"/>
                </a:cubicBezTo>
                <a:cubicBezTo>
                  <a:pt x="2048833" y="753150"/>
                  <a:pt x="2047460" y="758248"/>
                  <a:pt x="2047460" y="763548"/>
                </a:cubicBezTo>
                <a:cubicBezTo>
                  <a:pt x="2047460" y="768816"/>
                  <a:pt x="2048809" y="773866"/>
                  <a:pt x="2051508" y="778697"/>
                </a:cubicBezTo>
                <a:cubicBezTo>
                  <a:pt x="2054206" y="783529"/>
                  <a:pt x="2057980" y="787294"/>
                  <a:pt x="2062827" y="789993"/>
                </a:cubicBezTo>
                <a:cubicBezTo>
                  <a:pt x="2067675" y="792691"/>
                  <a:pt x="2072733" y="794041"/>
                  <a:pt x="2078001" y="794041"/>
                </a:cubicBezTo>
                <a:cubicBezTo>
                  <a:pt x="2083269" y="794041"/>
                  <a:pt x="2088326" y="792691"/>
                  <a:pt x="2093174" y="789993"/>
                </a:cubicBezTo>
                <a:cubicBezTo>
                  <a:pt x="2098022" y="787294"/>
                  <a:pt x="2101787" y="783529"/>
                  <a:pt x="2104469" y="778697"/>
                </a:cubicBezTo>
                <a:cubicBezTo>
                  <a:pt x="2107152" y="773866"/>
                  <a:pt x="2108493" y="768816"/>
                  <a:pt x="2108493" y="763548"/>
                </a:cubicBezTo>
                <a:cubicBezTo>
                  <a:pt x="2108493" y="758248"/>
                  <a:pt x="2107127" y="753150"/>
                  <a:pt x="2104397" y="748254"/>
                </a:cubicBezTo>
                <a:cubicBezTo>
                  <a:pt x="2101666" y="743358"/>
                  <a:pt x="2097860" y="739592"/>
                  <a:pt x="2092980" y="736959"/>
                </a:cubicBezTo>
                <a:cubicBezTo>
                  <a:pt x="2088100" y="734325"/>
                  <a:pt x="2083107" y="733008"/>
                  <a:pt x="2078001" y="733008"/>
                </a:cubicBezTo>
                <a:close/>
                <a:moveTo>
                  <a:pt x="2078001" y="726948"/>
                </a:moveTo>
                <a:cubicBezTo>
                  <a:pt x="2084141" y="726948"/>
                  <a:pt x="2090136" y="728524"/>
                  <a:pt x="2095985" y="731675"/>
                </a:cubicBezTo>
                <a:cubicBezTo>
                  <a:pt x="2101835" y="734825"/>
                  <a:pt x="2106392" y="739334"/>
                  <a:pt x="2109656" y="745200"/>
                </a:cubicBezTo>
                <a:cubicBezTo>
                  <a:pt x="2112920" y="751065"/>
                  <a:pt x="2114552" y="757181"/>
                  <a:pt x="2114552" y="763548"/>
                </a:cubicBezTo>
                <a:cubicBezTo>
                  <a:pt x="2114552" y="769850"/>
                  <a:pt x="2112944" y="775910"/>
                  <a:pt x="2109729" y="781727"/>
                </a:cubicBezTo>
                <a:cubicBezTo>
                  <a:pt x="2106513" y="787544"/>
                  <a:pt x="2102005" y="792061"/>
                  <a:pt x="2096204" y="795277"/>
                </a:cubicBezTo>
                <a:cubicBezTo>
                  <a:pt x="2090402" y="798492"/>
                  <a:pt x="2084335" y="800100"/>
                  <a:pt x="2078001" y="800100"/>
                </a:cubicBezTo>
                <a:cubicBezTo>
                  <a:pt x="2071666" y="800100"/>
                  <a:pt x="2065599" y="798492"/>
                  <a:pt x="2059797" y="795277"/>
                </a:cubicBezTo>
                <a:cubicBezTo>
                  <a:pt x="2053996" y="792061"/>
                  <a:pt x="2049480" y="787544"/>
                  <a:pt x="2046248" y="781727"/>
                </a:cubicBezTo>
                <a:cubicBezTo>
                  <a:pt x="2043016" y="775910"/>
                  <a:pt x="2041400" y="769850"/>
                  <a:pt x="2041400" y="763548"/>
                </a:cubicBezTo>
                <a:cubicBezTo>
                  <a:pt x="2041400" y="757181"/>
                  <a:pt x="2043041" y="751065"/>
                  <a:pt x="2046321" y="745200"/>
                </a:cubicBezTo>
                <a:cubicBezTo>
                  <a:pt x="2049601" y="739334"/>
                  <a:pt x="2054166" y="734825"/>
                  <a:pt x="2060016" y="731675"/>
                </a:cubicBezTo>
                <a:cubicBezTo>
                  <a:pt x="2065865" y="728524"/>
                  <a:pt x="2071860" y="726948"/>
                  <a:pt x="2078001" y="726948"/>
                </a:cubicBezTo>
                <a:close/>
                <a:moveTo>
                  <a:pt x="1058070" y="692149"/>
                </a:moveTo>
                <a:cubicBezTo>
                  <a:pt x="1037466" y="692149"/>
                  <a:pt x="1020763" y="713471"/>
                  <a:pt x="1020763" y="739774"/>
                </a:cubicBezTo>
                <a:cubicBezTo>
                  <a:pt x="1020763" y="766077"/>
                  <a:pt x="1037466" y="787399"/>
                  <a:pt x="1058070" y="787399"/>
                </a:cubicBezTo>
                <a:cubicBezTo>
                  <a:pt x="1078674" y="787399"/>
                  <a:pt x="1095377" y="766077"/>
                  <a:pt x="1095377" y="739774"/>
                </a:cubicBezTo>
                <a:cubicBezTo>
                  <a:pt x="1095377" y="713471"/>
                  <a:pt x="1078674" y="692149"/>
                  <a:pt x="1058070" y="692149"/>
                </a:cubicBezTo>
                <a:close/>
                <a:moveTo>
                  <a:pt x="692151" y="692149"/>
                </a:moveTo>
                <a:cubicBezTo>
                  <a:pt x="673739" y="692149"/>
                  <a:pt x="658813" y="713471"/>
                  <a:pt x="658813" y="739774"/>
                </a:cubicBezTo>
                <a:cubicBezTo>
                  <a:pt x="658813" y="766077"/>
                  <a:pt x="673739" y="787399"/>
                  <a:pt x="692151" y="787399"/>
                </a:cubicBezTo>
                <a:cubicBezTo>
                  <a:pt x="710563" y="787399"/>
                  <a:pt x="725489" y="766077"/>
                  <a:pt x="725489" y="739774"/>
                </a:cubicBezTo>
                <a:cubicBezTo>
                  <a:pt x="725489" y="713471"/>
                  <a:pt x="710563" y="692149"/>
                  <a:pt x="692151" y="692149"/>
                </a:cubicBezTo>
                <a:close/>
                <a:moveTo>
                  <a:pt x="323056" y="692149"/>
                </a:moveTo>
                <a:cubicBezTo>
                  <a:pt x="302452" y="692149"/>
                  <a:pt x="285749" y="713471"/>
                  <a:pt x="285749" y="739774"/>
                </a:cubicBezTo>
                <a:cubicBezTo>
                  <a:pt x="285749" y="766077"/>
                  <a:pt x="302452" y="787399"/>
                  <a:pt x="323056" y="787399"/>
                </a:cubicBezTo>
                <a:cubicBezTo>
                  <a:pt x="343660" y="787399"/>
                  <a:pt x="360363" y="766077"/>
                  <a:pt x="360363" y="739774"/>
                </a:cubicBezTo>
                <a:cubicBezTo>
                  <a:pt x="360363" y="713471"/>
                  <a:pt x="343660" y="692149"/>
                  <a:pt x="323056" y="692149"/>
                </a:cubicBezTo>
                <a:close/>
                <a:moveTo>
                  <a:pt x="966943" y="685949"/>
                </a:moveTo>
                <a:lnTo>
                  <a:pt x="981464" y="685949"/>
                </a:lnTo>
                <a:lnTo>
                  <a:pt x="981464" y="799333"/>
                </a:lnTo>
                <a:lnTo>
                  <a:pt x="966943" y="799333"/>
                </a:lnTo>
                <a:close/>
                <a:moveTo>
                  <a:pt x="1136650" y="684212"/>
                </a:moveTo>
                <a:cubicBezTo>
                  <a:pt x="1148897" y="684212"/>
                  <a:pt x="1148897" y="684212"/>
                  <a:pt x="1148897" y="684212"/>
                </a:cubicBezTo>
                <a:cubicBezTo>
                  <a:pt x="1148897" y="704791"/>
                  <a:pt x="1148897" y="704791"/>
                  <a:pt x="1148897" y="704791"/>
                </a:cubicBezTo>
                <a:cubicBezTo>
                  <a:pt x="1157061" y="696559"/>
                  <a:pt x="1165225" y="684212"/>
                  <a:pt x="1185636" y="684212"/>
                </a:cubicBezTo>
                <a:cubicBezTo>
                  <a:pt x="1214211" y="684212"/>
                  <a:pt x="1222375" y="700675"/>
                  <a:pt x="1222375" y="725369"/>
                </a:cubicBezTo>
                <a:cubicBezTo>
                  <a:pt x="1222375" y="795337"/>
                  <a:pt x="1222375" y="795337"/>
                  <a:pt x="1222375" y="795337"/>
                </a:cubicBezTo>
                <a:cubicBezTo>
                  <a:pt x="1210129" y="795337"/>
                  <a:pt x="1210129" y="795337"/>
                  <a:pt x="1210129" y="795337"/>
                </a:cubicBezTo>
                <a:cubicBezTo>
                  <a:pt x="1210129" y="729485"/>
                  <a:pt x="1210129" y="729485"/>
                  <a:pt x="1210129" y="729485"/>
                </a:cubicBezTo>
                <a:cubicBezTo>
                  <a:pt x="1210129" y="708906"/>
                  <a:pt x="1201964" y="692443"/>
                  <a:pt x="1185636" y="692443"/>
                </a:cubicBezTo>
                <a:cubicBezTo>
                  <a:pt x="1161143" y="692443"/>
                  <a:pt x="1152979" y="717138"/>
                  <a:pt x="1152979" y="733601"/>
                </a:cubicBezTo>
                <a:cubicBezTo>
                  <a:pt x="1152979" y="795337"/>
                  <a:pt x="1152979" y="795337"/>
                  <a:pt x="1152979" y="795337"/>
                </a:cubicBezTo>
                <a:cubicBezTo>
                  <a:pt x="1136650" y="795337"/>
                  <a:pt x="1136650" y="795337"/>
                  <a:pt x="1136650" y="795337"/>
                </a:cubicBezTo>
                <a:lnTo>
                  <a:pt x="1136650" y="713022"/>
                </a:lnTo>
                <a:cubicBezTo>
                  <a:pt x="1136650" y="704791"/>
                  <a:pt x="1136650" y="692443"/>
                  <a:pt x="1136650" y="684212"/>
                </a:cubicBezTo>
                <a:close/>
                <a:moveTo>
                  <a:pt x="1054894" y="684212"/>
                </a:moveTo>
                <a:cubicBezTo>
                  <a:pt x="1083389" y="684212"/>
                  <a:pt x="1106488" y="710154"/>
                  <a:pt x="1106488" y="742156"/>
                </a:cubicBezTo>
                <a:cubicBezTo>
                  <a:pt x="1106488" y="774158"/>
                  <a:pt x="1083389" y="800100"/>
                  <a:pt x="1054894" y="800100"/>
                </a:cubicBezTo>
                <a:cubicBezTo>
                  <a:pt x="1026399" y="800100"/>
                  <a:pt x="1003300" y="774158"/>
                  <a:pt x="1003300" y="742156"/>
                </a:cubicBezTo>
                <a:cubicBezTo>
                  <a:pt x="1003300" y="710154"/>
                  <a:pt x="1026399" y="684212"/>
                  <a:pt x="1054894" y="684212"/>
                </a:cubicBezTo>
                <a:close/>
                <a:moveTo>
                  <a:pt x="812499" y="684212"/>
                </a:moveTo>
                <a:cubicBezTo>
                  <a:pt x="841603" y="684212"/>
                  <a:pt x="854076" y="696629"/>
                  <a:pt x="854076" y="725601"/>
                </a:cubicBezTo>
                <a:cubicBezTo>
                  <a:pt x="854076" y="775267"/>
                  <a:pt x="854076" y="775267"/>
                  <a:pt x="854076" y="775267"/>
                </a:cubicBezTo>
                <a:cubicBezTo>
                  <a:pt x="854076" y="783545"/>
                  <a:pt x="854076" y="791822"/>
                  <a:pt x="854076" y="795961"/>
                </a:cubicBezTo>
                <a:cubicBezTo>
                  <a:pt x="841603" y="795961"/>
                  <a:pt x="841603" y="795961"/>
                  <a:pt x="841603" y="795961"/>
                </a:cubicBezTo>
                <a:lnTo>
                  <a:pt x="841603" y="779406"/>
                </a:lnTo>
                <a:cubicBezTo>
                  <a:pt x="837445" y="779406"/>
                  <a:pt x="837445" y="779406"/>
                  <a:pt x="837445" y="779406"/>
                </a:cubicBezTo>
                <a:cubicBezTo>
                  <a:pt x="833287" y="791822"/>
                  <a:pt x="816656" y="800100"/>
                  <a:pt x="804183" y="800100"/>
                </a:cubicBezTo>
                <a:cubicBezTo>
                  <a:pt x="770921" y="800100"/>
                  <a:pt x="766763" y="779406"/>
                  <a:pt x="766763" y="766989"/>
                </a:cubicBezTo>
                <a:cubicBezTo>
                  <a:pt x="766763" y="729739"/>
                  <a:pt x="808341" y="729739"/>
                  <a:pt x="837445" y="729739"/>
                </a:cubicBezTo>
                <a:cubicBezTo>
                  <a:pt x="837445" y="721462"/>
                  <a:pt x="837445" y="721462"/>
                  <a:pt x="837445" y="721462"/>
                </a:cubicBezTo>
                <a:cubicBezTo>
                  <a:pt x="837445" y="704906"/>
                  <a:pt x="833287" y="692490"/>
                  <a:pt x="812499" y="692490"/>
                </a:cubicBezTo>
                <a:cubicBezTo>
                  <a:pt x="800025" y="692490"/>
                  <a:pt x="791710" y="696629"/>
                  <a:pt x="779236" y="704906"/>
                </a:cubicBezTo>
                <a:cubicBezTo>
                  <a:pt x="779236" y="688351"/>
                  <a:pt x="779236" y="688351"/>
                  <a:pt x="779236" y="688351"/>
                </a:cubicBezTo>
                <a:cubicBezTo>
                  <a:pt x="787552" y="684212"/>
                  <a:pt x="804183" y="684212"/>
                  <a:pt x="812499" y="684212"/>
                </a:cubicBezTo>
                <a:close/>
                <a:moveTo>
                  <a:pt x="527050" y="684212"/>
                </a:moveTo>
                <a:cubicBezTo>
                  <a:pt x="539523" y="684212"/>
                  <a:pt x="539523" y="684212"/>
                  <a:pt x="539523" y="684212"/>
                </a:cubicBezTo>
                <a:cubicBezTo>
                  <a:pt x="539523" y="704791"/>
                  <a:pt x="539523" y="704791"/>
                  <a:pt x="539523" y="704791"/>
                </a:cubicBezTo>
                <a:cubicBezTo>
                  <a:pt x="547839" y="696559"/>
                  <a:pt x="556154" y="684212"/>
                  <a:pt x="576943" y="684212"/>
                </a:cubicBezTo>
                <a:cubicBezTo>
                  <a:pt x="606047" y="684212"/>
                  <a:pt x="614363" y="700675"/>
                  <a:pt x="614363" y="725369"/>
                </a:cubicBezTo>
                <a:cubicBezTo>
                  <a:pt x="614363" y="795337"/>
                  <a:pt x="614363" y="795337"/>
                  <a:pt x="614363" y="795337"/>
                </a:cubicBezTo>
                <a:cubicBezTo>
                  <a:pt x="601890" y="795337"/>
                  <a:pt x="601890" y="795337"/>
                  <a:pt x="601890" y="795337"/>
                </a:cubicBezTo>
                <a:cubicBezTo>
                  <a:pt x="601890" y="729485"/>
                  <a:pt x="601890" y="729485"/>
                  <a:pt x="601890" y="729485"/>
                </a:cubicBezTo>
                <a:cubicBezTo>
                  <a:pt x="601890" y="708906"/>
                  <a:pt x="593574" y="692443"/>
                  <a:pt x="576943" y="692443"/>
                </a:cubicBezTo>
                <a:cubicBezTo>
                  <a:pt x="551996" y="692443"/>
                  <a:pt x="543681" y="717138"/>
                  <a:pt x="543681" y="733601"/>
                </a:cubicBezTo>
                <a:cubicBezTo>
                  <a:pt x="543681" y="795337"/>
                  <a:pt x="543681" y="795337"/>
                  <a:pt x="543681" y="795337"/>
                </a:cubicBezTo>
                <a:cubicBezTo>
                  <a:pt x="527050" y="795337"/>
                  <a:pt x="527050" y="795337"/>
                  <a:pt x="527050" y="795337"/>
                </a:cubicBezTo>
                <a:lnTo>
                  <a:pt x="527050" y="713022"/>
                </a:lnTo>
                <a:cubicBezTo>
                  <a:pt x="527050" y="704791"/>
                  <a:pt x="527050" y="692443"/>
                  <a:pt x="527050" y="684212"/>
                </a:cubicBezTo>
                <a:close/>
                <a:moveTo>
                  <a:pt x="406400" y="684212"/>
                </a:moveTo>
                <a:cubicBezTo>
                  <a:pt x="418873" y="684212"/>
                  <a:pt x="418873" y="684212"/>
                  <a:pt x="418873" y="684212"/>
                </a:cubicBezTo>
                <a:cubicBezTo>
                  <a:pt x="418873" y="754573"/>
                  <a:pt x="418873" y="754573"/>
                  <a:pt x="418873" y="754573"/>
                </a:cubicBezTo>
                <a:cubicBezTo>
                  <a:pt x="418873" y="775267"/>
                  <a:pt x="427189" y="787683"/>
                  <a:pt x="443820" y="787683"/>
                </a:cubicBezTo>
                <a:cubicBezTo>
                  <a:pt x="468766" y="787683"/>
                  <a:pt x="477082" y="766989"/>
                  <a:pt x="477082" y="746295"/>
                </a:cubicBezTo>
                <a:cubicBezTo>
                  <a:pt x="477082" y="684212"/>
                  <a:pt x="477082" y="684212"/>
                  <a:pt x="477082" y="684212"/>
                </a:cubicBezTo>
                <a:cubicBezTo>
                  <a:pt x="493713" y="684212"/>
                  <a:pt x="493713" y="684212"/>
                  <a:pt x="493713" y="684212"/>
                </a:cubicBezTo>
                <a:lnTo>
                  <a:pt x="493713" y="771128"/>
                </a:lnTo>
                <a:cubicBezTo>
                  <a:pt x="493713" y="779406"/>
                  <a:pt x="493713" y="787683"/>
                  <a:pt x="493713" y="795961"/>
                </a:cubicBezTo>
                <a:cubicBezTo>
                  <a:pt x="481240" y="795961"/>
                  <a:pt x="481240" y="795961"/>
                  <a:pt x="481240" y="795961"/>
                </a:cubicBezTo>
                <a:cubicBezTo>
                  <a:pt x="481240" y="779406"/>
                  <a:pt x="481240" y="779406"/>
                  <a:pt x="481240" y="779406"/>
                </a:cubicBezTo>
                <a:cubicBezTo>
                  <a:pt x="472924" y="787683"/>
                  <a:pt x="464609" y="800100"/>
                  <a:pt x="443820" y="800100"/>
                </a:cubicBezTo>
                <a:cubicBezTo>
                  <a:pt x="414715" y="800100"/>
                  <a:pt x="406400" y="783545"/>
                  <a:pt x="406400" y="758711"/>
                </a:cubicBezTo>
                <a:cubicBezTo>
                  <a:pt x="406400" y="684212"/>
                  <a:pt x="406400" y="684212"/>
                  <a:pt x="406400" y="684212"/>
                </a:cubicBezTo>
                <a:close/>
                <a:moveTo>
                  <a:pt x="325437" y="684212"/>
                </a:moveTo>
                <a:cubicBezTo>
                  <a:pt x="354370" y="684212"/>
                  <a:pt x="377825" y="710154"/>
                  <a:pt x="377825" y="742156"/>
                </a:cubicBezTo>
                <a:cubicBezTo>
                  <a:pt x="377825" y="774158"/>
                  <a:pt x="354370" y="800100"/>
                  <a:pt x="325437" y="800100"/>
                </a:cubicBezTo>
                <a:cubicBezTo>
                  <a:pt x="296504" y="800100"/>
                  <a:pt x="273049" y="774158"/>
                  <a:pt x="273049" y="742156"/>
                </a:cubicBezTo>
                <a:cubicBezTo>
                  <a:pt x="273049" y="710154"/>
                  <a:pt x="296504" y="684212"/>
                  <a:pt x="325437" y="684212"/>
                </a:cubicBezTo>
                <a:close/>
                <a:moveTo>
                  <a:pt x="1724027" y="666750"/>
                </a:moveTo>
                <a:lnTo>
                  <a:pt x="1720852" y="679450"/>
                </a:lnTo>
                <a:lnTo>
                  <a:pt x="1716089" y="687388"/>
                </a:lnTo>
                <a:lnTo>
                  <a:pt x="1733552" y="687388"/>
                </a:lnTo>
                <a:lnTo>
                  <a:pt x="1728789" y="679450"/>
                </a:lnTo>
                <a:close/>
                <a:moveTo>
                  <a:pt x="1728922" y="654050"/>
                </a:moveTo>
                <a:cubicBezTo>
                  <a:pt x="1728922" y="658202"/>
                  <a:pt x="1728922" y="658202"/>
                  <a:pt x="1728922" y="658202"/>
                </a:cubicBezTo>
                <a:lnTo>
                  <a:pt x="1737124" y="678962"/>
                </a:lnTo>
                <a:cubicBezTo>
                  <a:pt x="1749427" y="703873"/>
                  <a:pt x="1749427" y="703873"/>
                  <a:pt x="1749427" y="703873"/>
                </a:cubicBezTo>
                <a:cubicBezTo>
                  <a:pt x="1745326" y="703873"/>
                  <a:pt x="1741225" y="703873"/>
                  <a:pt x="1737124" y="703873"/>
                </a:cubicBezTo>
                <a:cubicBezTo>
                  <a:pt x="1737124" y="695569"/>
                  <a:pt x="1737124" y="695569"/>
                  <a:pt x="1737124" y="695569"/>
                </a:cubicBezTo>
                <a:cubicBezTo>
                  <a:pt x="1712517" y="695569"/>
                  <a:pt x="1712517" y="695569"/>
                  <a:pt x="1712517" y="695569"/>
                </a:cubicBezTo>
                <a:cubicBezTo>
                  <a:pt x="1712517" y="708025"/>
                  <a:pt x="1712517" y="708025"/>
                  <a:pt x="1712517" y="708025"/>
                </a:cubicBezTo>
                <a:cubicBezTo>
                  <a:pt x="1708416" y="703873"/>
                  <a:pt x="1704315" y="703873"/>
                  <a:pt x="1700214" y="703873"/>
                </a:cubicBezTo>
                <a:cubicBezTo>
                  <a:pt x="1712517" y="678962"/>
                  <a:pt x="1712517" y="678962"/>
                  <a:pt x="1712517" y="678962"/>
                </a:cubicBezTo>
                <a:cubicBezTo>
                  <a:pt x="1716618" y="658202"/>
                  <a:pt x="1716618" y="658202"/>
                  <a:pt x="1716618" y="658202"/>
                </a:cubicBezTo>
                <a:cubicBezTo>
                  <a:pt x="1728922" y="654050"/>
                  <a:pt x="1728922" y="654050"/>
                  <a:pt x="1728922" y="654050"/>
                </a:cubicBezTo>
                <a:close/>
                <a:moveTo>
                  <a:pt x="907733" y="654049"/>
                </a:moveTo>
                <a:cubicBezTo>
                  <a:pt x="907733" y="683259"/>
                  <a:pt x="907733" y="683259"/>
                  <a:pt x="907733" y="683259"/>
                </a:cubicBezTo>
                <a:cubicBezTo>
                  <a:pt x="932498" y="683259"/>
                  <a:pt x="932498" y="683259"/>
                  <a:pt x="932498" y="683259"/>
                </a:cubicBezTo>
                <a:lnTo>
                  <a:pt x="932498" y="695778"/>
                </a:lnTo>
                <a:cubicBezTo>
                  <a:pt x="907733" y="695778"/>
                  <a:pt x="907733" y="695778"/>
                  <a:pt x="907733" y="695778"/>
                </a:cubicBezTo>
                <a:cubicBezTo>
                  <a:pt x="907733" y="770889"/>
                  <a:pt x="907733" y="770889"/>
                  <a:pt x="907733" y="770889"/>
                </a:cubicBezTo>
                <a:cubicBezTo>
                  <a:pt x="907733" y="779235"/>
                  <a:pt x="911861" y="787580"/>
                  <a:pt x="924243" y="787580"/>
                </a:cubicBezTo>
                <a:cubicBezTo>
                  <a:pt x="928371" y="787580"/>
                  <a:pt x="932498" y="787580"/>
                  <a:pt x="936626" y="783408"/>
                </a:cubicBezTo>
                <a:cubicBezTo>
                  <a:pt x="936626" y="795926"/>
                  <a:pt x="936626" y="795926"/>
                  <a:pt x="936626" y="795926"/>
                </a:cubicBezTo>
                <a:cubicBezTo>
                  <a:pt x="932498" y="800099"/>
                  <a:pt x="928371" y="800099"/>
                  <a:pt x="920116" y="800099"/>
                </a:cubicBezTo>
                <a:cubicBezTo>
                  <a:pt x="895351" y="800099"/>
                  <a:pt x="895351" y="783408"/>
                  <a:pt x="895351" y="762543"/>
                </a:cubicBezTo>
                <a:cubicBezTo>
                  <a:pt x="895351" y="695778"/>
                  <a:pt x="895351" y="695778"/>
                  <a:pt x="895351" y="695778"/>
                </a:cubicBezTo>
                <a:cubicBezTo>
                  <a:pt x="874713" y="695778"/>
                  <a:pt x="874713" y="695778"/>
                  <a:pt x="874713" y="695778"/>
                </a:cubicBezTo>
                <a:cubicBezTo>
                  <a:pt x="874713" y="683259"/>
                  <a:pt x="874713" y="683259"/>
                  <a:pt x="874713" y="683259"/>
                </a:cubicBezTo>
                <a:cubicBezTo>
                  <a:pt x="895351" y="683259"/>
                  <a:pt x="895351" y="683259"/>
                  <a:pt x="895351" y="683259"/>
                </a:cubicBezTo>
                <a:cubicBezTo>
                  <a:pt x="895351" y="658222"/>
                  <a:pt x="895351" y="658222"/>
                  <a:pt x="895351" y="658222"/>
                </a:cubicBezTo>
                <a:cubicBezTo>
                  <a:pt x="907733" y="654049"/>
                  <a:pt x="907733" y="654049"/>
                  <a:pt x="907733" y="654049"/>
                </a:cubicBezTo>
                <a:close/>
                <a:moveTo>
                  <a:pt x="1658542" y="650875"/>
                </a:moveTo>
                <a:cubicBezTo>
                  <a:pt x="1662643" y="650875"/>
                  <a:pt x="1662643" y="650875"/>
                  <a:pt x="1666745" y="650875"/>
                </a:cubicBezTo>
                <a:cubicBezTo>
                  <a:pt x="1666745" y="650875"/>
                  <a:pt x="1666745" y="650875"/>
                  <a:pt x="1683149" y="688242"/>
                </a:cubicBezTo>
                <a:cubicBezTo>
                  <a:pt x="1683149" y="688242"/>
                  <a:pt x="1683149" y="688242"/>
                  <a:pt x="1687250" y="655027"/>
                </a:cubicBezTo>
                <a:cubicBezTo>
                  <a:pt x="1687250" y="655027"/>
                  <a:pt x="1691351" y="655027"/>
                  <a:pt x="1695452" y="655027"/>
                </a:cubicBezTo>
                <a:cubicBezTo>
                  <a:pt x="1695452" y="655027"/>
                  <a:pt x="1695452" y="655027"/>
                  <a:pt x="1687250" y="704850"/>
                </a:cubicBezTo>
                <a:cubicBezTo>
                  <a:pt x="1687250" y="704850"/>
                  <a:pt x="1683149" y="704850"/>
                  <a:pt x="1679048" y="704850"/>
                </a:cubicBezTo>
                <a:cubicBezTo>
                  <a:pt x="1679048" y="704850"/>
                  <a:pt x="1679048" y="704850"/>
                  <a:pt x="1662643" y="671635"/>
                </a:cubicBezTo>
                <a:cubicBezTo>
                  <a:pt x="1662643" y="671635"/>
                  <a:pt x="1662643" y="671635"/>
                  <a:pt x="1658542" y="700698"/>
                </a:cubicBezTo>
                <a:cubicBezTo>
                  <a:pt x="1654441" y="700698"/>
                  <a:pt x="1650340" y="700698"/>
                  <a:pt x="1646239" y="700698"/>
                </a:cubicBezTo>
                <a:cubicBezTo>
                  <a:pt x="1646239" y="700698"/>
                  <a:pt x="1646239" y="700698"/>
                  <a:pt x="1658542" y="650875"/>
                </a:cubicBezTo>
                <a:close/>
                <a:moveTo>
                  <a:pt x="1787526" y="646113"/>
                </a:moveTo>
                <a:lnTo>
                  <a:pt x="1787526" y="654504"/>
                </a:lnTo>
                <a:cubicBezTo>
                  <a:pt x="1783399" y="658700"/>
                  <a:pt x="1779271" y="658700"/>
                  <a:pt x="1771016" y="658700"/>
                </a:cubicBezTo>
                <a:cubicBezTo>
                  <a:pt x="1771016" y="658700"/>
                  <a:pt x="1771016" y="658700"/>
                  <a:pt x="1779271" y="700655"/>
                </a:cubicBezTo>
                <a:cubicBezTo>
                  <a:pt x="1779271" y="700655"/>
                  <a:pt x="1779271" y="700655"/>
                  <a:pt x="1771016" y="704851"/>
                </a:cubicBezTo>
                <a:cubicBezTo>
                  <a:pt x="1771016" y="704851"/>
                  <a:pt x="1771016" y="704851"/>
                  <a:pt x="1762761" y="662895"/>
                </a:cubicBezTo>
                <a:cubicBezTo>
                  <a:pt x="1758634" y="662895"/>
                  <a:pt x="1754506" y="662895"/>
                  <a:pt x="1746251" y="662895"/>
                </a:cubicBezTo>
                <a:cubicBezTo>
                  <a:pt x="1746251" y="662895"/>
                  <a:pt x="1746251" y="662895"/>
                  <a:pt x="1746251" y="654504"/>
                </a:cubicBezTo>
                <a:cubicBezTo>
                  <a:pt x="1758634" y="654504"/>
                  <a:pt x="1771016" y="650309"/>
                  <a:pt x="1787526" y="646113"/>
                </a:cubicBezTo>
                <a:close/>
                <a:moveTo>
                  <a:pt x="1617029" y="646113"/>
                </a:moveTo>
                <a:cubicBezTo>
                  <a:pt x="1617029" y="654051"/>
                  <a:pt x="1617029" y="654051"/>
                  <a:pt x="1617029" y="654051"/>
                </a:cubicBezTo>
                <a:cubicBezTo>
                  <a:pt x="1612901" y="658019"/>
                  <a:pt x="1612901" y="658019"/>
                  <a:pt x="1612901" y="658019"/>
                </a:cubicBezTo>
                <a:cubicBezTo>
                  <a:pt x="1625284" y="661988"/>
                  <a:pt x="1625284" y="661988"/>
                  <a:pt x="1625284" y="661988"/>
                </a:cubicBezTo>
                <a:cubicBezTo>
                  <a:pt x="1629412" y="661988"/>
                  <a:pt x="1633539" y="658019"/>
                  <a:pt x="1633539" y="658019"/>
                </a:cubicBezTo>
                <a:cubicBezTo>
                  <a:pt x="1633539" y="658019"/>
                  <a:pt x="1633539" y="654051"/>
                  <a:pt x="1633539" y="654051"/>
                </a:cubicBezTo>
                <a:cubicBezTo>
                  <a:pt x="1633539" y="654051"/>
                  <a:pt x="1633539" y="650082"/>
                  <a:pt x="1629412" y="650082"/>
                </a:cubicBezTo>
                <a:cubicBezTo>
                  <a:pt x="1617029" y="646113"/>
                  <a:pt x="1617029" y="646113"/>
                  <a:pt x="1617029" y="646113"/>
                </a:cubicBezTo>
                <a:close/>
                <a:moveTo>
                  <a:pt x="966943" y="643885"/>
                </a:moveTo>
                <a:lnTo>
                  <a:pt x="981464" y="643885"/>
                </a:lnTo>
                <a:lnTo>
                  <a:pt x="981464" y="660066"/>
                </a:lnTo>
                <a:lnTo>
                  <a:pt x="966943" y="660066"/>
                </a:lnTo>
                <a:close/>
                <a:moveTo>
                  <a:pt x="1795464" y="641350"/>
                </a:moveTo>
                <a:cubicBezTo>
                  <a:pt x="1799546" y="641350"/>
                  <a:pt x="1803628" y="641350"/>
                  <a:pt x="1807711" y="641350"/>
                </a:cubicBezTo>
                <a:cubicBezTo>
                  <a:pt x="1807711" y="641350"/>
                  <a:pt x="1807711" y="641350"/>
                  <a:pt x="1824039" y="687917"/>
                </a:cubicBezTo>
                <a:cubicBezTo>
                  <a:pt x="1819957" y="687917"/>
                  <a:pt x="1815875" y="687917"/>
                  <a:pt x="1811793" y="692150"/>
                </a:cubicBezTo>
                <a:cubicBezTo>
                  <a:pt x="1811793" y="692150"/>
                  <a:pt x="1811793" y="692150"/>
                  <a:pt x="1795464" y="641350"/>
                </a:cubicBezTo>
                <a:close/>
                <a:moveTo>
                  <a:pt x="177800" y="641349"/>
                </a:moveTo>
                <a:lnTo>
                  <a:pt x="252413" y="641349"/>
                </a:lnTo>
                <a:lnTo>
                  <a:pt x="252413" y="654049"/>
                </a:lnTo>
                <a:lnTo>
                  <a:pt x="195262" y="654049"/>
                </a:lnTo>
                <a:lnTo>
                  <a:pt x="195262" y="712787"/>
                </a:lnTo>
                <a:lnTo>
                  <a:pt x="249238" y="712787"/>
                </a:lnTo>
                <a:lnTo>
                  <a:pt x="249238" y="725487"/>
                </a:lnTo>
                <a:lnTo>
                  <a:pt x="195262" y="725487"/>
                </a:lnTo>
                <a:lnTo>
                  <a:pt x="195262" y="795337"/>
                </a:lnTo>
                <a:lnTo>
                  <a:pt x="177800" y="795337"/>
                </a:lnTo>
                <a:close/>
                <a:moveTo>
                  <a:pt x="1612770" y="633413"/>
                </a:moveTo>
                <a:cubicBezTo>
                  <a:pt x="1633275" y="641668"/>
                  <a:pt x="1633275" y="641668"/>
                  <a:pt x="1633275" y="641668"/>
                </a:cubicBezTo>
                <a:cubicBezTo>
                  <a:pt x="1641477" y="645796"/>
                  <a:pt x="1641477" y="649923"/>
                  <a:pt x="1641477" y="654051"/>
                </a:cubicBezTo>
                <a:cubicBezTo>
                  <a:pt x="1641477" y="654051"/>
                  <a:pt x="1641477" y="658178"/>
                  <a:pt x="1641477" y="658178"/>
                </a:cubicBezTo>
                <a:cubicBezTo>
                  <a:pt x="1641477" y="662306"/>
                  <a:pt x="1637376" y="670561"/>
                  <a:pt x="1629174" y="670561"/>
                </a:cubicBezTo>
                <a:cubicBezTo>
                  <a:pt x="1633275" y="695326"/>
                  <a:pt x="1633275" y="695326"/>
                  <a:pt x="1633275" y="695326"/>
                </a:cubicBezTo>
                <a:cubicBezTo>
                  <a:pt x="1629174" y="695326"/>
                  <a:pt x="1625073" y="691198"/>
                  <a:pt x="1620972" y="691198"/>
                </a:cubicBezTo>
                <a:cubicBezTo>
                  <a:pt x="1620972" y="670561"/>
                  <a:pt x="1620972" y="670561"/>
                  <a:pt x="1620972" y="670561"/>
                </a:cubicBezTo>
                <a:cubicBezTo>
                  <a:pt x="1608668" y="666433"/>
                  <a:pt x="1608668" y="666433"/>
                  <a:pt x="1608668" y="666433"/>
                </a:cubicBezTo>
                <a:cubicBezTo>
                  <a:pt x="1604567" y="682943"/>
                  <a:pt x="1604567" y="682943"/>
                  <a:pt x="1604567" y="682943"/>
                </a:cubicBezTo>
                <a:cubicBezTo>
                  <a:pt x="1600466" y="682943"/>
                  <a:pt x="1596365" y="682943"/>
                  <a:pt x="1592264" y="678816"/>
                </a:cubicBezTo>
                <a:cubicBezTo>
                  <a:pt x="1604567" y="658178"/>
                  <a:pt x="1604567" y="658178"/>
                  <a:pt x="1604567" y="658178"/>
                </a:cubicBezTo>
                <a:cubicBezTo>
                  <a:pt x="1604567" y="654051"/>
                  <a:pt x="1604567" y="654051"/>
                  <a:pt x="1604567" y="654051"/>
                </a:cubicBezTo>
                <a:cubicBezTo>
                  <a:pt x="1612770" y="633413"/>
                  <a:pt x="1612770" y="633413"/>
                  <a:pt x="1612770" y="633413"/>
                </a:cubicBezTo>
                <a:close/>
                <a:moveTo>
                  <a:pt x="1855109" y="630214"/>
                </a:moveTo>
                <a:cubicBezTo>
                  <a:pt x="1851027" y="629693"/>
                  <a:pt x="1846945" y="630735"/>
                  <a:pt x="1844903" y="632818"/>
                </a:cubicBezTo>
                <a:cubicBezTo>
                  <a:pt x="1836739" y="636986"/>
                  <a:pt x="1836739" y="641153"/>
                  <a:pt x="1836739" y="645320"/>
                </a:cubicBezTo>
                <a:cubicBezTo>
                  <a:pt x="1836739" y="649487"/>
                  <a:pt x="1836739" y="653655"/>
                  <a:pt x="1836739" y="653655"/>
                </a:cubicBezTo>
                <a:cubicBezTo>
                  <a:pt x="1836739" y="653655"/>
                  <a:pt x="1836739" y="657822"/>
                  <a:pt x="1840821" y="657822"/>
                </a:cubicBezTo>
                <a:cubicBezTo>
                  <a:pt x="1844903" y="661989"/>
                  <a:pt x="1853068" y="661989"/>
                  <a:pt x="1857150" y="661989"/>
                </a:cubicBezTo>
                <a:cubicBezTo>
                  <a:pt x="1861232" y="657822"/>
                  <a:pt x="1861232" y="657822"/>
                  <a:pt x="1861232" y="657822"/>
                </a:cubicBezTo>
                <a:cubicBezTo>
                  <a:pt x="1865314" y="653655"/>
                  <a:pt x="1865314" y="649487"/>
                  <a:pt x="1865314" y="645320"/>
                </a:cubicBezTo>
                <a:cubicBezTo>
                  <a:pt x="1865314" y="645320"/>
                  <a:pt x="1865314" y="641153"/>
                  <a:pt x="1865314" y="636986"/>
                </a:cubicBezTo>
                <a:cubicBezTo>
                  <a:pt x="1863273" y="632818"/>
                  <a:pt x="1859191" y="630735"/>
                  <a:pt x="1855109" y="630214"/>
                </a:cubicBezTo>
                <a:close/>
                <a:moveTo>
                  <a:pt x="726110" y="628649"/>
                </a:moveTo>
                <a:cubicBezTo>
                  <a:pt x="742951" y="628649"/>
                  <a:pt x="742951" y="628649"/>
                  <a:pt x="742951" y="628649"/>
                </a:cubicBezTo>
                <a:lnTo>
                  <a:pt x="742951" y="795917"/>
                </a:lnTo>
                <a:cubicBezTo>
                  <a:pt x="726110" y="795917"/>
                  <a:pt x="726110" y="795917"/>
                  <a:pt x="726110" y="795917"/>
                </a:cubicBezTo>
                <a:cubicBezTo>
                  <a:pt x="726110" y="779190"/>
                  <a:pt x="726110" y="779190"/>
                  <a:pt x="726110" y="779190"/>
                </a:cubicBezTo>
                <a:cubicBezTo>
                  <a:pt x="717689" y="795917"/>
                  <a:pt x="709268" y="800099"/>
                  <a:pt x="692427" y="800099"/>
                </a:cubicBezTo>
                <a:cubicBezTo>
                  <a:pt x="658744" y="800099"/>
                  <a:pt x="646113" y="775009"/>
                  <a:pt x="646113" y="741555"/>
                </a:cubicBezTo>
                <a:cubicBezTo>
                  <a:pt x="646113" y="708101"/>
                  <a:pt x="658744" y="683011"/>
                  <a:pt x="692427" y="683011"/>
                </a:cubicBezTo>
                <a:cubicBezTo>
                  <a:pt x="713479" y="683011"/>
                  <a:pt x="726110" y="695556"/>
                  <a:pt x="726110" y="703920"/>
                </a:cubicBezTo>
                <a:cubicBezTo>
                  <a:pt x="726110" y="628649"/>
                  <a:pt x="726110" y="628649"/>
                  <a:pt x="726110" y="628649"/>
                </a:cubicBezTo>
                <a:close/>
                <a:moveTo>
                  <a:pt x="1857377" y="622131"/>
                </a:moveTo>
                <a:cubicBezTo>
                  <a:pt x="1864256" y="623662"/>
                  <a:pt x="1870606" y="627744"/>
                  <a:pt x="1874839" y="633868"/>
                </a:cubicBezTo>
                <a:cubicBezTo>
                  <a:pt x="1874839" y="637950"/>
                  <a:pt x="1874839" y="642032"/>
                  <a:pt x="1874839" y="646114"/>
                </a:cubicBezTo>
                <a:cubicBezTo>
                  <a:pt x="1874839" y="650196"/>
                  <a:pt x="1874839" y="654278"/>
                  <a:pt x="1874839" y="658360"/>
                </a:cubicBezTo>
                <a:cubicBezTo>
                  <a:pt x="1870606" y="662443"/>
                  <a:pt x="1870606" y="666525"/>
                  <a:pt x="1862139" y="666525"/>
                </a:cubicBezTo>
                <a:cubicBezTo>
                  <a:pt x="1853672" y="674689"/>
                  <a:pt x="1836739" y="670607"/>
                  <a:pt x="1828272" y="658360"/>
                </a:cubicBezTo>
                <a:cubicBezTo>
                  <a:pt x="1828272" y="654278"/>
                  <a:pt x="1824039" y="650196"/>
                  <a:pt x="1824039" y="646114"/>
                </a:cubicBezTo>
                <a:cubicBezTo>
                  <a:pt x="1824039" y="637950"/>
                  <a:pt x="1828272" y="629785"/>
                  <a:pt x="1836739" y="625703"/>
                </a:cubicBezTo>
                <a:cubicBezTo>
                  <a:pt x="1843089" y="621621"/>
                  <a:pt x="1850497" y="620601"/>
                  <a:pt x="1857377" y="622131"/>
                </a:cubicBezTo>
                <a:close/>
                <a:moveTo>
                  <a:pt x="1571138" y="612775"/>
                </a:moveTo>
                <a:cubicBezTo>
                  <a:pt x="1579442" y="616903"/>
                  <a:pt x="1591897" y="625158"/>
                  <a:pt x="1600201" y="629285"/>
                </a:cubicBezTo>
                <a:cubicBezTo>
                  <a:pt x="1600201" y="629285"/>
                  <a:pt x="1600201" y="629285"/>
                  <a:pt x="1596049" y="637540"/>
                </a:cubicBezTo>
                <a:cubicBezTo>
                  <a:pt x="1587745" y="633413"/>
                  <a:pt x="1583593" y="629285"/>
                  <a:pt x="1575290" y="625158"/>
                </a:cubicBezTo>
                <a:lnTo>
                  <a:pt x="1571138" y="633413"/>
                </a:lnTo>
                <a:cubicBezTo>
                  <a:pt x="1575290" y="637540"/>
                  <a:pt x="1579442" y="641668"/>
                  <a:pt x="1583593" y="641668"/>
                </a:cubicBezTo>
                <a:cubicBezTo>
                  <a:pt x="1583593" y="641668"/>
                  <a:pt x="1583593" y="641668"/>
                  <a:pt x="1579442" y="649923"/>
                </a:cubicBezTo>
                <a:cubicBezTo>
                  <a:pt x="1579442" y="649923"/>
                  <a:pt x="1579442" y="649923"/>
                  <a:pt x="1566986" y="641668"/>
                </a:cubicBezTo>
                <a:cubicBezTo>
                  <a:pt x="1566986" y="641668"/>
                  <a:pt x="1566986" y="641668"/>
                  <a:pt x="1558682" y="654050"/>
                </a:cubicBezTo>
                <a:cubicBezTo>
                  <a:pt x="1558682" y="654050"/>
                  <a:pt x="1558682" y="654050"/>
                  <a:pt x="1579442" y="666433"/>
                </a:cubicBezTo>
                <a:cubicBezTo>
                  <a:pt x="1579442" y="666433"/>
                  <a:pt x="1579442" y="666433"/>
                  <a:pt x="1575290" y="674688"/>
                </a:cubicBezTo>
                <a:cubicBezTo>
                  <a:pt x="1562834" y="666433"/>
                  <a:pt x="1554530" y="662305"/>
                  <a:pt x="1546226" y="654050"/>
                </a:cubicBezTo>
                <a:cubicBezTo>
                  <a:pt x="1546226" y="654050"/>
                  <a:pt x="1546226" y="654050"/>
                  <a:pt x="1571138" y="612775"/>
                </a:cubicBezTo>
                <a:close/>
                <a:moveTo>
                  <a:pt x="1898969" y="579438"/>
                </a:moveTo>
                <a:cubicBezTo>
                  <a:pt x="1898969" y="579438"/>
                  <a:pt x="1898969" y="579438"/>
                  <a:pt x="1931989" y="616943"/>
                </a:cubicBezTo>
                <a:cubicBezTo>
                  <a:pt x="1927862" y="621110"/>
                  <a:pt x="1927862" y="621110"/>
                  <a:pt x="1923734" y="625277"/>
                </a:cubicBezTo>
                <a:cubicBezTo>
                  <a:pt x="1923734" y="625277"/>
                  <a:pt x="1923734" y="625277"/>
                  <a:pt x="1890714" y="612776"/>
                </a:cubicBezTo>
                <a:cubicBezTo>
                  <a:pt x="1890714" y="612776"/>
                  <a:pt x="1890714" y="612776"/>
                  <a:pt x="1907224" y="637779"/>
                </a:cubicBezTo>
                <a:cubicBezTo>
                  <a:pt x="1903096" y="641946"/>
                  <a:pt x="1903096" y="641946"/>
                  <a:pt x="1898969" y="646113"/>
                </a:cubicBezTo>
                <a:cubicBezTo>
                  <a:pt x="1898969" y="646113"/>
                  <a:pt x="1898969" y="646113"/>
                  <a:pt x="1870076" y="604441"/>
                </a:cubicBezTo>
                <a:cubicBezTo>
                  <a:pt x="1874204" y="604441"/>
                  <a:pt x="1874204" y="600274"/>
                  <a:pt x="1878331" y="600274"/>
                </a:cubicBezTo>
                <a:cubicBezTo>
                  <a:pt x="1878331" y="600274"/>
                  <a:pt x="1878331" y="600274"/>
                  <a:pt x="1911351" y="608608"/>
                </a:cubicBezTo>
                <a:cubicBezTo>
                  <a:pt x="1911351" y="608608"/>
                  <a:pt x="1911351" y="608608"/>
                  <a:pt x="1890714" y="587772"/>
                </a:cubicBezTo>
                <a:cubicBezTo>
                  <a:pt x="1894841" y="583605"/>
                  <a:pt x="1894841" y="583605"/>
                  <a:pt x="1898969" y="579438"/>
                </a:cubicBezTo>
                <a:close/>
                <a:moveTo>
                  <a:pt x="1534626" y="579438"/>
                </a:moveTo>
                <a:cubicBezTo>
                  <a:pt x="1542930" y="587742"/>
                  <a:pt x="1551233" y="596046"/>
                  <a:pt x="1563689" y="604350"/>
                </a:cubicBezTo>
                <a:cubicBezTo>
                  <a:pt x="1559537" y="612653"/>
                  <a:pt x="1559537" y="612653"/>
                  <a:pt x="1559537" y="612653"/>
                </a:cubicBezTo>
                <a:cubicBezTo>
                  <a:pt x="1555385" y="608501"/>
                  <a:pt x="1551233" y="604350"/>
                  <a:pt x="1547081" y="604350"/>
                </a:cubicBezTo>
                <a:cubicBezTo>
                  <a:pt x="1518018" y="633413"/>
                  <a:pt x="1518018" y="633413"/>
                  <a:pt x="1518018" y="633413"/>
                </a:cubicBezTo>
                <a:cubicBezTo>
                  <a:pt x="1509714" y="625109"/>
                  <a:pt x="1509714" y="625109"/>
                  <a:pt x="1509714" y="625109"/>
                </a:cubicBezTo>
                <a:cubicBezTo>
                  <a:pt x="1538778" y="596046"/>
                  <a:pt x="1538778" y="596046"/>
                  <a:pt x="1538778" y="596046"/>
                </a:cubicBezTo>
                <a:cubicBezTo>
                  <a:pt x="1534626" y="591894"/>
                  <a:pt x="1530474" y="587742"/>
                  <a:pt x="1526322" y="583590"/>
                </a:cubicBezTo>
                <a:cubicBezTo>
                  <a:pt x="1534626" y="579438"/>
                  <a:pt x="1534626" y="579438"/>
                  <a:pt x="1534626" y="579438"/>
                </a:cubicBezTo>
                <a:close/>
                <a:moveTo>
                  <a:pt x="1924051" y="566738"/>
                </a:moveTo>
                <a:lnTo>
                  <a:pt x="1931989" y="579438"/>
                </a:lnTo>
                <a:lnTo>
                  <a:pt x="1936751" y="587376"/>
                </a:lnTo>
                <a:lnTo>
                  <a:pt x="1944689" y="579438"/>
                </a:lnTo>
                <a:lnTo>
                  <a:pt x="1944689" y="574676"/>
                </a:lnTo>
                <a:close/>
                <a:moveTo>
                  <a:pt x="1919742" y="558800"/>
                </a:moveTo>
                <a:cubicBezTo>
                  <a:pt x="1970089" y="571103"/>
                  <a:pt x="1970089" y="571103"/>
                  <a:pt x="1970089" y="571103"/>
                </a:cubicBezTo>
                <a:cubicBezTo>
                  <a:pt x="1970089" y="575204"/>
                  <a:pt x="1965894" y="575204"/>
                  <a:pt x="1965894" y="579305"/>
                </a:cubicBezTo>
                <a:cubicBezTo>
                  <a:pt x="1965894" y="579305"/>
                  <a:pt x="1965894" y="579305"/>
                  <a:pt x="1961698" y="579305"/>
                </a:cubicBezTo>
                <a:cubicBezTo>
                  <a:pt x="1953307" y="579305"/>
                  <a:pt x="1953307" y="579305"/>
                  <a:pt x="1953307" y="579305"/>
                </a:cubicBezTo>
                <a:cubicBezTo>
                  <a:pt x="1940720" y="595710"/>
                  <a:pt x="1940720" y="595710"/>
                  <a:pt x="1940720" y="595710"/>
                </a:cubicBezTo>
                <a:cubicBezTo>
                  <a:pt x="1944916" y="603912"/>
                  <a:pt x="1944916" y="603912"/>
                  <a:pt x="1944916" y="603912"/>
                </a:cubicBezTo>
                <a:cubicBezTo>
                  <a:pt x="1944916" y="603912"/>
                  <a:pt x="1940720" y="608013"/>
                  <a:pt x="1940720" y="608013"/>
                </a:cubicBezTo>
                <a:cubicBezTo>
                  <a:pt x="1919742" y="579305"/>
                  <a:pt x="1919742" y="579305"/>
                  <a:pt x="1919742" y="579305"/>
                </a:cubicBezTo>
                <a:cubicBezTo>
                  <a:pt x="1911351" y="567002"/>
                  <a:pt x="1911351" y="567002"/>
                  <a:pt x="1911351" y="567002"/>
                </a:cubicBezTo>
                <a:close/>
                <a:moveTo>
                  <a:pt x="1500586" y="541338"/>
                </a:moveTo>
                <a:cubicBezTo>
                  <a:pt x="1504753" y="545571"/>
                  <a:pt x="1504753" y="545571"/>
                  <a:pt x="1508920" y="549805"/>
                </a:cubicBezTo>
                <a:cubicBezTo>
                  <a:pt x="1508920" y="549805"/>
                  <a:pt x="1508920" y="549805"/>
                  <a:pt x="1496419" y="583671"/>
                </a:cubicBezTo>
                <a:cubicBezTo>
                  <a:pt x="1496419" y="583671"/>
                  <a:pt x="1496419" y="583671"/>
                  <a:pt x="1521422" y="562505"/>
                </a:cubicBezTo>
                <a:cubicBezTo>
                  <a:pt x="1521422" y="566738"/>
                  <a:pt x="1525589" y="566738"/>
                  <a:pt x="1525589" y="570971"/>
                </a:cubicBezTo>
                <a:cubicBezTo>
                  <a:pt x="1525589" y="570971"/>
                  <a:pt x="1525589" y="570971"/>
                  <a:pt x="1488084" y="604838"/>
                </a:cubicBezTo>
                <a:cubicBezTo>
                  <a:pt x="1483917" y="600605"/>
                  <a:pt x="1483917" y="600605"/>
                  <a:pt x="1479750" y="596371"/>
                </a:cubicBezTo>
                <a:cubicBezTo>
                  <a:pt x="1479750" y="596371"/>
                  <a:pt x="1479750" y="596371"/>
                  <a:pt x="1492252" y="562505"/>
                </a:cubicBezTo>
                <a:cubicBezTo>
                  <a:pt x="1492252" y="562505"/>
                  <a:pt x="1492252" y="562505"/>
                  <a:pt x="1467249" y="579438"/>
                </a:cubicBezTo>
                <a:cubicBezTo>
                  <a:pt x="1463081" y="575205"/>
                  <a:pt x="1463081" y="575205"/>
                  <a:pt x="1458914" y="570971"/>
                </a:cubicBezTo>
                <a:cubicBezTo>
                  <a:pt x="1458914" y="570971"/>
                  <a:pt x="1458914" y="570971"/>
                  <a:pt x="1500586" y="541338"/>
                </a:cubicBezTo>
                <a:close/>
                <a:moveTo>
                  <a:pt x="1936752" y="528638"/>
                </a:moveTo>
                <a:lnTo>
                  <a:pt x="1973264" y="550863"/>
                </a:lnTo>
                <a:lnTo>
                  <a:pt x="1985965" y="528638"/>
                </a:lnTo>
                <a:lnTo>
                  <a:pt x="1993902" y="533401"/>
                </a:lnTo>
                <a:lnTo>
                  <a:pt x="1978027" y="561976"/>
                </a:lnTo>
                <a:lnTo>
                  <a:pt x="1931989" y="538163"/>
                </a:lnTo>
                <a:close/>
                <a:moveTo>
                  <a:pt x="1492829" y="525463"/>
                </a:moveTo>
                <a:cubicBezTo>
                  <a:pt x="1492829" y="529630"/>
                  <a:pt x="1497014" y="529630"/>
                  <a:pt x="1497014" y="533798"/>
                </a:cubicBezTo>
                <a:cubicBezTo>
                  <a:pt x="1497014" y="533798"/>
                  <a:pt x="1497014" y="533798"/>
                  <a:pt x="1455161" y="558801"/>
                </a:cubicBezTo>
                <a:cubicBezTo>
                  <a:pt x="1450976" y="554634"/>
                  <a:pt x="1450976" y="550467"/>
                  <a:pt x="1450976" y="550467"/>
                </a:cubicBezTo>
                <a:cubicBezTo>
                  <a:pt x="1450976" y="550467"/>
                  <a:pt x="1450976" y="550467"/>
                  <a:pt x="1492829" y="525463"/>
                </a:cubicBezTo>
                <a:close/>
                <a:moveTo>
                  <a:pt x="1482542" y="485751"/>
                </a:moveTo>
                <a:cubicBezTo>
                  <a:pt x="1480468" y="485230"/>
                  <a:pt x="1478394" y="486272"/>
                  <a:pt x="1476320" y="488355"/>
                </a:cubicBezTo>
                <a:cubicBezTo>
                  <a:pt x="1430696" y="500857"/>
                  <a:pt x="1430696" y="500857"/>
                  <a:pt x="1430696" y="500857"/>
                </a:cubicBezTo>
                <a:cubicBezTo>
                  <a:pt x="1422401" y="505024"/>
                  <a:pt x="1422401" y="509191"/>
                  <a:pt x="1422401" y="517526"/>
                </a:cubicBezTo>
                <a:cubicBezTo>
                  <a:pt x="1468025" y="634207"/>
                  <a:pt x="1584159" y="717551"/>
                  <a:pt x="1716883" y="717551"/>
                </a:cubicBezTo>
                <a:cubicBezTo>
                  <a:pt x="1849607" y="717551"/>
                  <a:pt x="1965740" y="634207"/>
                  <a:pt x="2011364" y="513358"/>
                </a:cubicBezTo>
                <a:cubicBezTo>
                  <a:pt x="2011364" y="509191"/>
                  <a:pt x="2007217" y="505024"/>
                  <a:pt x="2003069" y="500857"/>
                </a:cubicBezTo>
                <a:cubicBezTo>
                  <a:pt x="1957445" y="488355"/>
                  <a:pt x="1957445" y="488355"/>
                  <a:pt x="1957445" y="488355"/>
                </a:cubicBezTo>
                <a:cubicBezTo>
                  <a:pt x="1955371" y="486272"/>
                  <a:pt x="1953297" y="485230"/>
                  <a:pt x="1951224" y="485751"/>
                </a:cubicBezTo>
                <a:cubicBezTo>
                  <a:pt x="1949150" y="486272"/>
                  <a:pt x="1947076" y="488355"/>
                  <a:pt x="1945002" y="492522"/>
                </a:cubicBezTo>
                <a:cubicBezTo>
                  <a:pt x="1907673" y="584201"/>
                  <a:pt x="1820573" y="646709"/>
                  <a:pt x="1716883" y="646709"/>
                </a:cubicBezTo>
                <a:cubicBezTo>
                  <a:pt x="1613192" y="646709"/>
                  <a:pt x="1526092" y="584201"/>
                  <a:pt x="1488763" y="492522"/>
                </a:cubicBezTo>
                <a:cubicBezTo>
                  <a:pt x="1486689" y="488355"/>
                  <a:pt x="1484616" y="486272"/>
                  <a:pt x="1482542" y="485751"/>
                </a:cubicBezTo>
                <a:close/>
                <a:moveTo>
                  <a:pt x="1662749" y="478852"/>
                </a:moveTo>
                <a:cubicBezTo>
                  <a:pt x="1551306" y="533313"/>
                  <a:pt x="1551306" y="533313"/>
                  <a:pt x="1551306" y="533313"/>
                </a:cubicBezTo>
                <a:cubicBezTo>
                  <a:pt x="1547179" y="533313"/>
                  <a:pt x="1543051" y="533313"/>
                  <a:pt x="1543051" y="537502"/>
                </a:cubicBezTo>
                <a:cubicBezTo>
                  <a:pt x="1543051" y="537502"/>
                  <a:pt x="1543051" y="537502"/>
                  <a:pt x="1543051" y="541691"/>
                </a:cubicBezTo>
                <a:cubicBezTo>
                  <a:pt x="1543051" y="541691"/>
                  <a:pt x="1543051" y="545880"/>
                  <a:pt x="1547179" y="545880"/>
                </a:cubicBezTo>
                <a:cubicBezTo>
                  <a:pt x="1584326" y="587773"/>
                  <a:pt x="1621474" y="608719"/>
                  <a:pt x="1675132" y="621287"/>
                </a:cubicBezTo>
                <a:cubicBezTo>
                  <a:pt x="1679259" y="625476"/>
                  <a:pt x="1683387" y="625476"/>
                  <a:pt x="1683387" y="621287"/>
                </a:cubicBezTo>
                <a:cubicBezTo>
                  <a:pt x="1687514" y="621287"/>
                  <a:pt x="1687514" y="617098"/>
                  <a:pt x="1687514" y="608719"/>
                </a:cubicBezTo>
                <a:cubicBezTo>
                  <a:pt x="1687514" y="608719"/>
                  <a:pt x="1679259" y="487231"/>
                  <a:pt x="1679259" y="487231"/>
                </a:cubicBezTo>
                <a:cubicBezTo>
                  <a:pt x="1679259" y="483042"/>
                  <a:pt x="1675132" y="478852"/>
                  <a:pt x="1675132" y="478852"/>
                </a:cubicBezTo>
                <a:cubicBezTo>
                  <a:pt x="1671004" y="474663"/>
                  <a:pt x="1666877" y="474663"/>
                  <a:pt x="1662749" y="478852"/>
                </a:cubicBezTo>
                <a:close/>
                <a:moveTo>
                  <a:pt x="1762761" y="474663"/>
                </a:moveTo>
                <a:cubicBezTo>
                  <a:pt x="1758634" y="478836"/>
                  <a:pt x="1758634" y="483009"/>
                  <a:pt x="1758634" y="487182"/>
                </a:cubicBezTo>
                <a:cubicBezTo>
                  <a:pt x="1746251" y="608194"/>
                  <a:pt x="1746251" y="608194"/>
                  <a:pt x="1746251" y="608194"/>
                </a:cubicBezTo>
                <a:cubicBezTo>
                  <a:pt x="1746251" y="612367"/>
                  <a:pt x="1746251" y="616540"/>
                  <a:pt x="1750379" y="620713"/>
                </a:cubicBezTo>
                <a:cubicBezTo>
                  <a:pt x="1750379" y="620713"/>
                  <a:pt x="1754506" y="620713"/>
                  <a:pt x="1758634" y="620713"/>
                </a:cubicBezTo>
                <a:cubicBezTo>
                  <a:pt x="1812291" y="608194"/>
                  <a:pt x="1849439" y="587330"/>
                  <a:pt x="1886587" y="545602"/>
                </a:cubicBezTo>
                <a:cubicBezTo>
                  <a:pt x="1890714" y="541429"/>
                  <a:pt x="1890714" y="541429"/>
                  <a:pt x="1890714" y="537256"/>
                </a:cubicBezTo>
                <a:cubicBezTo>
                  <a:pt x="1890714" y="533083"/>
                  <a:pt x="1886587" y="533083"/>
                  <a:pt x="1882459" y="528910"/>
                </a:cubicBezTo>
                <a:cubicBezTo>
                  <a:pt x="1775144" y="474663"/>
                  <a:pt x="1775144" y="474663"/>
                  <a:pt x="1775144" y="474663"/>
                </a:cubicBezTo>
                <a:cubicBezTo>
                  <a:pt x="1771016" y="474663"/>
                  <a:pt x="1766889" y="474663"/>
                  <a:pt x="1762761" y="474663"/>
                </a:cubicBezTo>
                <a:close/>
                <a:moveTo>
                  <a:pt x="725572" y="428624"/>
                </a:moveTo>
                <a:cubicBezTo>
                  <a:pt x="705101" y="432820"/>
                  <a:pt x="696913" y="441211"/>
                  <a:pt x="696913" y="457993"/>
                </a:cubicBezTo>
                <a:cubicBezTo>
                  <a:pt x="696913" y="470580"/>
                  <a:pt x="696913" y="487362"/>
                  <a:pt x="717384" y="487362"/>
                </a:cubicBezTo>
                <a:cubicBezTo>
                  <a:pt x="741948" y="487362"/>
                  <a:pt x="774701" y="478971"/>
                  <a:pt x="774701" y="478971"/>
                </a:cubicBezTo>
                <a:cubicBezTo>
                  <a:pt x="774701" y="428624"/>
                  <a:pt x="774701" y="428624"/>
                  <a:pt x="774701" y="428624"/>
                </a:cubicBezTo>
                <a:close/>
                <a:moveTo>
                  <a:pt x="352426" y="346073"/>
                </a:moveTo>
                <a:cubicBezTo>
                  <a:pt x="315516" y="346073"/>
                  <a:pt x="303213" y="362695"/>
                  <a:pt x="303213" y="412562"/>
                </a:cubicBezTo>
                <a:cubicBezTo>
                  <a:pt x="303213" y="462428"/>
                  <a:pt x="311415" y="487361"/>
                  <a:pt x="352426" y="487361"/>
                </a:cubicBezTo>
                <a:cubicBezTo>
                  <a:pt x="393436" y="487361"/>
                  <a:pt x="401638" y="458272"/>
                  <a:pt x="401638" y="412562"/>
                </a:cubicBezTo>
                <a:cubicBezTo>
                  <a:pt x="401638" y="362695"/>
                  <a:pt x="389335" y="346073"/>
                  <a:pt x="352426" y="346073"/>
                </a:cubicBezTo>
                <a:close/>
                <a:moveTo>
                  <a:pt x="1704770" y="341312"/>
                </a:moveTo>
                <a:cubicBezTo>
                  <a:pt x="1704770" y="341312"/>
                  <a:pt x="1704770" y="353885"/>
                  <a:pt x="1704770" y="353885"/>
                </a:cubicBezTo>
                <a:cubicBezTo>
                  <a:pt x="1684063" y="358076"/>
                  <a:pt x="1671639" y="379031"/>
                  <a:pt x="1671639" y="399986"/>
                </a:cubicBezTo>
                <a:cubicBezTo>
                  <a:pt x="1671639" y="425132"/>
                  <a:pt x="1692346" y="446087"/>
                  <a:pt x="1717193" y="446087"/>
                </a:cubicBezTo>
                <a:cubicBezTo>
                  <a:pt x="1742041" y="446087"/>
                  <a:pt x="1766889" y="425132"/>
                  <a:pt x="1766889" y="399986"/>
                </a:cubicBezTo>
                <a:cubicBezTo>
                  <a:pt x="1766889" y="379031"/>
                  <a:pt x="1750324" y="358076"/>
                  <a:pt x="1729617" y="353885"/>
                </a:cubicBezTo>
                <a:cubicBezTo>
                  <a:pt x="1729617" y="349694"/>
                  <a:pt x="1729617" y="341312"/>
                  <a:pt x="1729617" y="341312"/>
                </a:cubicBezTo>
                <a:cubicBezTo>
                  <a:pt x="1704770" y="341312"/>
                  <a:pt x="1704770" y="341312"/>
                  <a:pt x="1704770" y="341312"/>
                </a:cubicBezTo>
                <a:close/>
                <a:moveTo>
                  <a:pt x="1716883" y="328612"/>
                </a:moveTo>
                <a:cubicBezTo>
                  <a:pt x="1755899" y="328612"/>
                  <a:pt x="1787527" y="360596"/>
                  <a:pt x="1787527" y="400050"/>
                </a:cubicBezTo>
                <a:cubicBezTo>
                  <a:pt x="1787527" y="439504"/>
                  <a:pt x="1755899" y="471488"/>
                  <a:pt x="1716883" y="471488"/>
                </a:cubicBezTo>
                <a:cubicBezTo>
                  <a:pt x="1677867" y="471488"/>
                  <a:pt x="1646239" y="439504"/>
                  <a:pt x="1646239" y="400050"/>
                </a:cubicBezTo>
                <a:cubicBezTo>
                  <a:pt x="1646239" y="360596"/>
                  <a:pt x="1677867" y="328612"/>
                  <a:pt x="1716883" y="328612"/>
                </a:cubicBezTo>
                <a:close/>
                <a:moveTo>
                  <a:pt x="1716883" y="320675"/>
                </a:moveTo>
                <a:cubicBezTo>
                  <a:pt x="1673483" y="320675"/>
                  <a:pt x="1638301" y="356212"/>
                  <a:pt x="1638301" y="400050"/>
                </a:cubicBezTo>
                <a:cubicBezTo>
                  <a:pt x="1638301" y="443888"/>
                  <a:pt x="1673483" y="479425"/>
                  <a:pt x="1716883" y="479425"/>
                </a:cubicBezTo>
                <a:cubicBezTo>
                  <a:pt x="1760283" y="479425"/>
                  <a:pt x="1795465" y="443888"/>
                  <a:pt x="1795465" y="400050"/>
                </a:cubicBezTo>
                <a:cubicBezTo>
                  <a:pt x="1795465" y="356212"/>
                  <a:pt x="1760283" y="320675"/>
                  <a:pt x="1716883" y="320675"/>
                </a:cubicBezTo>
                <a:close/>
                <a:moveTo>
                  <a:pt x="1924004" y="317500"/>
                </a:moveTo>
                <a:cubicBezTo>
                  <a:pt x="1924004" y="317500"/>
                  <a:pt x="1919866" y="317500"/>
                  <a:pt x="1911592" y="321667"/>
                </a:cubicBezTo>
                <a:cubicBezTo>
                  <a:pt x="1812301" y="388342"/>
                  <a:pt x="1812301" y="388342"/>
                  <a:pt x="1812301" y="388342"/>
                </a:cubicBezTo>
                <a:cubicBezTo>
                  <a:pt x="1808164" y="392510"/>
                  <a:pt x="1808164" y="396677"/>
                  <a:pt x="1808164" y="400844"/>
                </a:cubicBezTo>
                <a:cubicBezTo>
                  <a:pt x="1808164" y="400844"/>
                  <a:pt x="1808164" y="405011"/>
                  <a:pt x="1812301" y="409178"/>
                </a:cubicBezTo>
                <a:lnTo>
                  <a:pt x="1915729" y="480021"/>
                </a:lnTo>
                <a:cubicBezTo>
                  <a:pt x="1915729" y="480021"/>
                  <a:pt x="1919866" y="484188"/>
                  <a:pt x="1924004" y="480021"/>
                </a:cubicBezTo>
                <a:cubicBezTo>
                  <a:pt x="1928141" y="480021"/>
                  <a:pt x="1928141" y="480021"/>
                  <a:pt x="1928141" y="471686"/>
                </a:cubicBezTo>
                <a:cubicBezTo>
                  <a:pt x="1944689" y="421680"/>
                  <a:pt x="1944689" y="375841"/>
                  <a:pt x="1928141" y="325834"/>
                </a:cubicBezTo>
                <a:cubicBezTo>
                  <a:pt x="1928141" y="321667"/>
                  <a:pt x="1928141" y="317500"/>
                  <a:pt x="1924004" y="317500"/>
                </a:cubicBezTo>
                <a:close/>
                <a:moveTo>
                  <a:pt x="1509762" y="317500"/>
                </a:moveTo>
                <a:cubicBezTo>
                  <a:pt x="1505625" y="317500"/>
                  <a:pt x="1505625" y="321667"/>
                  <a:pt x="1501487" y="325834"/>
                </a:cubicBezTo>
                <a:cubicBezTo>
                  <a:pt x="1489076" y="375841"/>
                  <a:pt x="1489076" y="421680"/>
                  <a:pt x="1501487" y="475854"/>
                </a:cubicBezTo>
                <a:cubicBezTo>
                  <a:pt x="1505625" y="475854"/>
                  <a:pt x="1505625" y="480021"/>
                  <a:pt x="1509762" y="480021"/>
                </a:cubicBezTo>
                <a:cubicBezTo>
                  <a:pt x="1509762" y="484188"/>
                  <a:pt x="1513899" y="480021"/>
                  <a:pt x="1518036" y="480021"/>
                </a:cubicBezTo>
                <a:cubicBezTo>
                  <a:pt x="1621464" y="409178"/>
                  <a:pt x="1621464" y="409178"/>
                  <a:pt x="1621464" y="409178"/>
                </a:cubicBezTo>
                <a:cubicBezTo>
                  <a:pt x="1625601" y="409178"/>
                  <a:pt x="1625601" y="405011"/>
                  <a:pt x="1625601" y="400844"/>
                </a:cubicBezTo>
                <a:cubicBezTo>
                  <a:pt x="1625601" y="396677"/>
                  <a:pt x="1625601" y="392510"/>
                  <a:pt x="1621464" y="388342"/>
                </a:cubicBezTo>
                <a:lnTo>
                  <a:pt x="1518036" y="321667"/>
                </a:lnTo>
                <a:cubicBezTo>
                  <a:pt x="1518036" y="317500"/>
                  <a:pt x="1513899" y="317500"/>
                  <a:pt x="1509762" y="317500"/>
                </a:cubicBezTo>
                <a:close/>
                <a:moveTo>
                  <a:pt x="1032821" y="304799"/>
                </a:moveTo>
                <a:cubicBezTo>
                  <a:pt x="1032821" y="304799"/>
                  <a:pt x="1036942" y="304799"/>
                  <a:pt x="1041062" y="304799"/>
                </a:cubicBezTo>
                <a:cubicBezTo>
                  <a:pt x="1041062" y="304799"/>
                  <a:pt x="1041062" y="304799"/>
                  <a:pt x="1074028" y="304799"/>
                </a:cubicBezTo>
                <a:cubicBezTo>
                  <a:pt x="1078149" y="304799"/>
                  <a:pt x="1078149" y="304799"/>
                  <a:pt x="1082270" y="308966"/>
                </a:cubicBezTo>
                <a:cubicBezTo>
                  <a:pt x="1082270" y="308966"/>
                  <a:pt x="1082270" y="308966"/>
                  <a:pt x="1123477" y="479821"/>
                </a:cubicBezTo>
                <a:cubicBezTo>
                  <a:pt x="1123477" y="479821"/>
                  <a:pt x="1123477" y="479821"/>
                  <a:pt x="1127598" y="479821"/>
                </a:cubicBezTo>
                <a:cubicBezTo>
                  <a:pt x="1127598" y="479821"/>
                  <a:pt x="1127598" y="479821"/>
                  <a:pt x="1172926" y="308966"/>
                </a:cubicBezTo>
                <a:cubicBezTo>
                  <a:pt x="1172926" y="304799"/>
                  <a:pt x="1177047" y="304799"/>
                  <a:pt x="1181168" y="304799"/>
                </a:cubicBezTo>
                <a:cubicBezTo>
                  <a:pt x="1181168" y="304799"/>
                  <a:pt x="1181168" y="304799"/>
                  <a:pt x="1214134" y="304799"/>
                </a:cubicBezTo>
                <a:cubicBezTo>
                  <a:pt x="1218254" y="304799"/>
                  <a:pt x="1218254" y="304799"/>
                  <a:pt x="1222375" y="304799"/>
                </a:cubicBezTo>
                <a:cubicBezTo>
                  <a:pt x="1222375" y="308966"/>
                  <a:pt x="1222375" y="308966"/>
                  <a:pt x="1222375" y="313133"/>
                </a:cubicBezTo>
                <a:cubicBezTo>
                  <a:pt x="1222375" y="313133"/>
                  <a:pt x="1222375" y="313133"/>
                  <a:pt x="1218254" y="338137"/>
                </a:cubicBezTo>
                <a:cubicBezTo>
                  <a:pt x="1214134" y="350638"/>
                  <a:pt x="1210013" y="367307"/>
                  <a:pt x="1201771" y="388143"/>
                </a:cubicBezTo>
                <a:cubicBezTo>
                  <a:pt x="1193530" y="433982"/>
                  <a:pt x="1177047" y="496490"/>
                  <a:pt x="1164685" y="542329"/>
                </a:cubicBezTo>
                <a:cubicBezTo>
                  <a:pt x="1152322" y="584001"/>
                  <a:pt x="1131719" y="604837"/>
                  <a:pt x="1098753" y="604837"/>
                </a:cubicBezTo>
                <a:cubicBezTo>
                  <a:pt x="1098753" y="604837"/>
                  <a:pt x="1098753" y="604837"/>
                  <a:pt x="1094632" y="604837"/>
                </a:cubicBezTo>
                <a:cubicBezTo>
                  <a:pt x="1078149" y="604837"/>
                  <a:pt x="1053425" y="600670"/>
                  <a:pt x="1041062" y="600670"/>
                </a:cubicBezTo>
                <a:cubicBezTo>
                  <a:pt x="1036942" y="596503"/>
                  <a:pt x="1032821" y="596503"/>
                  <a:pt x="1032821" y="592335"/>
                </a:cubicBezTo>
                <a:cubicBezTo>
                  <a:pt x="1032821" y="592335"/>
                  <a:pt x="1032821" y="592335"/>
                  <a:pt x="1032821" y="567332"/>
                </a:cubicBezTo>
                <a:cubicBezTo>
                  <a:pt x="1032821" y="567332"/>
                  <a:pt x="1032821" y="563165"/>
                  <a:pt x="1036942" y="563165"/>
                </a:cubicBezTo>
                <a:cubicBezTo>
                  <a:pt x="1036942" y="558998"/>
                  <a:pt x="1041062" y="558998"/>
                  <a:pt x="1041062" y="558998"/>
                </a:cubicBezTo>
                <a:cubicBezTo>
                  <a:pt x="1041062" y="558998"/>
                  <a:pt x="1041062" y="558998"/>
                  <a:pt x="1082270" y="563165"/>
                </a:cubicBezTo>
                <a:cubicBezTo>
                  <a:pt x="1106994" y="563165"/>
                  <a:pt x="1111115" y="550663"/>
                  <a:pt x="1115236" y="538162"/>
                </a:cubicBezTo>
                <a:cubicBezTo>
                  <a:pt x="1115236" y="533995"/>
                  <a:pt x="1115236" y="533995"/>
                  <a:pt x="1119357" y="529828"/>
                </a:cubicBezTo>
                <a:cubicBezTo>
                  <a:pt x="1119357" y="529828"/>
                  <a:pt x="1119357" y="529828"/>
                  <a:pt x="1106994" y="529828"/>
                </a:cubicBezTo>
                <a:cubicBezTo>
                  <a:pt x="1090511" y="529828"/>
                  <a:pt x="1082270" y="513159"/>
                  <a:pt x="1082270" y="504824"/>
                </a:cubicBezTo>
                <a:cubicBezTo>
                  <a:pt x="1082270" y="504824"/>
                  <a:pt x="1082270" y="504824"/>
                  <a:pt x="1032821" y="313133"/>
                </a:cubicBezTo>
                <a:cubicBezTo>
                  <a:pt x="1028700" y="308966"/>
                  <a:pt x="1032821" y="308966"/>
                  <a:pt x="1032821" y="304799"/>
                </a:cubicBezTo>
                <a:close/>
                <a:moveTo>
                  <a:pt x="994979" y="300037"/>
                </a:moveTo>
                <a:cubicBezTo>
                  <a:pt x="994979" y="300037"/>
                  <a:pt x="999140" y="300037"/>
                  <a:pt x="999140" y="304193"/>
                </a:cubicBezTo>
                <a:cubicBezTo>
                  <a:pt x="1003300" y="304193"/>
                  <a:pt x="1003300" y="308350"/>
                  <a:pt x="1003300" y="308350"/>
                </a:cubicBezTo>
                <a:cubicBezTo>
                  <a:pt x="1003300" y="308350"/>
                  <a:pt x="1003300" y="308350"/>
                  <a:pt x="1003300" y="341601"/>
                </a:cubicBezTo>
                <a:cubicBezTo>
                  <a:pt x="1003300" y="345757"/>
                  <a:pt x="999140" y="345757"/>
                  <a:pt x="994979" y="349913"/>
                </a:cubicBezTo>
                <a:cubicBezTo>
                  <a:pt x="965857" y="349913"/>
                  <a:pt x="940895" y="370695"/>
                  <a:pt x="932574" y="374852"/>
                </a:cubicBezTo>
                <a:cubicBezTo>
                  <a:pt x="932574" y="374852"/>
                  <a:pt x="932574" y="374852"/>
                  <a:pt x="932574" y="520324"/>
                </a:cubicBezTo>
                <a:cubicBezTo>
                  <a:pt x="932574" y="524481"/>
                  <a:pt x="928414" y="528637"/>
                  <a:pt x="924254" y="528637"/>
                </a:cubicBezTo>
                <a:cubicBezTo>
                  <a:pt x="924254" y="528637"/>
                  <a:pt x="924254" y="528637"/>
                  <a:pt x="890971" y="528637"/>
                </a:cubicBezTo>
                <a:cubicBezTo>
                  <a:pt x="886810" y="528637"/>
                  <a:pt x="882650" y="524481"/>
                  <a:pt x="882650" y="520324"/>
                </a:cubicBezTo>
                <a:cubicBezTo>
                  <a:pt x="882650" y="520324"/>
                  <a:pt x="882650" y="520324"/>
                  <a:pt x="882650" y="312506"/>
                </a:cubicBezTo>
                <a:cubicBezTo>
                  <a:pt x="882650" y="304193"/>
                  <a:pt x="886810" y="304193"/>
                  <a:pt x="890971" y="304193"/>
                </a:cubicBezTo>
                <a:cubicBezTo>
                  <a:pt x="890971" y="304193"/>
                  <a:pt x="890971" y="304193"/>
                  <a:pt x="924254" y="304193"/>
                </a:cubicBezTo>
                <a:cubicBezTo>
                  <a:pt x="928414" y="304193"/>
                  <a:pt x="932574" y="304193"/>
                  <a:pt x="932574" y="312506"/>
                </a:cubicBezTo>
                <a:cubicBezTo>
                  <a:pt x="932574" y="312506"/>
                  <a:pt x="932574" y="312506"/>
                  <a:pt x="932574" y="324975"/>
                </a:cubicBezTo>
                <a:cubicBezTo>
                  <a:pt x="949216" y="316662"/>
                  <a:pt x="970017" y="300037"/>
                  <a:pt x="994979" y="300037"/>
                </a:cubicBezTo>
                <a:close/>
                <a:moveTo>
                  <a:pt x="750816" y="295274"/>
                </a:moveTo>
                <a:cubicBezTo>
                  <a:pt x="800606" y="295274"/>
                  <a:pt x="825501" y="320340"/>
                  <a:pt x="825501" y="374649"/>
                </a:cubicBezTo>
                <a:cubicBezTo>
                  <a:pt x="825501" y="525044"/>
                  <a:pt x="825501" y="525044"/>
                  <a:pt x="825501" y="525044"/>
                </a:cubicBezTo>
                <a:cubicBezTo>
                  <a:pt x="825501" y="525044"/>
                  <a:pt x="825501" y="529221"/>
                  <a:pt x="825501" y="529221"/>
                </a:cubicBezTo>
                <a:cubicBezTo>
                  <a:pt x="821352" y="533399"/>
                  <a:pt x="821352" y="533399"/>
                  <a:pt x="817203" y="533399"/>
                </a:cubicBezTo>
                <a:cubicBezTo>
                  <a:pt x="800606" y="529221"/>
                  <a:pt x="792308" y="525044"/>
                  <a:pt x="784010" y="516688"/>
                </a:cubicBezTo>
                <a:cubicBezTo>
                  <a:pt x="784010" y="516688"/>
                  <a:pt x="742518" y="533399"/>
                  <a:pt x="709325" y="533399"/>
                </a:cubicBezTo>
                <a:cubicBezTo>
                  <a:pt x="667833" y="533399"/>
                  <a:pt x="642938" y="508333"/>
                  <a:pt x="642938" y="462379"/>
                </a:cubicBezTo>
                <a:cubicBezTo>
                  <a:pt x="642938" y="416425"/>
                  <a:pt x="667833" y="395537"/>
                  <a:pt x="717623" y="391360"/>
                </a:cubicBezTo>
                <a:cubicBezTo>
                  <a:pt x="775711" y="387182"/>
                  <a:pt x="775711" y="387182"/>
                  <a:pt x="775711" y="387182"/>
                </a:cubicBezTo>
                <a:cubicBezTo>
                  <a:pt x="775711" y="374649"/>
                  <a:pt x="775711" y="374649"/>
                  <a:pt x="775711" y="374649"/>
                </a:cubicBezTo>
                <a:cubicBezTo>
                  <a:pt x="775711" y="357939"/>
                  <a:pt x="763264" y="345406"/>
                  <a:pt x="746667" y="345406"/>
                </a:cubicBezTo>
                <a:cubicBezTo>
                  <a:pt x="721772" y="345406"/>
                  <a:pt x="688579" y="349583"/>
                  <a:pt x="667833" y="349583"/>
                </a:cubicBezTo>
                <a:cubicBezTo>
                  <a:pt x="667833" y="349583"/>
                  <a:pt x="663684" y="349583"/>
                  <a:pt x="663684" y="349583"/>
                </a:cubicBezTo>
                <a:cubicBezTo>
                  <a:pt x="659535" y="345406"/>
                  <a:pt x="659535" y="345406"/>
                  <a:pt x="659535" y="341228"/>
                </a:cubicBezTo>
                <a:cubicBezTo>
                  <a:pt x="659535" y="311985"/>
                  <a:pt x="659535" y="311985"/>
                  <a:pt x="659535" y="311985"/>
                </a:cubicBezTo>
                <a:cubicBezTo>
                  <a:pt x="659535" y="307807"/>
                  <a:pt x="663684" y="303629"/>
                  <a:pt x="667833" y="303629"/>
                </a:cubicBezTo>
                <a:cubicBezTo>
                  <a:pt x="684430" y="303629"/>
                  <a:pt x="725921" y="295274"/>
                  <a:pt x="750816" y="295274"/>
                </a:cubicBezTo>
                <a:close/>
                <a:moveTo>
                  <a:pt x="354013" y="295273"/>
                </a:moveTo>
                <a:cubicBezTo>
                  <a:pt x="410125" y="295273"/>
                  <a:pt x="455613" y="348579"/>
                  <a:pt x="455613" y="414336"/>
                </a:cubicBezTo>
                <a:cubicBezTo>
                  <a:pt x="455613" y="480093"/>
                  <a:pt x="410125" y="533399"/>
                  <a:pt x="354013" y="533399"/>
                </a:cubicBezTo>
                <a:cubicBezTo>
                  <a:pt x="297901" y="533399"/>
                  <a:pt x="252413" y="480093"/>
                  <a:pt x="252413" y="414336"/>
                </a:cubicBezTo>
                <a:cubicBezTo>
                  <a:pt x="252413" y="348579"/>
                  <a:pt x="297901" y="295273"/>
                  <a:pt x="354013" y="295273"/>
                </a:cubicBezTo>
                <a:close/>
                <a:moveTo>
                  <a:pt x="53975" y="266699"/>
                </a:moveTo>
                <a:cubicBezTo>
                  <a:pt x="53975" y="358774"/>
                  <a:pt x="53975" y="358774"/>
                  <a:pt x="53975" y="358774"/>
                </a:cubicBezTo>
                <a:cubicBezTo>
                  <a:pt x="62207" y="358774"/>
                  <a:pt x="82785" y="358774"/>
                  <a:pt x="107480" y="358774"/>
                </a:cubicBezTo>
                <a:cubicBezTo>
                  <a:pt x="144521" y="358774"/>
                  <a:pt x="165100" y="342033"/>
                  <a:pt x="165100" y="312737"/>
                </a:cubicBezTo>
                <a:cubicBezTo>
                  <a:pt x="165100" y="291810"/>
                  <a:pt x="148637" y="266699"/>
                  <a:pt x="111595" y="266699"/>
                </a:cubicBezTo>
                <a:cubicBezTo>
                  <a:pt x="91017" y="266699"/>
                  <a:pt x="91017" y="266699"/>
                  <a:pt x="91017" y="266699"/>
                </a:cubicBezTo>
                <a:cubicBezTo>
                  <a:pt x="70438" y="266699"/>
                  <a:pt x="62207" y="266699"/>
                  <a:pt x="53975" y="266699"/>
                </a:cubicBezTo>
                <a:close/>
                <a:moveTo>
                  <a:pt x="546894" y="250824"/>
                </a:moveTo>
                <a:cubicBezTo>
                  <a:pt x="546894" y="250824"/>
                  <a:pt x="551050" y="250824"/>
                  <a:pt x="551050" y="250824"/>
                </a:cubicBezTo>
                <a:cubicBezTo>
                  <a:pt x="555205" y="254980"/>
                  <a:pt x="555205" y="254980"/>
                  <a:pt x="555205" y="259135"/>
                </a:cubicBezTo>
                <a:cubicBezTo>
                  <a:pt x="555205" y="304846"/>
                  <a:pt x="555205" y="304846"/>
                  <a:pt x="555205" y="304846"/>
                </a:cubicBezTo>
                <a:cubicBezTo>
                  <a:pt x="609227" y="304846"/>
                  <a:pt x="609227" y="304846"/>
                  <a:pt x="609227" y="304846"/>
                </a:cubicBezTo>
                <a:cubicBezTo>
                  <a:pt x="613383" y="304846"/>
                  <a:pt x="617538" y="304846"/>
                  <a:pt x="617538" y="313157"/>
                </a:cubicBezTo>
                <a:cubicBezTo>
                  <a:pt x="617538" y="342245"/>
                  <a:pt x="617538" y="342245"/>
                  <a:pt x="617538" y="342245"/>
                </a:cubicBezTo>
                <a:cubicBezTo>
                  <a:pt x="617538" y="346401"/>
                  <a:pt x="613383" y="350556"/>
                  <a:pt x="609227" y="350556"/>
                </a:cubicBezTo>
                <a:cubicBezTo>
                  <a:pt x="555205" y="350556"/>
                  <a:pt x="555205" y="350556"/>
                  <a:pt x="555205" y="350556"/>
                </a:cubicBezTo>
                <a:cubicBezTo>
                  <a:pt x="555205" y="441978"/>
                  <a:pt x="555205" y="441978"/>
                  <a:pt x="555205" y="441978"/>
                </a:cubicBezTo>
                <a:cubicBezTo>
                  <a:pt x="555205" y="475222"/>
                  <a:pt x="555205" y="483533"/>
                  <a:pt x="580138" y="483533"/>
                </a:cubicBezTo>
                <a:cubicBezTo>
                  <a:pt x="588449" y="483533"/>
                  <a:pt x="600916" y="483533"/>
                  <a:pt x="609227" y="483533"/>
                </a:cubicBezTo>
                <a:cubicBezTo>
                  <a:pt x="613383" y="483533"/>
                  <a:pt x="617538" y="487688"/>
                  <a:pt x="617538" y="491844"/>
                </a:cubicBezTo>
                <a:cubicBezTo>
                  <a:pt x="617538" y="520932"/>
                  <a:pt x="617538" y="520932"/>
                  <a:pt x="617538" y="520932"/>
                </a:cubicBezTo>
                <a:cubicBezTo>
                  <a:pt x="617538" y="525088"/>
                  <a:pt x="613383" y="529244"/>
                  <a:pt x="609227" y="529244"/>
                </a:cubicBezTo>
                <a:cubicBezTo>
                  <a:pt x="596760" y="529244"/>
                  <a:pt x="584294" y="533399"/>
                  <a:pt x="571827" y="533399"/>
                </a:cubicBezTo>
                <a:cubicBezTo>
                  <a:pt x="521961" y="533399"/>
                  <a:pt x="505339" y="512621"/>
                  <a:pt x="505339" y="450289"/>
                </a:cubicBezTo>
                <a:cubicBezTo>
                  <a:pt x="505339" y="350556"/>
                  <a:pt x="505339" y="350556"/>
                  <a:pt x="505339" y="350556"/>
                </a:cubicBezTo>
                <a:cubicBezTo>
                  <a:pt x="484561" y="350556"/>
                  <a:pt x="484561" y="350556"/>
                  <a:pt x="484561" y="350556"/>
                </a:cubicBezTo>
                <a:cubicBezTo>
                  <a:pt x="480406" y="350556"/>
                  <a:pt x="476250" y="346401"/>
                  <a:pt x="476250" y="342245"/>
                </a:cubicBezTo>
                <a:cubicBezTo>
                  <a:pt x="476250" y="313157"/>
                  <a:pt x="476250" y="313157"/>
                  <a:pt x="476250" y="313157"/>
                </a:cubicBezTo>
                <a:cubicBezTo>
                  <a:pt x="476250" y="304846"/>
                  <a:pt x="480406" y="304846"/>
                  <a:pt x="484561" y="304846"/>
                </a:cubicBezTo>
                <a:cubicBezTo>
                  <a:pt x="505339" y="304846"/>
                  <a:pt x="505339" y="304846"/>
                  <a:pt x="505339" y="304846"/>
                </a:cubicBezTo>
                <a:cubicBezTo>
                  <a:pt x="505339" y="267446"/>
                  <a:pt x="505339" y="267446"/>
                  <a:pt x="505339" y="267446"/>
                </a:cubicBezTo>
                <a:cubicBezTo>
                  <a:pt x="505339" y="263291"/>
                  <a:pt x="505339" y="259135"/>
                  <a:pt x="509494" y="259135"/>
                </a:cubicBezTo>
                <a:cubicBezTo>
                  <a:pt x="546894" y="250824"/>
                  <a:pt x="546894" y="250824"/>
                  <a:pt x="546894" y="250824"/>
                </a:cubicBezTo>
                <a:close/>
                <a:moveTo>
                  <a:pt x="103337" y="217487"/>
                </a:moveTo>
                <a:cubicBezTo>
                  <a:pt x="107471" y="217487"/>
                  <a:pt x="111604" y="217487"/>
                  <a:pt x="111604" y="217487"/>
                </a:cubicBezTo>
                <a:cubicBezTo>
                  <a:pt x="198408" y="217487"/>
                  <a:pt x="219075" y="267271"/>
                  <a:pt x="219075" y="312906"/>
                </a:cubicBezTo>
                <a:cubicBezTo>
                  <a:pt x="219075" y="350244"/>
                  <a:pt x="202541" y="375136"/>
                  <a:pt x="165340" y="391731"/>
                </a:cubicBezTo>
                <a:lnTo>
                  <a:pt x="219075" y="516191"/>
                </a:lnTo>
                <a:cubicBezTo>
                  <a:pt x="219075" y="520340"/>
                  <a:pt x="219075" y="520340"/>
                  <a:pt x="219075" y="524488"/>
                </a:cubicBezTo>
                <a:cubicBezTo>
                  <a:pt x="219075" y="524488"/>
                  <a:pt x="214942" y="528637"/>
                  <a:pt x="210808" y="528637"/>
                </a:cubicBezTo>
                <a:cubicBezTo>
                  <a:pt x="173607" y="528637"/>
                  <a:pt x="173607" y="528637"/>
                  <a:pt x="173607" y="528637"/>
                </a:cubicBezTo>
                <a:cubicBezTo>
                  <a:pt x="169473" y="528637"/>
                  <a:pt x="165340" y="524488"/>
                  <a:pt x="165340" y="524488"/>
                </a:cubicBezTo>
                <a:cubicBezTo>
                  <a:pt x="111604" y="408326"/>
                  <a:pt x="111604" y="408326"/>
                  <a:pt x="111604" y="408326"/>
                </a:cubicBezTo>
                <a:cubicBezTo>
                  <a:pt x="86803" y="408326"/>
                  <a:pt x="66136" y="408326"/>
                  <a:pt x="53736" y="404177"/>
                </a:cubicBezTo>
                <a:cubicBezTo>
                  <a:pt x="53736" y="520340"/>
                  <a:pt x="53736" y="520340"/>
                  <a:pt x="53736" y="520340"/>
                </a:cubicBezTo>
                <a:cubicBezTo>
                  <a:pt x="53736" y="524488"/>
                  <a:pt x="49602" y="528637"/>
                  <a:pt x="45469" y="528637"/>
                </a:cubicBezTo>
                <a:cubicBezTo>
                  <a:pt x="8267" y="528637"/>
                  <a:pt x="8267" y="528637"/>
                  <a:pt x="8267" y="528637"/>
                </a:cubicBezTo>
                <a:cubicBezTo>
                  <a:pt x="4134" y="528637"/>
                  <a:pt x="0" y="524488"/>
                  <a:pt x="0" y="520340"/>
                </a:cubicBezTo>
                <a:cubicBezTo>
                  <a:pt x="0" y="229933"/>
                  <a:pt x="0" y="229933"/>
                  <a:pt x="0" y="229933"/>
                </a:cubicBezTo>
                <a:cubicBezTo>
                  <a:pt x="0" y="225784"/>
                  <a:pt x="4134" y="221636"/>
                  <a:pt x="8267" y="221636"/>
                </a:cubicBezTo>
                <a:cubicBezTo>
                  <a:pt x="53736" y="217487"/>
                  <a:pt x="90937" y="217487"/>
                  <a:pt x="103337" y="217487"/>
                </a:cubicBezTo>
                <a:close/>
                <a:moveTo>
                  <a:pt x="1941299" y="180951"/>
                </a:moveTo>
                <a:cubicBezTo>
                  <a:pt x="1938725" y="180430"/>
                  <a:pt x="1936665" y="181472"/>
                  <a:pt x="1936665" y="183555"/>
                </a:cubicBezTo>
                <a:cubicBezTo>
                  <a:pt x="1903714" y="221060"/>
                  <a:pt x="1903714" y="221060"/>
                  <a:pt x="1903714" y="221060"/>
                </a:cubicBezTo>
                <a:cubicBezTo>
                  <a:pt x="1895476" y="225227"/>
                  <a:pt x="1895476" y="233562"/>
                  <a:pt x="1903714" y="237729"/>
                </a:cubicBezTo>
                <a:cubicBezTo>
                  <a:pt x="1953141" y="291902"/>
                  <a:pt x="1973736" y="362745"/>
                  <a:pt x="1957260" y="450256"/>
                </a:cubicBezTo>
                <a:cubicBezTo>
                  <a:pt x="1957260" y="458590"/>
                  <a:pt x="1961379" y="462757"/>
                  <a:pt x="1965498" y="462757"/>
                </a:cubicBezTo>
                <a:cubicBezTo>
                  <a:pt x="2010806" y="475259"/>
                  <a:pt x="2010806" y="475259"/>
                  <a:pt x="2010806" y="475259"/>
                </a:cubicBezTo>
                <a:cubicBezTo>
                  <a:pt x="2019044" y="479426"/>
                  <a:pt x="2023163" y="475259"/>
                  <a:pt x="2023163" y="471092"/>
                </a:cubicBezTo>
                <a:cubicBezTo>
                  <a:pt x="2047876" y="362745"/>
                  <a:pt x="2014925" y="254398"/>
                  <a:pt x="1949022" y="187722"/>
                </a:cubicBezTo>
                <a:cubicBezTo>
                  <a:pt x="1946963" y="183555"/>
                  <a:pt x="1943873" y="181472"/>
                  <a:pt x="1941299" y="180951"/>
                </a:cubicBezTo>
                <a:close/>
                <a:moveTo>
                  <a:pt x="1491989" y="180951"/>
                </a:moveTo>
                <a:cubicBezTo>
                  <a:pt x="1489388" y="181472"/>
                  <a:pt x="1486266" y="183555"/>
                  <a:pt x="1484185" y="187722"/>
                </a:cubicBezTo>
                <a:cubicBezTo>
                  <a:pt x="1417596" y="254398"/>
                  <a:pt x="1384301" y="362745"/>
                  <a:pt x="1409272" y="471092"/>
                </a:cubicBezTo>
                <a:cubicBezTo>
                  <a:pt x="1409272" y="475259"/>
                  <a:pt x="1413434" y="479426"/>
                  <a:pt x="1421758" y="475259"/>
                </a:cubicBezTo>
                <a:cubicBezTo>
                  <a:pt x="1467538" y="462757"/>
                  <a:pt x="1467538" y="462757"/>
                  <a:pt x="1467538" y="462757"/>
                </a:cubicBezTo>
                <a:cubicBezTo>
                  <a:pt x="1471700" y="462757"/>
                  <a:pt x="1475862" y="458590"/>
                  <a:pt x="1475862" y="450256"/>
                </a:cubicBezTo>
                <a:cubicBezTo>
                  <a:pt x="1459214" y="362745"/>
                  <a:pt x="1480023" y="291902"/>
                  <a:pt x="1529965" y="237729"/>
                </a:cubicBezTo>
                <a:cubicBezTo>
                  <a:pt x="1538289" y="233562"/>
                  <a:pt x="1538289" y="225227"/>
                  <a:pt x="1534127" y="221060"/>
                </a:cubicBezTo>
                <a:cubicBezTo>
                  <a:pt x="1496671" y="183555"/>
                  <a:pt x="1496671" y="183555"/>
                  <a:pt x="1496671" y="183555"/>
                </a:cubicBezTo>
                <a:cubicBezTo>
                  <a:pt x="1496671" y="181472"/>
                  <a:pt x="1494590" y="180430"/>
                  <a:pt x="1491989" y="180951"/>
                </a:cubicBezTo>
                <a:close/>
                <a:moveTo>
                  <a:pt x="1750379" y="174625"/>
                </a:moveTo>
                <a:cubicBezTo>
                  <a:pt x="1746251" y="178798"/>
                  <a:pt x="1746251" y="182971"/>
                  <a:pt x="1746251" y="187144"/>
                </a:cubicBezTo>
                <a:cubicBezTo>
                  <a:pt x="1754506" y="308156"/>
                  <a:pt x="1754506" y="308156"/>
                  <a:pt x="1754506" y="308156"/>
                </a:cubicBezTo>
                <a:cubicBezTo>
                  <a:pt x="1758634" y="312329"/>
                  <a:pt x="1758634" y="316502"/>
                  <a:pt x="1762761" y="320675"/>
                </a:cubicBezTo>
                <a:cubicBezTo>
                  <a:pt x="1766889" y="320675"/>
                  <a:pt x="1771016" y="320675"/>
                  <a:pt x="1775144" y="320675"/>
                </a:cubicBezTo>
                <a:cubicBezTo>
                  <a:pt x="1882459" y="266428"/>
                  <a:pt x="1882459" y="266428"/>
                  <a:pt x="1882459" y="266428"/>
                </a:cubicBezTo>
                <a:cubicBezTo>
                  <a:pt x="1886587" y="262255"/>
                  <a:pt x="1890714" y="262255"/>
                  <a:pt x="1890714" y="258082"/>
                </a:cubicBezTo>
                <a:cubicBezTo>
                  <a:pt x="1890714" y="253909"/>
                  <a:pt x="1890714" y="253909"/>
                  <a:pt x="1886587" y="249736"/>
                </a:cubicBezTo>
                <a:cubicBezTo>
                  <a:pt x="1849439" y="208008"/>
                  <a:pt x="1812291" y="187144"/>
                  <a:pt x="1758634" y="174625"/>
                </a:cubicBezTo>
                <a:cubicBezTo>
                  <a:pt x="1754506" y="174625"/>
                  <a:pt x="1754506" y="174625"/>
                  <a:pt x="1750379" y="174625"/>
                </a:cubicBezTo>
                <a:close/>
                <a:moveTo>
                  <a:pt x="1675132" y="174625"/>
                </a:moveTo>
                <a:cubicBezTo>
                  <a:pt x="1621474" y="187144"/>
                  <a:pt x="1584326" y="212181"/>
                  <a:pt x="1547179" y="249736"/>
                </a:cubicBezTo>
                <a:cubicBezTo>
                  <a:pt x="1543051" y="253909"/>
                  <a:pt x="1543051" y="258082"/>
                  <a:pt x="1543051" y="258082"/>
                </a:cubicBezTo>
                <a:cubicBezTo>
                  <a:pt x="1543051" y="262255"/>
                  <a:pt x="1547179" y="266428"/>
                  <a:pt x="1551306" y="266428"/>
                </a:cubicBezTo>
                <a:cubicBezTo>
                  <a:pt x="1658622" y="320675"/>
                  <a:pt x="1658622" y="320675"/>
                  <a:pt x="1658622" y="320675"/>
                </a:cubicBezTo>
                <a:cubicBezTo>
                  <a:pt x="1662749" y="320675"/>
                  <a:pt x="1666877" y="320675"/>
                  <a:pt x="1671004" y="320675"/>
                </a:cubicBezTo>
                <a:cubicBezTo>
                  <a:pt x="1675132" y="320675"/>
                  <a:pt x="1675132" y="316502"/>
                  <a:pt x="1675132" y="312329"/>
                </a:cubicBezTo>
                <a:cubicBezTo>
                  <a:pt x="1687514" y="187144"/>
                  <a:pt x="1687514" y="187144"/>
                  <a:pt x="1687514" y="187144"/>
                </a:cubicBezTo>
                <a:cubicBezTo>
                  <a:pt x="1687514" y="182971"/>
                  <a:pt x="1683387" y="178798"/>
                  <a:pt x="1683387" y="174625"/>
                </a:cubicBezTo>
                <a:cubicBezTo>
                  <a:pt x="1679259" y="174625"/>
                  <a:pt x="1679259" y="174625"/>
                  <a:pt x="1675132" y="174625"/>
                </a:cubicBezTo>
                <a:close/>
                <a:moveTo>
                  <a:pt x="1579247" y="133350"/>
                </a:moveTo>
                <a:cubicBezTo>
                  <a:pt x="1575119" y="137716"/>
                  <a:pt x="1570992" y="137716"/>
                  <a:pt x="1566864" y="142082"/>
                </a:cubicBezTo>
                <a:cubicBezTo>
                  <a:pt x="1570992" y="142082"/>
                  <a:pt x="1570992" y="142082"/>
                  <a:pt x="1570992" y="142082"/>
                </a:cubicBezTo>
                <a:cubicBezTo>
                  <a:pt x="1575119" y="150813"/>
                  <a:pt x="1575119" y="150813"/>
                  <a:pt x="1575119" y="150813"/>
                </a:cubicBezTo>
                <a:cubicBezTo>
                  <a:pt x="1583375" y="146447"/>
                  <a:pt x="1583375" y="146447"/>
                  <a:pt x="1583375" y="146447"/>
                </a:cubicBezTo>
                <a:cubicBezTo>
                  <a:pt x="1587502" y="146447"/>
                  <a:pt x="1587502" y="146447"/>
                  <a:pt x="1587502" y="142082"/>
                </a:cubicBezTo>
                <a:cubicBezTo>
                  <a:pt x="1587502" y="137716"/>
                  <a:pt x="1583375" y="133350"/>
                  <a:pt x="1579247" y="133350"/>
                </a:cubicBezTo>
                <a:close/>
                <a:moveTo>
                  <a:pt x="1575142" y="124846"/>
                </a:moveTo>
                <a:cubicBezTo>
                  <a:pt x="1587729" y="120650"/>
                  <a:pt x="1600315" y="133237"/>
                  <a:pt x="1596120" y="141628"/>
                </a:cubicBezTo>
                <a:cubicBezTo>
                  <a:pt x="1596120" y="145823"/>
                  <a:pt x="1596120" y="145823"/>
                  <a:pt x="1596120" y="145823"/>
                </a:cubicBezTo>
                <a:cubicBezTo>
                  <a:pt x="1612902" y="162606"/>
                  <a:pt x="1612902" y="162606"/>
                  <a:pt x="1612902" y="162606"/>
                </a:cubicBezTo>
                <a:cubicBezTo>
                  <a:pt x="1608707" y="162606"/>
                  <a:pt x="1608707" y="162606"/>
                  <a:pt x="1604511" y="166801"/>
                </a:cubicBezTo>
                <a:cubicBezTo>
                  <a:pt x="1587729" y="154215"/>
                  <a:pt x="1587729" y="154215"/>
                  <a:pt x="1587729" y="154215"/>
                </a:cubicBezTo>
                <a:cubicBezTo>
                  <a:pt x="1579338" y="158410"/>
                  <a:pt x="1579338" y="158410"/>
                  <a:pt x="1579338" y="158410"/>
                </a:cubicBezTo>
                <a:cubicBezTo>
                  <a:pt x="1587729" y="175192"/>
                  <a:pt x="1587729" y="175192"/>
                  <a:pt x="1587729" y="175192"/>
                </a:cubicBezTo>
                <a:cubicBezTo>
                  <a:pt x="1583533" y="175192"/>
                  <a:pt x="1583533" y="179388"/>
                  <a:pt x="1579338" y="179388"/>
                </a:cubicBezTo>
                <a:lnTo>
                  <a:pt x="1558360" y="141628"/>
                </a:lnTo>
                <a:cubicBezTo>
                  <a:pt x="1554164" y="137432"/>
                  <a:pt x="1554164" y="137432"/>
                  <a:pt x="1554164" y="137432"/>
                </a:cubicBezTo>
                <a:cubicBezTo>
                  <a:pt x="1562555" y="133237"/>
                  <a:pt x="1570946" y="129041"/>
                  <a:pt x="1575142" y="124846"/>
                </a:cubicBezTo>
                <a:close/>
                <a:moveTo>
                  <a:pt x="1836161" y="117475"/>
                </a:moveTo>
                <a:cubicBezTo>
                  <a:pt x="1840347" y="117475"/>
                  <a:pt x="1840347" y="117475"/>
                  <a:pt x="1844532" y="121557"/>
                </a:cubicBezTo>
                <a:cubicBezTo>
                  <a:pt x="1844532" y="121557"/>
                  <a:pt x="1844532" y="121557"/>
                  <a:pt x="1848717" y="141968"/>
                </a:cubicBezTo>
                <a:cubicBezTo>
                  <a:pt x="1848717" y="141968"/>
                  <a:pt x="1848717" y="141968"/>
                  <a:pt x="1869644" y="133804"/>
                </a:cubicBezTo>
                <a:cubicBezTo>
                  <a:pt x="1873829" y="133804"/>
                  <a:pt x="1878014" y="137886"/>
                  <a:pt x="1878014" y="137886"/>
                </a:cubicBezTo>
                <a:cubicBezTo>
                  <a:pt x="1878014" y="137886"/>
                  <a:pt x="1878014" y="137886"/>
                  <a:pt x="1848717" y="154214"/>
                </a:cubicBezTo>
                <a:cubicBezTo>
                  <a:pt x="1848717" y="154214"/>
                  <a:pt x="1848717" y="154214"/>
                  <a:pt x="1840347" y="174625"/>
                </a:cubicBezTo>
                <a:lnTo>
                  <a:pt x="1831976" y="166461"/>
                </a:lnTo>
                <a:cubicBezTo>
                  <a:pt x="1831976" y="166461"/>
                  <a:pt x="1831976" y="166461"/>
                  <a:pt x="1840347" y="146050"/>
                </a:cubicBezTo>
                <a:cubicBezTo>
                  <a:pt x="1840347" y="146050"/>
                  <a:pt x="1840347" y="146050"/>
                  <a:pt x="1836161" y="117475"/>
                </a:cubicBezTo>
                <a:close/>
                <a:moveTo>
                  <a:pt x="1794829" y="112713"/>
                </a:moveTo>
                <a:cubicBezTo>
                  <a:pt x="1790701" y="120651"/>
                  <a:pt x="1790701" y="120651"/>
                  <a:pt x="1790701" y="120651"/>
                </a:cubicBezTo>
                <a:lnTo>
                  <a:pt x="1790701" y="124619"/>
                </a:lnTo>
                <a:cubicBezTo>
                  <a:pt x="1803084" y="128588"/>
                  <a:pt x="1803084" y="128588"/>
                  <a:pt x="1803084" y="128588"/>
                </a:cubicBezTo>
                <a:cubicBezTo>
                  <a:pt x="1807212" y="128588"/>
                  <a:pt x="1811339" y="124619"/>
                  <a:pt x="1811339" y="120651"/>
                </a:cubicBezTo>
                <a:cubicBezTo>
                  <a:pt x="1811339" y="116682"/>
                  <a:pt x="1807212" y="116682"/>
                  <a:pt x="1807212" y="116682"/>
                </a:cubicBezTo>
                <a:cubicBezTo>
                  <a:pt x="1803084" y="112713"/>
                  <a:pt x="1798956" y="112713"/>
                  <a:pt x="1794829" y="112713"/>
                </a:cubicBezTo>
                <a:close/>
                <a:moveTo>
                  <a:pt x="1637508" y="112117"/>
                </a:moveTo>
                <a:cubicBezTo>
                  <a:pt x="1629174" y="112117"/>
                  <a:pt x="1620839" y="116285"/>
                  <a:pt x="1620839" y="124619"/>
                </a:cubicBezTo>
                <a:cubicBezTo>
                  <a:pt x="1620839" y="128786"/>
                  <a:pt x="1620839" y="128786"/>
                  <a:pt x="1620839" y="128786"/>
                </a:cubicBezTo>
                <a:cubicBezTo>
                  <a:pt x="1620839" y="137121"/>
                  <a:pt x="1629174" y="141288"/>
                  <a:pt x="1637508" y="141288"/>
                </a:cubicBezTo>
                <a:cubicBezTo>
                  <a:pt x="1645843" y="141288"/>
                  <a:pt x="1654177" y="132954"/>
                  <a:pt x="1654177" y="124619"/>
                </a:cubicBezTo>
                <a:cubicBezTo>
                  <a:pt x="1654177" y="116285"/>
                  <a:pt x="1645843" y="107950"/>
                  <a:pt x="1637508" y="112117"/>
                </a:cubicBezTo>
                <a:close/>
                <a:moveTo>
                  <a:pt x="1741489" y="104775"/>
                </a:moveTo>
                <a:cubicBezTo>
                  <a:pt x="1737520" y="117158"/>
                  <a:pt x="1737520" y="117158"/>
                  <a:pt x="1737520" y="117158"/>
                </a:cubicBezTo>
                <a:lnTo>
                  <a:pt x="1733551" y="125413"/>
                </a:lnTo>
                <a:cubicBezTo>
                  <a:pt x="1737520" y="125413"/>
                  <a:pt x="1745457" y="125413"/>
                  <a:pt x="1749426" y="125413"/>
                </a:cubicBezTo>
                <a:cubicBezTo>
                  <a:pt x="1745457" y="117158"/>
                  <a:pt x="1745457" y="117158"/>
                  <a:pt x="1745457" y="117158"/>
                </a:cubicBezTo>
                <a:cubicBezTo>
                  <a:pt x="1741489" y="104775"/>
                  <a:pt x="1741489" y="104775"/>
                  <a:pt x="1741489" y="104775"/>
                </a:cubicBezTo>
                <a:close/>
                <a:moveTo>
                  <a:pt x="1633407" y="104165"/>
                </a:moveTo>
                <a:cubicBezTo>
                  <a:pt x="1649811" y="100013"/>
                  <a:pt x="1662114" y="112469"/>
                  <a:pt x="1662114" y="124925"/>
                </a:cubicBezTo>
                <a:cubicBezTo>
                  <a:pt x="1662114" y="141532"/>
                  <a:pt x="1653912" y="149836"/>
                  <a:pt x="1637508" y="149836"/>
                </a:cubicBezTo>
                <a:cubicBezTo>
                  <a:pt x="1625204" y="153988"/>
                  <a:pt x="1612901" y="141532"/>
                  <a:pt x="1612901" y="129076"/>
                </a:cubicBezTo>
                <a:cubicBezTo>
                  <a:pt x="1612901" y="129076"/>
                  <a:pt x="1612901" y="129076"/>
                  <a:pt x="1612901" y="124925"/>
                </a:cubicBezTo>
                <a:cubicBezTo>
                  <a:pt x="1612901" y="112469"/>
                  <a:pt x="1621103" y="104165"/>
                  <a:pt x="1633407" y="104165"/>
                </a:cubicBezTo>
                <a:close/>
                <a:moveTo>
                  <a:pt x="1787382" y="100013"/>
                </a:moveTo>
                <a:cubicBezTo>
                  <a:pt x="1795752" y="100013"/>
                  <a:pt x="1804123" y="104209"/>
                  <a:pt x="1812494" y="108404"/>
                </a:cubicBezTo>
                <a:cubicBezTo>
                  <a:pt x="1816679" y="108404"/>
                  <a:pt x="1820864" y="112600"/>
                  <a:pt x="1820864" y="120991"/>
                </a:cubicBezTo>
                <a:cubicBezTo>
                  <a:pt x="1820864" y="125186"/>
                  <a:pt x="1816679" y="133578"/>
                  <a:pt x="1808308" y="137773"/>
                </a:cubicBezTo>
                <a:cubicBezTo>
                  <a:pt x="1812494" y="158751"/>
                  <a:pt x="1812494" y="158751"/>
                  <a:pt x="1812494" y="158751"/>
                </a:cubicBezTo>
                <a:cubicBezTo>
                  <a:pt x="1808308" y="158751"/>
                  <a:pt x="1808308" y="158751"/>
                  <a:pt x="1804123" y="154555"/>
                </a:cubicBezTo>
                <a:cubicBezTo>
                  <a:pt x="1799938" y="133578"/>
                  <a:pt x="1799938" y="133578"/>
                  <a:pt x="1799938" y="133578"/>
                </a:cubicBezTo>
                <a:cubicBezTo>
                  <a:pt x="1791567" y="133578"/>
                  <a:pt x="1791567" y="133578"/>
                  <a:pt x="1791567" y="133578"/>
                </a:cubicBezTo>
                <a:lnTo>
                  <a:pt x="1787382" y="150360"/>
                </a:lnTo>
                <a:cubicBezTo>
                  <a:pt x="1783197" y="150360"/>
                  <a:pt x="1779011" y="150360"/>
                  <a:pt x="1774826" y="146164"/>
                </a:cubicBezTo>
                <a:cubicBezTo>
                  <a:pt x="1783197" y="120991"/>
                  <a:pt x="1783197" y="120991"/>
                  <a:pt x="1783197" y="120991"/>
                </a:cubicBezTo>
                <a:cubicBezTo>
                  <a:pt x="1787382" y="100013"/>
                  <a:pt x="1787382" y="100013"/>
                  <a:pt x="1787382" y="100013"/>
                </a:cubicBezTo>
                <a:close/>
                <a:moveTo>
                  <a:pt x="1737015" y="92075"/>
                </a:moveTo>
                <a:cubicBezTo>
                  <a:pt x="1749571" y="92075"/>
                  <a:pt x="1749571" y="92075"/>
                  <a:pt x="1749571" y="92075"/>
                </a:cubicBezTo>
                <a:cubicBezTo>
                  <a:pt x="1753757" y="116987"/>
                  <a:pt x="1753757" y="116987"/>
                  <a:pt x="1753757" y="116987"/>
                </a:cubicBezTo>
                <a:cubicBezTo>
                  <a:pt x="1762127" y="146050"/>
                  <a:pt x="1762127" y="146050"/>
                  <a:pt x="1762127" y="146050"/>
                </a:cubicBezTo>
                <a:cubicBezTo>
                  <a:pt x="1757942" y="146050"/>
                  <a:pt x="1757942" y="141898"/>
                  <a:pt x="1753757" y="141898"/>
                </a:cubicBezTo>
                <a:cubicBezTo>
                  <a:pt x="1749571" y="133594"/>
                  <a:pt x="1749571" y="133594"/>
                  <a:pt x="1749571" y="133594"/>
                </a:cubicBezTo>
                <a:cubicBezTo>
                  <a:pt x="1741201" y="133594"/>
                  <a:pt x="1737015" y="133594"/>
                  <a:pt x="1728645" y="133594"/>
                </a:cubicBezTo>
                <a:lnTo>
                  <a:pt x="1724460" y="141898"/>
                </a:lnTo>
                <a:cubicBezTo>
                  <a:pt x="1720274" y="141898"/>
                  <a:pt x="1720274" y="141898"/>
                  <a:pt x="1716089" y="141898"/>
                </a:cubicBezTo>
                <a:cubicBezTo>
                  <a:pt x="1728645" y="116987"/>
                  <a:pt x="1728645" y="116987"/>
                  <a:pt x="1728645" y="116987"/>
                </a:cubicBezTo>
                <a:cubicBezTo>
                  <a:pt x="1737015" y="92075"/>
                  <a:pt x="1737015" y="92075"/>
                  <a:pt x="1737015" y="92075"/>
                </a:cubicBezTo>
                <a:close/>
                <a:moveTo>
                  <a:pt x="1712914" y="92075"/>
                </a:moveTo>
                <a:cubicBezTo>
                  <a:pt x="1712914" y="92075"/>
                  <a:pt x="1712914" y="92075"/>
                  <a:pt x="1712914" y="100277"/>
                </a:cubicBezTo>
                <a:cubicBezTo>
                  <a:pt x="1712914" y="100277"/>
                  <a:pt x="1712914" y="100277"/>
                  <a:pt x="1696173" y="100277"/>
                </a:cubicBezTo>
                <a:cubicBezTo>
                  <a:pt x="1696173" y="100277"/>
                  <a:pt x="1696173" y="100277"/>
                  <a:pt x="1700358" y="141288"/>
                </a:cubicBezTo>
                <a:cubicBezTo>
                  <a:pt x="1700358" y="141288"/>
                  <a:pt x="1700358" y="141288"/>
                  <a:pt x="1687802" y="141288"/>
                </a:cubicBezTo>
                <a:cubicBezTo>
                  <a:pt x="1687802" y="141288"/>
                  <a:pt x="1687802" y="141288"/>
                  <a:pt x="1683617" y="100277"/>
                </a:cubicBezTo>
                <a:lnTo>
                  <a:pt x="1666876" y="104378"/>
                </a:lnTo>
                <a:cubicBezTo>
                  <a:pt x="1666876" y="104378"/>
                  <a:pt x="1666876" y="104378"/>
                  <a:pt x="1666876" y="96176"/>
                </a:cubicBezTo>
                <a:cubicBezTo>
                  <a:pt x="1683617" y="92075"/>
                  <a:pt x="1691988" y="92075"/>
                  <a:pt x="1712914" y="92075"/>
                </a:cubicBezTo>
                <a:close/>
                <a:moveTo>
                  <a:pt x="1181630" y="92074"/>
                </a:moveTo>
                <a:cubicBezTo>
                  <a:pt x="1160463" y="92074"/>
                  <a:pt x="1147763" y="112712"/>
                  <a:pt x="1147763" y="133349"/>
                </a:cubicBezTo>
                <a:lnTo>
                  <a:pt x="1211263" y="133349"/>
                </a:lnTo>
                <a:cubicBezTo>
                  <a:pt x="1211263" y="112712"/>
                  <a:pt x="1202796" y="92074"/>
                  <a:pt x="1181630" y="92074"/>
                </a:cubicBezTo>
                <a:close/>
                <a:moveTo>
                  <a:pt x="1716089" y="84138"/>
                </a:moveTo>
                <a:cubicBezTo>
                  <a:pt x="1641444" y="84138"/>
                  <a:pt x="1575093" y="108903"/>
                  <a:pt x="1521183" y="150178"/>
                </a:cubicBezTo>
                <a:cubicBezTo>
                  <a:pt x="1512889" y="158433"/>
                  <a:pt x="1512889" y="162561"/>
                  <a:pt x="1517036" y="166688"/>
                </a:cubicBezTo>
                <a:cubicBezTo>
                  <a:pt x="1550212" y="203836"/>
                  <a:pt x="1550212" y="203836"/>
                  <a:pt x="1550212" y="203836"/>
                </a:cubicBezTo>
                <a:cubicBezTo>
                  <a:pt x="1554359" y="207963"/>
                  <a:pt x="1558505" y="207963"/>
                  <a:pt x="1566799" y="203836"/>
                </a:cubicBezTo>
                <a:cubicBezTo>
                  <a:pt x="1608269" y="170816"/>
                  <a:pt x="1658032" y="150178"/>
                  <a:pt x="1716089" y="150178"/>
                </a:cubicBezTo>
                <a:cubicBezTo>
                  <a:pt x="1769999" y="150178"/>
                  <a:pt x="1823910" y="170816"/>
                  <a:pt x="1865379" y="203836"/>
                </a:cubicBezTo>
                <a:cubicBezTo>
                  <a:pt x="1873673" y="207963"/>
                  <a:pt x="1877820" y="207963"/>
                  <a:pt x="1881967" y="203836"/>
                </a:cubicBezTo>
                <a:cubicBezTo>
                  <a:pt x="1915142" y="166688"/>
                  <a:pt x="1915142" y="166688"/>
                  <a:pt x="1915142" y="166688"/>
                </a:cubicBezTo>
                <a:cubicBezTo>
                  <a:pt x="1919289" y="162561"/>
                  <a:pt x="1919289" y="158433"/>
                  <a:pt x="1910995" y="150178"/>
                </a:cubicBezTo>
                <a:cubicBezTo>
                  <a:pt x="1857085" y="108903"/>
                  <a:pt x="1790734" y="84138"/>
                  <a:pt x="1716089" y="84138"/>
                </a:cubicBezTo>
                <a:close/>
                <a:moveTo>
                  <a:pt x="1181894" y="84137"/>
                </a:moveTo>
                <a:cubicBezTo>
                  <a:pt x="1214799" y="84137"/>
                  <a:pt x="1227138" y="108970"/>
                  <a:pt x="1227138" y="137942"/>
                </a:cubicBezTo>
                <a:cubicBezTo>
                  <a:pt x="1227138" y="146220"/>
                  <a:pt x="1227138" y="146220"/>
                  <a:pt x="1227138" y="146220"/>
                </a:cubicBezTo>
                <a:cubicBezTo>
                  <a:pt x="1148989" y="146220"/>
                  <a:pt x="1148989" y="146220"/>
                  <a:pt x="1148989" y="146220"/>
                </a:cubicBezTo>
                <a:cubicBezTo>
                  <a:pt x="1148989" y="166914"/>
                  <a:pt x="1161329" y="187608"/>
                  <a:pt x="1186007" y="187608"/>
                </a:cubicBezTo>
                <a:cubicBezTo>
                  <a:pt x="1198346" y="187608"/>
                  <a:pt x="1210686" y="183470"/>
                  <a:pt x="1218912" y="179331"/>
                </a:cubicBezTo>
                <a:lnTo>
                  <a:pt x="1218912" y="191747"/>
                </a:lnTo>
                <a:cubicBezTo>
                  <a:pt x="1210686" y="195886"/>
                  <a:pt x="1194233" y="200025"/>
                  <a:pt x="1186007" y="200025"/>
                </a:cubicBezTo>
                <a:cubicBezTo>
                  <a:pt x="1148989" y="200025"/>
                  <a:pt x="1136650" y="175192"/>
                  <a:pt x="1136650" y="142081"/>
                </a:cubicBezTo>
                <a:cubicBezTo>
                  <a:pt x="1136650" y="104831"/>
                  <a:pt x="1153102" y="84137"/>
                  <a:pt x="1181894" y="84137"/>
                </a:cubicBezTo>
                <a:close/>
                <a:moveTo>
                  <a:pt x="887413" y="41274"/>
                </a:moveTo>
                <a:lnTo>
                  <a:pt x="995363" y="41274"/>
                </a:lnTo>
                <a:lnTo>
                  <a:pt x="995363" y="53974"/>
                </a:lnTo>
                <a:lnTo>
                  <a:pt x="949326" y="53974"/>
                </a:lnTo>
                <a:lnTo>
                  <a:pt x="949326" y="195262"/>
                </a:lnTo>
                <a:lnTo>
                  <a:pt x="933451" y="195262"/>
                </a:lnTo>
                <a:lnTo>
                  <a:pt x="933451" y="53974"/>
                </a:lnTo>
                <a:lnTo>
                  <a:pt x="887413" y="53974"/>
                </a:lnTo>
                <a:close/>
                <a:moveTo>
                  <a:pt x="1020763" y="28574"/>
                </a:moveTo>
                <a:cubicBezTo>
                  <a:pt x="1033010" y="28574"/>
                  <a:pt x="1033010" y="28574"/>
                  <a:pt x="1033010" y="28574"/>
                </a:cubicBezTo>
                <a:cubicBezTo>
                  <a:pt x="1033010" y="103584"/>
                  <a:pt x="1033010" y="103584"/>
                  <a:pt x="1033010" y="103584"/>
                </a:cubicBezTo>
                <a:cubicBezTo>
                  <a:pt x="1041174" y="91082"/>
                  <a:pt x="1053420" y="82748"/>
                  <a:pt x="1069749" y="82748"/>
                </a:cubicBezTo>
                <a:cubicBezTo>
                  <a:pt x="1098324" y="82748"/>
                  <a:pt x="1106488" y="99416"/>
                  <a:pt x="1106488" y="128587"/>
                </a:cubicBezTo>
                <a:cubicBezTo>
                  <a:pt x="1106488" y="195262"/>
                  <a:pt x="1106488" y="195262"/>
                  <a:pt x="1106488" y="195262"/>
                </a:cubicBezTo>
                <a:cubicBezTo>
                  <a:pt x="1090160" y="195262"/>
                  <a:pt x="1090160" y="195262"/>
                  <a:pt x="1090160" y="195262"/>
                </a:cubicBezTo>
                <a:cubicBezTo>
                  <a:pt x="1090160" y="128587"/>
                  <a:pt x="1090160" y="128587"/>
                  <a:pt x="1090160" y="128587"/>
                </a:cubicBezTo>
                <a:cubicBezTo>
                  <a:pt x="1090160" y="107751"/>
                  <a:pt x="1090160" y="91082"/>
                  <a:pt x="1065667" y="91082"/>
                </a:cubicBezTo>
                <a:cubicBezTo>
                  <a:pt x="1041174" y="91082"/>
                  <a:pt x="1033010" y="116085"/>
                  <a:pt x="1033010" y="136921"/>
                </a:cubicBezTo>
                <a:cubicBezTo>
                  <a:pt x="1033010" y="195262"/>
                  <a:pt x="1033010" y="195262"/>
                  <a:pt x="1033010" y="195262"/>
                </a:cubicBezTo>
                <a:cubicBezTo>
                  <a:pt x="1020763" y="195262"/>
                  <a:pt x="1020763" y="195262"/>
                  <a:pt x="1020763" y="195262"/>
                </a:cubicBezTo>
                <a:close/>
                <a:moveTo>
                  <a:pt x="1704456" y="0"/>
                </a:moveTo>
                <a:cubicBezTo>
                  <a:pt x="1712741" y="0"/>
                  <a:pt x="1721026" y="0"/>
                  <a:pt x="1729310" y="0"/>
                </a:cubicBezTo>
                <a:cubicBezTo>
                  <a:pt x="1741737" y="20820"/>
                  <a:pt x="1745880" y="41641"/>
                  <a:pt x="1745880" y="62461"/>
                </a:cubicBezTo>
                <a:cubicBezTo>
                  <a:pt x="1750022" y="62461"/>
                  <a:pt x="1770734" y="66625"/>
                  <a:pt x="1774877" y="66625"/>
                </a:cubicBezTo>
                <a:cubicBezTo>
                  <a:pt x="1779019" y="45805"/>
                  <a:pt x="1791446" y="24984"/>
                  <a:pt x="1803873" y="12492"/>
                </a:cubicBezTo>
                <a:cubicBezTo>
                  <a:pt x="1808016" y="12492"/>
                  <a:pt x="1808016" y="12492"/>
                  <a:pt x="1808016" y="12492"/>
                </a:cubicBezTo>
                <a:cubicBezTo>
                  <a:pt x="1816300" y="12492"/>
                  <a:pt x="1824585" y="16656"/>
                  <a:pt x="1832870" y="16656"/>
                </a:cubicBezTo>
                <a:cubicBezTo>
                  <a:pt x="1832870" y="20820"/>
                  <a:pt x="1832870" y="20820"/>
                  <a:pt x="1832870" y="20820"/>
                </a:cubicBezTo>
                <a:cubicBezTo>
                  <a:pt x="1837012" y="29149"/>
                  <a:pt x="1837012" y="37477"/>
                  <a:pt x="1837012" y="49969"/>
                </a:cubicBezTo>
                <a:cubicBezTo>
                  <a:pt x="1837012" y="62461"/>
                  <a:pt x="1837012" y="70789"/>
                  <a:pt x="1832870" y="83282"/>
                </a:cubicBezTo>
                <a:cubicBezTo>
                  <a:pt x="1837012" y="83282"/>
                  <a:pt x="1853582" y="91610"/>
                  <a:pt x="1857724" y="91610"/>
                </a:cubicBezTo>
                <a:cubicBezTo>
                  <a:pt x="1870151" y="74953"/>
                  <a:pt x="1886721" y="58297"/>
                  <a:pt x="1903291" y="49969"/>
                </a:cubicBezTo>
                <a:cubicBezTo>
                  <a:pt x="1911575" y="49969"/>
                  <a:pt x="1919860" y="58297"/>
                  <a:pt x="1928145" y="62461"/>
                </a:cubicBezTo>
                <a:cubicBezTo>
                  <a:pt x="1928145" y="83282"/>
                  <a:pt x="1919860" y="104102"/>
                  <a:pt x="1911575" y="124922"/>
                </a:cubicBezTo>
                <a:cubicBezTo>
                  <a:pt x="1911575" y="124922"/>
                  <a:pt x="1928145" y="137414"/>
                  <a:pt x="1932287" y="141579"/>
                </a:cubicBezTo>
                <a:cubicBezTo>
                  <a:pt x="1948857" y="124922"/>
                  <a:pt x="1965426" y="112430"/>
                  <a:pt x="1986138" y="108266"/>
                </a:cubicBezTo>
                <a:cubicBezTo>
                  <a:pt x="1994423" y="112430"/>
                  <a:pt x="2002708" y="120758"/>
                  <a:pt x="2006850" y="129086"/>
                </a:cubicBezTo>
                <a:cubicBezTo>
                  <a:pt x="2002708" y="149907"/>
                  <a:pt x="1990281" y="166563"/>
                  <a:pt x="1973711" y="183219"/>
                </a:cubicBezTo>
                <a:cubicBezTo>
                  <a:pt x="1977853" y="187383"/>
                  <a:pt x="1990281" y="204040"/>
                  <a:pt x="1990281" y="204040"/>
                </a:cubicBezTo>
                <a:cubicBezTo>
                  <a:pt x="2010993" y="195711"/>
                  <a:pt x="2031705" y="187383"/>
                  <a:pt x="2052416" y="187383"/>
                </a:cubicBezTo>
                <a:cubicBezTo>
                  <a:pt x="2052416" y="191547"/>
                  <a:pt x="2052416" y="191547"/>
                  <a:pt x="2052416" y="191547"/>
                </a:cubicBezTo>
                <a:cubicBezTo>
                  <a:pt x="2056559" y="195711"/>
                  <a:pt x="2064844" y="204040"/>
                  <a:pt x="2064844" y="212368"/>
                </a:cubicBezTo>
                <a:cubicBezTo>
                  <a:pt x="2056559" y="233188"/>
                  <a:pt x="2039989" y="245680"/>
                  <a:pt x="2023420" y="258173"/>
                </a:cubicBezTo>
                <a:cubicBezTo>
                  <a:pt x="2023420" y="262337"/>
                  <a:pt x="2031705" y="278993"/>
                  <a:pt x="2031705" y="283157"/>
                </a:cubicBezTo>
                <a:cubicBezTo>
                  <a:pt x="2052416" y="278993"/>
                  <a:pt x="2073128" y="278993"/>
                  <a:pt x="2093840" y="283157"/>
                </a:cubicBezTo>
                <a:cubicBezTo>
                  <a:pt x="2097983" y="291485"/>
                  <a:pt x="2102125" y="299813"/>
                  <a:pt x="2102125" y="308141"/>
                </a:cubicBezTo>
                <a:cubicBezTo>
                  <a:pt x="2102125" y="312306"/>
                  <a:pt x="2102125" y="312306"/>
                  <a:pt x="2102125" y="312306"/>
                </a:cubicBezTo>
                <a:cubicBezTo>
                  <a:pt x="2089698" y="324798"/>
                  <a:pt x="2068986" y="337290"/>
                  <a:pt x="2048274" y="341454"/>
                </a:cubicBezTo>
                <a:cubicBezTo>
                  <a:pt x="2048274" y="345618"/>
                  <a:pt x="2052416" y="366438"/>
                  <a:pt x="2052416" y="366438"/>
                </a:cubicBezTo>
                <a:cubicBezTo>
                  <a:pt x="2073128" y="366438"/>
                  <a:pt x="2093840" y="374767"/>
                  <a:pt x="2110410" y="383095"/>
                </a:cubicBezTo>
                <a:cubicBezTo>
                  <a:pt x="2110410" y="387259"/>
                  <a:pt x="2110410" y="387259"/>
                  <a:pt x="2110410" y="387259"/>
                </a:cubicBezTo>
                <a:cubicBezTo>
                  <a:pt x="2114552" y="391423"/>
                  <a:pt x="2114552" y="395587"/>
                  <a:pt x="2114552" y="399751"/>
                </a:cubicBezTo>
                <a:cubicBezTo>
                  <a:pt x="2114552" y="403915"/>
                  <a:pt x="2114552" y="408079"/>
                  <a:pt x="2110410" y="412243"/>
                </a:cubicBezTo>
                <a:cubicBezTo>
                  <a:pt x="2093840" y="424736"/>
                  <a:pt x="2073128" y="428900"/>
                  <a:pt x="2052416" y="428900"/>
                </a:cubicBezTo>
                <a:cubicBezTo>
                  <a:pt x="2048274" y="433064"/>
                  <a:pt x="2048274" y="453884"/>
                  <a:pt x="2048274" y="453884"/>
                </a:cubicBezTo>
                <a:cubicBezTo>
                  <a:pt x="2068986" y="462212"/>
                  <a:pt x="2085556" y="470540"/>
                  <a:pt x="2102125" y="487197"/>
                </a:cubicBezTo>
                <a:cubicBezTo>
                  <a:pt x="2102125" y="495525"/>
                  <a:pt x="2097983" y="508017"/>
                  <a:pt x="2093840" y="512181"/>
                </a:cubicBezTo>
                <a:cubicBezTo>
                  <a:pt x="2093840" y="516345"/>
                  <a:pt x="2093840" y="516345"/>
                  <a:pt x="2093840" y="516345"/>
                </a:cubicBezTo>
                <a:cubicBezTo>
                  <a:pt x="2073128" y="520509"/>
                  <a:pt x="2052416" y="520509"/>
                  <a:pt x="2031705" y="516345"/>
                </a:cubicBezTo>
                <a:cubicBezTo>
                  <a:pt x="2031705" y="516345"/>
                  <a:pt x="2023420" y="537165"/>
                  <a:pt x="2023420" y="537165"/>
                </a:cubicBezTo>
                <a:cubicBezTo>
                  <a:pt x="2039989" y="549658"/>
                  <a:pt x="2056559" y="566314"/>
                  <a:pt x="2064844" y="582970"/>
                </a:cubicBezTo>
                <a:cubicBezTo>
                  <a:pt x="2064844" y="587134"/>
                  <a:pt x="2064844" y="587134"/>
                  <a:pt x="2064844" y="587134"/>
                </a:cubicBezTo>
                <a:cubicBezTo>
                  <a:pt x="2060701" y="591298"/>
                  <a:pt x="2056559" y="599627"/>
                  <a:pt x="2052416" y="607955"/>
                </a:cubicBezTo>
                <a:cubicBezTo>
                  <a:pt x="2031705" y="607955"/>
                  <a:pt x="2010993" y="603791"/>
                  <a:pt x="1990281" y="591298"/>
                </a:cubicBezTo>
                <a:cubicBezTo>
                  <a:pt x="1990281" y="595463"/>
                  <a:pt x="1977853" y="612119"/>
                  <a:pt x="1973711" y="612119"/>
                </a:cubicBezTo>
                <a:cubicBezTo>
                  <a:pt x="1990281" y="628775"/>
                  <a:pt x="2002708" y="649595"/>
                  <a:pt x="2006850" y="666252"/>
                </a:cubicBezTo>
                <a:cubicBezTo>
                  <a:pt x="2006850" y="670416"/>
                  <a:pt x="2006850" y="670416"/>
                  <a:pt x="2006850" y="670416"/>
                </a:cubicBezTo>
                <a:cubicBezTo>
                  <a:pt x="2002708" y="674580"/>
                  <a:pt x="1994423" y="682908"/>
                  <a:pt x="1986138" y="687072"/>
                </a:cubicBezTo>
                <a:cubicBezTo>
                  <a:pt x="1965426" y="682908"/>
                  <a:pt x="1944714" y="670416"/>
                  <a:pt x="1932287" y="657924"/>
                </a:cubicBezTo>
                <a:cubicBezTo>
                  <a:pt x="1928145" y="657924"/>
                  <a:pt x="1911575" y="670416"/>
                  <a:pt x="1911575" y="674580"/>
                </a:cubicBezTo>
                <a:cubicBezTo>
                  <a:pt x="1919860" y="691236"/>
                  <a:pt x="1928145" y="712057"/>
                  <a:pt x="1928145" y="732877"/>
                </a:cubicBezTo>
                <a:cubicBezTo>
                  <a:pt x="1928145" y="732877"/>
                  <a:pt x="1928145" y="737041"/>
                  <a:pt x="1928145" y="737041"/>
                </a:cubicBezTo>
                <a:cubicBezTo>
                  <a:pt x="1924002" y="737041"/>
                  <a:pt x="1924002" y="737041"/>
                  <a:pt x="1924002" y="737041"/>
                </a:cubicBezTo>
                <a:cubicBezTo>
                  <a:pt x="1919860" y="741205"/>
                  <a:pt x="1911575" y="745369"/>
                  <a:pt x="1903291" y="749533"/>
                </a:cubicBezTo>
                <a:cubicBezTo>
                  <a:pt x="1882579" y="737041"/>
                  <a:pt x="1870151" y="724549"/>
                  <a:pt x="1857724" y="703728"/>
                </a:cubicBezTo>
                <a:cubicBezTo>
                  <a:pt x="1853582" y="703728"/>
                  <a:pt x="1837012" y="712057"/>
                  <a:pt x="1832870" y="716221"/>
                </a:cubicBezTo>
                <a:cubicBezTo>
                  <a:pt x="1837012" y="724549"/>
                  <a:pt x="1837012" y="737041"/>
                  <a:pt x="1837012" y="745369"/>
                </a:cubicBezTo>
                <a:cubicBezTo>
                  <a:pt x="1837012" y="757861"/>
                  <a:pt x="1837012" y="766190"/>
                  <a:pt x="1832870" y="778682"/>
                </a:cubicBezTo>
                <a:cubicBezTo>
                  <a:pt x="1824585" y="782846"/>
                  <a:pt x="1816300" y="782846"/>
                  <a:pt x="1808016" y="787010"/>
                </a:cubicBezTo>
                <a:cubicBezTo>
                  <a:pt x="1803873" y="787010"/>
                  <a:pt x="1803873" y="787010"/>
                  <a:pt x="1803873" y="787010"/>
                </a:cubicBezTo>
                <a:cubicBezTo>
                  <a:pt x="1791446" y="770354"/>
                  <a:pt x="1779019" y="749533"/>
                  <a:pt x="1774877" y="732877"/>
                </a:cubicBezTo>
                <a:cubicBezTo>
                  <a:pt x="1770734" y="732877"/>
                  <a:pt x="1750022" y="732877"/>
                  <a:pt x="1750022" y="732877"/>
                </a:cubicBezTo>
                <a:cubicBezTo>
                  <a:pt x="1750022" y="757861"/>
                  <a:pt x="1741737" y="778682"/>
                  <a:pt x="1733453" y="795338"/>
                </a:cubicBezTo>
                <a:cubicBezTo>
                  <a:pt x="1729310" y="795338"/>
                  <a:pt x="1729310" y="795338"/>
                  <a:pt x="1729310" y="795338"/>
                </a:cubicBezTo>
                <a:cubicBezTo>
                  <a:pt x="1725168" y="795338"/>
                  <a:pt x="1712741" y="795338"/>
                  <a:pt x="1704456" y="795338"/>
                </a:cubicBezTo>
                <a:cubicBezTo>
                  <a:pt x="1692029" y="778682"/>
                  <a:pt x="1687886" y="757861"/>
                  <a:pt x="1687886" y="732877"/>
                </a:cubicBezTo>
                <a:cubicBezTo>
                  <a:pt x="1683744" y="732877"/>
                  <a:pt x="1663032" y="732877"/>
                  <a:pt x="1658890" y="732877"/>
                </a:cubicBezTo>
                <a:cubicBezTo>
                  <a:pt x="1654747" y="749533"/>
                  <a:pt x="1642320" y="770354"/>
                  <a:pt x="1629893" y="787010"/>
                </a:cubicBezTo>
                <a:cubicBezTo>
                  <a:pt x="1625751" y="787010"/>
                  <a:pt x="1625751" y="787010"/>
                  <a:pt x="1625751" y="787010"/>
                </a:cubicBezTo>
                <a:cubicBezTo>
                  <a:pt x="1617466" y="782846"/>
                  <a:pt x="1609181" y="782846"/>
                  <a:pt x="1600896" y="778682"/>
                </a:cubicBezTo>
                <a:cubicBezTo>
                  <a:pt x="1596754" y="766190"/>
                  <a:pt x="1596754" y="757861"/>
                  <a:pt x="1596754" y="745369"/>
                </a:cubicBezTo>
                <a:cubicBezTo>
                  <a:pt x="1596754" y="737041"/>
                  <a:pt x="1596754" y="724549"/>
                  <a:pt x="1600896" y="716221"/>
                </a:cubicBezTo>
                <a:cubicBezTo>
                  <a:pt x="1596754" y="712057"/>
                  <a:pt x="1580184" y="707892"/>
                  <a:pt x="1576042" y="703728"/>
                </a:cubicBezTo>
                <a:cubicBezTo>
                  <a:pt x="1567757" y="724549"/>
                  <a:pt x="1551188" y="741205"/>
                  <a:pt x="1534618" y="749533"/>
                </a:cubicBezTo>
                <a:cubicBezTo>
                  <a:pt x="1530476" y="749533"/>
                  <a:pt x="1530476" y="749533"/>
                  <a:pt x="1530476" y="749533"/>
                </a:cubicBezTo>
                <a:cubicBezTo>
                  <a:pt x="1522191" y="745369"/>
                  <a:pt x="1513906" y="741205"/>
                  <a:pt x="1509764" y="737041"/>
                </a:cubicBezTo>
                <a:cubicBezTo>
                  <a:pt x="1509764" y="737041"/>
                  <a:pt x="1509764" y="732877"/>
                  <a:pt x="1509764" y="732877"/>
                </a:cubicBezTo>
                <a:cubicBezTo>
                  <a:pt x="1509764" y="716221"/>
                  <a:pt x="1513906" y="691236"/>
                  <a:pt x="1522191" y="674580"/>
                </a:cubicBezTo>
                <a:cubicBezTo>
                  <a:pt x="1522191" y="674580"/>
                  <a:pt x="1505621" y="657924"/>
                  <a:pt x="1501479" y="657924"/>
                </a:cubicBezTo>
                <a:cubicBezTo>
                  <a:pt x="1489052" y="674580"/>
                  <a:pt x="1468340" y="682908"/>
                  <a:pt x="1447628" y="687072"/>
                </a:cubicBezTo>
                <a:cubicBezTo>
                  <a:pt x="1439343" y="682908"/>
                  <a:pt x="1435201" y="674580"/>
                  <a:pt x="1426916" y="670416"/>
                </a:cubicBezTo>
                <a:cubicBezTo>
                  <a:pt x="1435201" y="649595"/>
                  <a:pt x="1443486" y="628775"/>
                  <a:pt x="1460055" y="616283"/>
                </a:cubicBezTo>
                <a:cubicBezTo>
                  <a:pt x="1455913" y="612119"/>
                  <a:pt x="1443486" y="595463"/>
                  <a:pt x="1443486" y="591298"/>
                </a:cubicBezTo>
                <a:cubicBezTo>
                  <a:pt x="1422774" y="603791"/>
                  <a:pt x="1402062" y="607955"/>
                  <a:pt x="1381350" y="607955"/>
                </a:cubicBezTo>
                <a:cubicBezTo>
                  <a:pt x="1377208" y="603791"/>
                  <a:pt x="1373065" y="591298"/>
                  <a:pt x="1368923" y="587134"/>
                </a:cubicBezTo>
                <a:cubicBezTo>
                  <a:pt x="1368923" y="582970"/>
                  <a:pt x="1368923" y="582970"/>
                  <a:pt x="1368923" y="582970"/>
                </a:cubicBezTo>
                <a:cubicBezTo>
                  <a:pt x="1377208" y="566314"/>
                  <a:pt x="1393777" y="549658"/>
                  <a:pt x="1414489" y="541330"/>
                </a:cubicBezTo>
                <a:cubicBezTo>
                  <a:pt x="1410347" y="537165"/>
                  <a:pt x="1402062" y="516345"/>
                  <a:pt x="1402062" y="516345"/>
                </a:cubicBezTo>
                <a:cubicBezTo>
                  <a:pt x="1381350" y="520509"/>
                  <a:pt x="1360638" y="520509"/>
                  <a:pt x="1339926" y="516345"/>
                </a:cubicBezTo>
                <a:cubicBezTo>
                  <a:pt x="1335784" y="508017"/>
                  <a:pt x="1331641" y="495525"/>
                  <a:pt x="1331641" y="491361"/>
                </a:cubicBezTo>
                <a:cubicBezTo>
                  <a:pt x="1331641" y="487197"/>
                  <a:pt x="1331641" y="487197"/>
                  <a:pt x="1331641" y="487197"/>
                </a:cubicBezTo>
                <a:cubicBezTo>
                  <a:pt x="1344068" y="474704"/>
                  <a:pt x="1364780" y="462212"/>
                  <a:pt x="1385492" y="453884"/>
                </a:cubicBezTo>
                <a:cubicBezTo>
                  <a:pt x="1385492" y="453884"/>
                  <a:pt x="1381350" y="433064"/>
                  <a:pt x="1381350" y="428900"/>
                </a:cubicBezTo>
                <a:cubicBezTo>
                  <a:pt x="1360638" y="428900"/>
                  <a:pt x="1339926" y="424736"/>
                  <a:pt x="1323357" y="412243"/>
                </a:cubicBezTo>
                <a:cubicBezTo>
                  <a:pt x="1319214" y="412243"/>
                  <a:pt x="1319214" y="412243"/>
                  <a:pt x="1319214" y="412243"/>
                </a:cubicBezTo>
                <a:cubicBezTo>
                  <a:pt x="1319214" y="408079"/>
                  <a:pt x="1319214" y="403915"/>
                  <a:pt x="1319214" y="399751"/>
                </a:cubicBezTo>
                <a:cubicBezTo>
                  <a:pt x="1319214" y="391423"/>
                  <a:pt x="1319214" y="387259"/>
                  <a:pt x="1319214" y="383095"/>
                </a:cubicBezTo>
                <a:cubicBezTo>
                  <a:pt x="1323357" y="383095"/>
                  <a:pt x="1323357" y="383095"/>
                  <a:pt x="1323357" y="383095"/>
                </a:cubicBezTo>
                <a:cubicBezTo>
                  <a:pt x="1339926" y="374767"/>
                  <a:pt x="1360638" y="366438"/>
                  <a:pt x="1381350" y="366438"/>
                </a:cubicBezTo>
                <a:cubicBezTo>
                  <a:pt x="1381350" y="362274"/>
                  <a:pt x="1385492" y="345618"/>
                  <a:pt x="1385492" y="341454"/>
                </a:cubicBezTo>
                <a:cubicBezTo>
                  <a:pt x="1364780" y="333126"/>
                  <a:pt x="1344068" y="324798"/>
                  <a:pt x="1331641" y="308141"/>
                </a:cubicBezTo>
                <a:cubicBezTo>
                  <a:pt x="1331641" y="299813"/>
                  <a:pt x="1335784" y="291485"/>
                  <a:pt x="1339926" y="283157"/>
                </a:cubicBezTo>
                <a:cubicBezTo>
                  <a:pt x="1356496" y="274829"/>
                  <a:pt x="1381350" y="274829"/>
                  <a:pt x="1402062" y="283157"/>
                </a:cubicBezTo>
                <a:cubicBezTo>
                  <a:pt x="1402062" y="278993"/>
                  <a:pt x="1410347" y="262337"/>
                  <a:pt x="1410347" y="258173"/>
                </a:cubicBezTo>
                <a:cubicBezTo>
                  <a:pt x="1393777" y="245680"/>
                  <a:pt x="1377208" y="229024"/>
                  <a:pt x="1368923" y="212368"/>
                </a:cubicBezTo>
                <a:cubicBezTo>
                  <a:pt x="1368923" y="204040"/>
                  <a:pt x="1377208" y="195711"/>
                  <a:pt x="1381350" y="187383"/>
                </a:cubicBezTo>
                <a:cubicBezTo>
                  <a:pt x="1402062" y="187383"/>
                  <a:pt x="1422774" y="195711"/>
                  <a:pt x="1443486" y="204040"/>
                </a:cubicBezTo>
                <a:cubicBezTo>
                  <a:pt x="1443486" y="204040"/>
                  <a:pt x="1455913" y="183219"/>
                  <a:pt x="1460055" y="183219"/>
                </a:cubicBezTo>
                <a:cubicBezTo>
                  <a:pt x="1443486" y="166563"/>
                  <a:pt x="1431059" y="145743"/>
                  <a:pt x="1426916" y="129086"/>
                </a:cubicBezTo>
                <a:cubicBezTo>
                  <a:pt x="1426916" y="124922"/>
                  <a:pt x="1426916" y="124922"/>
                  <a:pt x="1426916" y="124922"/>
                </a:cubicBezTo>
                <a:cubicBezTo>
                  <a:pt x="1431059" y="120758"/>
                  <a:pt x="1439343" y="112430"/>
                  <a:pt x="1447628" y="108266"/>
                </a:cubicBezTo>
                <a:cubicBezTo>
                  <a:pt x="1468340" y="112430"/>
                  <a:pt x="1489052" y="124922"/>
                  <a:pt x="1501479" y="137414"/>
                </a:cubicBezTo>
                <a:cubicBezTo>
                  <a:pt x="1505621" y="137414"/>
                  <a:pt x="1518049" y="124922"/>
                  <a:pt x="1522191" y="124922"/>
                </a:cubicBezTo>
                <a:cubicBezTo>
                  <a:pt x="1509764" y="104102"/>
                  <a:pt x="1505621" y="83282"/>
                  <a:pt x="1505621" y="62461"/>
                </a:cubicBezTo>
                <a:cubicBezTo>
                  <a:pt x="1513906" y="58297"/>
                  <a:pt x="1522191" y="49969"/>
                  <a:pt x="1530476" y="49969"/>
                </a:cubicBezTo>
                <a:cubicBezTo>
                  <a:pt x="1547045" y="58297"/>
                  <a:pt x="1563615" y="74953"/>
                  <a:pt x="1576042" y="91610"/>
                </a:cubicBezTo>
                <a:cubicBezTo>
                  <a:pt x="1576042" y="91610"/>
                  <a:pt x="1596754" y="83282"/>
                  <a:pt x="1600896" y="83282"/>
                </a:cubicBezTo>
                <a:cubicBezTo>
                  <a:pt x="1596754" y="70789"/>
                  <a:pt x="1596754" y="62461"/>
                  <a:pt x="1596754" y="49969"/>
                </a:cubicBezTo>
                <a:cubicBezTo>
                  <a:pt x="1596754" y="37477"/>
                  <a:pt x="1596754" y="29149"/>
                  <a:pt x="1600896" y="20820"/>
                </a:cubicBezTo>
                <a:cubicBezTo>
                  <a:pt x="1600896" y="16656"/>
                  <a:pt x="1600896" y="16656"/>
                  <a:pt x="1600896" y="16656"/>
                </a:cubicBezTo>
                <a:cubicBezTo>
                  <a:pt x="1609181" y="16656"/>
                  <a:pt x="1617466" y="12492"/>
                  <a:pt x="1625751" y="12492"/>
                </a:cubicBezTo>
                <a:cubicBezTo>
                  <a:pt x="1629893" y="12492"/>
                  <a:pt x="1629893" y="12492"/>
                  <a:pt x="1629893" y="12492"/>
                </a:cubicBezTo>
                <a:cubicBezTo>
                  <a:pt x="1642320" y="24984"/>
                  <a:pt x="1654747" y="45805"/>
                  <a:pt x="1658890" y="66625"/>
                </a:cubicBezTo>
                <a:cubicBezTo>
                  <a:pt x="1663032" y="66625"/>
                  <a:pt x="1683744" y="62461"/>
                  <a:pt x="1687886" y="62461"/>
                </a:cubicBezTo>
                <a:cubicBezTo>
                  <a:pt x="1687886" y="41641"/>
                  <a:pt x="1692029" y="20820"/>
                  <a:pt x="1704456"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spTree>
    <p:extLst>
      <p:ext uri="{BB962C8B-B14F-4D97-AF65-F5344CB8AC3E}">
        <p14:creationId xmlns:p14="http://schemas.microsoft.com/office/powerpoint/2010/main" val="18971462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p:cNvSpPr/>
          <p:nvPr userDrawn="1"/>
        </p:nvSpPr>
        <p:spPr>
          <a:xfrm>
            <a:off x="-203200" y="2667000"/>
            <a:ext cx="12700000" cy="1600200"/>
          </a:xfrm>
          <a:prstGeom prst="rect">
            <a:avLst/>
          </a:prstGeom>
          <a:solidFill>
            <a:schemeClr val="accent6"/>
          </a:solidFill>
          <a:ln>
            <a:noFill/>
          </a:ln>
          <a:effectLst>
            <a:outerShdw blurRad="88900" dist="61087" dir="5400000" rotWithShape="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ctrTitle" hasCustomPrompt="1"/>
          </p:nvPr>
        </p:nvSpPr>
        <p:spPr>
          <a:xfrm>
            <a:off x="203200" y="2667000"/>
            <a:ext cx="11785600" cy="1600200"/>
          </a:xfrm>
          <a:prstGeom prst="rect">
            <a:avLst/>
          </a:prstGeom>
        </p:spPr>
        <p:txBody>
          <a:bodyPr lIns="0" tIns="0" rIns="0" bIns="0" anchor="ctr" anchorCtr="0"/>
          <a:lstStyle>
            <a:lvl1pPr>
              <a:defRPr sz="3200">
                <a:solidFill>
                  <a:schemeClr val="bg1"/>
                </a:solidFill>
                <a:latin typeface="Arial Narrow"/>
                <a:cs typeface="Arial Narrow"/>
              </a:defRPr>
            </a:lvl1pPr>
          </a:lstStyle>
          <a:p>
            <a:r>
              <a:rPr lang="en-US" dirty="0"/>
              <a:t>CLICK TO EDIT MASTER TITLE STYLE</a:t>
            </a:r>
          </a:p>
        </p:txBody>
      </p:sp>
    </p:spTree>
    <p:extLst>
      <p:ext uri="{BB962C8B-B14F-4D97-AF65-F5344CB8AC3E}">
        <p14:creationId xmlns:p14="http://schemas.microsoft.com/office/powerpoint/2010/main" val="6137706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ctrTitle" hasCustomPrompt="1"/>
          </p:nvPr>
        </p:nvSpPr>
        <p:spPr>
          <a:xfrm>
            <a:off x="203200" y="2667000"/>
            <a:ext cx="11785600" cy="1600200"/>
          </a:xfrm>
          <a:prstGeom prst="rect">
            <a:avLst/>
          </a:prstGeom>
        </p:spPr>
        <p:txBody>
          <a:bodyPr lIns="0" tIns="0" rIns="0" bIns="0" anchor="ctr" anchorCtr="0"/>
          <a:lstStyle>
            <a:lvl1pPr>
              <a:defRPr sz="3200">
                <a:solidFill>
                  <a:schemeClr val="bg1"/>
                </a:solidFill>
                <a:latin typeface="Arial Narrow"/>
                <a:cs typeface="Arial Narrow"/>
              </a:defRPr>
            </a:lvl1pPr>
          </a:lstStyle>
          <a:p>
            <a:r>
              <a:rPr lang="en-US" dirty="0"/>
              <a:t>CLICK TO EDIT MASTER TITLE STYLE</a:t>
            </a:r>
          </a:p>
        </p:txBody>
      </p:sp>
    </p:spTree>
    <p:extLst>
      <p:ext uri="{BB962C8B-B14F-4D97-AF65-F5344CB8AC3E}">
        <p14:creationId xmlns:p14="http://schemas.microsoft.com/office/powerpoint/2010/main" val="16443462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B30992E-1E6B-4A2A-9EC3-2C82E6D8A942}"/>
              </a:ext>
            </a:extLst>
          </p:cNvPr>
          <p:cNvSpPr>
            <a:spLocks noGrp="1"/>
          </p:cNvSpPr>
          <p:nvPr>
            <p:ph type="pic" sz="quarter" idx="13"/>
          </p:nvPr>
        </p:nvSpPr>
        <p:spPr>
          <a:xfrm>
            <a:off x="0" y="0"/>
            <a:ext cx="12192000" cy="6858000"/>
          </a:xfrm>
          <a:custGeom>
            <a:avLst/>
            <a:gdLst>
              <a:gd name="connsiteX0" fmla="*/ 6948486 w 12192000"/>
              <a:gd name="connsiteY0" fmla="*/ 6345467 h 6858000"/>
              <a:gd name="connsiteX1" fmla="*/ 6954599 w 12192000"/>
              <a:gd name="connsiteY1" fmla="*/ 6345467 h 6858000"/>
              <a:gd name="connsiteX2" fmla="*/ 6959994 w 12192000"/>
              <a:gd name="connsiteY2" fmla="*/ 6346042 h 6858000"/>
              <a:gd name="connsiteX3" fmla="*/ 6962272 w 12192000"/>
              <a:gd name="connsiteY3" fmla="*/ 6347785 h 6858000"/>
              <a:gd name="connsiteX4" fmla="*/ 6963092 w 12192000"/>
              <a:gd name="connsiteY4" fmla="*/ 6350432 h 6858000"/>
              <a:gd name="connsiteX5" fmla="*/ 6961389 w 12192000"/>
              <a:gd name="connsiteY5" fmla="*/ 6354124 h 6858000"/>
              <a:gd name="connsiteX6" fmla="*/ 6955010 w 12192000"/>
              <a:gd name="connsiteY6" fmla="*/ 6355519 h 6858000"/>
              <a:gd name="connsiteX7" fmla="*/ 6948486 w 12192000"/>
              <a:gd name="connsiteY7" fmla="*/ 6355519 h 6858000"/>
              <a:gd name="connsiteX8" fmla="*/ 6943111 w 12192000"/>
              <a:gd name="connsiteY8" fmla="*/ 6340955 h 6858000"/>
              <a:gd name="connsiteX9" fmla="*/ 6943111 w 12192000"/>
              <a:gd name="connsiteY9" fmla="*/ 6374269 h 6858000"/>
              <a:gd name="connsiteX10" fmla="*/ 6948486 w 12192000"/>
              <a:gd name="connsiteY10" fmla="*/ 6374269 h 6858000"/>
              <a:gd name="connsiteX11" fmla="*/ 6948486 w 12192000"/>
              <a:gd name="connsiteY11" fmla="*/ 6360115 h 6858000"/>
              <a:gd name="connsiteX12" fmla="*/ 6951645 w 12192000"/>
              <a:gd name="connsiteY12" fmla="*/ 6360115 h 6858000"/>
              <a:gd name="connsiteX13" fmla="*/ 6955953 w 12192000"/>
              <a:gd name="connsiteY13" fmla="*/ 6361263 h 6858000"/>
              <a:gd name="connsiteX14" fmla="*/ 6961574 w 12192000"/>
              <a:gd name="connsiteY14" fmla="*/ 6369017 h 6858000"/>
              <a:gd name="connsiteX15" fmla="*/ 6964528 w 12192000"/>
              <a:gd name="connsiteY15" fmla="*/ 6374269 h 6858000"/>
              <a:gd name="connsiteX16" fmla="*/ 6971092 w 12192000"/>
              <a:gd name="connsiteY16" fmla="*/ 6374269 h 6858000"/>
              <a:gd name="connsiteX17" fmla="*/ 6967031 w 12192000"/>
              <a:gd name="connsiteY17" fmla="*/ 6367745 h 6858000"/>
              <a:gd name="connsiteX18" fmla="*/ 6962108 w 12192000"/>
              <a:gd name="connsiteY18" fmla="*/ 6361140 h 6858000"/>
              <a:gd name="connsiteX19" fmla="*/ 6959277 w 12192000"/>
              <a:gd name="connsiteY19" fmla="*/ 6359376 h 6858000"/>
              <a:gd name="connsiteX20" fmla="*/ 6966190 w 12192000"/>
              <a:gd name="connsiteY20" fmla="*/ 6356340 h 6858000"/>
              <a:gd name="connsiteX21" fmla="*/ 6968795 w 12192000"/>
              <a:gd name="connsiteY21" fmla="*/ 6349981 h 6858000"/>
              <a:gd name="connsiteX22" fmla="*/ 6967236 w 12192000"/>
              <a:gd name="connsiteY22" fmla="*/ 6345098 h 6858000"/>
              <a:gd name="connsiteX23" fmla="*/ 6963051 w 12192000"/>
              <a:gd name="connsiteY23" fmla="*/ 6341878 h 6858000"/>
              <a:gd name="connsiteX24" fmla="*/ 6954558 w 12192000"/>
              <a:gd name="connsiteY24" fmla="*/ 6340955 h 6858000"/>
              <a:gd name="connsiteX25" fmla="*/ 5903900 w 12192000"/>
              <a:gd name="connsiteY25" fmla="*/ 6338384 h 6858000"/>
              <a:gd name="connsiteX26" fmla="*/ 5907414 w 12192000"/>
              <a:gd name="connsiteY26" fmla="*/ 6338384 h 6858000"/>
              <a:gd name="connsiteX27" fmla="*/ 5907414 w 12192000"/>
              <a:gd name="connsiteY27" fmla="*/ 6341925 h 6858000"/>
              <a:gd name="connsiteX28" fmla="*/ 5879303 w 12192000"/>
              <a:gd name="connsiteY28" fmla="*/ 6377347 h 6858000"/>
              <a:gd name="connsiteX29" fmla="*/ 5861734 w 12192000"/>
              <a:gd name="connsiteY29" fmla="*/ 6359637 h 6858000"/>
              <a:gd name="connsiteX30" fmla="*/ 5903900 w 12192000"/>
              <a:gd name="connsiteY30" fmla="*/ 6338384 h 6858000"/>
              <a:gd name="connsiteX31" fmla="*/ 6956692 w 12192000"/>
              <a:gd name="connsiteY31" fmla="*/ 6331313 h 6858000"/>
              <a:gd name="connsiteX32" fmla="*/ 6969369 w 12192000"/>
              <a:gd name="connsiteY32" fmla="*/ 6334657 h 6858000"/>
              <a:gd name="connsiteX33" fmla="*/ 6979032 w 12192000"/>
              <a:gd name="connsiteY33" fmla="*/ 6344216 h 6858000"/>
              <a:gd name="connsiteX34" fmla="*/ 6982498 w 12192000"/>
              <a:gd name="connsiteY34" fmla="*/ 6357160 h 6858000"/>
              <a:gd name="connsiteX35" fmla="*/ 6979093 w 12192000"/>
              <a:gd name="connsiteY35" fmla="*/ 6369981 h 6858000"/>
              <a:gd name="connsiteX36" fmla="*/ 6969533 w 12192000"/>
              <a:gd name="connsiteY36" fmla="*/ 6379541 h 6858000"/>
              <a:gd name="connsiteX37" fmla="*/ 6956692 w 12192000"/>
              <a:gd name="connsiteY37" fmla="*/ 6382967 h 6858000"/>
              <a:gd name="connsiteX38" fmla="*/ 6943850 w 12192000"/>
              <a:gd name="connsiteY38" fmla="*/ 6379541 h 6858000"/>
              <a:gd name="connsiteX39" fmla="*/ 6934270 w 12192000"/>
              <a:gd name="connsiteY39" fmla="*/ 6369981 h 6858000"/>
              <a:gd name="connsiteX40" fmla="*/ 6930844 w 12192000"/>
              <a:gd name="connsiteY40" fmla="*/ 6357160 h 6858000"/>
              <a:gd name="connsiteX41" fmla="*/ 6934332 w 12192000"/>
              <a:gd name="connsiteY41" fmla="*/ 6344216 h 6858000"/>
              <a:gd name="connsiteX42" fmla="*/ 6943994 w 12192000"/>
              <a:gd name="connsiteY42" fmla="*/ 6334657 h 6858000"/>
              <a:gd name="connsiteX43" fmla="*/ 6956692 w 12192000"/>
              <a:gd name="connsiteY43" fmla="*/ 6331313 h 6858000"/>
              <a:gd name="connsiteX44" fmla="*/ 6956692 w 12192000"/>
              <a:gd name="connsiteY44" fmla="*/ 6326185 h 6858000"/>
              <a:gd name="connsiteX45" fmla="*/ 6941471 w 12192000"/>
              <a:gd name="connsiteY45" fmla="*/ 6330185 h 6858000"/>
              <a:gd name="connsiteX46" fmla="*/ 6929880 w 12192000"/>
              <a:gd name="connsiteY46" fmla="*/ 6341632 h 6858000"/>
              <a:gd name="connsiteX47" fmla="*/ 6925716 w 12192000"/>
              <a:gd name="connsiteY47" fmla="*/ 6357160 h 6858000"/>
              <a:gd name="connsiteX48" fmla="*/ 6929819 w 12192000"/>
              <a:gd name="connsiteY48" fmla="*/ 6372546 h 6858000"/>
              <a:gd name="connsiteX49" fmla="*/ 6941286 w 12192000"/>
              <a:gd name="connsiteY49" fmla="*/ 6384013 h 6858000"/>
              <a:gd name="connsiteX50" fmla="*/ 6956692 w 12192000"/>
              <a:gd name="connsiteY50" fmla="*/ 6388095 h 6858000"/>
              <a:gd name="connsiteX51" fmla="*/ 6972098 w 12192000"/>
              <a:gd name="connsiteY51" fmla="*/ 6384013 h 6858000"/>
              <a:gd name="connsiteX52" fmla="*/ 6983544 w 12192000"/>
              <a:gd name="connsiteY52" fmla="*/ 6372546 h 6858000"/>
              <a:gd name="connsiteX53" fmla="*/ 6987626 w 12192000"/>
              <a:gd name="connsiteY53" fmla="*/ 6357160 h 6858000"/>
              <a:gd name="connsiteX54" fmla="*/ 6983483 w 12192000"/>
              <a:gd name="connsiteY54" fmla="*/ 6341632 h 6858000"/>
              <a:gd name="connsiteX55" fmla="*/ 6971912 w 12192000"/>
              <a:gd name="connsiteY55" fmla="*/ 6330185 h 6858000"/>
              <a:gd name="connsiteX56" fmla="*/ 6956692 w 12192000"/>
              <a:gd name="connsiteY56" fmla="*/ 6326185 h 6858000"/>
              <a:gd name="connsiteX57" fmla="*/ 6093496 w 12192000"/>
              <a:gd name="connsiteY57" fmla="*/ 6296733 h 6858000"/>
              <a:gd name="connsiteX58" fmla="*/ 6125070 w 12192000"/>
              <a:gd name="connsiteY58" fmla="*/ 6337040 h 6858000"/>
              <a:gd name="connsiteX59" fmla="*/ 6093496 w 12192000"/>
              <a:gd name="connsiteY59" fmla="*/ 6377346 h 6858000"/>
              <a:gd name="connsiteX60" fmla="*/ 6061922 w 12192000"/>
              <a:gd name="connsiteY60" fmla="*/ 6337040 h 6858000"/>
              <a:gd name="connsiteX61" fmla="*/ 6093496 w 12192000"/>
              <a:gd name="connsiteY61" fmla="*/ 6296733 h 6858000"/>
              <a:gd name="connsiteX62" fmla="*/ 5783809 w 12192000"/>
              <a:gd name="connsiteY62" fmla="*/ 6296733 h 6858000"/>
              <a:gd name="connsiteX63" fmla="*/ 5812024 w 12192000"/>
              <a:gd name="connsiteY63" fmla="*/ 6337040 h 6858000"/>
              <a:gd name="connsiteX64" fmla="*/ 5783809 w 12192000"/>
              <a:gd name="connsiteY64" fmla="*/ 6377346 h 6858000"/>
              <a:gd name="connsiteX65" fmla="*/ 5755594 w 12192000"/>
              <a:gd name="connsiteY65" fmla="*/ 6337040 h 6858000"/>
              <a:gd name="connsiteX66" fmla="*/ 5783809 w 12192000"/>
              <a:gd name="connsiteY66" fmla="*/ 6296733 h 6858000"/>
              <a:gd name="connsiteX67" fmla="*/ 5471433 w 12192000"/>
              <a:gd name="connsiteY67" fmla="*/ 6296733 h 6858000"/>
              <a:gd name="connsiteX68" fmla="*/ 5503007 w 12192000"/>
              <a:gd name="connsiteY68" fmla="*/ 6337040 h 6858000"/>
              <a:gd name="connsiteX69" fmla="*/ 5471433 w 12192000"/>
              <a:gd name="connsiteY69" fmla="*/ 6377346 h 6858000"/>
              <a:gd name="connsiteX70" fmla="*/ 5439860 w 12192000"/>
              <a:gd name="connsiteY70" fmla="*/ 6337040 h 6858000"/>
              <a:gd name="connsiteX71" fmla="*/ 5471433 w 12192000"/>
              <a:gd name="connsiteY71" fmla="*/ 6296733 h 6858000"/>
              <a:gd name="connsiteX72" fmla="*/ 6016373 w 12192000"/>
              <a:gd name="connsiteY72" fmla="*/ 6291486 h 6858000"/>
              <a:gd name="connsiteX73" fmla="*/ 6016373 w 12192000"/>
              <a:gd name="connsiteY73" fmla="*/ 6387446 h 6858000"/>
              <a:gd name="connsiteX74" fmla="*/ 6028662 w 12192000"/>
              <a:gd name="connsiteY74" fmla="*/ 6387446 h 6858000"/>
              <a:gd name="connsiteX75" fmla="*/ 6028662 w 12192000"/>
              <a:gd name="connsiteY75" fmla="*/ 6291486 h 6858000"/>
              <a:gd name="connsiteX76" fmla="*/ 6160001 w 12192000"/>
              <a:gd name="connsiteY76" fmla="*/ 6290016 h 6858000"/>
              <a:gd name="connsiteX77" fmla="*/ 6160001 w 12192000"/>
              <a:gd name="connsiteY77" fmla="*/ 6314399 h 6858000"/>
              <a:gd name="connsiteX78" fmla="*/ 6160001 w 12192000"/>
              <a:gd name="connsiteY78" fmla="*/ 6384064 h 6858000"/>
              <a:gd name="connsiteX79" fmla="*/ 6173820 w 12192000"/>
              <a:gd name="connsiteY79" fmla="*/ 6384064 h 6858000"/>
              <a:gd name="connsiteX80" fmla="*/ 6173820 w 12192000"/>
              <a:gd name="connsiteY80" fmla="*/ 6331815 h 6858000"/>
              <a:gd name="connsiteX81" fmla="*/ 6201459 w 12192000"/>
              <a:gd name="connsiteY81" fmla="*/ 6296982 h 6858000"/>
              <a:gd name="connsiteX82" fmla="*/ 6222188 w 12192000"/>
              <a:gd name="connsiteY82" fmla="*/ 6328332 h 6858000"/>
              <a:gd name="connsiteX83" fmla="*/ 6222188 w 12192000"/>
              <a:gd name="connsiteY83" fmla="*/ 6384064 h 6858000"/>
              <a:gd name="connsiteX84" fmla="*/ 6232552 w 12192000"/>
              <a:gd name="connsiteY84" fmla="*/ 6384064 h 6858000"/>
              <a:gd name="connsiteX85" fmla="*/ 6232552 w 12192000"/>
              <a:gd name="connsiteY85" fmla="*/ 6324848 h 6858000"/>
              <a:gd name="connsiteX86" fmla="*/ 6201459 w 12192000"/>
              <a:gd name="connsiteY86" fmla="*/ 6290016 h 6858000"/>
              <a:gd name="connsiteX87" fmla="*/ 6170366 w 12192000"/>
              <a:gd name="connsiteY87" fmla="*/ 6307432 h 6858000"/>
              <a:gd name="connsiteX88" fmla="*/ 6170366 w 12192000"/>
              <a:gd name="connsiteY88" fmla="*/ 6290016 h 6858000"/>
              <a:gd name="connsiteX89" fmla="*/ 6160001 w 12192000"/>
              <a:gd name="connsiteY89" fmla="*/ 6290016 h 6858000"/>
              <a:gd name="connsiteX90" fmla="*/ 6090808 w 12192000"/>
              <a:gd name="connsiteY90" fmla="*/ 6290016 h 6858000"/>
              <a:gd name="connsiteX91" fmla="*/ 6047143 w 12192000"/>
              <a:gd name="connsiteY91" fmla="*/ 6339056 h 6858000"/>
              <a:gd name="connsiteX92" fmla="*/ 6090808 w 12192000"/>
              <a:gd name="connsiteY92" fmla="*/ 6388095 h 6858000"/>
              <a:gd name="connsiteX93" fmla="*/ 6134474 w 12192000"/>
              <a:gd name="connsiteY93" fmla="*/ 6339056 h 6858000"/>
              <a:gd name="connsiteX94" fmla="*/ 6090808 w 12192000"/>
              <a:gd name="connsiteY94" fmla="*/ 6290016 h 6858000"/>
              <a:gd name="connsiteX95" fmla="*/ 5885663 w 12192000"/>
              <a:gd name="connsiteY95" fmla="*/ 6290016 h 6858000"/>
              <a:gd name="connsiteX96" fmla="*/ 5857511 w 12192000"/>
              <a:gd name="connsiteY96" fmla="*/ 6293519 h 6858000"/>
              <a:gd name="connsiteX97" fmla="*/ 5857511 w 12192000"/>
              <a:gd name="connsiteY97" fmla="*/ 6307530 h 6858000"/>
              <a:gd name="connsiteX98" fmla="*/ 5885663 w 12192000"/>
              <a:gd name="connsiteY98" fmla="*/ 6297022 h 6858000"/>
              <a:gd name="connsiteX99" fmla="*/ 5906775 w 12192000"/>
              <a:gd name="connsiteY99" fmla="*/ 6321542 h 6858000"/>
              <a:gd name="connsiteX100" fmla="*/ 5906775 w 12192000"/>
              <a:gd name="connsiteY100" fmla="*/ 6328547 h 6858000"/>
              <a:gd name="connsiteX101" fmla="*/ 5846955 w 12192000"/>
              <a:gd name="connsiteY101" fmla="*/ 6360072 h 6858000"/>
              <a:gd name="connsiteX102" fmla="*/ 5878625 w 12192000"/>
              <a:gd name="connsiteY102" fmla="*/ 6388095 h 6858000"/>
              <a:gd name="connsiteX103" fmla="*/ 5906775 w 12192000"/>
              <a:gd name="connsiteY103" fmla="*/ 6370581 h 6858000"/>
              <a:gd name="connsiteX104" fmla="*/ 5910294 w 12192000"/>
              <a:gd name="connsiteY104" fmla="*/ 6370581 h 6858000"/>
              <a:gd name="connsiteX105" fmla="*/ 5910294 w 12192000"/>
              <a:gd name="connsiteY105" fmla="*/ 6384592 h 6858000"/>
              <a:gd name="connsiteX106" fmla="*/ 5920851 w 12192000"/>
              <a:gd name="connsiteY106" fmla="*/ 6384592 h 6858000"/>
              <a:gd name="connsiteX107" fmla="*/ 5920851 w 12192000"/>
              <a:gd name="connsiteY107" fmla="*/ 6367078 h 6858000"/>
              <a:gd name="connsiteX108" fmla="*/ 5920851 w 12192000"/>
              <a:gd name="connsiteY108" fmla="*/ 6325045 h 6858000"/>
              <a:gd name="connsiteX109" fmla="*/ 5885663 w 12192000"/>
              <a:gd name="connsiteY109" fmla="*/ 6290016 h 6858000"/>
              <a:gd name="connsiteX110" fmla="*/ 5644079 w 12192000"/>
              <a:gd name="connsiteY110" fmla="*/ 6290016 h 6858000"/>
              <a:gd name="connsiteX111" fmla="*/ 5644079 w 12192000"/>
              <a:gd name="connsiteY111" fmla="*/ 6314399 h 6858000"/>
              <a:gd name="connsiteX112" fmla="*/ 5644079 w 12192000"/>
              <a:gd name="connsiteY112" fmla="*/ 6384064 h 6858000"/>
              <a:gd name="connsiteX113" fmla="*/ 5658155 w 12192000"/>
              <a:gd name="connsiteY113" fmla="*/ 6384064 h 6858000"/>
              <a:gd name="connsiteX114" fmla="*/ 5658155 w 12192000"/>
              <a:gd name="connsiteY114" fmla="*/ 6331815 h 6858000"/>
              <a:gd name="connsiteX115" fmla="*/ 5686305 w 12192000"/>
              <a:gd name="connsiteY115" fmla="*/ 6296982 h 6858000"/>
              <a:gd name="connsiteX116" fmla="*/ 5707418 w 12192000"/>
              <a:gd name="connsiteY116" fmla="*/ 6328332 h 6858000"/>
              <a:gd name="connsiteX117" fmla="*/ 5707418 w 12192000"/>
              <a:gd name="connsiteY117" fmla="*/ 6384064 h 6858000"/>
              <a:gd name="connsiteX118" fmla="*/ 5717975 w 12192000"/>
              <a:gd name="connsiteY118" fmla="*/ 6384064 h 6858000"/>
              <a:gd name="connsiteX119" fmla="*/ 5717975 w 12192000"/>
              <a:gd name="connsiteY119" fmla="*/ 6324848 h 6858000"/>
              <a:gd name="connsiteX120" fmla="*/ 5686305 w 12192000"/>
              <a:gd name="connsiteY120" fmla="*/ 6290016 h 6858000"/>
              <a:gd name="connsiteX121" fmla="*/ 5654636 w 12192000"/>
              <a:gd name="connsiteY121" fmla="*/ 6307432 h 6858000"/>
              <a:gd name="connsiteX122" fmla="*/ 5654636 w 12192000"/>
              <a:gd name="connsiteY122" fmla="*/ 6290016 h 6858000"/>
              <a:gd name="connsiteX123" fmla="*/ 5644079 w 12192000"/>
              <a:gd name="connsiteY123" fmla="*/ 6290016 h 6858000"/>
              <a:gd name="connsiteX124" fmla="*/ 5541970 w 12192000"/>
              <a:gd name="connsiteY124" fmla="*/ 6290016 h 6858000"/>
              <a:gd name="connsiteX125" fmla="*/ 5541970 w 12192000"/>
              <a:gd name="connsiteY125" fmla="*/ 6353066 h 6858000"/>
              <a:gd name="connsiteX126" fmla="*/ 5573640 w 12192000"/>
              <a:gd name="connsiteY126" fmla="*/ 6388095 h 6858000"/>
              <a:gd name="connsiteX127" fmla="*/ 5605309 w 12192000"/>
              <a:gd name="connsiteY127" fmla="*/ 6370581 h 6858000"/>
              <a:gd name="connsiteX128" fmla="*/ 5605309 w 12192000"/>
              <a:gd name="connsiteY128" fmla="*/ 6384592 h 6858000"/>
              <a:gd name="connsiteX129" fmla="*/ 5615865 w 12192000"/>
              <a:gd name="connsiteY129" fmla="*/ 6384592 h 6858000"/>
              <a:gd name="connsiteX130" fmla="*/ 5615865 w 12192000"/>
              <a:gd name="connsiteY130" fmla="*/ 6363575 h 6858000"/>
              <a:gd name="connsiteX131" fmla="*/ 5615865 w 12192000"/>
              <a:gd name="connsiteY131" fmla="*/ 6290016 h 6858000"/>
              <a:gd name="connsiteX132" fmla="*/ 5601790 w 12192000"/>
              <a:gd name="connsiteY132" fmla="*/ 6290016 h 6858000"/>
              <a:gd name="connsiteX133" fmla="*/ 5601790 w 12192000"/>
              <a:gd name="connsiteY133" fmla="*/ 6342558 h 6858000"/>
              <a:gd name="connsiteX134" fmla="*/ 5573640 w 12192000"/>
              <a:gd name="connsiteY134" fmla="*/ 6377586 h 6858000"/>
              <a:gd name="connsiteX135" fmla="*/ 5552527 w 12192000"/>
              <a:gd name="connsiteY135" fmla="*/ 6349564 h 6858000"/>
              <a:gd name="connsiteX136" fmla="*/ 5552527 w 12192000"/>
              <a:gd name="connsiteY136" fmla="*/ 6290016 h 6858000"/>
              <a:gd name="connsiteX137" fmla="*/ 5541970 w 12192000"/>
              <a:gd name="connsiteY137" fmla="*/ 6290016 h 6858000"/>
              <a:gd name="connsiteX138" fmla="*/ 5473449 w 12192000"/>
              <a:gd name="connsiteY138" fmla="*/ 6290016 h 6858000"/>
              <a:gd name="connsiteX139" fmla="*/ 5429111 w 12192000"/>
              <a:gd name="connsiteY139" fmla="*/ 6339056 h 6858000"/>
              <a:gd name="connsiteX140" fmla="*/ 5473449 w 12192000"/>
              <a:gd name="connsiteY140" fmla="*/ 6388095 h 6858000"/>
              <a:gd name="connsiteX141" fmla="*/ 5517786 w 12192000"/>
              <a:gd name="connsiteY141" fmla="*/ 6339056 h 6858000"/>
              <a:gd name="connsiteX142" fmla="*/ 5473449 w 12192000"/>
              <a:gd name="connsiteY142" fmla="*/ 6290016 h 6858000"/>
              <a:gd name="connsiteX143" fmla="*/ 6657114 w 12192000"/>
              <a:gd name="connsiteY143" fmla="*/ 6275237 h 6858000"/>
              <a:gd name="connsiteX144" fmla="*/ 6661144 w 12192000"/>
              <a:gd name="connsiteY144" fmla="*/ 6285986 h 6858000"/>
              <a:gd name="connsiteX145" fmla="*/ 6665175 w 12192000"/>
              <a:gd name="connsiteY145" fmla="*/ 6292704 h 6858000"/>
              <a:gd name="connsiteX146" fmla="*/ 6650396 w 12192000"/>
              <a:gd name="connsiteY146" fmla="*/ 6292704 h 6858000"/>
              <a:gd name="connsiteX147" fmla="*/ 6654427 w 12192000"/>
              <a:gd name="connsiteY147" fmla="*/ 6285986 h 6858000"/>
              <a:gd name="connsiteX148" fmla="*/ 6661257 w 12192000"/>
              <a:gd name="connsiteY148" fmla="*/ 6264489 h 6858000"/>
              <a:gd name="connsiteX149" fmla="*/ 6650844 w 12192000"/>
              <a:gd name="connsiteY149" fmla="*/ 6268003 h 6858000"/>
              <a:gd name="connsiteX150" fmla="*/ 6647373 w 12192000"/>
              <a:gd name="connsiteY150" fmla="*/ 6285573 h 6858000"/>
              <a:gd name="connsiteX151" fmla="*/ 6636960 w 12192000"/>
              <a:gd name="connsiteY151" fmla="*/ 6306655 h 6858000"/>
              <a:gd name="connsiteX152" fmla="*/ 6647373 w 12192000"/>
              <a:gd name="connsiteY152" fmla="*/ 6310169 h 6858000"/>
              <a:gd name="connsiteX153" fmla="*/ 6647373 w 12192000"/>
              <a:gd name="connsiteY153" fmla="*/ 6299628 h 6858000"/>
              <a:gd name="connsiteX154" fmla="*/ 6668198 w 12192000"/>
              <a:gd name="connsiteY154" fmla="*/ 6299628 h 6858000"/>
              <a:gd name="connsiteX155" fmla="*/ 6668198 w 12192000"/>
              <a:gd name="connsiteY155" fmla="*/ 6306655 h 6858000"/>
              <a:gd name="connsiteX156" fmla="*/ 6678611 w 12192000"/>
              <a:gd name="connsiteY156" fmla="*/ 6306655 h 6858000"/>
              <a:gd name="connsiteX157" fmla="*/ 6668198 w 12192000"/>
              <a:gd name="connsiteY157" fmla="*/ 6285573 h 6858000"/>
              <a:gd name="connsiteX158" fmla="*/ 6661257 w 12192000"/>
              <a:gd name="connsiteY158" fmla="*/ 6268003 h 6858000"/>
              <a:gd name="connsiteX159" fmla="*/ 6661257 w 12192000"/>
              <a:gd name="connsiteY159" fmla="*/ 6264489 h 6858000"/>
              <a:gd name="connsiteX160" fmla="*/ 5966262 w 12192000"/>
              <a:gd name="connsiteY160" fmla="*/ 6264488 h 6858000"/>
              <a:gd name="connsiteX161" fmla="*/ 5955783 w 12192000"/>
              <a:gd name="connsiteY161" fmla="*/ 6268020 h 6858000"/>
              <a:gd name="connsiteX162" fmla="*/ 5955783 w 12192000"/>
              <a:gd name="connsiteY162" fmla="*/ 6289209 h 6858000"/>
              <a:gd name="connsiteX163" fmla="*/ 5938316 w 12192000"/>
              <a:gd name="connsiteY163" fmla="*/ 6289209 h 6858000"/>
              <a:gd name="connsiteX164" fmla="*/ 5938316 w 12192000"/>
              <a:gd name="connsiteY164" fmla="*/ 6299804 h 6858000"/>
              <a:gd name="connsiteX165" fmla="*/ 5955783 w 12192000"/>
              <a:gd name="connsiteY165" fmla="*/ 6299804 h 6858000"/>
              <a:gd name="connsiteX166" fmla="*/ 5955783 w 12192000"/>
              <a:gd name="connsiteY166" fmla="*/ 6356310 h 6858000"/>
              <a:gd name="connsiteX167" fmla="*/ 5976742 w 12192000"/>
              <a:gd name="connsiteY167" fmla="*/ 6388094 h 6858000"/>
              <a:gd name="connsiteX168" fmla="*/ 5990715 w 12192000"/>
              <a:gd name="connsiteY168" fmla="*/ 6384563 h 6858000"/>
              <a:gd name="connsiteX169" fmla="*/ 5990715 w 12192000"/>
              <a:gd name="connsiteY169" fmla="*/ 6373968 h 6858000"/>
              <a:gd name="connsiteX170" fmla="*/ 5980235 w 12192000"/>
              <a:gd name="connsiteY170" fmla="*/ 6377499 h 6858000"/>
              <a:gd name="connsiteX171" fmla="*/ 5966262 w 12192000"/>
              <a:gd name="connsiteY171" fmla="*/ 6363373 h 6858000"/>
              <a:gd name="connsiteX172" fmla="*/ 5966262 w 12192000"/>
              <a:gd name="connsiteY172" fmla="*/ 6299804 h 6858000"/>
              <a:gd name="connsiteX173" fmla="*/ 5987221 w 12192000"/>
              <a:gd name="connsiteY173" fmla="*/ 6299804 h 6858000"/>
              <a:gd name="connsiteX174" fmla="*/ 5987221 w 12192000"/>
              <a:gd name="connsiteY174" fmla="*/ 6289209 h 6858000"/>
              <a:gd name="connsiteX175" fmla="*/ 5966262 w 12192000"/>
              <a:gd name="connsiteY175" fmla="*/ 6289209 h 6858000"/>
              <a:gd name="connsiteX176" fmla="*/ 5966262 w 12192000"/>
              <a:gd name="connsiteY176" fmla="*/ 6264488 h 6858000"/>
              <a:gd name="connsiteX177" fmla="*/ 6601692 w 12192000"/>
              <a:gd name="connsiteY177" fmla="*/ 6261802 h 6858000"/>
              <a:gd name="connsiteX178" fmla="*/ 6591280 w 12192000"/>
              <a:gd name="connsiteY178" fmla="*/ 6303968 h 6858000"/>
              <a:gd name="connsiteX179" fmla="*/ 6601692 w 12192000"/>
              <a:gd name="connsiteY179" fmla="*/ 6303968 h 6858000"/>
              <a:gd name="connsiteX180" fmla="*/ 6605163 w 12192000"/>
              <a:gd name="connsiteY180" fmla="*/ 6279372 h 6858000"/>
              <a:gd name="connsiteX181" fmla="*/ 6619047 w 12192000"/>
              <a:gd name="connsiteY181" fmla="*/ 6307482 h 6858000"/>
              <a:gd name="connsiteX182" fmla="*/ 6625989 w 12192000"/>
              <a:gd name="connsiteY182" fmla="*/ 6307482 h 6858000"/>
              <a:gd name="connsiteX183" fmla="*/ 6632930 w 12192000"/>
              <a:gd name="connsiteY183" fmla="*/ 6265316 h 6858000"/>
              <a:gd name="connsiteX184" fmla="*/ 6625989 w 12192000"/>
              <a:gd name="connsiteY184" fmla="*/ 6265316 h 6858000"/>
              <a:gd name="connsiteX185" fmla="*/ 6622518 w 12192000"/>
              <a:gd name="connsiteY185" fmla="*/ 6293427 h 6858000"/>
              <a:gd name="connsiteX186" fmla="*/ 6608635 w 12192000"/>
              <a:gd name="connsiteY186" fmla="*/ 6261802 h 6858000"/>
              <a:gd name="connsiteX187" fmla="*/ 6601692 w 12192000"/>
              <a:gd name="connsiteY187" fmla="*/ 6261802 h 6858000"/>
              <a:gd name="connsiteX188" fmla="*/ 6710855 w 12192000"/>
              <a:gd name="connsiteY188" fmla="*/ 6257772 h 6858000"/>
              <a:gd name="connsiteX189" fmla="*/ 6675923 w 12192000"/>
              <a:gd name="connsiteY189" fmla="*/ 6264873 h 6858000"/>
              <a:gd name="connsiteX190" fmla="*/ 6675923 w 12192000"/>
              <a:gd name="connsiteY190" fmla="*/ 6271975 h 6858000"/>
              <a:gd name="connsiteX191" fmla="*/ 6689896 w 12192000"/>
              <a:gd name="connsiteY191" fmla="*/ 6271975 h 6858000"/>
              <a:gd name="connsiteX192" fmla="*/ 6696882 w 12192000"/>
              <a:gd name="connsiteY192" fmla="*/ 6307483 h 6858000"/>
              <a:gd name="connsiteX193" fmla="*/ 6703869 w 12192000"/>
              <a:gd name="connsiteY193" fmla="*/ 6303932 h 6858000"/>
              <a:gd name="connsiteX194" fmla="*/ 6696882 w 12192000"/>
              <a:gd name="connsiteY194" fmla="*/ 6268424 h 6858000"/>
              <a:gd name="connsiteX195" fmla="*/ 6710855 w 12192000"/>
              <a:gd name="connsiteY195" fmla="*/ 6264873 h 6858000"/>
              <a:gd name="connsiteX196" fmla="*/ 6566559 w 12192000"/>
              <a:gd name="connsiteY196" fmla="*/ 6257772 h 6858000"/>
              <a:gd name="connsiteX197" fmla="*/ 6577039 w 12192000"/>
              <a:gd name="connsiteY197" fmla="*/ 6261131 h 6858000"/>
              <a:gd name="connsiteX198" fmla="*/ 6580532 w 12192000"/>
              <a:gd name="connsiteY198" fmla="*/ 6264490 h 6858000"/>
              <a:gd name="connsiteX199" fmla="*/ 6580532 w 12192000"/>
              <a:gd name="connsiteY199" fmla="*/ 6267848 h 6858000"/>
              <a:gd name="connsiteX200" fmla="*/ 6573545 w 12192000"/>
              <a:gd name="connsiteY200" fmla="*/ 6271207 h 6858000"/>
              <a:gd name="connsiteX201" fmla="*/ 6563065 w 12192000"/>
              <a:gd name="connsiteY201" fmla="*/ 6267848 h 6858000"/>
              <a:gd name="connsiteX202" fmla="*/ 6566559 w 12192000"/>
              <a:gd name="connsiteY202" fmla="*/ 6264490 h 6858000"/>
              <a:gd name="connsiteX203" fmla="*/ 6566559 w 12192000"/>
              <a:gd name="connsiteY203" fmla="*/ 6257772 h 6858000"/>
              <a:gd name="connsiteX204" fmla="*/ 6016373 w 12192000"/>
              <a:gd name="connsiteY204" fmla="*/ 6255886 h 6858000"/>
              <a:gd name="connsiteX205" fmla="*/ 6016373 w 12192000"/>
              <a:gd name="connsiteY205" fmla="*/ 6269580 h 6858000"/>
              <a:gd name="connsiteX206" fmla="*/ 6028662 w 12192000"/>
              <a:gd name="connsiteY206" fmla="*/ 6269580 h 6858000"/>
              <a:gd name="connsiteX207" fmla="*/ 6028662 w 12192000"/>
              <a:gd name="connsiteY207" fmla="*/ 6255886 h 6858000"/>
              <a:gd name="connsiteX208" fmla="*/ 6717573 w 12192000"/>
              <a:gd name="connsiteY208" fmla="*/ 6253740 h 6858000"/>
              <a:gd name="connsiteX209" fmla="*/ 6731393 w 12192000"/>
              <a:gd name="connsiteY209" fmla="*/ 6296734 h 6858000"/>
              <a:gd name="connsiteX210" fmla="*/ 6741757 w 12192000"/>
              <a:gd name="connsiteY210" fmla="*/ 6293151 h 6858000"/>
              <a:gd name="connsiteX211" fmla="*/ 6727938 w 12192000"/>
              <a:gd name="connsiteY211" fmla="*/ 6253740 h 6858000"/>
              <a:gd name="connsiteX212" fmla="*/ 6717573 w 12192000"/>
              <a:gd name="connsiteY212" fmla="*/ 6253740 h 6858000"/>
              <a:gd name="connsiteX213" fmla="*/ 5348499 w 12192000"/>
              <a:gd name="connsiteY213" fmla="*/ 6253740 h 6858000"/>
              <a:gd name="connsiteX214" fmla="*/ 5348499 w 12192000"/>
              <a:gd name="connsiteY214" fmla="*/ 6384064 h 6858000"/>
              <a:gd name="connsiteX215" fmla="*/ 5363278 w 12192000"/>
              <a:gd name="connsiteY215" fmla="*/ 6384064 h 6858000"/>
              <a:gd name="connsiteX216" fmla="*/ 5363278 w 12192000"/>
              <a:gd name="connsiteY216" fmla="*/ 6324948 h 6858000"/>
              <a:gd name="connsiteX217" fmla="*/ 5408960 w 12192000"/>
              <a:gd name="connsiteY217" fmla="*/ 6324948 h 6858000"/>
              <a:gd name="connsiteX218" fmla="*/ 5408960 w 12192000"/>
              <a:gd name="connsiteY218" fmla="*/ 6314200 h 6858000"/>
              <a:gd name="connsiteX219" fmla="*/ 5363278 w 12192000"/>
              <a:gd name="connsiteY219" fmla="*/ 6314200 h 6858000"/>
              <a:gd name="connsiteX220" fmla="*/ 5363278 w 12192000"/>
              <a:gd name="connsiteY220" fmla="*/ 6264488 h 6858000"/>
              <a:gd name="connsiteX221" fmla="*/ 5411646 w 12192000"/>
              <a:gd name="connsiteY221" fmla="*/ 6264488 h 6858000"/>
              <a:gd name="connsiteX222" fmla="*/ 5411646 w 12192000"/>
              <a:gd name="connsiteY222" fmla="*/ 6253740 h 6858000"/>
              <a:gd name="connsiteX223" fmla="*/ 6562954 w 12192000"/>
              <a:gd name="connsiteY223" fmla="*/ 6247023 h 6858000"/>
              <a:gd name="connsiteX224" fmla="*/ 6556012 w 12192000"/>
              <a:gd name="connsiteY224" fmla="*/ 6264490 h 6858000"/>
              <a:gd name="connsiteX225" fmla="*/ 6556012 w 12192000"/>
              <a:gd name="connsiteY225" fmla="*/ 6267982 h 6858000"/>
              <a:gd name="connsiteX226" fmla="*/ 6545599 w 12192000"/>
              <a:gd name="connsiteY226" fmla="*/ 6285449 h 6858000"/>
              <a:gd name="connsiteX227" fmla="*/ 6556012 w 12192000"/>
              <a:gd name="connsiteY227" fmla="*/ 6288942 h 6858000"/>
              <a:gd name="connsiteX228" fmla="*/ 6559483 w 12192000"/>
              <a:gd name="connsiteY228" fmla="*/ 6274969 h 6858000"/>
              <a:gd name="connsiteX229" fmla="*/ 6569896 w 12192000"/>
              <a:gd name="connsiteY229" fmla="*/ 6278463 h 6858000"/>
              <a:gd name="connsiteX230" fmla="*/ 6569896 w 12192000"/>
              <a:gd name="connsiteY230" fmla="*/ 6295928 h 6858000"/>
              <a:gd name="connsiteX231" fmla="*/ 6580308 w 12192000"/>
              <a:gd name="connsiteY231" fmla="*/ 6299422 h 6858000"/>
              <a:gd name="connsiteX232" fmla="*/ 6576837 w 12192000"/>
              <a:gd name="connsiteY232" fmla="*/ 6278463 h 6858000"/>
              <a:gd name="connsiteX233" fmla="*/ 6587250 w 12192000"/>
              <a:gd name="connsiteY233" fmla="*/ 6267982 h 6858000"/>
              <a:gd name="connsiteX234" fmla="*/ 6587250 w 12192000"/>
              <a:gd name="connsiteY234" fmla="*/ 6264490 h 6858000"/>
              <a:gd name="connsiteX235" fmla="*/ 6580308 w 12192000"/>
              <a:gd name="connsiteY235" fmla="*/ 6254010 h 6858000"/>
              <a:gd name="connsiteX236" fmla="*/ 6562954 w 12192000"/>
              <a:gd name="connsiteY236" fmla="*/ 6247023 h 6858000"/>
              <a:gd name="connsiteX237" fmla="*/ 6768052 w 12192000"/>
              <a:gd name="connsiteY237" fmla="*/ 6244316 h 6858000"/>
              <a:gd name="connsiteX238" fmla="*/ 6776689 w 12192000"/>
              <a:gd name="connsiteY238" fmla="*/ 6250047 h 6858000"/>
              <a:gd name="connsiteX239" fmla="*/ 6776689 w 12192000"/>
              <a:gd name="connsiteY239" fmla="*/ 6257100 h 6858000"/>
              <a:gd name="connsiteX240" fmla="*/ 6773234 w 12192000"/>
              <a:gd name="connsiteY240" fmla="*/ 6267681 h 6858000"/>
              <a:gd name="connsiteX241" fmla="*/ 6769780 w 12192000"/>
              <a:gd name="connsiteY241" fmla="*/ 6271208 h 6858000"/>
              <a:gd name="connsiteX242" fmla="*/ 6755960 w 12192000"/>
              <a:gd name="connsiteY242" fmla="*/ 6267681 h 6858000"/>
              <a:gd name="connsiteX243" fmla="*/ 6752505 w 12192000"/>
              <a:gd name="connsiteY243" fmla="*/ 6264155 h 6858000"/>
              <a:gd name="connsiteX244" fmla="*/ 6752505 w 12192000"/>
              <a:gd name="connsiteY244" fmla="*/ 6257100 h 6858000"/>
              <a:gd name="connsiteX245" fmla="*/ 6759415 w 12192000"/>
              <a:gd name="connsiteY245" fmla="*/ 6246520 h 6858000"/>
              <a:gd name="connsiteX246" fmla="*/ 6768052 w 12192000"/>
              <a:gd name="connsiteY246" fmla="*/ 6244316 h 6858000"/>
              <a:gd name="connsiteX247" fmla="*/ 5812549 w 12192000"/>
              <a:gd name="connsiteY247" fmla="*/ 6242991 h 6858000"/>
              <a:gd name="connsiteX248" fmla="*/ 5812549 w 12192000"/>
              <a:gd name="connsiteY248" fmla="*/ 6306695 h 6858000"/>
              <a:gd name="connsiteX249" fmla="*/ 5784042 w 12192000"/>
              <a:gd name="connsiteY249" fmla="*/ 6288999 h 6858000"/>
              <a:gd name="connsiteX250" fmla="*/ 5744846 w 12192000"/>
              <a:gd name="connsiteY250" fmla="*/ 6338547 h 6858000"/>
              <a:gd name="connsiteX251" fmla="*/ 5784042 w 12192000"/>
              <a:gd name="connsiteY251" fmla="*/ 6388094 h 6858000"/>
              <a:gd name="connsiteX252" fmla="*/ 5812549 w 12192000"/>
              <a:gd name="connsiteY252" fmla="*/ 6370398 h 6858000"/>
              <a:gd name="connsiteX253" fmla="*/ 5812549 w 12192000"/>
              <a:gd name="connsiteY253" fmla="*/ 6384555 h 6858000"/>
              <a:gd name="connsiteX254" fmla="*/ 5826802 w 12192000"/>
              <a:gd name="connsiteY254" fmla="*/ 6384555 h 6858000"/>
              <a:gd name="connsiteX255" fmla="*/ 5826802 w 12192000"/>
              <a:gd name="connsiteY255" fmla="*/ 6242991 h 6858000"/>
              <a:gd name="connsiteX256" fmla="*/ 5812549 w 12192000"/>
              <a:gd name="connsiteY256" fmla="*/ 6242991 h 6858000"/>
              <a:gd name="connsiteX257" fmla="*/ 6769972 w 12192000"/>
              <a:gd name="connsiteY257" fmla="*/ 6237475 h 6858000"/>
              <a:gd name="connsiteX258" fmla="*/ 6752505 w 12192000"/>
              <a:gd name="connsiteY258" fmla="*/ 6240498 h 6858000"/>
              <a:gd name="connsiteX259" fmla="*/ 6741757 w 12192000"/>
              <a:gd name="connsiteY259" fmla="*/ 6257772 h 6858000"/>
              <a:gd name="connsiteX260" fmla="*/ 6745339 w 12192000"/>
              <a:gd name="connsiteY260" fmla="*/ 6268137 h 6858000"/>
              <a:gd name="connsiteX261" fmla="*/ 6774002 w 12192000"/>
              <a:gd name="connsiteY261" fmla="*/ 6275047 h 6858000"/>
              <a:gd name="connsiteX262" fmla="*/ 6784750 w 12192000"/>
              <a:gd name="connsiteY262" fmla="*/ 6268137 h 6858000"/>
              <a:gd name="connsiteX263" fmla="*/ 6784750 w 12192000"/>
              <a:gd name="connsiteY263" fmla="*/ 6257772 h 6858000"/>
              <a:gd name="connsiteX264" fmla="*/ 6784750 w 12192000"/>
              <a:gd name="connsiteY264" fmla="*/ 6247408 h 6858000"/>
              <a:gd name="connsiteX265" fmla="*/ 6769972 w 12192000"/>
              <a:gd name="connsiteY265" fmla="*/ 6237475 h 6858000"/>
              <a:gd name="connsiteX266" fmla="*/ 6527720 w 12192000"/>
              <a:gd name="connsiteY266" fmla="*/ 6229557 h 6858000"/>
              <a:gd name="connsiteX267" fmla="*/ 6506636 w 12192000"/>
              <a:gd name="connsiteY267" fmla="*/ 6264489 h 6858000"/>
              <a:gd name="connsiteX268" fmla="*/ 6531234 w 12192000"/>
              <a:gd name="connsiteY268" fmla="*/ 6281955 h 6858000"/>
              <a:gd name="connsiteX269" fmla="*/ 6534748 w 12192000"/>
              <a:gd name="connsiteY269" fmla="*/ 6274969 h 6858000"/>
              <a:gd name="connsiteX270" fmla="*/ 6517178 w 12192000"/>
              <a:gd name="connsiteY270" fmla="*/ 6264489 h 6858000"/>
              <a:gd name="connsiteX271" fmla="*/ 6524206 w 12192000"/>
              <a:gd name="connsiteY271" fmla="*/ 6254010 h 6858000"/>
              <a:gd name="connsiteX272" fmla="*/ 6534748 w 12192000"/>
              <a:gd name="connsiteY272" fmla="*/ 6260996 h 6858000"/>
              <a:gd name="connsiteX273" fmla="*/ 6538261 w 12192000"/>
              <a:gd name="connsiteY273" fmla="*/ 6254010 h 6858000"/>
              <a:gd name="connsiteX274" fmla="*/ 6527720 w 12192000"/>
              <a:gd name="connsiteY274" fmla="*/ 6247023 h 6858000"/>
              <a:gd name="connsiteX275" fmla="*/ 6531234 w 12192000"/>
              <a:gd name="connsiteY275" fmla="*/ 6240037 h 6858000"/>
              <a:gd name="connsiteX276" fmla="*/ 6548803 w 12192000"/>
              <a:gd name="connsiteY276" fmla="*/ 6250516 h 6858000"/>
              <a:gd name="connsiteX277" fmla="*/ 6552317 w 12192000"/>
              <a:gd name="connsiteY277" fmla="*/ 6243529 h 6858000"/>
              <a:gd name="connsiteX278" fmla="*/ 6527720 w 12192000"/>
              <a:gd name="connsiteY278" fmla="*/ 6229557 h 6858000"/>
              <a:gd name="connsiteX279" fmla="*/ 6805172 w 12192000"/>
              <a:gd name="connsiteY279" fmla="*/ 6201343 h 6858000"/>
              <a:gd name="connsiteX280" fmla="*/ 6798186 w 12192000"/>
              <a:gd name="connsiteY280" fmla="*/ 6208396 h 6858000"/>
              <a:gd name="connsiteX281" fmla="*/ 6815652 w 12192000"/>
              <a:gd name="connsiteY281" fmla="*/ 6226030 h 6858000"/>
              <a:gd name="connsiteX282" fmla="*/ 6787706 w 12192000"/>
              <a:gd name="connsiteY282" fmla="*/ 6218977 h 6858000"/>
              <a:gd name="connsiteX283" fmla="*/ 6780719 w 12192000"/>
              <a:gd name="connsiteY283" fmla="*/ 6222503 h 6858000"/>
              <a:gd name="connsiteX284" fmla="*/ 6805172 w 12192000"/>
              <a:gd name="connsiteY284" fmla="*/ 6257772 h 6858000"/>
              <a:gd name="connsiteX285" fmla="*/ 6812159 w 12192000"/>
              <a:gd name="connsiteY285" fmla="*/ 6250718 h 6858000"/>
              <a:gd name="connsiteX286" fmla="*/ 6798186 w 12192000"/>
              <a:gd name="connsiteY286" fmla="*/ 6229557 h 6858000"/>
              <a:gd name="connsiteX287" fmla="*/ 6826132 w 12192000"/>
              <a:gd name="connsiteY287" fmla="*/ 6240137 h 6858000"/>
              <a:gd name="connsiteX288" fmla="*/ 6833118 w 12192000"/>
              <a:gd name="connsiteY288" fmla="*/ 6233084 h 6858000"/>
              <a:gd name="connsiteX289" fmla="*/ 6805172 w 12192000"/>
              <a:gd name="connsiteY289" fmla="*/ 6201343 h 6858000"/>
              <a:gd name="connsiteX290" fmla="*/ 6496819 w 12192000"/>
              <a:gd name="connsiteY290" fmla="*/ 6201343 h 6858000"/>
              <a:gd name="connsiteX291" fmla="*/ 6489791 w 12192000"/>
              <a:gd name="connsiteY291" fmla="*/ 6204856 h 6858000"/>
              <a:gd name="connsiteX292" fmla="*/ 6500333 w 12192000"/>
              <a:gd name="connsiteY292" fmla="*/ 6215398 h 6858000"/>
              <a:gd name="connsiteX293" fmla="*/ 6475735 w 12192000"/>
              <a:gd name="connsiteY293" fmla="*/ 6239995 h 6858000"/>
              <a:gd name="connsiteX294" fmla="*/ 6482763 w 12192000"/>
              <a:gd name="connsiteY294" fmla="*/ 6247023 h 6858000"/>
              <a:gd name="connsiteX295" fmla="*/ 6507360 w 12192000"/>
              <a:gd name="connsiteY295" fmla="*/ 6222426 h 6858000"/>
              <a:gd name="connsiteX296" fmla="*/ 6517902 w 12192000"/>
              <a:gd name="connsiteY296" fmla="*/ 6229453 h 6858000"/>
              <a:gd name="connsiteX297" fmla="*/ 6521416 w 12192000"/>
              <a:gd name="connsiteY297" fmla="*/ 6222426 h 6858000"/>
              <a:gd name="connsiteX298" fmla="*/ 6496819 w 12192000"/>
              <a:gd name="connsiteY298" fmla="*/ 6201343 h 6858000"/>
              <a:gd name="connsiteX299" fmla="*/ 6826400 w 12192000"/>
              <a:gd name="connsiteY299" fmla="*/ 6190594 h 6858000"/>
              <a:gd name="connsiteX300" fmla="*/ 6843866 w 12192000"/>
              <a:gd name="connsiteY300" fmla="*/ 6197312 h 6858000"/>
              <a:gd name="connsiteX301" fmla="*/ 6843866 w 12192000"/>
              <a:gd name="connsiteY301" fmla="*/ 6201343 h 6858000"/>
              <a:gd name="connsiteX302" fmla="*/ 6837148 w 12192000"/>
              <a:gd name="connsiteY302" fmla="*/ 6208061 h 6858000"/>
              <a:gd name="connsiteX303" fmla="*/ 6833118 w 12192000"/>
              <a:gd name="connsiteY303" fmla="*/ 6201343 h 6858000"/>
              <a:gd name="connsiteX304" fmla="*/ 6822753 w 12192000"/>
              <a:gd name="connsiteY304" fmla="*/ 6183876 h 6858000"/>
              <a:gd name="connsiteX305" fmla="*/ 6815652 w 12192000"/>
              <a:gd name="connsiteY305" fmla="*/ 6190818 h 6858000"/>
              <a:gd name="connsiteX306" fmla="*/ 6822753 w 12192000"/>
              <a:gd name="connsiteY306" fmla="*/ 6201230 h 6858000"/>
              <a:gd name="connsiteX307" fmla="*/ 6840507 w 12192000"/>
              <a:gd name="connsiteY307" fmla="*/ 6225526 h 6858000"/>
              <a:gd name="connsiteX308" fmla="*/ 6844059 w 12192000"/>
              <a:gd name="connsiteY308" fmla="*/ 6222056 h 6858000"/>
              <a:gd name="connsiteX309" fmla="*/ 6840507 w 12192000"/>
              <a:gd name="connsiteY309" fmla="*/ 6215114 h 6858000"/>
              <a:gd name="connsiteX310" fmla="*/ 6851160 w 12192000"/>
              <a:gd name="connsiteY310" fmla="*/ 6201230 h 6858000"/>
              <a:gd name="connsiteX311" fmla="*/ 6858262 w 12192000"/>
              <a:gd name="connsiteY311" fmla="*/ 6201230 h 6858000"/>
              <a:gd name="connsiteX312" fmla="*/ 6861813 w 12192000"/>
              <a:gd name="connsiteY312" fmla="*/ 6201230 h 6858000"/>
              <a:gd name="connsiteX313" fmla="*/ 6865363 w 12192000"/>
              <a:gd name="connsiteY313" fmla="*/ 6194288 h 6858000"/>
              <a:gd name="connsiteX314" fmla="*/ 6822753 w 12192000"/>
              <a:gd name="connsiteY314" fmla="*/ 6183876 h 6858000"/>
              <a:gd name="connsiteX315" fmla="*/ 6468010 w 12192000"/>
              <a:gd name="connsiteY315" fmla="*/ 6169097 h 6858000"/>
              <a:gd name="connsiteX316" fmla="*/ 6432742 w 12192000"/>
              <a:gd name="connsiteY316" fmla="*/ 6194177 h 6858000"/>
              <a:gd name="connsiteX317" fmla="*/ 6439796 w 12192000"/>
              <a:gd name="connsiteY317" fmla="*/ 6201343 h 6858000"/>
              <a:gd name="connsiteX318" fmla="*/ 6460956 w 12192000"/>
              <a:gd name="connsiteY318" fmla="*/ 6187012 h 6858000"/>
              <a:gd name="connsiteX319" fmla="*/ 6450376 w 12192000"/>
              <a:gd name="connsiteY319" fmla="*/ 6215673 h 6858000"/>
              <a:gd name="connsiteX320" fmla="*/ 6457429 w 12192000"/>
              <a:gd name="connsiteY320" fmla="*/ 6222839 h 6858000"/>
              <a:gd name="connsiteX321" fmla="*/ 6489170 w 12192000"/>
              <a:gd name="connsiteY321" fmla="*/ 6194177 h 6858000"/>
              <a:gd name="connsiteX322" fmla="*/ 6485644 w 12192000"/>
              <a:gd name="connsiteY322" fmla="*/ 6187012 h 6858000"/>
              <a:gd name="connsiteX323" fmla="*/ 6464483 w 12192000"/>
              <a:gd name="connsiteY323" fmla="*/ 6204925 h 6858000"/>
              <a:gd name="connsiteX324" fmla="*/ 6475063 w 12192000"/>
              <a:gd name="connsiteY324" fmla="*/ 6176263 h 6858000"/>
              <a:gd name="connsiteX325" fmla="*/ 6468010 w 12192000"/>
              <a:gd name="connsiteY325" fmla="*/ 6169097 h 6858000"/>
              <a:gd name="connsiteX326" fmla="*/ 6837149 w 12192000"/>
              <a:gd name="connsiteY326" fmla="*/ 6158349 h 6858000"/>
              <a:gd name="connsiteX327" fmla="*/ 6833118 w 12192000"/>
              <a:gd name="connsiteY327" fmla="*/ 6166410 h 6858000"/>
              <a:gd name="connsiteX328" fmla="*/ 6872081 w 12192000"/>
              <a:gd name="connsiteY328" fmla="*/ 6186564 h 6858000"/>
              <a:gd name="connsiteX329" fmla="*/ 6885517 w 12192000"/>
              <a:gd name="connsiteY329" fmla="*/ 6162380 h 6858000"/>
              <a:gd name="connsiteX330" fmla="*/ 6878799 w 12192000"/>
              <a:gd name="connsiteY330" fmla="*/ 6158349 h 6858000"/>
              <a:gd name="connsiteX331" fmla="*/ 6868050 w 12192000"/>
              <a:gd name="connsiteY331" fmla="*/ 6177159 h 6858000"/>
              <a:gd name="connsiteX332" fmla="*/ 6461445 w 12192000"/>
              <a:gd name="connsiteY332" fmla="*/ 6155662 h 6858000"/>
              <a:gd name="connsiteX333" fmla="*/ 6426023 w 12192000"/>
              <a:gd name="connsiteY333" fmla="*/ 6176824 h 6858000"/>
              <a:gd name="connsiteX334" fmla="*/ 6429565 w 12192000"/>
              <a:gd name="connsiteY334" fmla="*/ 6183877 h 6858000"/>
              <a:gd name="connsiteX335" fmla="*/ 6464987 w 12192000"/>
              <a:gd name="connsiteY335" fmla="*/ 6162716 h 6858000"/>
              <a:gd name="connsiteX336" fmla="*/ 6461445 w 12192000"/>
              <a:gd name="connsiteY336" fmla="*/ 6155662 h 6858000"/>
              <a:gd name="connsiteX337" fmla="*/ 6452739 w 12192000"/>
              <a:gd name="connsiteY337" fmla="*/ 6122052 h 6858000"/>
              <a:gd name="connsiteX338" fmla="*/ 6458004 w 12192000"/>
              <a:gd name="connsiteY338" fmla="*/ 6127783 h 6858000"/>
              <a:gd name="connsiteX339" fmla="*/ 6651068 w 12192000"/>
              <a:gd name="connsiteY339" fmla="*/ 6258276 h 6858000"/>
              <a:gd name="connsiteX340" fmla="*/ 6844131 w 12192000"/>
              <a:gd name="connsiteY340" fmla="*/ 6127783 h 6858000"/>
              <a:gd name="connsiteX341" fmla="*/ 6849397 w 12192000"/>
              <a:gd name="connsiteY341" fmla="*/ 6122052 h 6858000"/>
              <a:gd name="connsiteX342" fmla="*/ 6854662 w 12192000"/>
              <a:gd name="connsiteY342" fmla="*/ 6124256 h 6858000"/>
              <a:gd name="connsiteX343" fmla="*/ 6893275 w 12192000"/>
              <a:gd name="connsiteY343" fmla="*/ 6134837 h 6858000"/>
              <a:gd name="connsiteX344" fmla="*/ 6900295 w 12192000"/>
              <a:gd name="connsiteY344" fmla="*/ 6145417 h 6858000"/>
              <a:gd name="connsiteX345" fmla="*/ 6651068 w 12192000"/>
              <a:gd name="connsiteY345" fmla="*/ 6318232 h 6858000"/>
              <a:gd name="connsiteX346" fmla="*/ 6401840 w 12192000"/>
              <a:gd name="connsiteY346" fmla="*/ 6148945 h 6858000"/>
              <a:gd name="connsiteX347" fmla="*/ 6408860 w 12192000"/>
              <a:gd name="connsiteY347" fmla="*/ 6134837 h 6858000"/>
              <a:gd name="connsiteX348" fmla="*/ 6447473 w 12192000"/>
              <a:gd name="connsiteY348" fmla="*/ 6124256 h 6858000"/>
              <a:gd name="connsiteX349" fmla="*/ 6452739 w 12192000"/>
              <a:gd name="connsiteY349" fmla="*/ 6122052 h 6858000"/>
              <a:gd name="connsiteX350" fmla="*/ 6605253 w 12192000"/>
              <a:gd name="connsiteY350" fmla="*/ 6116214 h 6858000"/>
              <a:gd name="connsiteX351" fmla="*/ 6615733 w 12192000"/>
              <a:gd name="connsiteY351" fmla="*/ 6116214 h 6858000"/>
              <a:gd name="connsiteX352" fmla="*/ 6619226 w 12192000"/>
              <a:gd name="connsiteY352" fmla="*/ 6123305 h 6858000"/>
              <a:gd name="connsiteX353" fmla="*/ 6626212 w 12192000"/>
              <a:gd name="connsiteY353" fmla="*/ 6226124 h 6858000"/>
              <a:gd name="connsiteX354" fmla="*/ 6622719 w 12192000"/>
              <a:gd name="connsiteY354" fmla="*/ 6236761 h 6858000"/>
              <a:gd name="connsiteX355" fmla="*/ 6615733 w 12192000"/>
              <a:gd name="connsiteY355" fmla="*/ 6236761 h 6858000"/>
              <a:gd name="connsiteX356" fmla="*/ 6507443 w 12192000"/>
              <a:gd name="connsiteY356" fmla="*/ 6172941 h 6858000"/>
              <a:gd name="connsiteX357" fmla="*/ 6503949 w 12192000"/>
              <a:gd name="connsiteY357" fmla="*/ 6169396 h 6858000"/>
              <a:gd name="connsiteX358" fmla="*/ 6503949 w 12192000"/>
              <a:gd name="connsiteY358" fmla="*/ 6165851 h 6858000"/>
              <a:gd name="connsiteX359" fmla="*/ 6510935 w 12192000"/>
              <a:gd name="connsiteY359" fmla="*/ 6162306 h 6858000"/>
              <a:gd name="connsiteX360" fmla="*/ 6605253 w 12192000"/>
              <a:gd name="connsiteY360" fmla="*/ 6116214 h 6858000"/>
              <a:gd name="connsiteX361" fmla="*/ 6689896 w 12192000"/>
              <a:gd name="connsiteY361" fmla="*/ 6112668 h 6858000"/>
              <a:gd name="connsiteX362" fmla="*/ 6700376 w 12192000"/>
              <a:gd name="connsiteY362" fmla="*/ 6112668 h 6858000"/>
              <a:gd name="connsiteX363" fmla="*/ 6791199 w 12192000"/>
              <a:gd name="connsiteY363" fmla="*/ 6158579 h 6858000"/>
              <a:gd name="connsiteX364" fmla="*/ 6798186 w 12192000"/>
              <a:gd name="connsiteY364" fmla="*/ 6165643 h 6858000"/>
              <a:gd name="connsiteX365" fmla="*/ 6794693 w 12192000"/>
              <a:gd name="connsiteY365" fmla="*/ 6172706 h 6858000"/>
              <a:gd name="connsiteX366" fmla="*/ 6686403 w 12192000"/>
              <a:gd name="connsiteY366" fmla="*/ 6236275 h 6858000"/>
              <a:gd name="connsiteX367" fmla="*/ 6679416 w 12192000"/>
              <a:gd name="connsiteY367" fmla="*/ 6236275 h 6858000"/>
              <a:gd name="connsiteX368" fmla="*/ 6675923 w 12192000"/>
              <a:gd name="connsiteY368" fmla="*/ 6225680 h 6858000"/>
              <a:gd name="connsiteX369" fmla="*/ 6686403 w 12192000"/>
              <a:gd name="connsiteY369" fmla="*/ 6123264 h 6858000"/>
              <a:gd name="connsiteX370" fmla="*/ 6689896 w 12192000"/>
              <a:gd name="connsiteY370" fmla="*/ 6112668 h 6858000"/>
              <a:gd name="connsiteX371" fmla="*/ 5812094 w 12192000"/>
              <a:gd name="connsiteY371" fmla="*/ 6073704 h 6858000"/>
              <a:gd name="connsiteX372" fmla="*/ 5853673 w 12192000"/>
              <a:gd name="connsiteY372" fmla="*/ 6073704 h 6858000"/>
              <a:gd name="connsiteX373" fmla="*/ 5853673 w 12192000"/>
              <a:gd name="connsiteY373" fmla="*/ 6116314 h 6858000"/>
              <a:gd name="connsiteX374" fmla="*/ 5805164 w 12192000"/>
              <a:gd name="connsiteY374" fmla="*/ 6123416 h 6858000"/>
              <a:gd name="connsiteX375" fmla="*/ 5787839 w 12192000"/>
              <a:gd name="connsiteY375" fmla="*/ 6098560 h 6858000"/>
              <a:gd name="connsiteX376" fmla="*/ 5812094 w 12192000"/>
              <a:gd name="connsiteY376" fmla="*/ 6073704 h 6858000"/>
              <a:gd name="connsiteX377" fmla="*/ 5496290 w 12192000"/>
              <a:gd name="connsiteY377" fmla="*/ 6003839 h 6858000"/>
              <a:gd name="connsiteX378" fmla="*/ 5537940 w 12192000"/>
              <a:gd name="connsiteY378" fmla="*/ 6060111 h 6858000"/>
              <a:gd name="connsiteX379" fmla="*/ 5496290 w 12192000"/>
              <a:gd name="connsiteY379" fmla="*/ 6123415 h 6858000"/>
              <a:gd name="connsiteX380" fmla="*/ 5454640 w 12192000"/>
              <a:gd name="connsiteY380" fmla="*/ 6060111 h 6858000"/>
              <a:gd name="connsiteX381" fmla="*/ 5496290 w 12192000"/>
              <a:gd name="connsiteY381" fmla="*/ 6003839 h 6858000"/>
              <a:gd name="connsiteX382" fmla="*/ 6640816 w 12192000"/>
              <a:gd name="connsiteY382" fmla="*/ 5999810 h 6858000"/>
              <a:gd name="connsiteX383" fmla="*/ 6661845 w 12192000"/>
              <a:gd name="connsiteY383" fmla="*/ 5999810 h 6858000"/>
              <a:gd name="connsiteX384" fmla="*/ 6661845 w 12192000"/>
              <a:gd name="connsiteY384" fmla="*/ 6010450 h 6858000"/>
              <a:gd name="connsiteX385" fmla="*/ 6693389 w 12192000"/>
              <a:gd name="connsiteY385" fmla="*/ 6049467 h 6858000"/>
              <a:gd name="connsiteX386" fmla="*/ 6651330 w 12192000"/>
              <a:gd name="connsiteY386" fmla="*/ 6088484 h 6858000"/>
              <a:gd name="connsiteX387" fmla="*/ 6612777 w 12192000"/>
              <a:gd name="connsiteY387" fmla="*/ 6049467 h 6858000"/>
              <a:gd name="connsiteX388" fmla="*/ 6640816 w 12192000"/>
              <a:gd name="connsiteY388" fmla="*/ 6010450 h 6858000"/>
              <a:gd name="connsiteX389" fmla="*/ 6640816 w 12192000"/>
              <a:gd name="connsiteY389" fmla="*/ 5999810 h 6858000"/>
              <a:gd name="connsiteX390" fmla="*/ 6651068 w 12192000"/>
              <a:gd name="connsiteY390" fmla="*/ 5989061 h 6858000"/>
              <a:gd name="connsiteX391" fmla="*/ 6591280 w 12192000"/>
              <a:gd name="connsiteY391" fmla="*/ 6049521 h 6858000"/>
              <a:gd name="connsiteX392" fmla="*/ 6651068 w 12192000"/>
              <a:gd name="connsiteY392" fmla="*/ 6109981 h 6858000"/>
              <a:gd name="connsiteX393" fmla="*/ 6710856 w 12192000"/>
              <a:gd name="connsiteY393" fmla="*/ 6049521 h 6858000"/>
              <a:gd name="connsiteX394" fmla="*/ 6651068 w 12192000"/>
              <a:gd name="connsiteY394" fmla="*/ 5989061 h 6858000"/>
              <a:gd name="connsiteX395" fmla="*/ 6651068 w 12192000"/>
              <a:gd name="connsiteY395" fmla="*/ 5982344 h 6858000"/>
              <a:gd name="connsiteX396" fmla="*/ 6717574 w 12192000"/>
              <a:gd name="connsiteY396" fmla="*/ 6049521 h 6858000"/>
              <a:gd name="connsiteX397" fmla="*/ 6651068 w 12192000"/>
              <a:gd name="connsiteY397" fmla="*/ 6116699 h 6858000"/>
              <a:gd name="connsiteX398" fmla="*/ 6584562 w 12192000"/>
              <a:gd name="connsiteY398" fmla="*/ 6049521 h 6858000"/>
              <a:gd name="connsiteX399" fmla="*/ 6651068 w 12192000"/>
              <a:gd name="connsiteY399" fmla="*/ 5982344 h 6858000"/>
              <a:gd name="connsiteX400" fmla="*/ 6826360 w 12192000"/>
              <a:gd name="connsiteY400" fmla="*/ 5979657 h 6858000"/>
              <a:gd name="connsiteX401" fmla="*/ 6829861 w 12192000"/>
              <a:gd name="connsiteY401" fmla="*/ 5986710 h 6858000"/>
              <a:gd name="connsiteX402" fmla="*/ 6829861 w 12192000"/>
              <a:gd name="connsiteY402" fmla="*/ 6110149 h 6858000"/>
              <a:gd name="connsiteX403" fmla="*/ 6826360 w 12192000"/>
              <a:gd name="connsiteY403" fmla="*/ 6117203 h 6858000"/>
              <a:gd name="connsiteX404" fmla="*/ 6819357 w 12192000"/>
              <a:gd name="connsiteY404" fmla="*/ 6117203 h 6858000"/>
              <a:gd name="connsiteX405" fmla="*/ 6731823 w 12192000"/>
              <a:gd name="connsiteY405" fmla="*/ 6057247 h 6858000"/>
              <a:gd name="connsiteX406" fmla="*/ 6728322 w 12192000"/>
              <a:gd name="connsiteY406" fmla="*/ 6050193 h 6858000"/>
              <a:gd name="connsiteX407" fmla="*/ 6731823 w 12192000"/>
              <a:gd name="connsiteY407" fmla="*/ 6039612 h 6858000"/>
              <a:gd name="connsiteX408" fmla="*/ 6815856 w 12192000"/>
              <a:gd name="connsiteY408" fmla="*/ 5983183 h 6858000"/>
              <a:gd name="connsiteX409" fmla="*/ 6826360 w 12192000"/>
              <a:gd name="connsiteY409" fmla="*/ 5979657 h 6858000"/>
              <a:gd name="connsiteX410" fmla="*/ 6475776 w 12192000"/>
              <a:gd name="connsiteY410" fmla="*/ 5979657 h 6858000"/>
              <a:gd name="connsiteX411" fmla="*/ 6482778 w 12192000"/>
              <a:gd name="connsiteY411" fmla="*/ 5983183 h 6858000"/>
              <a:gd name="connsiteX412" fmla="*/ 6570312 w 12192000"/>
              <a:gd name="connsiteY412" fmla="*/ 6039612 h 6858000"/>
              <a:gd name="connsiteX413" fmla="*/ 6573813 w 12192000"/>
              <a:gd name="connsiteY413" fmla="*/ 6050193 h 6858000"/>
              <a:gd name="connsiteX414" fmla="*/ 6570312 w 12192000"/>
              <a:gd name="connsiteY414" fmla="*/ 6057247 h 6858000"/>
              <a:gd name="connsiteX415" fmla="*/ 6482778 w 12192000"/>
              <a:gd name="connsiteY415" fmla="*/ 6117203 h 6858000"/>
              <a:gd name="connsiteX416" fmla="*/ 6475776 w 12192000"/>
              <a:gd name="connsiteY416" fmla="*/ 6117203 h 6858000"/>
              <a:gd name="connsiteX417" fmla="*/ 6468772 w 12192000"/>
              <a:gd name="connsiteY417" fmla="*/ 6113676 h 6858000"/>
              <a:gd name="connsiteX418" fmla="*/ 6468772 w 12192000"/>
              <a:gd name="connsiteY418" fmla="*/ 5986710 h 6858000"/>
              <a:gd name="connsiteX419" fmla="*/ 6475776 w 12192000"/>
              <a:gd name="connsiteY419" fmla="*/ 5979657 h 6858000"/>
              <a:gd name="connsiteX420" fmla="*/ 6072127 w 12192000"/>
              <a:gd name="connsiteY420" fmla="*/ 5968908 h 6858000"/>
              <a:gd name="connsiteX421" fmla="*/ 6072127 w 12192000"/>
              <a:gd name="connsiteY421" fmla="*/ 5975961 h 6858000"/>
              <a:gd name="connsiteX422" fmla="*/ 6113977 w 12192000"/>
              <a:gd name="connsiteY422" fmla="*/ 6138195 h 6858000"/>
              <a:gd name="connsiteX423" fmla="*/ 6134902 w 12192000"/>
              <a:gd name="connsiteY423" fmla="*/ 6159356 h 6858000"/>
              <a:gd name="connsiteX424" fmla="*/ 6145365 w 12192000"/>
              <a:gd name="connsiteY424" fmla="*/ 6159356 h 6858000"/>
              <a:gd name="connsiteX425" fmla="*/ 6141877 w 12192000"/>
              <a:gd name="connsiteY425" fmla="*/ 6166409 h 6858000"/>
              <a:gd name="connsiteX426" fmla="*/ 6113977 w 12192000"/>
              <a:gd name="connsiteY426" fmla="*/ 6187570 h 6858000"/>
              <a:gd name="connsiteX427" fmla="*/ 6079102 w 12192000"/>
              <a:gd name="connsiteY427" fmla="*/ 6184044 h 6858000"/>
              <a:gd name="connsiteX428" fmla="*/ 6075615 w 12192000"/>
              <a:gd name="connsiteY428" fmla="*/ 6187570 h 6858000"/>
              <a:gd name="connsiteX429" fmla="*/ 6072127 w 12192000"/>
              <a:gd name="connsiteY429" fmla="*/ 6191097 h 6858000"/>
              <a:gd name="connsiteX430" fmla="*/ 6072127 w 12192000"/>
              <a:gd name="connsiteY430" fmla="*/ 6212258 h 6858000"/>
              <a:gd name="connsiteX431" fmla="*/ 6079102 w 12192000"/>
              <a:gd name="connsiteY431" fmla="*/ 6219312 h 6858000"/>
              <a:gd name="connsiteX432" fmla="*/ 6124440 w 12192000"/>
              <a:gd name="connsiteY432" fmla="*/ 6222838 h 6858000"/>
              <a:gd name="connsiteX433" fmla="*/ 6127927 w 12192000"/>
              <a:gd name="connsiteY433" fmla="*/ 6222838 h 6858000"/>
              <a:gd name="connsiteX434" fmla="*/ 6183727 w 12192000"/>
              <a:gd name="connsiteY434" fmla="*/ 6169936 h 6858000"/>
              <a:gd name="connsiteX435" fmla="*/ 6215114 w 12192000"/>
              <a:gd name="connsiteY435" fmla="*/ 6039444 h 6858000"/>
              <a:gd name="connsiteX436" fmla="*/ 6229064 w 12192000"/>
              <a:gd name="connsiteY436" fmla="*/ 5997122 h 6858000"/>
              <a:gd name="connsiteX437" fmla="*/ 6232552 w 12192000"/>
              <a:gd name="connsiteY437" fmla="*/ 5975961 h 6858000"/>
              <a:gd name="connsiteX438" fmla="*/ 6232552 w 12192000"/>
              <a:gd name="connsiteY438" fmla="*/ 5968908 h 6858000"/>
              <a:gd name="connsiteX439" fmla="*/ 6225577 w 12192000"/>
              <a:gd name="connsiteY439" fmla="*/ 5968908 h 6858000"/>
              <a:gd name="connsiteX440" fmla="*/ 6197677 w 12192000"/>
              <a:gd name="connsiteY440" fmla="*/ 5968908 h 6858000"/>
              <a:gd name="connsiteX441" fmla="*/ 6190702 w 12192000"/>
              <a:gd name="connsiteY441" fmla="*/ 5972434 h 6858000"/>
              <a:gd name="connsiteX442" fmla="*/ 6152340 w 12192000"/>
              <a:gd name="connsiteY442" fmla="*/ 6117034 h 6858000"/>
              <a:gd name="connsiteX443" fmla="*/ 6148852 w 12192000"/>
              <a:gd name="connsiteY443" fmla="*/ 6117034 h 6858000"/>
              <a:gd name="connsiteX444" fmla="*/ 6113977 w 12192000"/>
              <a:gd name="connsiteY444" fmla="*/ 5972434 h 6858000"/>
              <a:gd name="connsiteX445" fmla="*/ 6107002 w 12192000"/>
              <a:gd name="connsiteY445" fmla="*/ 5968908 h 6858000"/>
              <a:gd name="connsiteX446" fmla="*/ 6079102 w 12192000"/>
              <a:gd name="connsiteY446" fmla="*/ 5968908 h 6858000"/>
              <a:gd name="connsiteX447" fmla="*/ 6072127 w 12192000"/>
              <a:gd name="connsiteY447" fmla="*/ 5968908 h 6858000"/>
              <a:gd name="connsiteX448" fmla="*/ 6040101 w 12192000"/>
              <a:gd name="connsiteY448" fmla="*/ 5964877 h 6858000"/>
              <a:gd name="connsiteX449" fmla="*/ 5987285 w 12192000"/>
              <a:gd name="connsiteY449" fmla="*/ 5985983 h 6858000"/>
              <a:gd name="connsiteX450" fmla="*/ 5987285 w 12192000"/>
              <a:gd name="connsiteY450" fmla="*/ 5975430 h 6858000"/>
              <a:gd name="connsiteX451" fmla="*/ 5980244 w 12192000"/>
              <a:gd name="connsiteY451" fmla="*/ 5968395 h 6858000"/>
              <a:gd name="connsiteX452" fmla="*/ 5952076 w 12192000"/>
              <a:gd name="connsiteY452" fmla="*/ 5968395 h 6858000"/>
              <a:gd name="connsiteX453" fmla="*/ 5945033 w 12192000"/>
              <a:gd name="connsiteY453" fmla="*/ 5975430 h 6858000"/>
              <a:gd name="connsiteX454" fmla="*/ 5945033 w 12192000"/>
              <a:gd name="connsiteY454" fmla="*/ 6151313 h 6858000"/>
              <a:gd name="connsiteX455" fmla="*/ 5952076 w 12192000"/>
              <a:gd name="connsiteY455" fmla="*/ 6158348 h 6858000"/>
              <a:gd name="connsiteX456" fmla="*/ 5980244 w 12192000"/>
              <a:gd name="connsiteY456" fmla="*/ 6158348 h 6858000"/>
              <a:gd name="connsiteX457" fmla="*/ 5987285 w 12192000"/>
              <a:gd name="connsiteY457" fmla="*/ 6151313 h 6858000"/>
              <a:gd name="connsiteX458" fmla="*/ 5987285 w 12192000"/>
              <a:gd name="connsiteY458" fmla="*/ 6028195 h 6858000"/>
              <a:gd name="connsiteX459" fmla="*/ 6040101 w 12192000"/>
              <a:gd name="connsiteY459" fmla="*/ 6007089 h 6858000"/>
              <a:gd name="connsiteX460" fmla="*/ 6047143 w 12192000"/>
              <a:gd name="connsiteY460" fmla="*/ 6000054 h 6858000"/>
              <a:gd name="connsiteX461" fmla="*/ 6047143 w 12192000"/>
              <a:gd name="connsiteY461" fmla="*/ 5971913 h 6858000"/>
              <a:gd name="connsiteX462" fmla="*/ 6043622 w 12192000"/>
              <a:gd name="connsiteY462" fmla="*/ 5968395 h 6858000"/>
              <a:gd name="connsiteX463" fmla="*/ 6040101 w 12192000"/>
              <a:gd name="connsiteY463" fmla="*/ 5964877 h 6858000"/>
              <a:gd name="connsiteX464" fmla="*/ 5833459 w 12192000"/>
              <a:gd name="connsiteY464" fmla="*/ 5960846 h 6858000"/>
              <a:gd name="connsiteX465" fmla="*/ 5763228 w 12192000"/>
              <a:gd name="connsiteY465" fmla="*/ 5967917 h 6858000"/>
              <a:gd name="connsiteX466" fmla="*/ 5756205 w 12192000"/>
              <a:gd name="connsiteY466" fmla="*/ 5974989 h 6858000"/>
              <a:gd name="connsiteX467" fmla="*/ 5756205 w 12192000"/>
              <a:gd name="connsiteY467" fmla="*/ 5999738 h 6858000"/>
              <a:gd name="connsiteX468" fmla="*/ 5759716 w 12192000"/>
              <a:gd name="connsiteY468" fmla="*/ 6006810 h 6858000"/>
              <a:gd name="connsiteX469" fmla="*/ 5763228 w 12192000"/>
              <a:gd name="connsiteY469" fmla="*/ 6006810 h 6858000"/>
              <a:gd name="connsiteX470" fmla="*/ 5829947 w 12192000"/>
              <a:gd name="connsiteY470" fmla="*/ 6003274 h 6858000"/>
              <a:gd name="connsiteX471" fmla="*/ 5854528 w 12192000"/>
              <a:gd name="connsiteY471" fmla="*/ 6028024 h 6858000"/>
              <a:gd name="connsiteX472" fmla="*/ 5854528 w 12192000"/>
              <a:gd name="connsiteY472" fmla="*/ 6038631 h 6858000"/>
              <a:gd name="connsiteX473" fmla="*/ 5805366 w 12192000"/>
              <a:gd name="connsiteY473" fmla="*/ 6042167 h 6858000"/>
              <a:gd name="connsiteX474" fmla="*/ 5742158 w 12192000"/>
              <a:gd name="connsiteY474" fmla="*/ 6102272 h 6858000"/>
              <a:gd name="connsiteX475" fmla="*/ 5798344 w 12192000"/>
              <a:gd name="connsiteY475" fmla="*/ 6162378 h 6858000"/>
              <a:gd name="connsiteX476" fmla="*/ 5861552 w 12192000"/>
              <a:gd name="connsiteY476" fmla="*/ 6148235 h 6858000"/>
              <a:gd name="connsiteX477" fmla="*/ 5889644 w 12192000"/>
              <a:gd name="connsiteY477" fmla="*/ 6162378 h 6858000"/>
              <a:gd name="connsiteX478" fmla="*/ 5896667 w 12192000"/>
              <a:gd name="connsiteY478" fmla="*/ 6158842 h 6858000"/>
              <a:gd name="connsiteX479" fmla="*/ 5896667 w 12192000"/>
              <a:gd name="connsiteY479" fmla="*/ 6155307 h 6858000"/>
              <a:gd name="connsiteX480" fmla="*/ 5896667 w 12192000"/>
              <a:gd name="connsiteY480" fmla="*/ 6028024 h 6858000"/>
              <a:gd name="connsiteX481" fmla="*/ 5833459 w 12192000"/>
              <a:gd name="connsiteY481" fmla="*/ 5960846 h 6858000"/>
              <a:gd name="connsiteX482" fmla="*/ 5497633 w 12192000"/>
              <a:gd name="connsiteY482" fmla="*/ 5960845 h 6858000"/>
              <a:gd name="connsiteX483" fmla="*/ 5411646 w 12192000"/>
              <a:gd name="connsiteY483" fmla="*/ 6061612 h 6858000"/>
              <a:gd name="connsiteX484" fmla="*/ 5497633 w 12192000"/>
              <a:gd name="connsiteY484" fmla="*/ 6162378 h 6858000"/>
              <a:gd name="connsiteX485" fmla="*/ 5583620 w 12192000"/>
              <a:gd name="connsiteY485" fmla="*/ 6061612 h 6858000"/>
              <a:gd name="connsiteX486" fmla="*/ 5497633 w 12192000"/>
              <a:gd name="connsiteY486" fmla="*/ 5960845 h 6858000"/>
              <a:gd name="connsiteX487" fmla="*/ 5243703 w 12192000"/>
              <a:gd name="connsiteY487" fmla="*/ 5936662 h 6858000"/>
              <a:gd name="connsiteX488" fmla="*/ 5275052 w 12192000"/>
              <a:gd name="connsiteY488" fmla="*/ 5936662 h 6858000"/>
              <a:gd name="connsiteX489" fmla="*/ 5292468 w 12192000"/>
              <a:gd name="connsiteY489" fmla="*/ 5936662 h 6858000"/>
              <a:gd name="connsiteX490" fmla="*/ 5337751 w 12192000"/>
              <a:gd name="connsiteY490" fmla="*/ 5975626 h 6858000"/>
              <a:gd name="connsiteX491" fmla="*/ 5288986 w 12192000"/>
              <a:gd name="connsiteY491" fmla="*/ 6014588 h 6858000"/>
              <a:gd name="connsiteX492" fmla="*/ 5243703 w 12192000"/>
              <a:gd name="connsiteY492" fmla="*/ 6014588 h 6858000"/>
              <a:gd name="connsiteX493" fmla="*/ 5243703 w 12192000"/>
              <a:gd name="connsiteY493" fmla="*/ 5936662 h 6858000"/>
              <a:gd name="connsiteX494" fmla="*/ 5660874 w 12192000"/>
              <a:gd name="connsiteY494" fmla="*/ 5923227 h 6858000"/>
              <a:gd name="connsiteX495" fmla="*/ 5629222 w 12192000"/>
              <a:gd name="connsiteY495" fmla="*/ 5930261 h 6858000"/>
              <a:gd name="connsiteX496" fmla="*/ 5625705 w 12192000"/>
              <a:gd name="connsiteY496" fmla="*/ 5937295 h 6858000"/>
              <a:gd name="connsiteX497" fmla="*/ 5625705 w 12192000"/>
              <a:gd name="connsiteY497" fmla="*/ 5968947 h 6858000"/>
              <a:gd name="connsiteX498" fmla="*/ 5608120 w 12192000"/>
              <a:gd name="connsiteY498" fmla="*/ 5968947 h 6858000"/>
              <a:gd name="connsiteX499" fmla="*/ 5601086 w 12192000"/>
              <a:gd name="connsiteY499" fmla="*/ 5975981 h 6858000"/>
              <a:gd name="connsiteX500" fmla="*/ 5601086 w 12192000"/>
              <a:gd name="connsiteY500" fmla="*/ 6000599 h 6858000"/>
              <a:gd name="connsiteX501" fmla="*/ 5608120 w 12192000"/>
              <a:gd name="connsiteY501" fmla="*/ 6007633 h 6858000"/>
              <a:gd name="connsiteX502" fmla="*/ 5625705 w 12192000"/>
              <a:gd name="connsiteY502" fmla="*/ 6007633 h 6858000"/>
              <a:gd name="connsiteX503" fmla="*/ 5625705 w 12192000"/>
              <a:gd name="connsiteY503" fmla="*/ 6092040 h 6858000"/>
              <a:gd name="connsiteX504" fmla="*/ 5681975 w 12192000"/>
              <a:gd name="connsiteY504" fmla="*/ 6162378 h 6858000"/>
              <a:gd name="connsiteX505" fmla="*/ 5713628 w 12192000"/>
              <a:gd name="connsiteY505" fmla="*/ 6158862 h 6858000"/>
              <a:gd name="connsiteX506" fmla="*/ 5720662 w 12192000"/>
              <a:gd name="connsiteY506" fmla="*/ 6151827 h 6858000"/>
              <a:gd name="connsiteX507" fmla="*/ 5720662 w 12192000"/>
              <a:gd name="connsiteY507" fmla="*/ 6127209 h 6858000"/>
              <a:gd name="connsiteX508" fmla="*/ 5713628 w 12192000"/>
              <a:gd name="connsiteY508" fmla="*/ 6120175 h 6858000"/>
              <a:gd name="connsiteX509" fmla="*/ 5689009 w 12192000"/>
              <a:gd name="connsiteY509" fmla="*/ 6120175 h 6858000"/>
              <a:gd name="connsiteX510" fmla="*/ 5667908 w 12192000"/>
              <a:gd name="connsiteY510" fmla="*/ 6085006 h 6858000"/>
              <a:gd name="connsiteX511" fmla="*/ 5667908 w 12192000"/>
              <a:gd name="connsiteY511" fmla="*/ 6007633 h 6858000"/>
              <a:gd name="connsiteX512" fmla="*/ 5713628 w 12192000"/>
              <a:gd name="connsiteY512" fmla="*/ 6007633 h 6858000"/>
              <a:gd name="connsiteX513" fmla="*/ 5720662 w 12192000"/>
              <a:gd name="connsiteY513" fmla="*/ 6000599 h 6858000"/>
              <a:gd name="connsiteX514" fmla="*/ 5720662 w 12192000"/>
              <a:gd name="connsiteY514" fmla="*/ 5975981 h 6858000"/>
              <a:gd name="connsiteX515" fmla="*/ 5713628 w 12192000"/>
              <a:gd name="connsiteY515" fmla="*/ 5968947 h 6858000"/>
              <a:gd name="connsiteX516" fmla="*/ 5667908 w 12192000"/>
              <a:gd name="connsiteY516" fmla="*/ 5968947 h 6858000"/>
              <a:gd name="connsiteX517" fmla="*/ 5667908 w 12192000"/>
              <a:gd name="connsiteY517" fmla="*/ 5930261 h 6858000"/>
              <a:gd name="connsiteX518" fmla="*/ 5664391 w 12192000"/>
              <a:gd name="connsiteY518" fmla="*/ 5923227 h 6858000"/>
              <a:gd name="connsiteX519" fmla="*/ 5660874 w 12192000"/>
              <a:gd name="connsiteY519" fmla="*/ 5923227 h 6858000"/>
              <a:gd name="connsiteX520" fmla="*/ 5285479 w 12192000"/>
              <a:gd name="connsiteY520" fmla="*/ 5895013 h 6858000"/>
              <a:gd name="connsiteX521" fmla="*/ 5205019 w 12192000"/>
              <a:gd name="connsiteY521" fmla="*/ 5898524 h 6858000"/>
              <a:gd name="connsiteX522" fmla="*/ 5198022 w 12192000"/>
              <a:gd name="connsiteY522" fmla="*/ 5905546 h 6858000"/>
              <a:gd name="connsiteX523" fmla="*/ 5198022 w 12192000"/>
              <a:gd name="connsiteY523" fmla="*/ 6151326 h 6858000"/>
              <a:gd name="connsiteX524" fmla="*/ 5205019 w 12192000"/>
              <a:gd name="connsiteY524" fmla="*/ 6158348 h 6858000"/>
              <a:gd name="connsiteX525" fmla="*/ 5236504 w 12192000"/>
              <a:gd name="connsiteY525" fmla="*/ 6158348 h 6858000"/>
              <a:gd name="connsiteX526" fmla="*/ 5243501 w 12192000"/>
              <a:gd name="connsiteY526" fmla="*/ 6151326 h 6858000"/>
              <a:gd name="connsiteX527" fmla="*/ 5243501 w 12192000"/>
              <a:gd name="connsiteY527" fmla="*/ 6053014 h 6858000"/>
              <a:gd name="connsiteX528" fmla="*/ 5292476 w 12192000"/>
              <a:gd name="connsiteY528" fmla="*/ 6056525 h 6858000"/>
              <a:gd name="connsiteX529" fmla="*/ 5337954 w 12192000"/>
              <a:gd name="connsiteY529" fmla="*/ 6154837 h 6858000"/>
              <a:gd name="connsiteX530" fmla="*/ 5344951 w 12192000"/>
              <a:gd name="connsiteY530" fmla="*/ 6158348 h 6858000"/>
              <a:gd name="connsiteX531" fmla="*/ 5376435 w 12192000"/>
              <a:gd name="connsiteY531" fmla="*/ 6158348 h 6858000"/>
              <a:gd name="connsiteX532" fmla="*/ 5383431 w 12192000"/>
              <a:gd name="connsiteY532" fmla="*/ 6154837 h 6858000"/>
              <a:gd name="connsiteX533" fmla="*/ 5383431 w 12192000"/>
              <a:gd name="connsiteY533" fmla="*/ 6147815 h 6858000"/>
              <a:gd name="connsiteX534" fmla="*/ 5337954 w 12192000"/>
              <a:gd name="connsiteY534" fmla="*/ 6042481 h 6858000"/>
              <a:gd name="connsiteX535" fmla="*/ 5383431 w 12192000"/>
              <a:gd name="connsiteY535" fmla="*/ 5975769 h 6858000"/>
              <a:gd name="connsiteX536" fmla="*/ 5292476 w 12192000"/>
              <a:gd name="connsiteY536" fmla="*/ 5895013 h 6858000"/>
              <a:gd name="connsiteX537" fmla="*/ 5285479 w 12192000"/>
              <a:gd name="connsiteY537" fmla="*/ 5895013 h 6858000"/>
              <a:gd name="connsiteX538" fmla="*/ 6840997 w 12192000"/>
              <a:gd name="connsiteY538" fmla="*/ 5864091 h 6858000"/>
              <a:gd name="connsiteX539" fmla="*/ 6847534 w 12192000"/>
              <a:gd name="connsiteY539" fmla="*/ 5869822 h 6858000"/>
              <a:gd name="connsiteX540" fmla="*/ 6910281 w 12192000"/>
              <a:gd name="connsiteY540" fmla="*/ 6109646 h 6858000"/>
              <a:gd name="connsiteX541" fmla="*/ 6899823 w 12192000"/>
              <a:gd name="connsiteY541" fmla="*/ 6113173 h 6858000"/>
              <a:gd name="connsiteX542" fmla="*/ 6861478 w 12192000"/>
              <a:gd name="connsiteY542" fmla="*/ 6102592 h 6858000"/>
              <a:gd name="connsiteX543" fmla="*/ 6854506 w 12192000"/>
              <a:gd name="connsiteY543" fmla="*/ 6092012 h 6858000"/>
              <a:gd name="connsiteX544" fmla="*/ 6809188 w 12192000"/>
              <a:gd name="connsiteY544" fmla="*/ 5912144 h 6858000"/>
              <a:gd name="connsiteX545" fmla="*/ 6809188 w 12192000"/>
              <a:gd name="connsiteY545" fmla="*/ 5898037 h 6858000"/>
              <a:gd name="connsiteX546" fmla="*/ 6837075 w 12192000"/>
              <a:gd name="connsiteY546" fmla="*/ 5866295 h 6858000"/>
              <a:gd name="connsiteX547" fmla="*/ 6840997 w 12192000"/>
              <a:gd name="connsiteY547" fmla="*/ 5864091 h 6858000"/>
              <a:gd name="connsiteX548" fmla="*/ 6460734 w 12192000"/>
              <a:gd name="connsiteY548" fmla="*/ 5864091 h 6858000"/>
              <a:gd name="connsiteX549" fmla="*/ 6464696 w 12192000"/>
              <a:gd name="connsiteY549" fmla="*/ 5866295 h 6858000"/>
              <a:gd name="connsiteX550" fmla="*/ 6496396 w 12192000"/>
              <a:gd name="connsiteY550" fmla="*/ 5898037 h 6858000"/>
              <a:gd name="connsiteX551" fmla="*/ 6492874 w 12192000"/>
              <a:gd name="connsiteY551" fmla="*/ 5912144 h 6858000"/>
              <a:gd name="connsiteX552" fmla="*/ 6447085 w 12192000"/>
              <a:gd name="connsiteY552" fmla="*/ 6092012 h 6858000"/>
              <a:gd name="connsiteX553" fmla="*/ 6440040 w 12192000"/>
              <a:gd name="connsiteY553" fmla="*/ 6102592 h 6858000"/>
              <a:gd name="connsiteX554" fmla="*/ 6401295 w 12192000"/>
              <a:gd name="connsiteY554" fmla="*/ 6113173 h 6858000"/>
              <a:gd name="connsiteX555" fmla="*/ 6390728 w 12192000"/>
              <a:gd name="connsiteY555" fmla="*/ 6109646 h 6858000"/>
              <a:gd name="connsiteX556" fmla="*/ 6454129 w 12192000"/>
              <a:gd name="connsiteY556" fmla="*/ 5869822 h 6858000"/>
              <a:gd name="connsiteX557" fmla="*/ 6460734 w 12192000"/>
              <a:gd name="connsiteY557" fmla="*/ 5864091 h 6858000"/>
              <a:gd name="connsiteX558" fmla="*/ 6679416 w 12192000"/>
              <a:gd name="connsiteY558" fmla="*/ 5858737 h 6858000"/>
              <a:gd name="connsiteX559" fmla="*/ 6686403 w 12192000"/>
              <a:gd name="connsiteY559" fmla="*/ 5858737 h 6858000"/>
              <a:gd name="connsiteX560" fmla="*/ 6794693 w 12192000"/>
              <a:gd name="connsiteY560" fmla="*/ 5922306 h 6858000"/>
              <a:gd name="connsiteX561" fmla="*/ 6798186 w 12192000"/>
              <a:gd name="connsiteY561" fmla="*/ 5929370 h 6858000"/>
              <a:gd name="connsiteX562" fmla="*/ 6791199 w 12192000"/>
              <a:gd name="connsiteY562" fmla="*/ 5936433 h 6858000"/>
              <a:gd name="connsiteX563" fmla="*/ 6700376 w 12192000"/>
              <a:gd name="connsiteY563" fmla="*/ 5982344 h 6858000"/>
              <a:gd name="connsiteX564" fmla="*/ 6689896 w 12192000"/>
              <a:gd name="connsiteY564" fmla="*/ 5982344 h 6858000"/>
              <a:gd name="connsiteX565" fmla="*/ 6682909 w 12192000"/>
              <a:gd name="connsiteY565" fmla="*/ 5971749 h 6858000"/>
              <a:gd name="connsiteX566" fmla="*/ 6675923 w 12192000"/>
              <a:gd name="connsiteY566" fmla="*/ 5869333 h 6858000"/>
              <a:gd name="connsiteX567" fmla="*/ 6679416 w 12192000"/>
              <a:gd name="connsiteY567" fmla="*/ 5858737 h 6858000"/>
              <a:gd name="connsiteX568" fmla="*/ 6615733 w 12192000"/>
              <a:gd name="connsiteY568" fmla="*/ 5858737 h 6858000"/>
              <a:gd name="connsiteX569" fmla="*/ 6622719 w 12192000"/>
              <a:gd name="connsiteY569" fmla="*/ 5858737 h 6858000"/>
              <a:gd name="connsiteX570" fmla="*/ 6626212 w 12192000"/>
              <a:gd name="connsiteY570" fmla="*/ 5869333 h 6858000"/>
              <a:gd name="connsiteX571" fmla="*/ 6615733 w 12192000"/>
              <a:gd name="connsiteY571" fmla="*/ 5975280 h 6858000"/>
              <a:gd name="connsiteX572" fmla="*/ 6612239 w 12192000"/>
              <a:gd name="connsiteY572" fmla="*/ 5982344 h 6858000"/>
              <a:gd name="connsiteX573" fmla="*/ 6601760 w 12192000"/>
              <a:gd name="connsiteY573" fmla="*/ 5982344 h 6858000"/>
              <a:gd name="connsiteX574" fmla="*/ 6510935 w 12192000"/>
              <a:gd name="connsiteY574" fmla="*/ 5936433 h 6858000"/>
              <a:gd name="connsiteX575" fmla="*/ 6503949 w 12192000"/>
              <a:gd name="connsiteY575" fmla="*/ 5929370 h 6858000"/>
              <a:gd name="connsiteX576" fmla="*/ 6507443 w 12192000"/>
              <a:gd name="connsiteY576" fmla="*/ 5922306 h 6858000"/>
              <a:gd name="connsiteX577" fmla="*/ 6615733 w 12192000"/>
              <a:gd name="connsiteY577" fmla="*/ 5858737 h 6858000"/>
              <a:gd name="connsiteX578" fmla="*/ 6534583 w 12192000"/>
              <a:gd name="connsiteY578" fmla="*/ 5823805 h 6858000"/>
              <a:gd name="connsiteX579" fmla="*/ 6541569 w 12192000"/>
              <a:gd name="connsiteY579" fmla="*/ 5831195 h 6858000"/>
              <a:gd name="connsiteX580" fmla="*/ 6538076 w 12192000"/>
              <a:gd name="connsiteY580" fmla="*/ 5834890 h 6858000"/>
              <a:gd name="connsiteX581" fmla="*/ 6531089 w 12192000"/>
              <a:gd name="connsiteY581" fmla="*/ 5838585 h 6858000"/>
              <a:gd name="connsiteX582" fmla="*/ 6527596 w 12192000"/>
              <a:gd name="connsiteY582" fmla="*/ 5831195 h 6858000"/>
              <a:gd name="connsiteX583" fmla="*/ 6524103 w 12192000"/>
              <a:gd name="connsiteY583" fmla="*/ 5831195 h 6858000"/>
              <a:gd name="connsiteX584" fmla="*/ 6534583 w 12192000"/>
              <a:gd name="connsiteY584" fmla="*/ 5823805 h 6858000"/>
              <a:gd name="connsiteX585" fmla="*/ 6531109 w 12192000"/>
              <a:gd name="connsiteY585" fmla="*/ 5816608 h 6858000"/>
              <a:gd name="connsiteX586" fmla="*/ 6513354 w 12192000"/>
              <a:gd name="connsiteY586" fmla="*/ 5827260 h 6858000"/>
              <a:gd name="connsiteX587" fmla="*/ 6516905 w 12192000"/>
              <a:gd name="connsiteY587" fmla="*/ 5830811 h 6858000"/>
              <a:gd name="connsiteX588" fmla="*/ 6534660 w 12192000"/>
              <a:gd name="connsiteY588" fmla="*/ 5862769 h 6858000"/>
              <a:gd name="connsiteX589" fmla="*/ 6541761 w 12192000"/>
              <a:gd name="connsiteY589" fmla="*/ 5859217 h 6858000"/>
              <a:gd name="connsiteX590" fmla="*/ 6534660 w 12192000"/>
              <a:gd name="connsiteY590" fmla="*/ 5845014 h 6858000"/>
              <a:gd name="connsiteX591" fmla="*/ 6541761 w 12192000"/>
              <a:gd name="connsiteY591" fmla="*/ 5841464 h 6858000"/>
              <a:gd name="connsiteX592" fmla="*/ 6555964 w 12192000"/>
              <a:gd name="connsiteY592" fmla="*/ 5852116 h 6858000"/>
              <a:gd name="connsiteX593" fmla="*/ 6563066 w 12192000"/>
              <a:gd name="connsiteY593" fmla="*/ 5848565 h 6858000"/>
              <a:gd name="connsiteX594" fmla="*/ 6548863 w 12192000"/>
              <a:gd name="connsiteY594" fmla="*/ 5834362 h 6858000"/>
              <a:gd name="connsiteX595" fmla="*/ 6548863 w 12192000"/>
              <a:gd name="connsiteY595" fmla="*/ 5830811 h 6858000"/>
              <a:gd name="connsiteX596" fmla="*/ 6531109 w 12192000"/>
              <a:gd name="connsiteY596" fmla="*/ 5816608 h 6858000"/>
              <a:gd name="connsiteX597" fmla="*/ 6752016 w 12192000"/>
              <a:gd name="connsiteY597" fmla="*/ 5810370 h 6858000"/>
              <a:gd name="connsiteX598" fmla="*/ 6755559 w 12192000"/>
              <a:gd name="connsiteY598" fmla="*/ 5834554 h 6858000"/>
              <a:gd name="connsiteX599" fmla="*/ 6748474 w 12192000"/>
              <a:gd name="connsiteY599" fmla="*/ 5851828 h 6858000"/>
              <a:gd name="connsiteX600" fmla="*/ 6755559 w 12192000"/>
              <a:gd name="connsiteY600" fmla="*/ 5858737 h 6858000"/>
              <a:gd name="connsiteX601" fmla="*/ 6762643 w 12192000"/>
              <a:gd name="connsiteY601" fmla="*/ 5841463 h 6858000"/>
              <a:gd name="connsiteX602" fmla="*/ 6787438 w 12192000"/>
              <a:gd name="connsiteY602" fmla="*/ 5827644 h 6858000"/>
              <a:gd name="connsiteX603" fmla="*/ 6780354 w 12192000"/>
              <a:gd name="connsiteY603" fmla="*/ 5824189 h 6858000"/>
              <a:gd name="connsiteX604" fmla="*/ 6762643 w 12192000"/>
              <a:gd name="connsiteY604" fmla="*/ 5831099 h 6858000"/>
              <a:gd name="connsiteX605" fmla="*/ 6759101 w 12192000"/>
              <a:gd name="connsiteY605" fmla="*/ 5813824 h 6858000"/>
              <a:gd name="connsiteX606" fmla="*/ 6752016 w 12192000"/>
              <a:gd name="connsiteY606" fmla="*/ 5810370 h 6858000"/>
              <a:gd name="connsiteX607" fmla="*/ 6717036 w 12192000"/>
              <a:gd name="connsiteY607" fmla="*/ 5806340 h 6858000"/>
              <a:gd name="connsiteX608" fmla="*/ 6727516 w 12192000"/>
              <a:gd name="connsiteY608" fmla="*/ 5809699 h 6858000"/>
              <a:gd name="connsiteX609" fmla="*/ 6731009 w 12192000"/>
              <a:gd name="connsiteY609" fmla="*/ 5813058 h 6858000"/>
              <a:gd name="connsiteX610" fmla="*/ 6724022 w 12192000"/>
              <a:gd name="connsiteY610" fmla="*/ 5819775 h 6858000"/>
              <a:gd name="connsiteX611" fmla="*/ 6713542 w 12192000"/>
              <a:gd name="connsiteY611" fmla="*/ 5816416 h 6858000"/>
              <a:gd name="connsiteX612" fmla="*/ 6713542 w 12192000"/>
              <a:gd name="connsiteY612" fmla="*/ 5813058 h 6858000"/>
              <a:gd name="connsiteX613" fmla="*/ 6717036 w 12192000"/>
              <a:gd name="connsiteY613" fmla="*/ 5806340 h 6858000"/>
              <a:gd name="connsiteX614" fmla="*/ 6583891 w 12192000"/>
              <a:gd name="connsiteY614" fmla="*/ 5805835 h 6858000"/>
              <a:gd name="connsiteX615" fmla="*/ 6597998 w 12192000"/>
              <a:gd name="connsiteY615" fmla="*/ 5816416 h 6858000"/>
              <a:gd name="connsiteX616" fmla="*/ 6583891 w 12192000"/>
              <a:gd name="connsiteY616" fmla="*/ 5830523 h 6858000"/>
              <a:gd name="connsiteX617" fmla="*/ 6569783 w 12192000"/>
              <a:gd name="connsiteY617" fmla="*/ 5819943 h 6858000"/>
              <a:gd name="connsiteX618" fmla="*/ 6569783 w 12192000"/>
              <a:gd name="connsiteY618" fmla="*/ 5816416 h 6858000"/>
              <a:gd name="connsiteX619" fmla="*/ 6583891 w 12192000"/>
              <a:gd name="connsiteY619" fmla="*/ 5805835 h 6858000"/>
              <a:gd name="connsiteX620" fmla="*/ 6671893 w 12192000"/>
              <a:gd name="connsiteY620" fmla="*/ 5799621 h 6858000"/>
              <a:gd name="connsiteX621" fmla="*/ 6675251 w 12192000"/>
              <a:gd name="connsiteY621" fmla="*/ 5810101 h 6858000"/>
              <a:gd name="connsiteX622" fmla="*/ 6678610 w 12192000"/>
              <a:gd name="connsiteY622" fmla="*/ 5817088 h 6858000"/>
              <a:gd name="connsiteX623" fmla="*/ 6665174 w 12192000"/>
              <a:gd name="connsiteY623" fmla="*/ 5817088 h 6858000"/>
              <a:gd name="connsiteX624" fmla="*/ 6668534 w 12192000"/>
              <a:gd name="connsiteY624" fmla="*/ 5810101 h 6858000"/>
              <a:gd name="connsiteX625" fmla="*/ 6671893 w 12192000"/>
              <a:gd name="connsiteY625" fmla="*/ 5799621 h 6858000"/>
              <a:gd name="connsiteX626" fmla="*/ 6580420 w 12192000"/>
              <a:gd name="connsiteY626" fmla="*/ 5799105 h 6858000"/>
              <a:gd name="connsiteX627" fmla="*/ 6563065 w 12192000"/>
              <a:gd name="connsiteY627" fmla="*/ 5816675 h 6858000"/>
              <a:gd name="connsiteX628" fmla="*/ 6563065 w 12192000"/>
              <a:gd name="connsiteY628" fmla="*/ 5820188 h 6858000"/>
              <a:gd name="connsiteX629" fmla="*/ 6583891 w 12192000"/>
              <a:gd name="connsiteY629" fmla="*/ 5837758 h 6858000"/>
              <a:gd name="connsiteX630" fmla="*/ 6604715 w 12192000"/>
              <a:gd name="connsiteY630" fmla="*/ 5816675 h 6858000"/>
              <a:gd name="connsiteX631" fmla="*/ 6580420 w 12192000"/>
              <a:gd name="connsiteY631" fmla="*/ 5799105 h 6858000"/>
              <a:gd name="connsiteX632" fmla="*/ 6710733 w 12192000"/>
              <a:gd name="connsiteY632" fmla="*/ 5795591 h 6858000"/>
              <a:gd name="connsiteX633" fmla="*/ 6707191 w 12192000"/>
              <a:gd name="connsiteY633" fmla="*/ 5813345 h 6858000"/>
              <a:gd name="connsiteX634" fmla="*/ 6700107 w 12192000"/>
              <a:gd name="connsiteY634" fmla="*/ 5834650 h 6858000"/>
              <a:gd name="connsiteX635" fmla="*/ 6710733 w 12192000"/>
              <a:gd name="connsiteY635" fmla="*/ 5838201 h 6858000"/>
              <a:gd name="connsiteX636" fmla="*/ 6714275 w 12192000"/>
              <a:gd name="connsiteY636" fmla="*/ 5823998 h 6858000"/>
              <a:gd name="connsiteX637" fmla="*/ 6721360 w 12192000"/>
              <a:gd name="connsiteY637" fmla="*/ 5823998 h 6858000"/>
              <a:gd name="connsiteX638" fmla="*/ 6724902 w 12192000"/>
              <a:gd name="connsiteY638" fmla="*/ 5841752 h 6858000"/>
              <a:gd name="connsiteX639" fmla="*/ 6731986 w 12192000"/>
              <a:gd name="connsiteY639" fmla="*/ 5845303 h 6858000"/>
              <a:gd name="connsiteX640" fmla="*/ 6728443 w 12192000"/>
              <a:gd name="connsiteY640" fmla="*/ 5827549 h 6858000"/>
              <a:gd name="connsiteX641" fmla="*/ 6739070 w 12192000"/>
              <a:gd name="connsiteY641" fmla="*/ 5813345 h 6858000"/>
              <a:gd name="connsiteX642" fmla="*/ 6731986 w 12192000"/>
              <a:gd name="connsiteY642" fmla="*/ 5802693 h 6858000"/>
              <a:gd name="connsiteX643" fmla="*/ 6710733 w 12192000"/>
              <a:gd name="connsiteY643" fmla="*/ 5795591 h 6858000"/>
              <a:gd name="connsiteX644" fmla="*/ 6668106 w 12192000"/>
              <a:gd name="connsiteY644" fmla="*/ 5788873 h 6858000"/>
              <a:gd name="connsiteX645" fmla="*/ 6661022 w 12192000"/>
              <a:gd name="connsiteY645" fmla="*/ 5809957 h 6858000"/>
              <a:gd name="connsiteX646" fmla="*/ 6650396 w 12192000"/>
              <a:gd name="connsiteY646" fmla="*/ 5831040 h 6858000"/>
              <a:gd name="connsiteX647" fmla="*/ 6657481 w 12192000"/>
              <a:gd name="connsiteY647" fmla="*/ 5831040 h 6858000"/>
              <a:gd name="connsiteX648" fmla="*/ 6661022 w 12192000"/>
              <a:gd name="connsiteY648" fmla="*/ 5824012 h 6858000"/>
              <a:gd name="connsiteX649" fmla="*/ 6678733 w 12192000"/>
              <a:gd name="connsiteY649" fmla="*/ 5824012 h 6858000"/>
              <a:gd name="connsiteX650" fmla="*/ 6682275 w 12192000"/>
              <a:gd name="connsiteY650" fmla="*/ 5831040 h 6858000"/>
              <a:gd name="connsiteX651" fmla="*/ 6689359 w 12192000"/>
              <a:gd name="connsiteY651" fmla="*/ 5834554 h 6858000"/>
              <a:gd name="connsiteX652" fmla="*/ 6682275 w 12192000"/>
              <a:gd name="connsiteY652" fmla="*/ 5809957 h 6858000"/>
              <a:gd name="connsiteX653" fmla="*/ 6678733 w 12192000"/>
              <a:gd name="connsiteY653" fmla="*/ 5788873 h 6858000"/>
              <a:gd name="connsiteX654" fmla="*/ 6668106 w 12192000"/>
              <a:gd name="connsiteY654" fmla="*/ 5788873 h 6858000"/>
              <a:gd name="connsiteX655" fmla="*/ 6647709 w 12192000"/>
              <a:gd name="connsiteY655" fmla="*/ 5788873 h 6858000"/>
              <a:gd name="connsiteX656" fmla="*/ 6608746 w 12192000"/>
              <a:gd name="connsiteY656" fmla="*/ 5792344 h 6858000"/>
              <a:gd name="connsiteX657" fmla="*/ 6608746 w 12192000"/>
              <a:gd name="connsiteY657" fmla="*/ 5799285 h 6858000"/>
              <a:gd name="connsiteX658" fmla="*/ 6622914 w 12192000"/>
              <a:gd name="connsiteY658" fmla="*/ 5795815 h 6858000"/>
              <a:gd name="connsiteX659" fmla="*/ 6626456 w 12192000"/>
              <a:gd name="connsiteY659" fmla="*/ 5830523 h 6858000"/>
              <a:gd name="connsiteX660" fmla="*/ 6637082 w 12192000"/>
              <a:gd name="connsiteY660" fmla="*/ 5830523 h 6858000"/>
              <a:gd name="connsiteX661" fmla="*/ 6633540 w 12192000"/>
              <a:gd name="connsiteY661" fmla="*/ 5795815 h 6858000"/>
              <a:gd name="connsiteX662" fmla="*/ 6647709 w 12192000"/>
              <a:gd name="connsiteY662" fmla="*/ 5795815 h 6858000"/>
              <a:gd name="connsiteX663" fmla="*/ 6647709 w 12192000"/>
              <a:gd name="connsiteY663" fmla="*/ 5788873 h 6858000"/>
              <a:gd name="connsiteX664" fmla="*/ 6198068 w 12192000"/>
              <a:gd name="connsiteY664" fmla="*/ 5788872 h 6858000"/>
              <a:gd name="connsiteX665" fmla="*/ 6223148 w 12192000"/>
              <a:gd name="connsiteY665" fmla="*/ 5823804 h 6858000"/>
              <a:gd name="connsiteX666" fmla="*/ 6169406 w 12192000"/>
              <a:gd name="connsiteY666" fmla="*/ 5823804 h 6858000"/>
              <a:gd name="connsiteX667" fmla="*/ 6198068 w 12192000"/>
              <a:gd name="connsiteY667" fmla="*/ 5788872 h 6858000"/>
              <a:gd name="connsiteX668" fmla="*/ 6650396 w 12192000"/>
              <a:gd name="connsiteY668" fmla="*/ 5782156 h 6858000"/>
              <a:gd name="connsiteX669" fmla="*/ 6815350 w 12192000"/>
              <a:gd name="connsiteY669" fmla="*/ 5838047 h 6858000"/>
              <a:gd name="connsiteX670" fmla="*/ 6818860 w 12192000"/>
              <a:gd name="connsiteY670" fmla="*/ 5852020 h 6858000"/>
              <a:gd name="connsiteX671" fmla="*/ 6790783 w 12192000"/>
              <a:gd name="connsiteY671" fmla="*/ 5883460 h 6858000"/>
              <a:gd name="connsiteX672" fmla="*/ 6776744 w 12192000"/>
              <a:gd name="connsiteY672" fmla="*/ 5883460 h 6858000"/>
              <a:gd name="connsiteX673" fmla="*/ 6650396 w 12192000"/>
              <a:gd name="connsiteY673" fmla="*/ 5838047 h 6858000"/>
              <a:gd name="connsiteX674" fmla="*/ 6524048 w 12192000"/>
              <a:gd name="connsiteY674" fmla="*/ 5883460 h 6858000"/>
              <a:gd name="connsiteX675" fmla="*/ 6510010 w 12192000"/>
              <a:gd name="connsiteY675" fmla="*/ 5883460 h 6858000"/>
              <a:gd name="connsiteX676" fmla="*/ 6481932 w 12192000"/>
              <a:gd name="connsiteY676" fmla="*/ 5852020 h 6858000"/>
              <a:gd name="connsiteX677" fmla="*/ 6485442 w 12192000"/>
              <a:gd name="connsiteY677" fmla="*/ 5838047 h 6858000"/>
              <a:gd name="connsiteX678" fmla="*/ 6650396 w 12192000"/>
              <a:gd name="connsiteY678" fmla="*/ 5782156 h 6858000"/>
              <a:gd name="connsiteX679" fmla="*/ 6198292 w 12192000"/>
              <a:gd name="connsiteY679" fmla="*/ 5782155 h 6858000"/>
              <a:gd name="connsiteX680" fmla="*/ 6160001 w 12192000"/>
              <a:gd name="connsiteY680" fmla="*/ 5831195 h 6858000"/>
              <a:gd name="connsiteX681" fmla="*/ 6201773 w 12192000"/>
              <a:gd name="connsiteY681" fmla="*/ 5880234 h 6858000"/>
              <a:gd name="connsiteX682" fmla="*/ 6229621 w 12192000"/>
              <a:gd name="connsiteY682" fmla="*/ 5873228 h 6858000"/>
              <a:gd name="connsiteX683" fmla="*/ 6229621 w 12192000"/>
              <a:gd name="connsiteY683" fmla="*/ 5862720 h 6858000"/>
              <a:gd name="connsiteX684" fmla="*/ 6201773 w 12192000"/>
              <a:gd name="connsiteY684" fmla="*/ 5869725 h 6858000"/>
              <a:gd name="connsiteX685" fmla="*/ 6170443 w 12192000"/>
              <a:gd name="connsiteY685" fmla="*/ 5834698 h 6858000"/>
              <a:gd name="connsiteX686" fmla="*/ 6236583 w 12192000"/>
              <a:gd name="connsiteY686" fmla="*/ 5834698 h 6858000"/>
              <a:gd name="connsiteX687" fmla="*/ 6236583 w 12192000"/>
              <a:gd name="connsiteY687" fmla="*/ 5827692 h 6858000"/>
              <a:gd name="connsiteX688" fmla="*/ 6198292 w 12192000"/>
              <a:gd name="connsiteY688" fmla="*/ 5782155 h 6858000"/>
              <a:gd name="connsiteX689" fmla="*/ 5949064 w 12192000"/>
              <a:gd name="connsiteY689" fmla="*/ 5745879 h 6858000"/>
              <a:gd name="connsiteX690" fmla="*/ 5949064 w 12192000"/>
              <a:gd name="connsiteY690" fmla="*/ 5756627 h 6858000"/>
              <a:gd name="connsiteX691" fmla="*/ 5988028 w 12192000"/>
              <a:gd name="connsiteY691" fmla="*/ 5756627 h 6858000"/>
              <a:gd name="connsiteX692" fmla="*/ 5988028 w 12192000"/>
              <a:gd name="connsiteY692" fmla="*/ 5876203 h 6858000"/>
              <a:gd name="connsiteX693" fmla="*/ 6001464 w 12192000"/>
              <a:gd name="connsiteY693" fmla="*/ 5876203 h 6858000"/>
              <a:gd name="connsiteX694" fmla="*/ 6001464 w 12192000"/>
              <a:gd name="connsiteY694" fmla="*/ 5756627 h 6858000"/>
              <a:gd name="connsiteX695" fmla="*/ 6040426 w 12192000"/>
              <a:gd name="connsiteY695" fmla="*/ 5756627 h 6858000"/>
              <a:gd name="connsiteX696" fmla="*/ 6040426 w 12192000"/>
              <a:gd name="connsiteY696" fmla="*/ 5745879 h 6858000"/>
              <a:gd name="connsiteX697" fmla="*/ 6061922 w 12192000"/>
              <a:gd name="connsiteY697" fmla="*/ 5735130 h 6858000"/>
              <a:gd name="connsiteX698" fmla="*/ 6061922 w 12192000"/>
              <a:gd name="connsiteY698" fmla="*/ 5876203 h 6858000"/>
              <a:gd name="connsiteX699" fmla="*/ 6072287 w 12192000"/>
              <a:gd name="connsiteY699" fmla="*/ 5876203 h 6858000"/>
              <a:gd name="connsiteX700" fmla="*/ 6072287 w 12192000"/>
              <a:gd name="connsiteY700" fmla="*/ 5826827 h 6858000"/>
              <a:gd name="connsiteX701" fmla="*/ 6099926 w 12192000"/>
              <a:gd name="connsiteY701" fmla="*/ 5788033 h 6858000"/>
              <a:gd name="connsiteX702" fmla="*/ 6120655 w 12192000"/>
              <a:gd name="connsiteY702" fmla="*/ 5819774 h 6858000"/>
              <a:gd name="connsiteX703" fmla="*/ 6120655 w 12192000"/>
              <a:gd name="connsiteY703" fmla="*/ 5876203 h 6858000"/>
              <a:gd name="connsiteX704" fmla="*/ 6134474 w 12192000"/>
              <a:gd name="connsiteY704" fmla="*/ 5876203 h 6858000"/>
              <a:gd name="connsiteX705" fmla="*/ 6134474 w 12192000"/>
              <a:gd name="connsiteY705" fmla="*/ 5819774 h 6858000"/>
              <a:gd name="connsiteX706" fmla="*/ 6103380 w 12192000"/>
              <a:gd name="connsiteY706" fmla="*/ 5780979 h 6858000"/>
              <a:gd name="connsiteX707" fmla="*/ 6072287 w 12192000"/>
              <a:gd name="connsiteY707" fmla="*/ 5798613 h 6858000"/>
              <a:gd name="connsiteX708" fmla="*/ 6072287 w 12192000"/>
              <a:gd name="connsiteY708" fmla="*/ 5735130 h 6858000"/>
              <a:gd name="connsiteX709" fmla="*/ 6061922 w 12192000"/>
              <a:gd name="connsiteY709" fmla="*/ 5735130 h 6858000"/>
              <a:gd name="connsiteX710" fmla="*/ 6640551 w 12192000"/>
              <a:gd name="connsiteY710" fmla="*/ 5710947 h 6858000"/>
              <a:gd name="connsiteX711" fmla="*/ 6626527 w 12192000"/>
              <a:gd name="connsiteY711" fmla="*/ 5763810 h 6858000"/>
              <a:gd name="connsiteX712" fmla="*/ 6601987 w 12192000"/>
              <a:gd name="connsiteY712" fmla="*/ 5767334 h 6858000"/>
              <a:gd name="connsiteX713" fmla="*/ 6577446 w 12192000"/>
              <a:gd name="connsiteY713" fmla="*/ 5721520 h 6858000"/>
              <a:gd name="connsiteX714" fmla="*/ 6573940 w 12192000"/>
              <a:gd name="connsiteY714" fmla="*/ 5721520 h 6858000"/>
              <a:gd name="connsiteX715" fmla="*/ 6552905 w 12192000"/>
              <a:gd name="connsiteY715" fmla="*/ 5725044 h 6858000"/>
              <a:gd name="connsiteX716" fmla="*/ 6552905 w 12192000"/>
              <a:gd name="connsiteY716" fmla="*/ 5728568 h 6858000"/>
              <a:gd name="connsiteX717" fmla="*/ 6549399 w 12192000"/>
              <a:gd name="connsiteY717" fmla="*/ 5753237 h 6858000"/>
              <a:gd name="connsiteX718" fmla="*/ 6552905 w 12192000"/>
              <a:gd name="connsiteY718" fmla="*/ 5781431 h 6858000"/>
              <a:gd name="connsiteX719" fmla="*/ 6531870 w 12192000"/>
              <a:gd name="connsiteY719" fmla="*/ 5788479 h 6858000"/>
              <a:gd name="connsiteX720" fmla="*/ 6493306 w 12192000"/>
              <a:gd name="connsiteY720" fmla="*/ 5753237 h 6858000"/>
              <a:gd name="connsiteX721" fmla="*/ 6472271 w 12192000"/>
              <a:gd name="connsiteY721" fmla="*/ 5763810 h 6858000"/>
              <a:gd name="connsiteX722" fmla="*/ 6486295 w 12192000"/>
              <a:gd name="connsiteY722" fmla="*/ 5816672 h 6858000"/>
              <a:gd name="connsiteX723" fmla="*/ 6468766 w 12192000"/>
              <a:gd name="connsiteY723" fmla="*/ 5827245 h 6858000"/>
              <a:gd name="connsiteX724" fmla="*/ 6423190 w 12192000"/>
              <a:gd name="connsiteY724" fmla="*/ 5802576 h 6858000"/>
              <a:gd name="connsiteX725" fmla="*/ 6405661 w 12192000"/>
              <a:gd name="connsiteY725" fmla="*/ 5816672 h 6858000"/>
              <a:gd name="connsiteX726" fmla="*/ 6405661 w 12192000"/>
              <a:gd name="connsiteY726" fmla="*/ 5820196 h 6858000"/>
              <a:gd name="connsiteX727" fmla="*/ 6433707 w 12192000"/>
              <a:gd name="connsiteY727" fmla="*/ 5866011 h 6858000"/>
              <a:gd name="connsiteX728" fmla="*/ 6419684 w 12192000"/>
              <a:gd name="connsiteY728" fmla="*/ 5883632 h 6858000"/>
              <a:gd name="connsiteX729" fmla="*/ 6367097 w 12192000"/>
              <a:gd name="connsiteY729" fmla="*/ 5869535 h 6858000"/>
              <a:gd name="connsiteX730" fmla="*/ 6356580 w 12192000"/>
              <a:gd name="connsiteY730" fmla="*/ 5890680 h 6858000"/>
              <a:gd name="connsiteX731" fmla="*/ 6391638 w 12192000"/>
              <a:gd name="connsiteY731" fmla="*/ 5929447 h 6858000"/>
              <a:gd name="connsiteX732" fmla="*/ 6384626 w 12192000"/>
              <a:gd name="connsiteY732" fmla="*/ 5950591 h 6858000"/>
              <a:gd name="connsiteX733" fmla="*/ 6332039 w 12192000"/>
              <a:gd name="connsiteY733" fmla="*/ 5950591 h 6858000"/>
              <a:gd name="connsiteX734" fmla="*/ 6325027 w 12192000"/>
              <a:gd name="connsiteY734" fmla="*/ 5971736 h 6858000"/>
              <a:gd name="connsiteX735" fmla="*/ 6370602 w 12192000"/>
              <a:gd name="connsiteY735" fmla="*/ 5999930 h 6858000"/>
              <a:gd name="connsiteX736" fmla="*/ 6367097 w 12192000"/>
              <a:gd name="connsiteY736" fmla="*/ 6021074 h 6858000"/>
              <a:gd name="connsiteX737" fmla="*/ 6318016 w 12192000"/>
              <a:gd name="connsiteY737" fmla="*/ 6035172 h 6858000"/>
              <a:gd name="connsiteX738" fmla="*/ 6314510 w 12192000"/>
              <a:gd name="connsiteY738" fmla="*/ 6035172 h 6858000"/>
              <a:gd name="connsiteX739" fmla="*/ 6314510 w 12192000"/>
              <a:gd name="connsiteY739" fmla="*/ 6049268 h 6858000"/>
              <a:gd name="connsiteX740" fmla="*/ 6314510 w 12192000"/>
              <a:gd name="connsiteY740" fmla="*/ 6059841 h 6858000"/>
              <a:gd name="connsiteX741" fmla="*/ 6318016 w 12192000"/>
              <a:gd name="connsiteY741" fmla="*/ 6059841 h 6858000"/>
              <a:gd name="connsiteX742" fmla="*/ 6367097 w 12192000"/>
              <a:gd name="connsiteY742" fmla="*/ 6073938 h 6858000"/>
              <a:gd name="connsiteX743" fmla="*/ 6370602 w 12192000"/>
              <a:gd name="connsiteY743" fmla="*/ 6095083 h 6858000"/>
              <a:gd name="connsiteX744" fmla="*/ 6325027 w 12192000"/>
              <a:gd name="connsiteY744" fmla="*/ 6123276 h 6858000"/>
              <a:gd name="connsiteX745" fmla="*/ 6325027 w 12192000"/>
              <a:gd name="connsiteY745" fmla="*/ 6126800 h 6858000"/>
              <a:gd name="connsiteX746" fmla="*/ 6332039 w 12192000"/>
              <a:gd name="connsiteY746" fmla="*/ 6147945 h 6858000"/>
              <a:gd name="connsiteX747" fmla="*/ 6384626 w 12192000"/>
              <a:gd name="connsiteY747" fmla="*/ 6147945 h 6858000"/>
              <a:gd name="connsiteX748" fmla="*/ 6395143 w 12192000"/>
              <a:gd name="connsiteY748" fmla="*/ 6169091 h 6858000"/>
              <a:gd name="connsiteX749" fmla="*/ 6356580 w 12192000"/>
              <a:gd name="connsiteY749" fmla="*/ 6204332 h 6858000"/>
              <a:gd name="connsiteX750" fmla="*/ 6356580 w 12192000"/>
              <a:gd name="connsiteY750" fmla="*/ 6207856 h 6858000"/>
              <a:gd name="connsiteX751" fmla="*/ 6367097 w 12192000"/>
              <a:gd name="connsiteY751" fmla="*/ 6225477 h 6858000"/>
              <a:gd name="connsiteX752" fmla="*/ 6419684 w 12192000"/>
              <a:gd name="connsiteY752" fmla="*/ 6211380 h 6858000"/>
              <a:gd name="connsiteX753" fmla="*/ 6433707 w 12192000"/>
              <a:gd name="connsiteY753" fmla="*/ 6232526 h 6858000"/>
              <a:gd name="connsiteX754" fmla="*/ 6405661 w 12192000"/>
              <a:gd name="connsiteY754" fmla="*/ 6278340 h 6858000"/>
              <a:gd name="connsiteX755" fmla="*/ 6423190 w 12192000"/>
              <a:gd name="connsiteY755" fmla="*/ 6292436 h 6858000"/>
              <a:gd name="connsiteX756" fmla="*/ 6468766 w 12192000"/>
              <a:gd name="connsiteY756" fmla="*/ 6267768 h 6858000"/>
              <a:gd name="connsiteX757" fmla="*/ 6486295 w 12192000"/>
              <a:gd name="connsiteY757" fmla="*/ 6281864 h 6858000"/>
              <a:gd name="connsiteX758" fmla="*/ 6475777 w 12192000"/>
              <a:gd name="connsiteY758" fmla="*/ 6331202 h 6858000"/>
              <a:gd name="connsiteX759" fmla="*/ 6475777 w 12192000"/>
              <a:gd name="connsiteY759" fmla="*/ 6334727 h 6858000"/>
              <a:gd name="connsiteX760" fmla="*/ 6493306 w 12192000"/>
              <a:gd name="connsiteY760" fmla="*/ 6345299 h 6858000"/>
              <a:gd name="connsiteX761" fmla="*/ 6496812 w 12192000"/>
              <a:gd name="connsiteY761" fmla="*/ 6345299 h 6858000"/>
              <a:gd name="connsiteX762" fmla="*/ 6531870 w 12192000"/>
              <a:gd name="connsiteY762" fmla="*/ 6306533 h 6858000"/>
              <a:gd name="connsiteX763" fmla="*/ 6552905 w 12192000"/>
              <a:gd name="connsiteY763" fmla="*/ 6317106 h 6858000"/>
              <a:gd name="connsiteX764" fmla="*/ 6549399 w 12192000"/>
              <a:gd name="connsiteY764" fmla="*/ 6341775 h 6858000"/>
              <a:gd name="connsiteX765" fmla="*/ 6552905 w 12192000"/>
              <a:gd name="connsiteY765" fmla="*/ 6369969 h 6858000"/>
              <a:gd name="connsiteX766" fmla="*/ 6573940 w 12192000"/>
              <a:gd name="connsiteY766" fmla="*/ 6377017 h 6858000"/>
              <a:gd name="connsiteX767" fmla="*/ 6577446 w 12192000"/>
              <a:gd name="connsiteY767" fmla="*/ 6377017 h 6858000"/>
              <a:gd name="connsiteX768" fmla="*/ 6601987 w 12192000"/>
              <a:gd name="connsiteY768" fmla="*/ 6331202 h 6858000"/>
              <a:gd name="connsiteX769" fmla="*/ 6626527 w 12192000"/>
              <a:gd name="connsiteY769" fmla="*/ 6331202 h 6858000"/>
              <a:gd name="connsiteX770" fmla="*/ 6640551 w 12192000"/>
              <a:gd name="connsiteY770" fmla="*/ 6384065 h 6858000"/>
              <a:gd name="connsiteX771" fmla="*/ 6661585 w 12192000"/>
              <a:gd name="connsiteY771" fmla="*/ 6384065 h 6858000"/>
              <a:gd name="connsiteX772" fmla="*/ 6665092 w 12192000"/>
              <a:gd name="connsiteY772" fmla="*/ 6384065 h 6858000"/>
              <a:gd name="connsiteX773" fmla="*/ 6679114 w 12192000"/>
              <a:gd name="connsiteY773" fmla="*/ 6331202 h 6858000"/>
              <a:gd name="connsiteX774" fmla="*/ 6700150 w 12192000"/>
              <a:gd name="connsiteY774" fmla="*/ 6331202 h 6858000"/>
              <a:gd name="connsiteX775" fmla="*/ 6724690 w 12192000"/>
              <a:gd name="connsiteY775" fmla="*/ 6377017 h 6858000"/>
              <a:gd name="connsiteX776" fmla="*/ 6728196 w 12192000"/>
              <a:gd name="connsiteY776" fmla="*/ 6377017 h 6858000"/>
              <a:gd name="connsiteX777" fmla="*/ 6749231 w 12192000"/>
              <a:gd name="connsiteY777" fmla="*/ 6369969 h 6858000"/>
              <a:gd name="connsiteX778" fmla="*/ 6752736 w 12192000"/>
              <a:gd name="connsiteY778" fmla="*/ 6341775 h 6858000"/>
              <a:gd name="connsiteX779" fmla="*/ 6749231 w 12192000"/>
              <a:gd name="connsiteY779" fmla="*/ 6317106 h 6858000"/>
              <a:gd name="connsiteX780" fmla="*/ 6770266 w 12192000"/>
              <a:gd name="connsiteY780" fmla="*/ 6306533 h 6858000"/>
              <a:gd name="connsiteX781" fmla="*/ 6808830 w 12192000"/>
              <a:gd name="connsiteY781" fmla="*/ 6345299 h 6858000"/>
              <a:gd name="connsiteX782" fmla="*/ 6826358 w 12192000"/>
              <a:gd name="connsiteY782" fmla="*/ 6334727 h 6858000"/>
              <a:gd name="connsiteX783" fmla="*/ 6829865 w 12192000"/>
              <a:gd name="connsiteY783" fmla="*/ 6334727 h 6858000"/>
              <a:gd name="connsiteX784" fmla="*/ 6829865 w 12192000"/>
              <a:gd name="connsiteY784" fmla="*/ 6331202 h 6858000"/>
              <a:gd name="connsiteX785" fmla="*/ 6815841 w 12192000"/>
              <a:gd name="connsiteY785" fmla="*/ 6281864 h 6858000"/>
              <a:gd name="connsiteX786" fmla="*/ 6833370 w 12192000"/>
              <a:gd name="connsiteY786" fmla="*/ 6267768 h 6858000"/>
              <a:gd name="connsiteX787" fmla="*/ 6878946 w 12192000"/>
              <a:gd name="connsiteY787" fmla="*/ 6292436 h 6858000"/>
              <a:gd name="connsiteX788" fmla="*/ 6896475 w 12192000"/>
              <a:gd name="connsiteY788" fmla="*/ 6278340 h 6858000"/>
              <a:gd name="connsiteX789" fmla="*/ 6896475 w 12192000"/>
              <a:gd name="connsiteY789" fmla="*/ 6274816 h 6858000"/>
              <a:gd name="connsiteX790" fmla="*/ 6868429 w 12192000"/>
              <a:gd name="connsiteY790" fmla="*/ 6229001 h 6858000"/>
              <a:gd name="connsiteX791" fmla="*/ 6882452 w 12192000"/>
              <a:gd name="connsiteY791" fmla="*/ 6211380 h 6858000"/>
              <a:gd name="connsiteX792" fmla="*/ 6935039 w 12192000"/>
              <a:gd name="connsiteY792" fmla="*/ 6225477 h 6858000"/>
              <a:gd name="connsiteX793" fmla="*/ 6945557 w 12192000"/>
              <a:gd name="connsiteY793" fmla="*/ 6207856 h 6858000"/>
              <a:gd name="connsiteX794" fmla="*/ 6945557 w 12192000"/>
              <a:gd name="connsiteY794" fmla="*/ 6204332 h 6858000"/>
              <a:gd name="connsiteX795" fmla="*/ 6910499 w 12192000"/>
              <a:gd name="connsiteY795" fmla="*/ 6165566 h 6858000"/>
              <a:gd name="connsiteX796" fmla="*/ 6917510 w 12192000"/>
              <a:gd name="connsiteY796" fmla="*/ 6147945 h 6858000"/>
              <a:gd name="connsiteX797" fmla="*/ 6970097 w 12192000"/>
              <a:gd name="connsiteY797" fmla="*/ 6147945 h 6858000"/>
              <a:gd name="connsiteX798" fmla="*/ 6970097 w 12192000"/>
              <a:gd name="connsiteY798" fmla="*/ 6144421 h 6858000"/>
              <a:gd name="connsiteX799" fmla="*/ 6977109 w 12192000"/>
              <a:gd name="connsiteY799" fmla="*/ 6123276 h 6858000"/>
              <a:gd name="connsiteX800" fmla="*/ 6931533 w 12192000"/>
              <a:gd name="connsiteY800" fmla="*/ 6095083 h 6858000"/>
              <a:gd name="connsiteX801" fmla="*/ 6935039 w 12192000"/>
              <a:gd name="connsiteY801" fmla="*/ 6073938 h 6858000"/>
              <a:gd name="connsiteX802" fmla="*/ 6984121 w 12192000"/>
              <a:gd name="connsiteY802" fmla="*/ 6059841 h 6858000"/>
              <a:gd name="connsiteX803" fmla="*/ 6987626 w 12192000"/>
              <a:gd name="connsiteY803" fmla="*/ 6049268 h 6858000"/>
              <a:gd name="connsiteX804" fmla="*/ 6984121 w 12192000"/>
              <a:gd name="connsiteY804" fmla="*/ 6038696 h 6858000"/>
              <a:gd name="connsiteX805" fmla="*/ 6984121 w 12192000"/>
              <a:gd name="connsiteY805" fmla="*/ 6035172 h 6858000"/>
              <a:gd name="connsiteX806" fmla="*/ 6935039 w 12192000"/>
              <a:gd name="connsiteY806" fmla="*/ 6021074 h 6858000"/>
              <a:gd name="connsiteX807" fmla="*/ 6931533 w 12192000"/>
              <a:gd name="connsiteY807" fmla="*/ 5999930 h 6858000"/>
              <a:gd name="connsiteX808" fmla="*/ 6977109 w 12192000"/>
              <a:gd name="connsiteY808" fmla="*/ 5975261 h 6858000"/>
              <a:gd name="connsiteX809" fmla="*/ 6977109 w 12192000"/>
              <a:gd name="connsiteY809" fmla="*/ 5971736 h 6858000"/>
              <a:gd name="connsiteX810" fmla="*/ 6970097 w 12192000"/>
              <a:gd name="connsiteY810" fmla="*/ 5950591 h 6858000"/>
              <a:gd name="connsiteX811" fmla="*/ 6917510 w 12192000"/>
              <a:gd name="connsiteY811" fmla="*/ 5950591 h 6858000"/>
              <a:gd name="connsiteX812" fmla="*/ 6910499 w 12192000"/>
              <a:gd name="connsiteY812" fmla="*/ 5929447 h 6858000"/>
              <a:gd name="connsiteX813" fmla="*/ 6945557 w 12192000"/>
              <a:gd name="connsiteY813" fmla="*/ 5890680 h 6858000"/>
              <a:gd name="connsiteX814" fmla="*/ 6935039 w 12192000"/>
              <a:gd name="connsiteY814" fmla="*/ 5873059 h 6858000"/>
              <a:gd name="connsiteX815" fmla="*/ 6935039 w 12192000"/>
              <a:gd name="connsiteY815" fmla="*/ 5869535 h 6858000"/>
              <a:gd name="connsiteX816" fmla="*/ 6882452 w 12192000"/>
              <a:gd name="connsiteY816" fmla="*/ 5883632 h 6858000"/>
              <a:gd name="connsiteX817" fmla="*/ 6868429 w 12192000"/>
              <a:gd name="connsiteY817" fmla="*/ 5866011 h 6858000"/>
              <a:gd name="connsiteX818" fmla="*/ 6896475 w 12192000"/>
              <a:gd name="connsiteY818" fmla="*/ 5820196 h 6858000"/>
              <a:gd name="connsiteX819" fmla="*/ 6878946 w 12192000"/>
              <a:gd name="connsiteY819" fmla="*/ 5802576 h 6858000"/>
              <a:gd name="connsiteX820" fmla="*/ 6833370 w 12192000"/>
              <a:gd name="connsiteY820" fmla="*/ 5830770 h 6858000"/>
              <a:gd name="connsiteX821" fmla="*/ 6815841 w 12192000"/>
              <a:gd name="connsiteY821" fmla="*/ 5816672 h 6858000"/>
              <a:gd name="connsiteX822" fmla="*/ 6829865 w 12192000"/>
              <a:gd name="connsiteY822" fmla="*/ 5763810 h 6858000"/>
              <a:gd name="connsiteX823" fmla="*/ 6808830 w 12192000"/>
              <a:gd name="connsiteY823" fmla="*/ 5753237 h 6858000"/>
              <a:gd name="connsiteX824" fmla="*/ 6770266 w 12192000"/>
              <a:gd name="connsiteY824" fmla="*/ 5788479 h 6858000"/>
              <a:gd name="connsiteX825" fmla="*/ 6749231 w 12192000"/>
              <a:gd name="connsiteY825" fmla="*/ 5781431 h 6858000"/>
              <a:gd name="connsiteX826" fmla="*/ 6752736 w 12192000"/>
              <a:gd name="connsiteY826" fmla="*/ 5753237 h 6858000"/>
              <a:gd name="connsiteX827" fmla="*/ 6749231 w 12192000"/>
              <a:gd name="connsiteY827" fmla="*/ 5728568 h 6858000"/>
              <a:gd name="connsiteX828" fmla="*/ 6749231 w 12192000"/>
              <a:gd name="connsiteY828" fmla="*/ 5725044 h 6858000"/>
              <a:gd name="connsiteX829" fmla="*/ 6728196 w 12192000"/>
              <a:gd name="connsiteY829" fmla="*/ 5721520 h 6858000"/>
              <a:gd name="connsiteX830" fmla="*/ 6724690 w 12192000"/>
              <a:gd name="connsiteY830" fmla="*/ 5721520 h 6858000"/>
              <a:gd name="connsiteX831" fmla="*/ 6700150 w 12192000"/>
              <a:gd name="connsiteY831" fmla="*/ 5767334 h 6858000"/>
              <a:gd name="connsiteX832" fmla="*/ 6675609 w 12192000"/>
              <a:gd name="connsiteY832" fmla="*/ 5763810 h 6858000"/>
              <a:gd name="connsiteX833" fmla="*/ 6661585 w 12192000"/>
              <a:gd name="connsiteY833" fmla="*/ 5710947 h 6858000"/>
              <a:gd name="connsiteX834" fmla="*/ 6640551 w 12192000"/>
              <a:gd name="connsiteY834" fmla="*/ 5710947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6948486" y="6345467"/>
                </a:moveTo>
                <a:lnTo>
                  <a:pt x="6954599" y="6345467"/>
                </a:lnTo>
                <a:cubicBezTo>
                  <a:pt x="6957225" y="6345467"/>
                  <a:pt x="6959024" y="6345659"/>
                  <a:pt x="6959994" y="6346042"/>
                </a:cubicBezTo>
                <a:cubicBezTo>
                  <a:pt x="6960965" y="6346425"/>
                  <a:pt x="6961724" y="6347006"/>
                  <a:pt x="6962272" y="6347785"/>
                </a:cubicBezTo>
                <a:cubicBezTo>
                  <a:pt x="6962819" y="6348565"/>
                  <a:pt x="6963092" y="6349448"/>
                  <a:pt x="6963092" y="6350432"/>
                </a:cubicBezTo>
                <a:cubicBezTo>
                  <a:pt x="6963092" y="6351964"/>
                  <a:pt x="6962524" y="6353194"/>
                  <a:pt x="6961389" y="6354124"/>
                </a:cubicBezTo>
                <a:cubicBezTo>
                  <a:pt x="6960254" y="6355055"/>
                  <a:pt x="6958127" y="6355519"/>
                  <a:pt x="6955010" y="6355519"/>
                </a:cubicBezTo>
                <a:lnTo>
                  <a:pt x="6948486" y="6355519"/>
                </a:lnTo>
                <a:close/>
                <a:moveTo>
                  <a:pt x="6943111" y="6340955"/>
                </a:moveTo>
                <a:lnTo>
                  <a:pt x="6943111" y="6374269"/>
                </a:lnTo>
                <a:lnTo>
                  <a:pt x="6948486" y="6374269"/>
                </a:lnTo>
                <a:lnTo>
                  <a:pt x="6948486" y="6360115"/>
                </a:lnTo>
                <a:lnTo>
                  <a:pt x="6951645" y="6360115"/>
                </a:lnTo>
                <a:cubicBezTo>
                  <a:pt x="6953533" y="6360115"/>
                  <a:pt x="6954969" y="6360497"/>
                  <a:pt x="6955953" y="6361263"/>
                </a:cubicBezTo>
                <a:cubicBezTo>
                  <a:pt x="6957375" y="6362302"/>
                  <a:pt x="6959249" y="6364887"/>
                  <a:pt x="6961574" y="6369017"/>
                </a:cubicBezTo>
                <a:lnTo>
                  <a:pt x="6964528" y="6374269"/>
                </a:lnTo>
                <a:lnTo>
                  <a:pt x="6971092" y="6374269"/>
                </a:lnTo>
                <a:lnTo>
                  <a:pt x="6967031" y="6367745"/>
                </a:lnTo>
                <a:cubicBezTo>
                  <a:pt x="6965088" y="6364654"/>
                  <a:pt x="6963447" y="6362453"/>
                  <a:pt x="6962108" y="6361140"/>
                </a:cubicBezTo>
                <a:cubicBezTo>
                  <a:pt x="6961396" y="6360457"/>
                  <a:pt x="6960452" y="6359868"/>
                  <a:pt x="6959277" y="6359376"/>
                </a:cubicBezTo>
                <a:cubicBezTo>
                  <a:pt x="6962148" y="6359157"/>
                  <a:pt x="6964453" y="6358145"/>
                  <a:pt x="6966190" y="6356340"/>
                </a:cubicBezTo>
                <a:cubicBezTo>
                  <a:pt x="6967926" y="6354535"/>
                  <a:pt x="6968795" y="6352415"/>
                  <a:pt x="6968795" y="6349981"/>
                </a:cubicBezTo>
                <a:cubicBezTo>
                  <a:pt x="6968795" y="6348258"/>
                  <a:pt x="6968275" y="6346630"/>
                  <a:pt x="6967236" y="6345098"/>
                </a:cubicBezTo>
                <a:cubicBezTo>
                  <a:pt x="6966196" y="6343566"/>
                  <a:pt x="6964802" y="6342493"/>
                  <a:pt x="6963051" y="6341878"/>
                </a:cubicBezTo>
                <a:cubicBezTo>
                  <a:pt x="6961300" y="6341262"/>
                  <a:pt x="6958469" y="6340955"/>
                  <a:pt x="6954558" y="6340955"/>
                </a:cubicBezTo>
                <a:close/>
                <a:moveTo>
                  <a:pt x="5903900" y="6338384"/>
                </a:moveTo>
                <a:cubicBezTo>
                  <a:pt x="5903900" y="6338384"/>
                  <a:pt x="5903900" y="6338384"/>
                  <a:pt x="5907414" y="6338384"/>
                </a:cubicBezTo>
                <a:lnTo>
                  <a:pt x="5907414" y="6341925"/>
                </a:lnTo>
                <a:cubicBezTo>
                  <a:pt x="5907414" y="6352552"/>
                  <a:pt x="5907414" y="6377347"/>
                  <a:pt x="5879303" y="6377347"/>
                </a:cubicBezTo>
                <a:cubicBezTo>
                  <a:pt x="5868761" y="6377347"/>
                  <a:pt x="5861734" y="6373805"/>
                  <a:pt x="5861734" y="6359637"/>
                </a:cubicBezTo>
                <a:cubicBezTo>
                  <a:pt x="5861734" y="6338384"/>
                  <a:pt x="5886331" y="6338384"/>
                  <a:pt x="5903900" y="6338384"/>
                </a:cubicBezTo>
                <a:close/>
                <a:moveTo>
                  <a:pt x="6956692" y="6331313"/>
                </a:moveTo>
                <a:cubicBezTo>
                  <a:pt x="6961013" y="6331313"/>
                  <a:pt x="6965239" y="6332428"/>
                  <a:pt x="6969369" y="6334657"/>
                </a:cubicBezTo>
                <a:cubicBezTo>
                  <a:pt x="6973499" y="6336886"/>
                  <a:pt x="6976720" y="6340073"/>
                  <a:pt x="6979032" y="6344216"/>
                </a:cubicBezTo>
                <a:cubicBezTo>
                  <a:pt x="6981342" y="6348360"/>
                  <a:pt x="6982498" y="6352675"/>
                  <a:pt x="6982498" y="6357160"/>
                </a:cubicBezTo>
                <a:cubicBezTo>
                  <a:pt x="6982498" y="6361619"/>
                  <a:pt x="6981363" y="6365893"/>
                  <a:pt x="6979093" y="6369981"/>
                </a:cubicBezTo>
                <a:cubicBezTo>
                  <a:pt x="6976823" y="6374071"/>
                  <a:pt x="6973636" y="6377257"/>
                  <a:pt x="6969533" y="6379541"/>
                </a:cubicBezTo>
                <a:cubicBezTo>
                  <a:pt x="6965430" y="6381825"/>
                  <a:pt x="6961151" y="6382967"/>
                  <a:pt x="6956692" y="6382967"/>
                </a:cubicBezTo>
                <a:cubicBezTo>
                  <a:pt x="6952234" y="6382967"/>
                  <a:pt x="6947953" y="6381825"/>
                  <a:pt x="6943850" y="6379541"/>
                </a:cubicBezTo>
                <a:cubicBezTo>
                  <a:pt x="6939748" y="6377257"/>
                  <a:pt x="6936554" y="6374071"/>
                  <a:pt x="6934270" y="6369981"/>
                </a:cubicBezTo>
                <a:cubicBezTo>
                  <a:pt x="6931986" y="6365893"/>
                  <a:pt x="6930844" y="6361619"/>
                  <a:pt x="6930844" y="6357160"/>
                </a:cubicBezTo>
                <a:cubicBezTo>
                  <a:pt x="6930844" y="6352675"/>
                  <a:pt x="6932006" y="6348360"/>
                  <a:pt x="6934332" y="6344216"/>
                </a:cubicBezTo>
                <a:cubicBezTo>
                  <a:pt x="6936657" y="6340073"/>
                  <a:pt x="6939877" y="6336886"/>
                  <a:pt x="6943994" y="6334657"/>
                </a:cubicBezTo>
                <a:cubicBezTo>
                  <a:pt x="6948110" y="6332428"/>
                  <a:pt x="6952343" y="6331313"/>
                  <a:pt x="6956692" y="6331313"/>
                </a:cubicBezTo>
                <a:close/>
                <a:moveTo>
                  <a:pt x="6956692" y="6326185"/>
                </a:moveTo>
                <a:cubicBezTo>
                  <a:pt x="6951495" y="6326185"/>
                  <a:pt x="6946421" y="6327518"/>
                  <a:pt x="6941471" y="6330185"/>
                </a:cubicBezTo>
                <a:cubicBezTo>
                  <a:pt x="6936520" y="6332851"/>
                  <a:pt x="6932656" y="6336667"/>
                  <a:pt x="6929880" y="6341632"/>
                </a:cubicBezTo>
                <a:cubicBezTo>
                  <a:pt x="6927104" y="6346595"/>
                  <a:pt x="6925716" y="6351772"/>
                  <a:pt x="6925716" y="6357160"/>
                </a:cubicBezTo>
                <a:cubicBezTo>
                  <a:pt x="6925716" y="6362494"/>
                  <a:pt x="6927083" y="6367623"/>
                  <a:pt x="6929819" y="6372546"/>
                </a:cubicBezTo>
                <a:cubicBezTo>
                  <a:pt x="6932554" y="6377469"/>
                  <a:pt x="6936376" y="6381292"/>
                  <a:pt x="6941286" y="6384013"/>
                </a:cubicBezTo>
                <a:cubicBezTo>
                  <a:pt x="6946196" y="6386734"/>
                  <a:pt x="6951331" y="6388095"/>
                  <a:pt x="6956692" y="6388095"/>
                </a:cubicBezTo>
                <a:cubicBezTo>
                  <a:pt x="6962053" y="6388095"/>
                  <a:pt x="6967187" y="6386734"/>
                  <a:pt x="6972098" y="6384013"/>
                </a:cubicBezTo>
                <a:cubicBezTo>
                  <a:pt x="6977007" y="6381292"/>
                  <a:pt x="6980823" y="6377469"/>
                  <a:pt x="6983544" y="6372546"/>
                </a:cubicBezTo>
                <a:cubicBezTo>
                  <a:pt x="6986265" y="6367623"/>
                  <a:pt x="6987626" y="6362494"/>
                  <a:pt x="6987626" y="6357160"/>
                </a:cubicBezTo>
                <a:cubicBezTo>
                  <a:pt x="6987626" y="6351772"/>
                  <a:pt x="6986245" y="6346595"/>
                  <a:pt x="6983483" y="6341632"/>
                </a:cubicBezTo>
                <a:cubicBezTo>
                  <a:pt x="6980720" y="6336667"/>
                  <a:pt x="6976863" y="6332851"/>
                  <a:pt x="6971912" y="6330185"/>
                </a:cubicBezTo>
                <a:cubicBezTo>
                  <a:pt x="6966962" y="6327518"/>
                  <a:pt x="6961889" y="6326185"/>
                  <a:pt x="6956692" y="6326185"/>
                </a:cubicBezTo>
                <a:close/>
                <a:moveTo>
                  <a:pt x="6093496" y="6296733"/>
                </a:moveTo>
                <a:cubicBezTo>
                  <a:pt x="6110934" y="6296733"/>
                  <a:pt x="6125070" y="6314779"/>
                  <a:pt x="6125070" y="6337040"/>
                </a:cubicBezTo>
                <a:cubicBezTo>
                  <a:pt x="6125070" y="6359301"/>
                  <a:pt x="6110934" y="6377346"/>
                  <a:pt x="6093496" y="6377346"/>
                </a:cubicBezTo>
                <a:cubicBezTo>
                  <a:pt x="6076059" y="6377346"/>
                  <a:pt x="6061922" y="6359301"/>
                  <a:pt x="6061922" y="6337040"/>
                </a:cubicBezTo>
                <a:cubicBezTo>
                  <a:pt x="6061922" y="6314779"/>
                  <a:pt x="6076059" y="6296733"/>
                  <a:pt x="6093496" y="6296733"/>
                </a:cubicBezTo>
                <a:close/>
                <a:moveTo>
                  <a:pt x="5783809" y="6296733"/>
                </a:moveTo>
                <a:cubicBezTo>
                  <a:pt x="5799391" y="6296733"/>
                  <a:pt x="5812024" y="6314779"/>
                  <a:pt x="5812024" y="6337040"/>
                </a:cubicBezTo>
                <a:cubicBezTo>
                  <a:pt x="5812024" y="6359301"/>
                  <a:pt x="5799391" y="6377346"/>
                  <a:pt x="5783809" y="6377346"/>
                </a:cubicBezTo>
                <a:cubicBezTo>
                  <a:pt x="5768226" y="6377346"/>
                  <a:pt x="5755594" y="6359301"/>
                  <a:pt x="5755594" y="6337040"/>
                </a:cubicBezTo>
                <a:cubicBezTo>
                  <a:pt x="5755594" y="6314779"/>
                  <a:pt x="5768226" y="6296733"/>
                  <a:pt x="5783809" y="6296733"/>
                </a:cubicBezTo>
                <a:close/>
                <a:moveTo>
                  <a:pt x="5471433" y="6296733"/>
                </a:moveTo>
                <a:cubicBezTo>
                  <a:pt x="5488871" y="6296733"/>
                  <a:pt x="5503007" y="6314779"/>
                  <a:pt x="5503007" y="6337040"/>
                </a:cubicBezTo>
                <a:cubicBezTo>
                  <a:pt x="5503007" y="6359301"/>
                  <a:pt x="5488871" y="6377346"/>
                  <a:pt x="5471433" y="6377346"/>
                </a:cubicBezTo>
                <a:cubicBezTo>
                  <a:pt x="5453996" y="6377346"/>
                  <a:pt x="5439860" y="6359301"/>
                  <a:pt x="5439860" y="6337040"/>
                </a:cubicBezTo>
                <a:cubicBezTo>
                  <a:pt x="5439860" y="6314779"/>
                  <a:pt x="5453996" y="6296733"/>
                  <a:pt x="5471433" y="6296733"/>
                </a:cubicBezTo>
                <a:close/>
                <a:moveTo>
                  <a:pt x="6016373" y="6291486"/>
                </a:moveTo>
                <a:lnTo>
                  <a:pt x="6016373" y="6387446"/>
                </a:lnTo>
                <a:lnTo>
                  <a:pt x="6028662" y="6387446"/>
                </a:lnTo>
                <a:lnTo>
                  <a:pt x="6028662" y="6291486"/>
                </a:lnTo>
                <a:close/>
                <a:moveTo>
                  <a:pt x="6160001" y="6290016"/>
                </a:moveTo>
                <a:cubicBezTo>
                  <a:pt x="6160001" y="6296982"/>
                  <a:pt x="6160001" y="6307432"/>
                  <a:pt x="6160001" y="6314399"/>
                </a:cubicBezTo>
                <a:lnTo>
                  <a:pt x="6160001" y="6384064"/>
                </a:lnTo>
                <a:cubicBezTo>
                  <a:pt x="6160001" y="6384064"/>
                  <a:pt x="6160001" y="6384064"/>
                  <a:pt x="6173820" y="6384064"/>
                </a:cubicBezTo>
                <a:cubicBezTo>
                  <a:pt x="6173820" y="6384064"/>
                  <a:pt x="6173820" y="6384064"/>
                  <a:pt x="6173820" y="6331815"/>
                </a:cubicBezTo>
                <a:cubicBezTo>
                  <a:pt x="6173820" y="6317882"/>
                  <a:pt x="6180730" y="6296982"/>
                  <a:pt x="6201459" y="6296982"/>
                </a:cubicBezTo>
                <a:cubicBezTo>
                  <a:pt x="6215278" y="6296982"/>
                  <a:pt x="6222188" y="6310915"/>
                  <a:pt x="6222188" y="6328332"/>
                </a:cubicBezTo>
                <a:cubicBezTo>
                  <a:pt x="6222188" y="6328332"/>
                  <a:pt x="6222188" y="6328332"/>
                  <a:pt x="6222188" y="6384064"/>
                </a:cubicBezTo>
                <a:cubicBezTo>
                  <a:pt x="6222188" y="6384064"/>
                  <a:pt x="6222188" y="6384064"/>
                  <a:pt x="6232552" y="6384064"/>
                </a:cubicBezTo>
                <a:cubicBezTo>
                  <a:pt x="6232552" y="6384064"/>
                  <a:pt x="6232552" y="6384064"/>
                  <a:pt x="6232552" y="6324848"/>
                </a:cubicBezTo>
                <a:cubicBezTo>
                  <a:pt x="6232552" y="6303949"/>
                  <a:pt x="6225643" y="6290016"/>
                  <a:pt x="6201459" y="6290016"/>
                </a:cubicBezTo>
                <a:cubicBezTo>
                  <a:pt x="6184184" y="6290016"/>
                  <a:pt x="6177275" y="6300465"/>
                  <a:pt x="6170366" y="6307432"/>
                </a:cubicBezTo>
                <a:cubicBezTo>
                  <a:pt x="6170366" y="6307432"/>
                  <a:pt x="6170366" y="6307432"/>
                  <a:pt x="6170366" y="6290016"/>
                </a:cubicBezTo>
                <a:cubicBezTo>
                  <a:pt x="6170366" y="6290016"/>
                  <a:pt x="6170366" y="6290016"/>
                  <a:pt x="6160001" y="6290016"/>
                </a:cubicBezTo>
                <a:close/>
                <a:moveTo>
                  <a:pt x="6090808" y="6290016"/>
                </a:moveTo>
                <a:cubicBezTo>
                  <a:pt x="6066692" y="6290016"/>
                  <a:pt x="6047143" y="6311971"/>
                  <a:pt x="6047143" y="6339056"/>
                </a:cubicBezTo>
                <a:cubicBezTo>
                  <a:pt x="6047143" y="6366140"/>
                  <a:pt x="6066692" y="6388095"/>
                  <a:pt x="6090808" y="6388095"/>
                </a:cubicBezTo>
                <a:cubicBezTo>
                  <a:pt x="6114924" y="6388095"/>
                  <a:pt x="6134474" y="6366140"/>
                  <a:pt x="6134474" y="6339056"/>
                </a:cubicBezTo>
                <a:cubicBezTo>
                  <a:pt x="6134474" y="6311971"/>
                  <a:pt x="6114924" y="6290016"/>
                  <a:pt x="6090808" y="6290016"/>
                </a:cubicBezTo>
                <a:close/>
                <a:moveTo>
                  <a:pt x="5885663" y="6290016"/>
                </a:moveTo>
                <a:cubicBezTo>
                  <a:pt x="5878625" y="6290016"/>
                  <a:pt x="5864549" y="6290016"/>
                  <a:pt x="5857511" y="6293519"/>
                </a:cubicBezTo>
                <a:cubicBezTo>
                  <a:pt x="5857511" y="6293519"/>
                  <a:pt x="5857511" y="6293519"/>
                  <a:pt x="5857511" y="6307530"/>
                </a:cubicBezTo>
                <a:cubicBezTo>
                  <a:pt x="5868068" y="6300525"/>
                  <a:pt x="5875106" y="6297022"/>
                  <a:pt x="5885663" y="6297022"/>
                </a:cubicBezTo>
                <a:cubicBezTo>
                  <a:pt x="5903256" y="6297022"/>
                  <a:pt x="5906775" y="6307530"/>
                  <a:pt x="5906775" y="6321542"/>
                </a:cubicBezTo>
                <a:cubicBezTo>
                  <a:pt x="5906775" y="6321542"/>
                  <a:pt x="5906775" y="6321542"/>
                  <a:pt x="5906775" y="6328547"/>
                </a:cubicBezTo>
                <a:cubicBezTo>
                  <a:pt x="5882144" y="6328547"/>
                  <a:pt x="5846955" y="6328547"/>
                  <a:pt x="5846955" y="6360072"/>
                </a:cubicBezTo>
                <a:cubicBezTo>
                  <a:pt x="5846955" y="6370581"/>
                  <a:pt x="5850474" y="6388095"/>
                  <a:pt x="5878625" y="6388095"/>
                </a:cubicBezTo>
                <a:cubicBezTo>
                  <a:pt x="5889181" y="6388095"/>
                  <a:pt x="5903256" y="6381089"/>
                  <a:pt x="5906775" y="6370581"/>
                </a:cubicBezTo>
                <a:cubicBezTo>
                  <a:pt x="5906775" y="6370581"/>
                  <a:pt x="5906775" y="6370581"/>
                  <a:pt x="5910294" y="6370581"/>
                </a:cubicBezTo>
                <a:lnTo>
                  <a:pt x="5910294" y="6384592"/>
                </a:lnTo>
                <a:cubicBezTo>
                  <a:pt x="5910294" y="6384592"/>
                  <a:pt x="5910294" y="6384592"/>
                  <a:pt x="5920851" y="6384592"/>
                </a:cubicBezTo>
                <a:cubicBezTo>
                  <a:pt x="5920851" y="6381089"/>
                  <a:pt x="5920851" y="6374084"/>
                  <a:pt x="5920851" y="6367078"/>
                </a:cubicBezTo>
                <a:cubicBezTo>
                  <a:pt x="5920851" y="6367078"/>
                  <a:pt x="5920851" y="6367078"/>
                  <a:pt x="5920851" y="6325045"/>
                </a:cubicBezTo>
                <a:cubicBezTo>
                  <a:pt x="5920851" y="6300525"/>
                  <a:pt x="5910294" y="6290016"/>
                  <a:pt x="5885663" y="6290016"/>
                </a:cubicBezTo>
                <a:close/>
                <a:moveTo>
                  <a:pt x="5644079" y="6290016"/>
                </a:moveTo>
                <a:cubicBezTo>
                  <a:pt x="5644079" y="6296982"/>
                  <a:pt x="5644079" y="6307432"/>
                  <a:pt x="5644079" y="6314399"/>
                </a:cubicBezTo>
                <a:lnTo>
                  <a:pt x="5644079" y="6384064"/>
                </a:lnTo>
                <a:cubicBezTo>
                  <a:pt x="5644079" y="6384064"/>
                  <a:pt x="5644079" y="6384064"/>
                  <a:pt x="5658155" y="6384064"/>
                </a:cubicBezTo>
                <a:cubicBezTo>
                  <a:pt x="5658155" y="6384064"/>
                  <a:pt x="5658155" y="6384064"/>
                  <a:pt x="5658155" y="6331815"/>
                </a:cubicBezTo>
                <a:cubicBezTo>
                  <a:pt x="5658155" y="6317882"/>
                  <a:pt x="5665192" y="6296982"/>
                  <a:pt x="5686305" y="6296982"/>
                </a:cubicBezTo>
                <a:cubicBezTo>
                  <a:pt x="5700381" y="6296982"/>
                  <a:pt x="5707418" y="6310915"/>
                  <a:pt x="5707418" y="6328332"/>
                </a:cubicBezTo>
                <a:cubicBezTo>
                  <a:pt x="5707418" y="6328332"/>
                  <a:pt x="5707418" y="6328332"/>
                  <a:pt x="5707418" y="6384064"/>
                </a:cubicBezTo>
                <a:cubicBezTo>
                  <a:pt x="5707418" y="6384064"/>
                  <a:pt x="5707418" y="6384064"/>
                  <a:pt x="5717975" y="6384064"/>
                </a:cubicBezTo>
                <a:cubicBezTo>
                  <a:pt x="5717975" y="6384064"/>
                  <a:pt x="5717975" y="6384064"/>
                  <a:pt x="5717975" y="6324848"/>
                </a:cubicBezTo>
                <a:cubicBezTo>
                  <a:pt x="5717975" y="6303949"/>
                  <a:pt x="5710937" y="6290016"/>
                  <a:pt x="5686305" y="6290016"/>
                </a:cubicBezTo>
                <a:cubicBezTo>
                  <a:pt x="5668711" y="6290016"/>
                  <a:pt x="5661674" y="6300465"/>
                  <a:pt x="5654636" y="6307432"/>
                </a:cubicBezTo>
                <a:cubicBezTo>
                  <a:pt x="5654636" y="6307432"/>
                  <a:pt x="5654636" y="6307432"/>
                  <a:pt x="5654636" y="6290016"/>
                </a:cubicBezTo>
                <a:cubicBezTo>
                  <a:pt x="5654636" y="6290016"/>
                  <a:pt x="5654636" y="6290016"/>
                  <a:pt x="5644079" y="6290016"/>
                </a:cubicBezTo>
                <a:close/>
                <a:moveTo>
                  <a:pt x="5541970" y="6290016"/>
                </a:moveTo>
                <a:cubicBezTo>
                  <a:pt x="5541970" y="6290016"/>
                  <a:pt x="5541970" y="6290016"/>
                  <a:pt x="5541970" y="6353066"/>
                </a:cubicBezTo>
                <a:cubicBezTo>
                  <a:pt x="5541970" y="6374084"/>
                  <a:pt x="5549007" y="6388095"/>
                  <a:pt x="5573640" y="6388095"/>
                </a:cubicBezTo>
                <a:cubicBezTo>
                  <a:pt x="5591234" y="6388095"/>
                  <a:pt x="5598271" y="6377586"/>
                  <a:pt x="5605309" y="6370581"/>
                </a:cubicBezTo>
                <a:cubicBezTo>
                  <a:pt x="5605309" y="6370581"/>
                  <a:pt x="5605309" y="6370581"/>
                  <a:pt x="5605309" y="6384592"/>
                </a:cubicBezTo>
                <a:cubicBezTo>
                  <a:pt x="5605309" y="6384592"/>
                  <a:pt x="5605309" y="6384592"/>
                  <a:pt x="5615865" y="6384592"/>
                </a:cubicBezTo>
                <a:cubicBezTo>
                  <a:pt x="5615865" y="6377586"/>
                  <a:pt x="5615865" y="6370581"/>
                  <a:pt x="5615865" y="6363575"/>
                </a:cubicBezTo>
                <a:lnTo>
                  <a:pt x="5615865" y="6290016"/>
                </a:lnTo>
                <a:cubicBezTo>
                  <a:pt x="5615865" y="6290016"/>
                  <a:pt x="5615865" y="6290016"/>
                  <a:pt x="5601790" y="6290016"/>
                </a:cubicBezTo>
                <a:cubicBezTo>
                  <a:pt x="5601790" y="6290016"/>
                  <a:pt x="5601790" y="6290016"/>
                  <a:pt x="5601790" y="6342558"/>
                </a:cubicBezTo>
                <a:cubicBezTo>
                  <a:pt x="5601790" y="6360072"/>
                  <a:pt x="5594752" y="6377586"/>
                  <a:pt x="5573640" y="6377586"/>
                </a:cubicBezTo>
                <a:cubicBezTo>
                  <a:pt x="5559564" y="6377586"/>
                  <a:pt x="5552527" y="6367078"/>
                  <a:pt x="5552527" y="6349564"/>
                </a:cubicBezTo>
                <a:cubicBezTo>
                  <a:pt x="5552527" y="6349564"/>
                  <a:pt x="5552527" y="6349564"/>
                  <a:pt x="5552527" y="6290016"/>
                </a:cubicBezTo>
                <a:cubicBezTo>
                  <a:pt x="5552527" y="6290016"/>
                  <a:pt x="5552527" y="6290016"/>
                  <a:pt x="5541970" y="6290016"/>
                </a:cubicBezTo>
                <a:close/>
                <a:moveTo>
                  <a:pt x="5473449" y="6290016"/>
                </a:moveTo>
                <a:cubicBezTo>
                  <a:pt x="5448962" y="6290016"/>
                  <a:pt x="5429111" y="6311971"/>
                  <a:pt x="5429111" y="6339056"/>
                </a:cubicBezTo>
                <a:cubicBezTo>
                  <a:pt x="5429111" y="6366140"/>
                  <a:pt x="5448962" y="6388095"/>
                  <a:pt x="5473449" y="6388095"/>
                </a:cubicBezTo>
                <a:cubicBezTo>
                  <a:pt x="5497935" y="6388095"/>
                  <a:pt x="5517786" y="6366140"/>
                  <a:pt x="5517786" y="6339056"/>
                </a:cubicBezTo>
                <a:cubicBezTo>
                  <a:pt x="5517786" y="6311971"/>
                  <a:pt x="5497935" y="6290016"/>
                  <a:pt x="5473449" y="6290016"/>
                </a:cubicBezTo>
                <a:close/>
                <a:moveTo>
                  <a:pt x="6657114" y="6275237"/>
                </a:moveTo>
                <a:lnTo>
                  <a:pt x="6661144" y="6285986"/>
                </a:lnTo>
                <a:lnTo>
                  <a:pt x="6665175" y="6292704"/>
                </a:lnTo>
                <a:lnTo>
                  <a:pt x="6650396" y="6292704"/>
                </a:lnTo>
                <a:lnTo>
                  <a:pt x="6654427" y="6285986"/>
                </a:lnTo>
                <a:close/>
                <a:moveTo>
                  <a:pt x="6661257" y="6264489"/>
                </a:moveTo>
                <a:cubicBezTo>
                  <a:pt x="6661257" y="6264489"/>
                  <a:pt x="6661257" y="6264489"/>
                  <a:pt x="6650844" y="6268003"/>
                </a:cubicBezTo>
                <a:cubicBezTo>
                  <a:pt x="6650844" y="6268003"/>
                  <a:pt x="6650844" y="6268003"/>
                  <a:pt x="6647373" y="6285573"/>
                </a:cubicBezTo>
                <a:cubicBezTo>
                  <a:pt x="6647373" y="6285573"/>
                  <a:pt x="6647373" y="6285573"/>
                  <a:pt x="6636960" y="6306655"/>
                </a:cubicBezTo>
                <a:cubicBezTo>
                  <a:pt x="6640431" y="6306655"/>
                  <a:pt x="6643902" y="6306655"/>
                  <a:pt x="6647373" y="6310169"/>
                </a:cubicBezTo>
                <a:cubicBezTo>
                  <a:pt x="6647373" y="6310169"/>
                  <a:pt x="6647373" y="6310169"/>
                  <a:pt x="6647373" y="6299628"/>
                </a:cubicBezTo>
                <a:cubicBezTo>
                  <a:pt x="6647373" y="6299628"/>
                  <a:pt x="6647373" y="6299628"/>
                  <a:pt x="6668198" y="6299628"/>
                </a:cubicBezTo>
                <a:cubicBezTo>
                  <a:pt x="6668198" y="6299628"/>
                  <a:pt x="6668198" y="6299628"/>
                  <a:pt x="6668198" y="6306655"/>
                </a:cubicBezTo>
                <a:cubicBezTo>
                  <a:pt x="6671669" y="6306655"/>
                  <a:pt x="6675140" y="6306655"/>
                  <a:pt x="6678611" y="6306655"/>
                </a:cubicBezTo>
                <a:cubicBezTo>
                  <a:pt x="6678611" y="6306655"/>
                  <a:pt x="6678611" y="6306655"/>
                  <a:pt x="6668198" y="6285573"/>
                </a:cubicBezTo>
                <a:lnTo>
                  <a:pt x="6661257" y="6268003"/>
                </a:lnTo>
                <a:cubicBezTo>
                  <a:pt x="6661257" y="6268003"/>
                  <a:pt x="6661257" y="6268003"/>
                  <a:pt x="6661257" y="6264489"/>
                </a:cubicBezTo>
                <a:close/>
                <a:moveTo>
                  <a:pt x="5966262" y="6264488"/>
                </a:moveTo>
                <a:cubicBezTo>
                  <a:pt x="5966262" y="6264488"/>
                  <a:pt x="5966262" y="6264488"/>
                  <a:pt x="5955783" y="6268020"/>
                </a:cubicBezTo>
                <a:cubicBezTo>
                  <a:pt x="5955783" y="6268020"/>
                  <a:pt x="5955783" y="6268020"/>
                  <a:pt x="5955783" y="6289209"/>
                </a:cubicBezTo>
                <a:cubicBezTo>
                  <a:pt x="5955783" y="6289209"/>
                  <a:pt x="5955783" y="6289209"/>
                  <a:pt x="5938316" y="6289209"/>
                </a:cubicBezTo>
                <a:cubicBezTo>
                  <a:pt x="5938316" y="6289209"/>
                  <a:pt x="5938316" y="6289209"/>
                  <a:pt x="5938316" y="6299804"/>
                </a:cubicBezTo>
                <a:cubicBezTo>
                  <a:pt x="5938316" y="6299804"/>
                  <a:pt x="5938316" y="6299804"/>
                  <a:pt x="5955783" y="6299804"/>
                </a:cubicBezTo>
                <a:cubicBezTo>
                  <a:pt x="5955783" y="6299804"/>
                  <a:pt x="5955783" y="6299804"/>
                  <a:pt x="5955783" y="6356310"/>
                </a:cubicBezTo>
                <a:cubicBezTo>
                  <a:pt x="5955783" y="6373968"/>
                  <a:pt x="5955783" y="6388094"/>
                  <a:pt x="5976742" y="6388094"/>
                </a:cubicBezTo>
                <a:cubicBezTo>
                  <a:pt x="5983728" y="6388094"/>
                  <a:pt x="5987221" y="6388094"/>
                  <a:pt x="5990715" y="6384563"/>
                </a:cubicBezTo>
                <a:cubicBezTo>
                  <a:pt x="5990715" y="6384563"/>
                  <a:pt x="5990715" y="6384563"/>
                  <a:pt x="5990715" y="6373968"/>
                </a:cubicBezTo>
                <a:cubicBezTo>
                  <a:pt x="5987221" y="6377499"/>
                  <a:pt x="5983728" y="6377499"/>
                  <a:pt x="5980235" y="6377499"/>
                </a:cubicBezTo>
                <a:cubicBezTo>
                  <a:pt x="5969755" y="6377499"/>
                  <a:pt x="5966262" y="6370437"/>
                  <a:pt x="5966262" y="6363373"/>
                </a:cubicBezTo>
                <a:cubicBezTo>
                  <a:pt x="5966262" y="6363373"/>
                  <a:pt x="5966262" y="6363373"/>
                  <a:pt x="5966262" y="6299804"/>
                </a:cubicBezTo>
                <a:cubicBezTo>
                  <a:pt x="5966262" y="6299804"/>
                  <a:pt x="5966262" y="6299804"/>
                  <a:pt x="5987221" y="6299804"/>
                </a:cubicBezTo>
                <a:lnTo>
                  <a:pt x="5987221" y="6289209"/>
                </a:lnTo>
                <a:cubicBezTo>
                  <a:pt x="5987221" y="6289209"/>
                  <a:pt x="5987221" y="6289209"/>
                  <a:pt x="5966262" y="6289209"/>
                </a:cubicBezTo>
                <a:cubicBezTo>
                  <a:pt x="5966262" y="6289209"/>
                  <a:pt x="5966262" y="6289209"/>
                  <a:pt x="5966262" y="6264488"/>
                </a:cubicBezTo>
                <a:close/>
                <a:moveTo>
                  <a:pt x="6601692" y="6261802"/>
                </a:moveTo>
                <a:cubicBezTo>
                  <a:pt x="6591280" y="6303968"/>
                  <a:pt x="6591280" y="6303968"/>
                  <a:pt x="6591280" y="6303968"/>
                </a:cubicBezTo>
                <a:cubicBezTo>
                  <a:pt x="6594751" y="6303968"/>
                  <a:pt x="6598221" y="6303968"/>
                  <a:pt x="6601692" y="6303968"/>
                </a:cubicBezTo>
                <a:cubicBezTo>
                  <a:pt x="6605163" y="6279372"/>
                  <a:pt x="6605163" y="6279372"/>
                  <a:pt x="6605163" y="6279372"/>
                </a:cubicBezTo>
                <a:cubicBezTo>
                  <a:pt x="6619047" y="6307482"/>
                  <a:pt x="6619047" y="6307482"/>
                  <a:pt x="6619047" y="6307482"/>
                </a:cubicBezTo>
                <a:cubicBezTo>
                  <a:pt x="6622518" y="6307482"/>
                  <a:pt x="6625989" y="6307482"/>
                  <a:pt x="6625989" y="6307482"/>
                </a:cubicBezTo>
                <a:cubicBezTo>
                  <a:pt x="6632930" y="6265316"/>
                  <a:pt x="6632930" y="6265316"/>
                  <a:pt x="6632930" y="6265316"/>
                </a:cubicBezTo>
                <a:cubicBezTo>
                  <a:pt x="6629459" y="6265316"/>
                  <a:pt x="6625989" y="6265316"/>
                  <a:pt x="6625989" y="6265316"/>
                </a:cubicBezTo>
                <a:cubicBezTo>
                  <a:pt x="6622518" y="6293427"/>
                  <a:pt x="6622518" y="6293427"/>
                  <a:pt x="6622518" y="6293427"/>
                </a:cubicBezTo>
                <a:cubicBezTo>
                  <a:pt x="6608635" y="6261802"/>
                  <a:pt x="6608635" y="6261802"/>
                  <a:pt x="6608635" y="6261802"/>
                </a:cubicBezTo>
                <a:cubicBezTo>
                  <a:pt x="6605163" y="6261802"/>
                  <a:pt x="6605163" y="6261802"/>
                  <a:pt x="6601692" y="6261802"/>
                </a:cubicBezTo>
                <a:close/>
                <a:moveTo>
                  <a:pt x="6710855" y="6257772"/>
                </a:moveTo>
                <a:cubicBezTo>
                  <a:pt x="6696882" y="6261323"/>
                  <a:pt x="6686403" y="6264873"/>
                  <a:pt x="6675923" y="6264873"/>
                </a:cubicBezTo>
                <a:cubicBezTo>
                  <a:pt x="6675923" y="6271975"/>
                  <a:pt x="6675923" y="6271975"/>
                  <a:pt x="6675923" y="6271975"/>
                </a:cubicBezTo>
                <a:cubicBezTo>
                  <a:pt x="6682909" y="6271975"/>
                  <a:pt x="6686403" y="6271975"/>
                  <a:pt x="6689896" y="6271975"/>
                </a:cubicBezTo>
                <a:cubicBezTo>
                  <a:pt x="6696882" y="6307483"/>
                  <a:pt x="6696882" y="6307483"/>
                  <a:pt x="6696882" y="6307483"/>
                </a:cubicBezTo>
                <a:cubicBezTo>
                  <a:pt x="6703869" y="6303932"/>
                  <a:pt x="6703869" y="6303932"/>
                  <a:pt x="6703869" y="6303932"/>
                </a:cubicBezTo>
                <a:cubicBezTo>
                  <a:pt x="6696882" y="6268424"/>
                  <a:pt x="6696882" y="6268424"/>
                  <a:pt x="6696882" y="6268424"/>
                </a:cubicBezTo>
                <a:cubicBezTo>
                  <a:pt x="6703869" y="6268424"/>
                  <a:pt x="6707362" y="6268424"/>
                  <a:pt x="6710855" y="6264873"/>
                </a:cubicBezTo>
                <a:close/>
                <a:moveTo>
                  <a:pt x="6566559" y="6257772"/>
                </a:moveTo>
                <a:cubicBezTo>
                  <a:pt x="6566559" y="6257772"/>
                  <a:pt x="6566559" y="6257772"/>
                  <a:pt x="6577039" y="6261131"/>
                </a:cubicBezTo>
                <a:cubicBezTo>
                  <a:pt x="6580532" y="6261131"/>
                  <a:pt x="6580532" y="6264490"/>
                  <a:pt x="6580532" y="6264490"/>
                </a:cubicBezTo>
                <a:cubicBezTo>
                  <a:pt x="6580532" y="6264490"/>
                  <a:pt x="6580532" y="6267848"/>
                  <a:pt x="6580532" y="6267848"/>
                </a:cubicBezTo>
                <a:cubicBezTo>
                  <a:pt x="6580532" y="6267848"/>
                  <a:pt x="6577039" y="6271207"/>
                  <a:pt x="6573545" y="6271207"/>
                </a:cubicBezTo>
                <a:cubicBezTo>
                  <a:pt x="6573545" y="6271207"/>
                  <a:pt x="6573545" y="6271207"/>
                  <a:pt x="6563065" y="6267848"/>
                </a:cubicBezTo>
                <a:cubicBezTo>
                  <a:pt x="6563065" y="6267848"/>
                  <a:pt x="6563065" y="6267848"/>
                  <a:pt x="6566559" y="6264490"/>
                </a:cubicBezTo>
                <a:cubicBezTo>
                  <a:pt x="6566559" y="6264490"/>
                  <a:pt x="6566559" y="6264490"/>
                  <a:pt x="6566559" y="6257772"/>
                </a:cubicBezTo>
                <a:close/>
                <a:moveTo>
                  <a:pt x="6016373" y="6255886"/>
                </a:moveTo>
                <a:lnTo>
                  <a:pt x="6016373" y="6269580"/>
                </a:lnTo>
                <a:lnTo>
                  <a:pt x="6028662" y="6269580"/>
                </a:lnTo>
                <a:lnTo>
                  <a:pt x="6028662" y="6255886"/>
                </a:lnTo>
                <a:close/>
                <a:moveTo>
                  <a:pt x="6717573" y="6253740"/>
                </a:moveTo>
                <a:cubicBezTo>
                  <a:pt x="6731393" y="6296734"/>
                  <a:pt x="6731393" y="6296734"/>
                  <a:pt x="6731393" y="6296734"/>
                </a:cubicBezTo>
                <a:cubicBezTo>
                  <a:pt x="6734848" y="6293151"/>
                  <a:pt x="6738302" y="6293151"/>
                  <a:pt x="6741757" y="6293151"/>
                </a:cubicBezTo>
                <a:cubicBezTo>
                  <a:pt x="6727938" y="6253740"/>
                  <a:pt x="6727938" y="6253740"/>
                  <a:pt x="6727938" y="6253740"/>
                </a:cubicBezTo>
                <a:cubicBezTo>
                  <a:pt x="6724483" y="6253740"/>
                  <a:pt x="6721028" y="6253740"/>
                  <a:pt x="6717573" y="6253740"/>
                </a:cubicBezTo>
                <a:close/>
                <a:moveTo>
                  <a:pt x="5348499" y="6253740"/>
                </a:moveTo>
                <a:lnTo>
                  <a:pt x="5348499" y="6384064"/>
                </a:lnTo>
                <a:lnTo>
                  <a:pt x="5363278" y="6384064"/>
                </a:lnTo>
                <a:lnTo>
                  <a:pt x="5363278" y="6324948"/>
                </a:lnTo>
                <a:lnTo>
                  <a:pt x="5408960" y="6324948"/>
                </a:lnTo>
                <a:lnTo>
                  <a:pt x="5408960" y="6314200"/>
                </a:lnTo>
                <a:lnTo>
                  <a:pt x="5363278" y="6314200"/>
                </a:lnTo>
                <a:lnTo>
                  <a:pt x="5363278" y="6264488"/>
                </a:lnTo>
                <a:lnTo>
                  <a:pt x="5411646" y="6264488"/>
                </a:lnTo>
                <a:lnTo>
                  <a:pt x="5411646" y="6253740"/>
                </a:lnTo>
                <a:close/>
                <a:moveTo>
                  <a:pt x="6562954" y="6247023"/>
                </a:moveTo>
                <a:cubicBezTo>
                  <a:pt x="6562954" y="6247023"/>
                  <a:pt x="6562954" y="6247023"/>
                  <a:pt x="6556012" y="6264490"/>
                </a:cubicBezTo>
                <a:cubicBezTo>
                  <a:pt x="6556012" y="6264490"/>
                  <a:pt x="6556012" y="6264490"/>
                  <a:pt x="6556012" y="6267982"/>
                </a:cubicBezTo>
                <a:cubicBezTo>
                  <a:pt x="6556012" y="6267982"/>
                  <a:pt x="6556012" y="6267982"/>
                  <a:pt x="6545599" y="6285449"/>
                </a:cubicBezTo>
                <a:cubicBezTo>
                  <a:pt x="6549070" y="6288942"/>
                  <a:pt x="6552541" y="6288942"/>
                  <a:pt x="6556012" y="6288942"/>
                </a:cubicBezTo>
                <a:cubicBezTo>
                  <a:pt x="6556012" y="6288942"/>
                  <a:pt x="6556012" y="6288942"/>
                  <a:pt x="6559483" y="6274969"/>
                </a:cubicBezTo>
                <a:cubicBezTo>
                  <a:pt x="6559483" y="6274969"/>
                  <a:pt x="6559483" y="6274969"/>
                  <a:pt x="6569896" y="6278463"/>
                </a:cubicBezTo>
                <a:cubicBezTo>
                  <a:pt x="6569896" y="6278463"/>
                  <a:pt x="6569896" y="6278463"/>
                  <a:pt x="6569896" y="6295928"/>
                </a:cubicBezTo>
                <a:cubicBezTo>
                  <a:pt x="6573367" y="6295928"/>
                  <a:pt x="6576837" y="6299422"/>
                  <a:pt x="6580308" y="6299422"/>
                </a:cubicBezTo>
                <a:cubicBezTo>
                  <a:pt x="6580308" y="6299422"/>
                  <a:pt x="6580308" y="6299422"/>
                  <a:pt x="6576837" y="6278463"/>
                </a:cubicBezTo>
                <a:cubicBezTo>
                  <a:pt x="6583779" y="6278463"/>
                  <a:pt x="6587250" y="6271476"/>
                  <a:pt x="6587250" y="6267982"/>
                </a:cubicBezTo>
                <a:cubicBezTo>
                  <a:pt x="6587250" y="6267982"/>
                  <a:pt x="6587250" y="6264490"/>
                  <a:pt x="6587250" y="6264490"/>
                </a:cubicBezTo>
                <a:cubicBezTo>
                  <a:pt x="6587250" y="6260996"/>
                  <a:pt x="6587250" y="6257503"/>
                  <a:pt x="6580308" y="6254010"/>
                </a:cubicBezTo>
                <a:cubicBezTo>
                  <a:pt x="6580308" y="6254010"/>
                  <a:pt x="6580308" y="6254010"/>
                  <a:pt x="6562954" y="6247023"/>
                </a:cubicBezTo>
                <a:close/>
                <a:moveTo>
                  <a:pt x="6768052" y="6244316"/>
                </a:moveTo>
                <a:cubicBezTo>
                  <a:pt x="6771507" y="6244757"/>
                  <a:pt x="6774962" y="6246520"/>
                  <a:pt x="6776689" y="6250047"/>
                </a:cubicBezTo>
                <a:cubicBezTo>
                  <a:pt x="6776689" y="6253574"/>
                  <a:pt x="6776689" y="6257100"/>
                  <a:pt x="6776689" y="6257100"/>
                </a:cubicBezTo>
                <a:cubicBezTo>
                  <a:pt x="6776689" y="6260627"/>
                  <a:pt x="6776689" y="6264155"/>
                  <a:pt x="6773234" y="6267681"/>
                </a:cubicBezTo>
                <a:cubicBezTo>
                  <a:pt x="6773234" y="6267681"/>
                  <a:pt x="6773234" y="6267681"/>
                  <a:pt x="6769780" y="6271208"/>
                </a:cubicBezTo>
                <a:cubicBezTo>
                  <a:pt x="6766325" y="6271208"/>
                  <a:pt x="6759415" y="6271208"/>
                  <a:pt x="6755960" y="6267681"/>
                </a:cubicBezTo>
                <a:cubicBezTo>
                  <a:pt x="6752505" y="6267681"/>
                  <a:pt x="6752505" y="6264155"/>
                  <a:pt x="6752505" y="6264155"/>
                </a:cubicBezTo>
                <a:cubicBezTo>
                  <a:pt x="6752505" y="6264155"/>
                  <a:pt x="6752505" y="6260627"/>
                  <a:pt x="6752505" y="6257100"/>
                </a:cubicBezTo>
                <a:cubicBezTo>
                  <a:pt x="6752505" y="6253574"/>
                  <a:pt x="6752505" y="6250047"/>
                  <a:pt x="6759415" y="6246520"/>
                </a:cubicBezTo>
                <a:cubicBezTo>
                  <a:pt x="6761143" y="6244757"/>
                  <a:pt x="6764598" y="6243875"/>
                  <a:pt x="6768052" y="6244316"/>
                </a:cubicBezTo>
                <a:close/>
                <a:moveTo>
                  <a:pt x="5812549" y="6242991"/>
                </a:moveTo>
                <a:cubicBezTo>
                  <a:pt x="5812549" y="6242991"/>
                  <a:pt x="5812549" y="6242991"/>
                  <a:pt x="5812549" y="6306695"/>
                </a:cubicBezTo>
                <a:cubicBezTo>
                  <a:pt x="5812549" y="6299617"/>
                  <a:pt x="5801859" y="6288999"/>
                  <a:pt x="5784042" y="6288999"/>
                </a:cubicBezTo>
                <a:cubicBezTo>
                  <a:pt x="5755536" y="6288999"/>
                  <a:pt x="5744846" y="6310234"/>
                  <a:pt x="5744846" y="6338547"/>
                </a:cubicBezTo>
                <a:cubicBezTo>
                  <a:pt x="5744846" y="6366860"/>
                  <a:pt x="5755536" y="6388094"/>
                  <a:pt x="5784042" y="6388094"/>
                </a:cubicBezTo>
                <a:cubicBezTo>
                  <a:pt x="5798295" y="6388094"/>
                  <a:pt x="5805422" y="6384555"/>
                  <a:pt x="5812549" y="6370398"/>
                </a:cubicBezTo>
                <a:cubicBezTo>
                  <a:pt x="5812549" y="6370398"/>
                  <a:pt x="5812549" y="6370398"/>
                  <a:pt x="5812549" y="6384555"/>
                </a:cubicBezTo>
                <a:cubicBezTo>
                  <a:pt x="5812549" y="6384555"/>
                  <a:pt x="5812549" y="6384555"/>
                  <a:pt x="5826802" y="6384555"/>
                </a:cubicBezTo>
                <a:lnTo>
                  <a:pt x="5826802" y="6242991"/>
                </a:lnTo>
                <a:cubicBezTo>
                  <a:pt x="5826802" y="6242991"/>
                  <a:pt x="5826802" y="6242991"/>
                  <a:pt x="5812549" y="6242991"/>
                </a:cubicBezTo>
                <a:close/>
                <a:moveTo>
                  <a:pt x="6769972" y="6237475"/>
                </a:moveTo>
                <a:cubicBezTo>
                  <a:pt x="6764149" y="6236180"/>
                  <a:pt x="6757880" y="6237043"/>
                  <a:pt x="6752505" y="6240498"/>
                </a:cubicBezTo>
                <a:cubicBezTo>
                  <a:pt x="6745339" y="6243953"/>
                  <a:pt x="6741757" y="6250863"/>
                  <a:pt x="6741757" y="6257772"/>
                </a:cubicBezTo>
                <a:cubicBezTo>
                  <a:pt x="6741757" y="6261227"/>
                  <a:pt x="6745339" y="6264682"/>
                  <a:pt x="6745339" y="6268137"/>
                </a:cubicBezTo>
                <a:cubicBezTo>
                  <a:pt x="6752505" y="6278502"/>
                  <a:pt x="6766836" y="6281956"/>
                  <a:pt x="6774002" y="6275047"/>
                </a:cubicBezTo>
                <a:cubicBezTo>
                  <a:pt x="6781168" y="6275047"/>
                  <a:pt x="6781168" y="6271592"/>
                  <a:pt x="6784750" y="6268137"/>
                </a:cubicBezTo>
                <a:cubicBezTo>
                  <a:pt x="6784750" y="6264682"/>
                  <a:pt x="6784750" y="6261227"/>
                  <a:pt x="6784750" y="6257772"/>
                </a:cubicBezTo>
                <a:cubicBezTo>
                  <a:pt x="6784750" y="6254318"/>
                  <a:pt x="6784750" y="6250863"/>
                  <a:pt x="6784750" y="6247408"/>
                </a:cubicBezTo>
                <a:cubicBezTo>
                  <a:pt x="6781168" y="6242225"/>
                  <a:pt x="6775794" y="6238771"/>
                  <a:pt x="6769972" y="6237475"/>
                </a:cubicBezTo>
                <a:close/>
                <a:moveTo>
                  <a:pt x="6527720" y="6229557"/>
                </a:moveTo>
                <a:cubicBezTo>
                  <a:pt x="6506636" y="6264489"/>
                  <a:pt x="6506636" y="6264489"/>
                  <a:pt x="6506636" y="6264489"/>
                </a:cubicBezTo>
                <a:cubicBezTo>
                  <a:pt x="6513664" y="6271475"/>
                  <a:pt x="6520692" y="6274969"/>
                  <a:pt x="6531234" y="6281955"/>
                </a:cubicBezTo>
                <a:cubicBezTo>
                  <a:pt x="6534748" y="6274969"/>
                  <a:pt x="6534748" y="6274969"/>
                  <a:pt x="6534748" y="6274969"/>
                </a:cubicBezTo>
                <a:cubicBezTo>
                  <a:pt x="6517178" y="6264489"/>
                  <a:pt x="6517178" y="6264489"/>
                  <a:pt x="6517178" y="6264489"/>
                </a:cubicBezTo>
                <a:cubicBezTo>
                  <a:pt x="6524206" y="6254010"/>
                  <a:pt x="6524206" y="6254010"/>
                  <a:pt x="6524206" y="6254010"/>
                </a:cubicBezTo>
                <a:cubicBezTo>
                  <a:pt x="6534748" y="6260996"/>
                  <a:pt x="6534748" y="6260996"/>
                  <a:pt x="6534748" y="6260996"/>
                </a:cubicBezTo>
                <a:cubicBezTo>
                  <a:pt x="6538261" y="6254010"/>
                  <a:pt x="6538261" y="6254010"/>
                  <a:pt x="6538261" y="6254010"/>
                </a:cubicBezTo>
                <a:cubicBezTo>
                  <a:pt x="6534748" y="6254010"/>
                  <a:pt x="6531234" y="6250516"/>
                  <a:pt x="6527720" y="6247023"/>
                </a:cubicBezTo>
                <a:lnTo>
                  <a:pt x="6531234" y="6240037"/>
                </a:lnTo>
                <a:cubicBezTo>
                  <a:pt x="6538261" y="6243529"/>
                  <a:pt x="6541775" y="6247023"/>
                  <a:pt x="6548803" y="6250516"/>
                </a:cubicBezTo>
                <a:cubicBezTo>
                  <a:pt x="6552317" y="6243529"/>
                  <a:pt x="6552317" y="6243529"/>
                  <a:pt x="6552317" y="6243529"/>
                </a:cubicBezTo>
                <a:cubicBezTo>
                  <a:pt x="6545289" y="6240037"/>
                  <a:pt x="6534748" y="6233050"/>
                  <a:pt x="6527720" y="6229557"/>
                </a:cubicBezTo>
                <a:close/>
                <a:moveTo>
                  <a:pt x="6805172" y="6201343"/>
                </a:moveTo>
                <a:cubicBezTo>
                  <a:pt x="6801679" y="6204869"/>
                  <a:pt x="6801679" y="6204869"/>
                  <a:pt x="6798186" y="6208396"/>
                </a:cubicBezTo>
                <a:cubicBezTo>
                  <a:pt x="6815652" y="6226030"/>
                  <a:pt x="6815652" y="6226030"/>
                  <a:pt x="6815652" y="6226030"/>
                </a:cubicBezTo>
                <a:cubicBezTo>
                  <a:pt x="6787706" y="6218977"/>
                  <a:pt x="6787706" y="6218977"/>
                  <a:pt x="6787706" y="6218977"/>
                </a:cubicBezTo>
                <a:cubicBezTo>
                  <a:pt x="6784213" y="6218977"/>
                  <a:pt x="6784213" y="6222503"/>
                  <a:pt x="6780719" y="6222503"/>
                </a:cubicBezTo>
                <a:cubicBezTo>
                  <a:pt x="6805172" y="6257772"/>
                  <a:pt x="6805172" y="6257772"/>
                  <a:pt x="6805172" y="6257772"/>
                </a:cubicBezTo>
                <a:cubicBezTo>
                  <a:pt x="6808665" y="6254245"/>
                  <a:pt x="6808665" y="6254245"/>
                  <a:pt x="6812159" y="6250718"/>
                </a:cubicBezTo>
                <a:cubicBezTo>
                  <a:pt x="6798186" y="6229557"/>
                  <a:pt x="6798186" y="6229557"/>
                  <a:pt x="6798186" y="6229557"/>
                </a:cubicBezTo>
                <a:cubicBezTo>
                  <a:pt x="6826132" y="6240137"/>
                  <a:pt x="6826132" y="6240137"/>
                  <a:pt x="6826132" y="6240137"/>
                </a:cubicBezTo>
                <a:cubicBezTo>
                  <a:pt x="6829625" y="6236611"/>
                  <a:pt x="6829625" y="6236611"/>
                  <a:pt x="6833118" y="6233084"/>
                </a:cubicBezTo>
                <a:cubicBezTo>
                  <a:pt x="6805172" y="6201343"/>
                  <a:pt x="6805172" y="6201343"/>
                  <a:pt x="6805172" y="6201343"/>
                </a:cubicBezTo>
                <a:close/>
                <a:moveTo>
                  <a:pt x="6496819" y="6201343"/>
                </a:moveTo>
                <a:cubicBezTo>
                  <a:pt x="6496819" y="6201343"/>
                  <a:pt x="6496819" y="6201343"/>
                  <a:pt x="6489791" y="6204856"/>
                </a:cubicBezTo>
                <a:cubicBezTo>
                  <a:pt x="6493305" y="6208370"/>
                  <a:pt x="6496819" y="6211884"/>
                  <a:pt x="6500333" y="6215398"/>
                </a:cubicBezTo>
                <a:cubicBezTo>
                  <a:pt x="6500333" y="6215398"/>
                  <a:pt x="6500333" y="6215398"/>
                  <a:pt x="6475735" y="6239995"/>
                </a:cubicBezTo>
                <a:cubicBezTo>
                  <a:pt x="6475735" y="6239995"/>
                  <a:pt x="6475735" y="6239995"/>
                  <a:pt x="6482763" y="6247023"/>
                </a:cubicBezTo>
                <a:cubicBezTo>
                  <a:pt x="6482763" y="6247023"/>
                  <a:pt x="6482763" y="6247023"/>
                  <a:pt x="6507360" y="6222426"/>
                </a:cubicBezTo>
                <a:cubicBezTo>
                  <a:pt x="6510874" y="6222426"/>
                  <a:pt x="6514388" y="6225939"/>
                  <a:pt x="6517902" y="6229453"/>
                </a:cubicBezTo>
                <a:cubicBezTo>
                  <a:pt x="6517902" y="6229453"/>
                  <a:pt x="6517902" y="6229453"/>
                  <a:pt x="6521416" y="6222426"/>
                </a:cubicBezTo>
                <a:cubicBezTo>
                  <a:pt x="6510874" y="6215398"/>
                  <a:pt x="6503847" y="6208370"/>
                  <a:pt x="6496819" y="6201343"/>
                </a:cubicBezTo>
                <a:close/>
                <a:moveTo>
                  <a:pt x="6826400" y="6190594"/>
                </a:moveTo>
                <a:lnTo>
                  <a:pt x="6843866" y="6197312"/>
                </a:lnTo>
                <a:lnTo>
                  <a:pt x="6843866" y="6201343"/>
                </a:lnTo>
                <a:lnTo>
                  <a:pt x="6837148" y="6208061"/>
                </a:lnTo>
                <a:lnTo>
                  <a:pt x="6833118" y="6201343"/>
                </a:lnTo>
                <a:close/>
                <a:moveTo>
                  <a:pt x="6822753" y="6183876"/>
                </a:moveTo>
                <a:lnTo>
                  <a:pt x="6815652" y="6190818"/>
                </a:lnTo>
                <a:cubicBezTo>
                  <a:pt x="6815652" y="6190818"/>
                  <a:pt x="6815652" y="6190818"/>
                  <a:pt x="6822753" y="6201230"/>
                </a:cubicBezTo>
                <a:cubicBezTo>
                  <a:pt x="6822753" y="6201230"/>
                  <a:pt x="6822753" y="6201230"/>
                  <a:pt x="6840507" y="6225526"/>
                </a:cubicBezTo>
                <a:cubicBezTo>
                  <a:pt x="6840507" y="6225526"/>
                  <a:pt x="6844059" y="6222056"/>
                  <a:pt x="6844059" y="6222056"/>
                </a:cubicBezTo>
                <a:cubicBezTo>
                  <a:pt x="6844059" y="6222056"/>
                  <a:pt x="6844059" y="6222056"/>
                  <a:pt x="6840507" y="6215114"/>
                </a:cubicBezTo>
                <a:cubicBezTo>
                  <a:pt x="6840507" y="6215114"/>
                  <a:pt x="6840507" y="6215114"/>
                  <a:pt x="6851160" y="6201230"/>
                </a:cubicBezTo>
                <a:cubicBezTo>
                  <a:pt x="6851160" y="6201230"/>
                  <a:pt x="6851160" y="6201230"/>
                  <a:pt x="6858262" y="6201230"/>
                </a:cubicBezTo>
                <a:cubicBezTo>
                  <a:pt x="6861813" y="6201230"/>
                  <a:pt x="6861813" y="6201230"/>
                  <a:pt x="6861813" y="6201230"/>
                </a:cubicBezTo>
                <a:cubicBezTo>
                  <a:pt x="6861813" y="6197759"/>
                  <a:pt x="6865363" y="6197759"/>
                  <a:pt x="6865363" y="6194288"/>
                </a:cubicBezTo>
                <a:cubicBezTo>
                  <a:pt x="6865363" y="6194288"/>
                  <a:pt x="6865363" y="6194288"/>
                  <a:pt x="6822753" y="6183876"/>
                </a:cubicBezTo>
                <a:close/>
                <a:moveTo>
                  <a:pt x="6468010" y="6169097"/>
                </a:moveTo>
                <a:cubicBezTo>
                  <a:pt x="6432742" y="6194177"/>
                  <a:pt x="6432742" y="6194177"/>
                  <a:pt x="6432742" y="6194177"/>
                </a:cubicBezTo>
                <a:cubicBezTo>
                  <a:pt x="6436268" y="6197760"/>
                  <a:pt x="6436268" y="6197760"/>
                  <a:pt x="6439796" y="6201343"/>
                </a:cubicBezTo>
                <a:cubicBezTo>
                  <a:pt x="6460956" y="6187012"/>
                  <a:pt x="6460956" y="6187012"/>
                  <a:pt x="6460956" y="6187012"/>
                </a:cubicBezTo>
                <a:cubicBezTo>
                  <a:pt x="6450376" y="6215673"/>
                  <a:pt x="6450376" y="6215673"/>
                  <a:pt x="6450376" y="6215673"/>
                </a:cubicBezTo>
                <a:cubicBezTo>
                  <a:pt x="6453902" y="6219257"/>
                  <a:pt x="6453902" y="6219257"/>
                  <a:pt x="6457429" y="6222839"/>
                </a:cubicBezTo>
                <a:cubicBezTo>
                  <a:pt x="6489170" y="6194177"/>
                  <a:pt x="6489170" y="6194177"/>
                  <a:pt x="6489170" y="6194177"/>
                </a:cubicBezTo>
                <a:cubicBezTo>
                  <a:pt x="6489170" y="6190594"/>
                  <a:pt x="6485644" y="6190594"/>
                  <a:pt x="6485644" y="6187012"/>
                </a:cubicBezTo>
                <a:cubicBezTo>
                  <a:pt x="6464483" y="6204925"/>
                  <a:pt x="6464483" y="6204925"/>
                  <a:pt x="6464483" y="6204925"/>
                </a:cubicBezTo>
                <a:cubicBezTo>
                  <a:pt x="6475063" y="6176263"/>
                  <a:pt x="6475063" y="6176263"/>
                  <a:pt x="6475063" y="6176263"/>
                </a:cubicBezTo>
                <a:cubicBezTo>
                  <a:pt x="6471536" y="6172680"/>
                  <a:pt x="6471536" y="6172680"/>
                  <a:pt x="6468010" y="6169097"/>
                </a:cubicBezTo>
                <a:close/>
                <a:moveTo>
                  <a:pt x="6837149" y="6158349"/>
                </a:moveTo>
                <a:lnTo>
                  <a:pt x="6833118" y="6166410"/>
                </a:lnTo>
                <a:lnTo>
                  <a:pt x="6872081" y="6186564"/>
                </a:lnTo>
                <a:lnTo>
                  <a:pt x="6885517" y="6162380"/>
                </a:lnTo>
                <a:lnTo>
                  <a:pt x="6878799" y="6158349"/>
                </a:lnTo>
                <a:lnTo>
                  <a:pt x="6868050" y="6177159"/>
                </a:lnTo>
                <a:close/>
                <a:moveTo>
                  <a:pt x="6461445" y="6155662"/>
                </a:moveTo>
                <a:cubicBezTo>
                  <a:pt x="6426023" y="6176824"/>
                  <a:pt x="6426023" y="6176824"/>
                  <a:pt x="6426023" y="6176824"/>
                </a:cubicBezTo>
                <a:cubicBezTo>
                  <a:pt x="6426023" y="6176824"/>
                  <a:pt x="6426023" y="6180350"/>
                  <a:pt x="6429565" y="6183877"/>
                </a:cubicBezTo>
                <a:cubicBezTo>
                  <a:pt x="6464987" y="6162716"/>
                  <a:pt x="6464987" y="6162716"/>
                  <a:pt x="6464987" y="6162716"/>
                </a:cubicBezTo>
                <a:cubicBezTo>
                  <a:pt x="6464987" y="6159189"/>
                  <a:pt x="6461445" y="6159189"/>
                  <a:pt x="6461445" y="6155662"/>
                </a:cubicBezTo>
                <a:close/>
                <a:moveTo>
                  <a:pt x="6452739" y="6122052"/>
                </a:moveTo>
                <a:cubicBezTo>
                  <a:pt x="6454494" y="6122493"/>
                  <a:pt x="6456248" y="6124256"/>
                  <a:pt x="6458004" y="6127783"/>
                </a:cubicBezTo>
                <a:cubicBezTo>
                  <a:pt x="6489596" y="6205374"/>
                  <a:pt x="6563311" y="6258276"/>
                  <a:pt x="6651068" y="6258276"/>
                </a:cubicBezTo>
                <a:cubicBezTo>
                  <a:pt x="6738824" y="6258276"/>
                  <a:pt x="6812539" y="6205374"/>
                  <a:pt x="6844131" y="6127783"/>
                </a:cubicBezTo>
                <a:cubicBezTo>
                  <a:pt x="6845887" y="6124256"/>
                  <a:pt x="6847642" y="6122493"/>
                  <a:pt x="6849397" y="6122052"/>
                </a:cubicBezTo>
                <a:cubicBezTo>
                  <a:pt x="6851152" y="6121612"/>
                  <a:pt x="6852907" y="6122493"/>
                  <a:pt x="6854662" y="6124256"/>
                </a:cubicBezTo>
                <a:cubicBezTo>
                  <a:pt x="6854662" y="6124256"/>
                  <a:pt x="6854662" y="6124256"/>
                  <a:pt x="6893275" y="6134837"/>
                </a:cubicBezTo>
                <a:cubicBezTo>
                  <a:pt x="6896786" y="6138364"/>
                  <a:pt x="6900295" y="6141890"/>
                  <a:pt x="6900295" y="6145417"/>
                </a:cubicBezTo>
                <a:cubicBezTo>
                  <a:pt x="6861682" y="6247695"/>
                  <a:pt x="6763396" y="6318232"/>
                  <a:pt x="6651068" y="6318232"/>
                </a:cubicBezTo>
                <a:cubicBezTo>
                  <a:pt x="6538740" y="6318232"/>
                  <a:pt x="6440452" y="6247695"/>
                  <a:pt x="6401840" y="6148945"/>
                </a:cubicBezTo>
                <a:cubicBezTo>
                  <a:pt x="6401840" y="6141890"/>
                  <a:pt x="6401840" y="6138364"/>
                  <a:pt x="6408860" y="6134837"/>
                </a:cubicBezTo>
                <a:cubicBezTo>
                  <a:pt x="6408860" y="6134837"/>
                  <a:pt x="6408860" y="6134837"/>
                  <a:pt x="6447473" y="6124256"/>
                </a:cubicBezTo>
                <a:cubicBezTo>
                  <a:pt x="6449228" y="6122493"/>
                  <a:pt x="6450983" y="6121612"/>
                  <a:pt x="6452739" y="6122052"/>
                </a:cubicBezTo>
                <a:close/>
                <a:moveTo>
                  <a:pt x="6605253" y="6116214"/>
                </a:moveTo>
                <a:cubicBezTo>
                  <a:pt x="6608746" y="6112668"/>
                  <a:pt x="6612239" y="6112668"/>
                  <a:pt x="6615733" y="6116214"/>
                </a:cubicBezTo>
                <a:cubicBezTo>
                  <a:pt x="6615733" y="6116214"/>
                  <a:pt x="6619226" y="6119760"/>
                  <a:pt x="6619226" y="6123305"/>
                </a:cubicBezTo>
                <a:cubicBezTo>
                  <a:pt x="6619226" y="6123305"/>
                  <a:pt x="6626212" y="6226124"/>
                  <a:pt x="6626212" y="6226124"/>
                </a:cubicBezTo>
                <a:cubicBezTo>
                  <a:pt x="6626212" y="6233215"/>
                  <a:pt x="6626212" y="6236761"/>
                  <a:pt x="6622719" y="6236761"/>
                </a:cubicBezTo>
                <a:cubicBezTo>
                  <a:pt x="6622719" y="6240306"/>
                  <a:pt x="6619226" y="6240306"/>
                  <a:pt x="6615733" y="6236761"/>
                </a:cubicBezTo>
                <a:cubicBezTo>
                  <a:pt x="6570321" y="6226124"/>
                  <a:pt x="6538881" y="6208397"/>
                  <a:pt x="6507443" y="6172941"/>
                </a:cubicBezTo>
                <a:cubicBezTo>
                  <a:pt x="6503949" y="6172941"/>
                  <a:pt x="6503949" y="6169396"/>
                  <a:pt x="6503949" y="6169396"/>
                </a:cubicBezTo>
                <a:cubicBezTo>
                  <a:pt x="6503949" y="6165851"/>
                  <a:pt x="6503949" y="6165851"/>
                  <a:pt x="6503949" y="6165851"/>
                </a:cubicBezTo>
                <a:cubicBezTo>
                  <a:pt x="6503949" y="6162306"/>
                  <a:pt x="6507443" y="6162306"/>
                  <a:pt x="6510935" y="6162306"/>
                </a:cubicBezTo>
                <a:cubicBezTo>
                  <a:pt x="6510935" y="6162306"/>
                  <a:pt x="6510935" y="6162306"/>
                  <a:pt x="6605253" y="6116214"/>
                </a:cubicBezTo>
                <a:close/>
                <a:moveTo>
                  <a:pt x="6689896" y="6112668"/>
                </a:moveTo>
                <a:cubicBezTo>
                  <a:pt x="6693389" y="6112668"/>
                  <a:pt x="6696882" y="6112668"/>
                  <a:pt x="6700376" y="6112668"/>
                </a:cubicBezTo>
                <a:cubicBezTo>
                  <a:pt x="6700376" y="6112668"/>
                  <a:pt x="6700376" y="6112668"/>
                  <a:pt x="6791199" y="6158579"/>
                </a:cubicBezTo>
                <a:cubicBezTo>
                  <a:pt x="6794693" y="6162111"/>
                  <a:pt x="6798186" y="6162111"/>
                  <a:pt x="6798186" y="6165643"/>
                </a:cubicBezTo>
                <a:cubicBezTo>
                  <a:pt x="6798186" y="6169174"/>
                  <a:pt x="6798186" y="6169174"/>
                  <a:pt x="6794693" y="6172706"/>
                </a:cubicBezTo>
                <a:cubicBezTo>
                  <a:pt x="6763254" y="6208022"/>
                  <a:pt x="6731814" y="6225680"/>
                  <a:pt x="6686403" y="6236275"/>
                </a:cubicBezTo>
                <a:cubicBezTo>
                  <a:pt x="6682909" y="6236275"/>
                  <a:pt x="6679416" y="6236275"/>
                  <a:pt x="6679416" y="6236275"/>
                </a:cubicBezTo>
                <a:cubicBezTo>
                  <a:pt x="6675923" y="6232743"/>
                  <a:pt x="6675923" y="6229211"/>
                  <a:pt x="6675923" y="6225680"/>
                </a:cubicBezTo>
                <a:cubicBezTo>
                  <a:pt x="6675923" y="6225680"/>
                  <a:pt x="6675923" y="6225680"/>
                  <a:pt x="6686403" y="6123264"/>
                </a:cubicBezTo>
                <a:cubicBezTo>
                  <a:pt x="6686403" y="6119732"/>
                  <a:pt x="6686403" y="6116200"/>
                  <a:pt x="6689896" y="6112668"/>
                </a:cubicBezTo>
                <a:close/>
                <a:moveTo>
                  <a:pt x="5812094" y="6073704"/>
                </a:moveTo>
                <a:lnTo>
                  <a:pt x="5853673" y="6073704"/>
                </a:lnTo>
                <a:cubicBezTo>
                  <a:pt x="5853673" y="6073704"/>
                  <a:pt x="5853673" y="6073704"/>
                  <a:pt x="5853673" y="6116314"/>
                </a:cubicBezTo>
                <a:cubicBezTo>
                  <a:pt x="5853673" y="6116314"/>
                  <a:pt x="5825954" y="6123416"/>
                  <a:pt x="5805164" y="6123416"/>
                </a:cubicBezTo>
                <a:cubicBezTo>
                  <a:pt x="5787839" y="6123416"/>
                  <a:pt x="5787839" y="6109213"/>
                  <a:pt x="5787839" y="6098560"/>
                </a:cubicBezTo>
                <a:cubicBezTo>
                  <a:pt x="5787839" y="6084357"/>
                  <a:pt x="5794769" y="6077255"/>
                  <a:pt x="5812094" y="6073704"/>
                </a:cubicBezTo>
                <a:close/>
                <a:moveTo>
                  <a:pt x="5496290" y="6003839"/>
                </a:moveTo>
                <a:cubicBezTo>
                  <a:pt x="5527527" y="6003839"/>
                  <a:pt x="5537940" y="6017907"/>
                  <a:pt x="5537940" y="6060111"/>
                </a:cubicBezTo>
                <a:cubicBezTo>
                  <a:pt x="5537940" y="6098796"/>
                  <a:pt x="5530998" y="6123415"/>
                  <a:pt x="5496290" y="6123415"/>
                </a:cubicBezTo>
                <a:cubicBezTo>
                  <a:pt x="5461581" y="6123415"/>
                  <a:pt x="5454640" y="6102314"/>
                  <a:pt x="5454640" y="6060111"/>
                </a:cubicBezTo>
                <a:cubicBezTo>
                  <a:pt x="5454640" y="6017907"/>
                  <a:pt x="5465052" y="6003839"/>
                  <a:pt x="5496290" y="6003839"/>
                </a:cubicBezTo>
                <a:close/>
                <a:moveTo>
                  <a:pt x="6640816" y="5999810"/>
                </a:moveTo>
                <a:cubicBezTo>
                  <a:pt x="6640816" y="5999810"/>
                  <a:pt x="6640816" y="5999810"/>
                  <a:pt x="6661845" y="5999810"/>
                </a:cubicBezTo>
                <a:cubicBezTo>
                  <a:pt x="6661845" y="5999810"/>
                  <a:pt x="6661845" y="6006903"/>
                  <a:pt x="6661845" y="6010450"/>
                </a:cubicBezTo>
                <a:cubicBezTo>
                  <a:pt x="6679370" y="6013997"/>
                  <a:pt x="6693389" y="6031732"/>
                  <a:pt x="6693389" y="6049467"/>
                </a:cubicBezTo>
                <a:cubicBezTo>
                  <a:pt x="6693389" y="6070749"/>
                  <a:pt x="6672360" y="6088484"/>
                  <a:pt x="6651330" y="6088484"/>
                </a:cubicBezTo>
                <a:cubicBezTo>
                  <a:pt x="6630302" y="6088484"/>
                  <a:pt x="6612777" y="6070749"/>
                  <a:pt x="6612777" y="6049467"/>
                </a:cubicBezTo>
                <a:cubicBezTo>
                  <a:pt x="6612777" y="6031732"/>
                  <a:pt x="6623291" y="6013997"/>
                  <a:pt x="6640816" y="6010450"/>
                </a:cubicBezTo>
                <a:cubicBezTo>
                  <a:pt x="6640816" y="6010450"/>
                  <a:pt x="6640816" y="5999810"/>
                  <a:pt x="6640816" y="5999810"/>
                </a:cubicBezTo>
                <a:close/>
                <a:moveTo>
                  <a:pt x="6651068" y="5989061"/>
                </a:moveTo>
                <a:cubicBezTo>
                  <a:pt x="6618048" y="5989061"/>
                  <a:pt x="6591280" y="6016130"/>
                  <a:pt x="6591280" y="6049521"/>
                </a:cubicBezTo>
                <a:cubicBezTo>
                  <a:pt x="6591280" y="6082912"/>
                  <a:pt x="6618048" y="6109981"/>
                  <a:pt x="6651068" y="6109981"/>
                </a:cubicBezTo>
                <a:cubicBezTo>
                  <a:pt x="6684088" y="6109981"/>
                  <a:pt x="6710856" y="6082912"/>
                  <a:pt x="6710856" y="6049521"/>
                </a:cubicBezTo>
                <a:cubicBezTo>
                  <a:pt x="6710856" y="6016130"/>
                  <a:pt x="6684088" y="5989061"/>
                  <a:pt x="6651068" y="5989061"/>
                </a:cubicBezTo>
                <a:close/>
                <a:moveTo>
                  <a:pt x="6651068" y="5982344"/>
                </a:moveTo>
                <a:cubicBezTo>
                  <a:pt x="6687799" y="5982344"/>
                  <a:pt x="6717574" y="6012420"/>
                  <a:pt x="6717574" y="6049521"/>
                </a:cubicBezTo>
                <a:cubicBezTo>
                  <a:pt x="6717574" y="6086623"/>
                  <a:pt x="6687799" y="6116699"/>
                  <a:pt x="6651068" y="6116699"/>
                </a:cubicBezTo>
                <a:cubicBezTo>
                  <a:pt x="6614337" y="6116699"/>
                  <a:pt x="6584562" y="6086623"/>
                  <a:pt x="6584562" y="6049521"/>
                </a:cubicBezTo>
                <a:cubicBezTo>
                  <a:pt x="6584562" y="6012420"/>
                  <a:pt x="6614337" y="5982344"/>
                  <a:pt x="6651068" y="5982344"/>
                </a:cubicBezTo>
                <a:close/>
                <a:moveTo>
                  <a:pt x="6826360" y="5979657"/>
                </a:moveTo>
                <a:cubicBezTo>
                  <a:pt x="6829861" y="5979657"/>
                  <a:pt x="6829861" y="5983183"/>
                  <a:pt x="6829861" y="5986710"/>
                </a:cubicBezTo>
                <a:cubicBezTo>
                  <a:pt x="6843866" y="6029032"/>
                  <a:pt x="6843866" y="6067827"/>
                  <a:pt x="6829861" y="6110149"/>
                </a:cubicBezTo>
                <a:cubicBezTo>
                  <a:pt x="6829861" y="6117203"/>
                  <a:pt x="6829861" y="6117203"/>
                  <a:pt x="6826360" y="6117203"/>
                </a:cubicBezTo>
                <a:cubicBezTo>
                  <a:pt x="6822858" y="6120730"/>
                  <a:pt x="6819357" y="6117203"/>
                  <a:pt x="6819357" y="6117203"/>
                </a:cubicBezTo>
                <a:lnTo>
                  <a:pt x="6731823" y="6057247"/>
                </a:lnTo>
                <a:cubicBezTo>
                  <a:pt x="6728322" y="6053720"/>
                  <a:pt x="6728322" y="6050193"/>
                  <a:pt x="6728322" y="6050193"/>
                </a:cubicBezTo>
                <a:cubicBezTo>
                  <a:pt x="6728322" y="6046667"/>
                  <a:pt x="6728322" y="6043140"/>
                  <a:pt x="6731823" y="6039612"/>
                </a:cubicBezTo>
                <a:cubicBezTo>
                  <a:pt x="6731823" y="6039612"/>
                  <a:pt x="6731823" y="6039612"/>
                  <a:pt x="6815856" y="5983183"/>
                </a:cubicBezTo>
                <a:cubicBezTo>
                  <a:pt x="6822858" y="5979657"/>
                  <a:pt x="6826360" y="5979657"/>
                  <a:pt x="6826360" y="5979657"/>
                </a:cubicBezTo>
                <a:close/>
                <a:moveTo>
                  <a:pt x="6475776" y="5979657"/>
                </a:moveTo>
                <a:cubicBezTo>
                  <a:pt x="6479277" y="5979657"/>
                  <a:pt x="6482778" y="5979657"/>
                  <a:pt x="6482778" y="5983183"/>
                </a:cubicBezTo>
                <a:lnTo>
                  <a:pt x="6570312" y="6039612"/>
                </a:lnTo>
                <a:cubicBezTo>
                  <a:pt x="6573813" y="6043140"/>
                  <a:pt x="6573813" y="6046667"/>
                  <a:pt x="6573813" y="6050193"/>
                </a:cubicBezTo>
                <a:cubicBezTo>
                  <a:pt x="6573813" y="6053720"/>
                  <a:pt x="6573813" y="6057247"/>
                  <a:pt x="6570312" y="6057247"/>
                </a:cubicBezTo>
                <a:cubicBezTo>
                  <a:pt x="6570312" y="6057247"/>
                  <a:pt x="6570312" y="6057247"/>
                  <a:pt x="6482778" y="6117203"/>
                </a:cubicBezTo>
                <a:cubicBezTo>
                  <a:pt x="6479277" y="6117203"/>
                  <a:pt x="6475776" y="6120730"/>
                  <a:pt x="6475776" y="6117203"/>
                </a:cubicBezTo>
                <a:cubicBezTo>
                  <a:pt x="6472274" y="6117203"/>
                  <a:pt x="6472274" y="6113676"/>
                  <a:pt x="6468772" y="6113676"/>
                </a:cubicBezTo>
                <a:cubicBezTo>
                  <a:pt x="6458269" y="6067827"/>
                  <a:pt x="6458269" y="6029032"/>
                  <a:pt x="6468772" y="5986710"/>
                </a:cubicBezTo>
                <a:cubicBezTo>
                  <a:pt x="6472274" y="5983183"/>
                  <a:pt x="6472274" y="5979657"/>
                  <a:pt x="6475776" y="5979657"/>
                </a:cubicBezTo>
                <a:close/>
                <a:moveTo>
                  <a:pt x="6072127" y="5968908"/>
                </a:moveTo>
                <a:cubicBezTo>
                  <a:pt x="6072127" y="5972434"/>
                  <a:pt x="6068640" y="5972434"/>
                  <a:pt x="6072127" y="5975961"/>
                </a:cubicBezTo>
                <a:cubicBezTo>
                  <a:pt x="6113977" y="6138195"/>
                  <a:pt x="6113977" y="6138195"/>
                  <a:pt x="6113977" y="6138195"/>
                </a:cubicBezTo>
                <a:cubicBezTo>
                  <a:pt x="6113977" y="6145249"/>
                  <a:pt x="6120952" y="6159356"/>
                  <a:pt x="6134902" y="6159356"/>
                </a:cubicBezTo>
                <a:cubicBezTo>
                  <a:pt x="6145365" y="6159356"/>
                  <a:pt x="6145365" y="6159356"/>
                  <a:pt x="6145365" y="6159356"/>
                </a:cubicBezTo>
                <a:cubicBezTo>
                  <a:pt x="6141877" y="6162883"/>
                  <a:pt x="6141877" y="6162883"/>
                  <a:pt x="6141877" y="6166409"/>
                </a:cubicBezTo>
                <a:cubicBezTo>
                  <a:pt x="6138390" y="6176989"/>
                  <a:pt x="6134902" y="6187570"/>
                  <a:pt x="6113977" y="6187570"/>
                </a:cubicBezTo>
                <a:cubicBezTo>
                  <a:pt x="6079102" y="6184044"/>
                  <a:pt x="6079102" y="6184044"/>
                  <a:pt x="6079102" y="6184044"/>
                </a:cubicBezTo>
                <a:cubicBezTo>
                  <a:pt x="6079102" y="6184044"/>
                  <a:pt x="6075615" y="6184044"/>
                  <a:pt x="6075615" y="6187570"/>
                </a:cubicBezTo>
                <a:cubicBezTo>
                  <a:pt x="6072127" y="6187570"/>
                  <a:pt x="6072127" y="6191097"/>
                  <a:pt x="6072127" y="6191097"/>
                </a:cubicBezTo>
                <a:cubicBezTo>
                  <a:pt x="6072127" y="6212258"/>
                  <a:pt x="6072127" y="6212258"/>
                  <a:pt x="6072127" y="6212258"/>
                </a:cubicBezTo>
                <a:cubicBezTo>
                  <a:pt x="6072127" y="6215785"/>
                  <a:pt x="6075615" y="6215785"/>
                  <a:pt x="6079102" y="6219312"/>
                </a:cubicBezTo>
                <a:cubicBezTo>
                  <a:pt x="6089566" y="6219312"/>
                  <a:pt x="6110490" y="6222838"/>
                  <a:pt x="6124440" y="6222838"/>
                </a:cubicBezTo>
                <a:cubicBezTo>
                  <a:pt x="6127927" y="6222838"/>
                  <a:pt x="6127927" y="6222838"/>
                  <a:pt x="6127927" y="6222838"/>
                </a:cubicBezTo>
                <a:cubicBezTo>
                  <a:pt x="6155827" y="6222838"/>
                  <a:pt x="6173264" y="6205204"/>
                  <a:pt x="6183727" y="6169936"/>
                </a:cubicBezTo>
                <a:cubicBezTo>
                  <a:pt x="6194190" y="6131141"/>
                  <a:pt x="6208140" y="6078239"/>
                  <a:pt x="6215114" y="6039444"/>
                </a:cubicBezTo>
                <a:cubicBezTo>
                  <a:pt x="6222090" y="6021810"/>
                  <a:pt x="6225577" y="6007702"/>
                  <a:pt x="6229064" y="5997122"/>
                </a:cubicBezTo>
                <a:cubicBezTo>
                  <a:pt x="6232552" y="5975961"/>
                  <a:pt x="6232552" y="5975961"/>
                  <a:pt x="6232552" y="5975961"/>
                </a:cubicBezTo>
                <a:cubicBezTo>
                  <a:pt x="6232552" y="5972434"/>
                  <a:pt x="6232552" y="5972434"/>
                  <a:pt x="6232552" y="5968908"/>
                </a:cubicBezTo>
                <a:cubicBezTo>
                  <a:pt x="6229064" y="5968908"/>
                  <a:pt x="6229064" y="5968908"/>
                  <a:pt x="6225577" y="5968908"/>
                </a:cubicBezTo>
                <a:cubicBezTo>
                  <a:pt x="6197677" y="5968908"/>
                  <a:pt x="6197677" y="5968908"/>
                  <a:pt x="6197677" y="5968908"/>
                </a:cubicBezTo>
                <a:cubicBezTo>
                  <a:pt x="6194190" y="5968908"/>
                  <a:pt x="6190702" y="5968908"/>
                  <a:pt x="6190702" y="5972434"/>
                </a:cubicBezTo>
                <a:cubicBezTo>
                  <a:pt x="6152340" y="6117034"/>
                  <a:pt x="6152340" y="6117034"/>
                  <a:pt x="6152340" y="6117034"/>
                </a:cubicBezTo>
                <a:cubicBezTo>
                  <a:pt x="6148852" y="6117034"/>
                  <a:pt x="6148852" y="6117034"/>
                  <a:pt x="6148852" y="6117034"/>
                </a:cubicBezTo>
                <a:cubicBezTo>
                  <a:pt x="6113977" y="5972434"/>
                  <a:pt x="6113977" y="5972434"/>
                  <a:pt x="6113977" y="5972434"/>
                </a:cubicBezTo>
                <a:cubicBezTo>
                  <a:pt x="6110490" y="5968908"/>
                  <a:pt x="6110490" y="5968908"/>
                  <a:pt x="6107002" y="5968908"/>
                </a:cubicBezTo>
                <a:cubicBezTo>
                  <a:pt x="6079102" y="5968908"/>
                  <a:pt x="6079102" y="5968908"/>
                  <a:pt x="6079102" y="5968908"/>
                </a:cubicBezTo>
                <a:cubicBezTo>
                  <a:pt x="6075615" y="5968908"/>
                  <a:pt x="6072127" y="5968908"/>
                  <a:pt x="6072127" y="5968908"/>
                </a:cubicBezTo>
                <a:close/>
                <a:moveTo>
                  <a:pt x="6040101" y="5964877"/>
                </a:moveTo>
                <a:cubicBezTo>
                  <a:pt x="6018975" y="5964877"/>
                  <a:pt x="6001370" y="5978948"/>
                  <a:pt x="5987285" y="5985983"/>
                </a:cubicBezTo>
                <a:cubicBezTo>
                  <a:pt x="5987285" y="5975430"/>
                  <a:pt x="5987285" y="5975430"/>
                  <a:pt x="5987285" y="5975430"/>
                </a:cubicBezTo>
                <a:cubicBezTo>
                  <a:pt x="5987285" y="5968395"/>
                  <a:pt x="5983765" y="5968395"/>
                  <a:pt x="5980244" y="5968395"/>
                </a:cubicBezTo>
                <a:cubicBezTo>
                  <a:pt x="5952076" y="5968395"/>
                  <a:pt x="5952076" y="5968395"/>
                  <a:pt x="5952076" y="5968395"/>
                </a:cubicBezTo>
                <a:cubicBezTo>
                  <a:pt x="5948554" y="5968395"/>
                  <a:pt x="5945033" y="5968395"/>
                  <a:pt x="5945033" y="5975430"/>
                </a:cubicBezTo>
                <a:cubicBezTo>
                  <a:pt x="5945033" y="6151313"/>
                  <a:pt x="5945033" y="6151313"/>
                  <a:pt x="5945033" y="6151313"/>
                </a:cubicBezTo>
                <a:cubicBezTo>
                  <a:pt x="5945033" y="6154831"/>
                  <a:pt x="5948554" y="6158348"/>
                  <a:pt x="5952076" y="6158348"/>
                </a:cubicBezTo>
                <a:cubicBezTo>
                  <a:pt x="5980244" y="6158348"/>
                  <a:pt x="5980244" y="6158348"/>
                  <a:pt x="5980244" y="6158348"/>
                </a:cubicBezTo>
                <a:cubicBezTo>
                  <a:pt x="5983765" y="6158348"/>
                  <a:pt x="5987285" y="6154831"/>
                  <a:pt x="5987285" y="6151313"/>
                </a:cubicBezTo>
                <a:cubicBezTo>
                  <a:pt x="5987285" y="6028195"/>
                  <a:pt x="5987285" y="6028195"/>
                  <a:pt x="5987285" y="6028195"/>
                </a:cubicBezTo>
                <a:cubicBezTo>
                  <a:pt x="5994328" y="6024677"/>
                  <a:pt x="6015454" y="6007089"/>
                  <a:pt x="6040101" y="6007089"/>
                </a:cubicBezTo>
                <a:cubicBezTo>
                  <a:pt x="6043622" y="6003571"/>
                  <a:pt x="6047143" y="6003571"/>
                  <a:pt x="6047143" y="6000054"/>
                </a:cubicBezTo>
                <a:cubicBezTo>
                  <a:pt x="6047143" y="5971913"/>
                  <a:pt x="6047143" y="5971913"/>
                  <a:pt x="6047143" y="5971913"/>
                </a:cubicBezTo>
                <a:cubicBezTo>
                  <a:pt x="6047143" y="5971913"/>
                  <a:pt x="6047143" y="5968395"/>
                  <a:pt x="6043622" y="5968395"/>
                </a:cubicBezTo>
                <a:cubicBezTo>
                  <a:pt x="6043622" y="5964877"/>
                  <a:pt x="6040101" y="5964877"/>
                  <a:pt x="6040101" y="5964877"/>
                </a:cubicBezTo>
                <a:close/>
                <a:moveTo>
                  <a:pt x="5833459" y="5960846"/>
                </a:moveTo>
                <a:cubicBezTo>
                  <a:pt x="5812389" y="5960846"/>
                  <a:pt x="5777274" y="5967917"/>
                  <a:pt x="5763228" y="5967917"/>
                </a:cubicBezTo>
                <a:cubicBezTo>
                  <a:pt x="5759716" y="5967917"/>
                  <a:pt x="5756205" y="5971453"/>
                  <a:pt x="5756205" y="5974989"/>
                </a:cubicBezTo>
                <a:cubicBezTo>
                  <a:pt x="5756205" y="5974989"/>
                  <a:pt x="5756205" y="5974989"/>
                  <a:pt x="5756205" y="5999738"/>
                </a:cubicBezTo>
                <a:cubicBezTo>
                  <a:pt x="5756205" y="6003274"/>
                  <a:pt x="5756205" y="6003274"/>
                  <a:pt x="5759716" y="6006810"/>
                </a:cubicBezTo>
                <a:cubicBezTo>
                  <a:pt x="5759716" y="6006810"/>
                  <a:pt x="5763228" y="6006810"/>
                  <a:pt x="5763228" y="6006810"/>
                </a:cubicBezTo>
                <a:cubicBezTo>
                  <a:pt x="5780786" y="6006810"/>
                  <a:pt x="5808878" y="6003274"/>
                  <a:pt x="5829947" y="6003274"/>
                </a:cubicBezTo>
                <a:cubicBezTo>
                  <a:pt x="5843994" y="6003274"/>
                  <a:pt x="5854528" y="6013881"/>
                  <a:pt x="5854528" y="6028024"/>
                </a:cubicBezTo>
                <a:cubicBezTo>
                  <a:pt x="5854528" y="6028024"/>
                  <a:pt x="5854528" y="6028024"/>
                  <a:pt x="5854528" y="6038631"/>
                </a:cubicBezTo>
                <a:cubicBezTo>
                  <a:pt x="5854528" y="6038631"/>
                  <a:pt x="5854528" y="6038631"/>
                  <a:pt x="5805366" y="6042167"/>
                </a:cubicBezTo>
                <a:cubicBezTo>
                  <a:pt x="5763228" y="6045702"/>
                  <a:pt x="5742158" y="6063380"/>
                  <a:pt x="5742158" y="6102272"/>
                </a:cubicBezTo>
                <a:cubicBezTo>
                  <a:pt x="5742158" y="6141164"/>
                  <a:pt x="5763228" y="6162378"/>
                  <a:pt x="5798344" y="6162378"/>
                </a:cubicBezTo>
                <a:cubicBezTo>
                  <a:pt x="5826436" y="6162378"/>
                  <a:pt x="5861552" y="6148235"/>
                  <a:pt x="5861552" y="6148235"/>
                </a:cubicBezTo>
                <a:cubicBezTo>
                  <a:pt x="5868574" y="6155307"/>
                  <a:pt x="5875597" y="6158842"/>
                  <a:pt x="5889644" y="6162378"/>
                </a:cubicBezTo>
                <a:cubicBezTo>
                  <a:pt x="5893155" y="6162378"/>
                  <a:pt x="5893155" y="6162378"/>
                  <a:pt x="5896667" y="6158842"/>
                </a:cubicBezTo>
                <a:cubicBezTo>
                  <a:pt x="5896667" y="6158842"/>
                  <a:pt x="5896667" y="6155307"/>
                  <a:pt x="5896667" y="6155307"/>
                </a:cubicBezTo>
                <a:cubicBezTo>
                  <a:pt x="5896667" y="6155307"/>
                  <a:pt x="5896667" y="6155307"/>
                  <a:pt x="5896667" y="6028024"/>
                </a:cubicBezTo>
                <a:cubicBezTo>
                  <a:pt x="5896667" y="5982060"/>
                  <a:pt x="5875597" y="5960846"/>
                  <a:pt x="5833459" y="5960846"/>
                </a:cubicBezTo>
                <a:close/>
                <a:moveTo>
                  <a:pt x="5497633" y="5960845"/>
                </a:moveTo>
                <a:cubicBezTo>
                  <a:pt x="5450145" y="5960845"/>
                  <a:pt x="5411646" y="6005960"/>
                  <a:pt x="5411646" y="6061612"/>
                </a:cubicBezTo>
                <a:cubicBezTo>
                  <a:pt x="5411646" y="6117264"/>
                  <a:pt x="5450145" y="6162378"/>
                  <a:pt x="5497633" y="6162378"/>
                </a:cubicBezTo>
                <a:cubicBezTo>
                  <a:pt x="5545122" y="6162378"/>
                  <a:pt x="5583620" y="6117264"/>
                  <a:pt x="5583620" y="6061612"/>
                </a:cubicBezTo>
                <a:cubicBezTo>
                  <a:pt x="5583620" y="6005960"/>
                  <a:pt x="5545122" y="5960845"/>
                  <a:pt x="5497633" y="5960845"/>
                </a:cubicBezTo>
                <a:close/>
                <a:moveTo>
                  <a:pt x="5243703" y="5936662"/>
                </a:moveTo>
                <a:cubicBezTo>
                  <a:pt x="5250670" y="5936662"/>
                  <a:pt x="5257636" y="5936662"/>
                  <a:pt x="5275052" y="5936662"/>
                </a:cubicBezTo>
                <a:cubicBezTo>
                  <a:pt x="5275052" y="5936662"/>
                  <a:pt x="5275052" y="5936662"/>
                  <a:pt x="5292468" y="5936662"/>
                </a:cubicBezTo>
                <a:cubicBezTo>
                  <a:pt x="5323818" y="5936662"/>
                  <a:pt x="5337751" y="5957915"/>
                  <a:pt x="5337751" y="5975626"/>
                </a:cubicBezTo>
                <a:cubicBezTo>
                  <a:pt x="5337751" y="6000420"/>
                  <a:pt x="5320334" y="6014588"/>
                  <a:pt x="5288986" y="6014588"/>
                </a:cubicBezTo>
                <a:cubicBezTo>
                  <a:pt x="5268085" y="6014588"/>
                  <a:pt x="5250670" y="6014588"/>
                  <a:pt x="5243703" y="6014588"/>
                </a:cubicBezTo>
                <a:cubicBezTo>
                  <a:pt x="5243703" y="6014588"/>
                  <a:pt x="5243703" y="6014588"/>
                  <a:pt x="5243703" y="5936662"/>
                </a:cubicBezTo>
                <a:close/>
                <a:moveTo>
                  <a:pt x="5660874" y="5923227"/>
                </a:moveTo>
                <a:cubicBezTo>
                  <a:pt x="5660874" y="5923227"/>
                  <a:pt x="5660874" y="5923227"/>
                  <a:pt x="5629222" y="5930261"/>
                </a:cubicBezTo>
                <a:cubicBezTo>
                  <a:pt x="5625705" y="5930261"/>
                  <a:pt x="5625705" y="5933778"/>
                  <a:pt x="5625705" y="5937295"/>
                </a:cubicBezTo>
                <a:cubicBezTo>
                  <a:pt x="5625705" y="5937295"/>
                  <a:pt x="5625705" y="5937295"/>
                  <a:pt x="5625705" y="5968947"/>
                </a:cubicBezTo>
                <a:cubicBezTo>
                  <a:pt x="5625705" y="5968947"/>
                  <a:pt x="5625705" y="5968947"/>
                  <a:pt x="5608120" y="5968947"/>
                </a:cubicBezTo>
                <a:cubicBezTo>
                  <a:pt x="5604603" y="5968947"/>
                  <a:pt x="5601086" y="5968947"/>
                  <a:pt x="5601086" y="5975981"/>
                </a:cubicBezTo>
                <a:cubicBezTo>
                  <a:pt x="5601086" y="5975981"/>
                  <a:pt x="5601086" y="5975981"/>
                  <a:pt x="5601086" y="6000599"/>
                </a:cubicBezTo>
                <a:cubicBezTo>
                  <a:pt x="5601086" y="6004117"/>
                  <a:pt x="5604603" y="6007633"/>
                  <a:pt x="5608120" y="6007633"/>
                </a:cubicBezTo>
                <a:cubicBezTo>
                  <a:pt x="5608120" y="6007633"/>
                  <a:pt x="5608120" y="6007633"/>
                  <a:pt x="5625705" y="6007633"/>
                </a:cubicBezTo>
                <a:cubicBezTo>
                  <a:pt x="5625705" y="6007633"/>
                  <a:pt x="5625705" y="6007633"/>
                  <a:pt x="5625705" y="6092040"/>
                </a:cubicBezTo>
                <a:cubicBezTo>
                  <a:pt x="5625705" y="6144793"/>
                  <a:pt x="5639772" y="6162378"/>
                  <a:pt x="5681975" y="6162378"/>
                </a:cubicBezTo>
                <a:cubicBezTo>
                  <a:pt x="5692527" y="6162378"/>
                  <a:pt x="5703077" y="6158862"/>
                  <a:pt x="5713628" y="6158862"/>
                </a:cubicBezTo>
                <a:cubicBezTo>
                  <a:pt x="5717145" y="6158862"/>
                  <a:pt x="5720662" y="6155345"/>
                  <a:pt x="5720662" y="6151827"/>
                </a:cubicBezTo>
                <a:cubicBezTo>
                  <a:pt x="5720662" y="6151827"/>
                  <a:pt x="5720662" y="6151827"/>
                  <a:pt x="5720662" y="6127209"/>
                </a:cubicBezTo>
                <a:cubicBezTo>
                  <a:pt x="5720662" y="6123692"/>
                  <a:pt x="5717145" y="6120175"/>
                  <a:pt x="5713628" y="6120175"/>
                </a:cubicBezTo>
                <a:cubicBezTo>
                  <a:pt x="5706595" y="6120175"/>
                  <a:pt x="5696043" y="6120175"/>
                  <a:pt x="5689009" y="6120175"/>
                </a:cubicBezTo>
                <a:cubicBezTo>
                  <a:pt x="5667908" y="6120175"/>
                  <a:pt x="5667908" y="6113141"/>
                  <a:pt x="5667908" y="6085006"/>
                </a:cubicBezTo>
                <a:cubicBezTo>
                  <a:pt x="5667908" y="6085006"/>
                  <a:pt x="5667908" y="6085006"/>
                  <a:pt x="5667908" y="6007633"/>
                </a:cubicBezTo>
                <a:cubicBezTo>
                  <a:pt x="5667908" y="6007633"/>
                  <a:pt x="5667908" y="6007633"/>
                  <a:pt x="5713628" y="6007633"/>
                </a:cubicBezTo>
                <a:cubicBezTo>
                  <a:pt x="5717145" y="6007633"/>
                  <a:pt x="5720662" y="6004117"/>
                  <a:pt x="5720662" y="6000599"/>
                </a:cubicBezTo>
                <a:cubicBezTo>
                  <a:pt x="5720662" y="6000599"/>
                  <a:pt x="5720662" y="6000599"/>
                  <a:pt x="5720662" y="5975981"/>
                </a:cubicBezTo>
                <a:cubicBezTo>
                  <a:pt x="5720662" y="5968947"/>
                  <a:pt x="5717145" y="5968947"/>
                  <a:pt x="5713628" y="5968947"/>
                </a:cubicBezTo>
                <a:cubicBezTo>
                  <a:pt x="5713628" y="5968947"/>
                  <a:pt x="5713628" y="5968947"/>
                  <a:pt x="5667908" y="5968947"/>
                </a:cubicBezTo>
                <a:cubicBezTo>
                  <a:pt x="5667908" y="5968947"/>
                  <a:pt x="5667908" y="5968947"/>
                  <a:pt x="5667908" y="5930261"/>
                </a:cubicBezTo>
                <a:cubicBezTo>
                  <a:pt x="5667908" y="5926744"/>
                  <a:pt x="5667908" y="5926744"/>
                  <a:pt x="5664391" y="5923227"/>
                </a:cubicBezTo>
                <a:cubicBezTo>
                  <a:pt x="5664391" y="5923227"/>
                  <a:pt x="5660874" y="5923227"/>
                  <a:pt x="5660874" y="5923227"/>
                </a:cubicBezTo>
                <a:close/>
                <a:moveTo>
                  <a:pt x="5285479" y="5895013"/>
                </a:moveTo>
                <a:cubicBezTo>
                  <a:pt x="5274985" y="5895013"/>
                  <a:pt x="5243501" y="5895013"/>
                  <a:pt x="5205019" y="5898524"/>
                </a:cubicBezTo>
                <a:cubicBezTo>
                  <a:pt x="5201521" y="5898524"/>
                  <a:pt x="5198022" y="5902035"/>
                  <a:pt x="5198022" y="5905546"/>
                </a:cubicBezTo>
                <a:cubicBezTo>
                  <a:pt x="5198022" y="5905546"/>
                  <a:pt x="5198022" y="5905546"/>
                  <a:pt x="5198022" y="6151326"/>
                </a:cubicBezTo>
                <a:cubicBezTo>
                  <a:pt x="5198022" y="6154837"/>
                  <a:pt x="5201521" y="6158348"/>
                  <a:pt x="5205019" y="6158348"/>
                </a:cubicBezTo>
                <a:cubicBezTo>
                  <a:pt x="5205019" y="6158348"/>
                  <a:pt x="5205019" y="6158348"/>
                  <a:pt x="5236504" y="6158348"/>
                </a:cubicBezTo>
                <a:cubicBezTo>
                  <a:pt x="5240002" y="6158348"/>
                  <a:pt x="5243501" y="6154837"/>
                  <a:pt x="5243501" y="6151326"/>
                </a:cubicBezTo>
                <a:cubicBezTo>
                  <a:pt x="5243501" y="6151326"/>
                  <a:pt x="5243501" y="6151326"/>
                  <a:pt x="5243501" y="6053014"/>
                </a:cubicBezTo>
                <a:cubicBezTo>
                  <a:pt x="5253995" y="6056525"/>
                  <a:pt x="5271486" y="6056525"/>
                  <a:pt x="5292476" y="6056525"/>
                </a:cubicBezTo>
                <a:cubicBezTo>
                  <a:pt x="5292476" y="6056525"/>
                  <a:pt x="5292476" y="6056525"/>
                  <a:pt x="5337954" y="6154837"/>
                </a:cubicBezTo>
                <a:cubicBezTo>
                  <a:pt x="5337954" y="6154837"/>
                  <a:pt x="5341452" y="6158348"/>
                  <a:pt x="5344951" y="6158348"/>
                </a:cubicBezTo>
                <a:cubicBezTo>
                  <a:pt x="5344951" y="6158348"/>
                  <a:pt x="5344951" y="6158348"/>
                  <a:pt x="5376435" y="6158348"/>
                </a:cubicBezTo>
                <a:cubicBezTo>
                  <a:pt x="5379934" y="6158348"/>
                  <a:pt x="5383431" y="6154837"/>
                  <a:pt x="5383431" y="6154837"/>
                </a:cubicBezTo>
                <a:cubicBezTo>
                  <a:pt x="5383431" y="6151326"/>
                  <a:pt x="5383431" y="6151326"/>
                  <a:pt x="5383431" y="6147815"/>
                </a:cubicBezTo>
                <a:lnTo>
                  <a:pt x="5337954" y="6042481"/>
                </a:lnTo>
                <a:cubicBezTo>
                  <a:pt x="5369438" y="6028436"/>
                  <a:pt x="5383431" y="6007369"/>
                  <a:pt x="5383431" y="5975769"/>
                </a:cubicBezTo>
                <a:cubicBezTo>
                  <a:pt x="5383431" y="5937146"/>
                  <a:pt x="5365940" y="5895013"/>
                  <a:pt x="5292476" y="5895013"/>
                </a:cubicBezTo>
                <a:cubicBezTo>
                  <a:pt x="5292476" y="5895013"/>
                  <a:pt x="5288978" y="5895013"/>
                  <a:pt x="5285479" y="5895013"/>
                </a:cubicBezTo>
                <a:close/>
                <a:moveTo>
                  <a:pt x="6840997" y="5864091"/>
                </a:moveTo>
                <a:cubicBezTo>
                  <a:pt x="6843176" y="5864532"/>
                  <a:pt x="6845791" y="5866295"/>
                  <a:pt x="6847534" y="5869822"/>
                </a:cubicBezTo>
                <a:cubicBezTo>
                  <a:pt x="6903309" y="5926252"/>
                  <a:pt x="6931196" y="6017949"/>
                  <a:pt x="6910281" y="6109646"/>
                </a:cubicBezTo>
                <a:cubicBezTo>
                  <a:pt x="6910281" y="6113173"/>
                  <a:pt x="6906795" y="6116699"/>
                  <a:pt x="6899823" y="6113173"/>
                </a:cubicBezTo>
                <a:cubicBezTo>
                  <a:pt x="6899823" y="6113173"/>
                  <a:pt x="6899823" y="6113173"/>
                  <a:pt x="6861478" y="6102592"/>
                </a:cubicBezTo>
                <a:cubicBezTo>
                  <a:pt x="6857992" y="6102592"/>
                  <a:pt x="6854506" y="6099065"/>
                  <a:pt x="6854506" y="6092012"/>
                </a:cubicBezTo>
                <a:cubicBezTo>
                  <a:pt x="6868450" y="6017949"/>
                  <a:pt x="6851020" y="5957992"/>
                  <a:pt x="6809188" y="5912144"/>
                </a:cubicBezTo>
                <a:cubicBezTo>
                  <a:pt x="6802216" y="5908618"/>
                  <a:pt x="6802216" y="5901563"/>
                  <a:pt x="6809188" y="5898037"/>
                </a:cubicBezTo>
                <a:cubicBezTo>
                  <a:pt x="6809188" y="5898037"/>
                  <a:pt x="6809188" y="5898037"/>
                  <a:pt x="6837075" y="5866295"/>
                </a:cubicBezTo>
                <a:cubicBezTo>
                  <a:pt x="6837075" y="5864532"/>
                  <a:pt x="6838819" y="5863650"/>
                  <a:pt x="6840997" y="5864091"/>
                </a:cubicBezTo>
                <a:close/>
                <a:moveTo>
                  <a:pt x="6460734" y="5864091"/>
                </a:moveTo>
                <a:cubicBezTo>
                  <a:pt x="6462935" y="5863650"/>
                  <a:pt x="6464696" y="5864532"/>
                  <a:pt x="6464696" y="5866295"/>
                </a:cubicBezTo>
                <a:cubicBezTo>
                  <a:pt x="6464696" y="5866295"/>
                  <a:pt x="6464696" y="5866295"/>
                  <a:pt x="6496396" y="5898037"/>
                </a:cubicBezTo>
                <a:cubicBezTo>
                  <a:pt x="6499919" y="5901563"/>
                  <a:pt x="6499919" y="5908618"/>
                  <a:pt x="6492874" y="5912144"/>
                </a:cubicBezTo>
                <a:cubicBezTo>
                  <a:pt x="6450607" y="5957992"/>
                  <a:pt x="6432995" y="6017949"/>
                  <a:pt x="6447085" y="6092012"/>
                </a:cubicBezTo>
                <a:cubicBezTo>
                  <a:pt x="6447085" y="6099065"/>
                  <a:pt x="6443563" y="6102592"/>
                  <a:pt x="6440040" y="6102592"/>
                </a:cubicBezTo>
                <a:cubicBezTo>
                  <a:pt x="6440040" y="6102592"/>
                  <a:pt x="6440040" y="6102592"/>
                  <a:pt x="6401295" y="6113173"/>
                </a:cubicBezTo>
                <a:cubicBezTo>
                  <a:pt x="6394251" y="6116699"/>
                  <a:pt x="6390728" y="6113173"/>
                  <a:pt x="6390728" y="6109646"/>
                </a:cubicBezTo>
                <a:cubicBezTo>
                  <a:pt x="6369595" y="6017949"/>
                  <a:pt x="6397773" y="5926252"/>
                  <a:pt x="6454129" y="5869822"/>
                </a:cubicBezTo>
                <a:cubicBezTo>
                  <a:pt x="6455890" y="5866295"/>
                  <a:pt x="6458533" y="5864532"/>
                  <a:pt x="6460734" y="5864091"/>
                </a:cubicBezTo>
                <a:close/>
                <a:moveTo>
                  <a:pt x="6679416" y="5858737"/>
                </a:moveTo>
                <a:cubicBezTo>
                  <a:pt x="6682909" y="5858737"/>
                  <a:pt x="6682909" y="5858737"/>
                  <a:pt x="6686403" y="5858737"/>
                </a:cubicBezTo>
                <a:cubicBezTo>
                  <a:pt x="6731814" y="5869333"/>
                  <a:pt x="6763254" y="5886990"/>
                  <a:pt x="6794693" y="5922306"/>
                </a:cubicBezTo>
                <a:cubicBezTo>
                  <a:pt x="6798186" y="5925838"/>
                  <a:pt x="6798186" y="5925838"/>
                  <a:pt x="6798186" y="5929370"/>
                </a:cubicBezTo>
                <a:cubicBezTo>
                  <a:pt x="6798186" y="5932901"/>
                  <a:pt x="6794693" y="5932901"/>
                  <a:pt x="6791199" y="5936433"/>
                </a:cubicBezTo>
                <a:cubicBezTo>
                  <a:pt x="6791199" y="5936433"/>
                  <a:pt x="6791199" y="5936433"/>
                  <a:pt x="6700376" y="5982344"/>
                </a:cubicBezTo>
                <a:cubicBezTo>
                  <a:pt x="6696882" y="5982344"/>
                  <a:pt x="6693389" y="5982344"/>
                  <a:pt x="6689896" y="5982344"/>
                </a:cubicBezTo>
                <a:cubicBezTo>
                  <a:pt x="6686403" y="5978812"/>
                  <a:pt x="6686403" y="5975280"/>
                  <a:pt x="6682909" y="5971749"/>
                </a:cubicBezTo>
                <a:cubicBezTo>
                  <a:pt x="6682909" y="5971749"/>
                  <a:pt x="6682909" y="5971749"/>
                  <a:pt x="6675923" y="5869333"/>
                </a:cubicBezTo>
                <a:cubicBezTo>
                  <a:pt x="6675923" y="5865801"/>
                  <a:pt x="6675923" y="5862269"/>
                  <a:pt x="6679416" y="5858737"/>
                </a:cubicBezTo>
                <a:close/>
                <a:moveTo>
                  <a:pt x="6615733" y="5858737"/>
                </a:moveTo>
                <a:cubicBezTo>
                  <a:pt x="6619226" y="5858737"/>
                  <a:pt x="6619226" y="5858737"/>
                  <a:pt x="6622719" y="5858737"/>
                </a:cubicBezTo>
                <a:cubicBezTo>
                  <a:pt x="6622719" y="5862269"/>
                  <a:pt x="6626212" y="5865801"/>
                  <a:pt x="6626212" y="5869333"/>
                </a:cubicBezTo>
                <a:cubicBezTo>
                  <a:pt x="6626212" y="5869333"/>
                  <a:pt x="6626212" y="5869333"/>
                  <a:pt x="6615733" y="5975280"/>
                </a:cubicBezTo>
                <a:cubicBezTo>
                  <a:pt x="6615733" y="5978812"/>
                  <a:pt x="6615733" y="5982344"/>
                  <a:pt x="6612239" y="5982344"/>
                </a:cubicBezTo>
                <a:cubicBezTo>
                  <a:pt x="6608746" y="5982344"/>
                  <a:pt x="6605253" y="5982344"/>
                  <a:pt x="6601760" y="5982344"/>
                </a:cubicBezTo>
                <a:cubicBezTo>
                  <a:pt x="6601760" y="5982344"/>
                  <a:pt x="6601760" y="5982344"/>
                  <a:pt x="6510935" y="5936433"/>
                </a:cubicBezTo>
                <a:cubicBezTo>
                  <a:pt x="6507443" y="5936433"/>
                  <a:pt x="6503949" y="5932901"/>
                  <a:pt x="6503949" y="5929370"/>
                </a:cubicBezTo>
                <a:cubicBezTo>
                  <a:pt x="6503949" y="5929370"/>
                  <a:pt x="6503949" y="5925838"/>
                  <a:pt x="6507443" y="5922306"/>
                </a:cubicBezTo>
                <a:cubicBezTo>
                  <a:pt x="6538881" y="5890522"/>
                  <a:pt x="6570321" y="5869333"/>
                  <a:pt x="6615733" y="5858737"/>
                </a:cubicBezTo>
                <a:close/>
                <a:moveTo>
                  <a:pt x="6534583" y="5823805"/>
                </a:moveTo>
                <a:cubicBezTo>
                  <a:pt x="6538076" y="5823805"/>
                  <a:pt x="6541569" y="5827500"/>
                  <a:pt x="6541569" y="5831195"/>
                </a:cubicBezTo>
                <a:cubicBezTo>
                  <a:pt x="6541569" y="5834890"/>
                  <a:pt x="6541569" y="5834890"/>
                  <a:pt x="6538076" y="5834890"/>
                </a:cubicBezTo>
                <a:cubicBezTo>
                  <a:pt x="6538076" y="5834890"/>
                  <a:pt x="6538076" y="5834890"/>
                  <a:pt x="6531089" y="5838585"/>
                </a:cubicBezTo>
                <a:cubicBezTo>
                  <a:pt x="6531089" y="5838585"/>
                  <a:pt x="6531089" y="5838585"/>
                  <a:pt x="6527596" y="5831195"/>
                </a:cubicBezTo>
                <a:cubicBezTo>
                  <a:pt x="6527596" y="5831195"/>
                  <a:pt x="6527596" y="5831195"/>
                  <a:pt x="6524103" y="5831195"/>
                </a:cubicBezTo>
                <a:cubicBezTo>
                  <a:pt x="6527596" y="5827500"/>
                  <a:pt x="6531089" y="5827500"/>
                  <a:pt x="6534583" y="5823805"/>
                </a:cubicBezTo>
                <a:close/>
                <a:moveTo>
                  <a:pt x="6531109" y="5816608"/>
                </a:moveTo>
                <a:cubicBezTo>
                  <a:pt x="6527557" y="5820158"/>
                  <a:pt x="6520456" y="5823710"/>
                  <a:pt x="6513354" y="5827260"/>
                </a:cubicBezTo>
                <a:cubicBezTo>
                  <a:pt x="6513354" y="5827260"/>
                  <a:pt x="6513354" y="5827260"/>
                  <a:pt x="6516905" y="5830811"/>
                </a:cubicBezTo>
                <a:lnTo>
                  <a:pt x="6534660" y="5862769"/>
                </a:lnTo>
                <a:cubicBezTo>
                  <a:pt x="6538210" y="5862769"/>
                  <a:pt x="6538210" y="5859217"/>
                  <a:pt x="6541761" y="5859217"/>
                </a:cubicBezTo>
                <a:cubicBezTo>
                  <a:pt x="6541761" y="5859217"/>
                  <a:pt x="6541761" y="5859217"/>
                  <a:pt x="6534660" y="5845014"/>
                </a:cubicBezTo>
                <a:cubicBezTo>
                  <a:pt x="6534660" y="5845014"/>
                  <a:pt x="6534660" y="5845014"/>
                  <a:pt x="6541761" y="5841464"/>
                </a:cubicBezTo>
                <a:cubicBezTo>
                  <a:pt x="6541761" y="5841464"/>
                  <a:pt x="6541761" y="5841464"/>
                  <a:pt x="6555964" y="5852116"/>
                </a:cubicBezTo>
                <a:cubicBezTo>
                  <a:pt x="6559516" y="5848565"/>
                  <a:pt x="6559516" y="5848565"/>
                  <a:pt x="6563066" y="5848565"/>
                </a:cubicBezTo>
                <a:cubicBezTo>
                  <a:pt x="6563066" y="5848565"/>
                  <a:pt x="6563066" y="5848565"/>
                  <a:pt x="6548863" y="5834362"/>
                </a:cubicBezTo>
                <a:cubicBezTo>
                  <a:pt x="6548863" y="5834362"/>
                  <a:pt x="6548863" y="5834362"/>
                  <a:pt x="6548863" y="5830811"/>
                </a:cubicBezTo>
                <a:cubicBezTo>
                  <a:pt x="6552413" y="5823710"/>
                  <a:pt x="6541761" y="5813057"/>
                  <a:pt x="6531109" y="5816608"/>
                </a:cubicBezTo>
                <a:close/>
                <a:moveTo>
                  <a:pt x="6752016" y="5810370"/>
                </a:moveTo>
                <a:cubicBezTo>
                  <a:pt x="6755559" y="5834554"/>
                  <a:pt x="6755559" y="5834554"/>
                  <a:pt x="6755559" y="5834554"/>
                </a:cubicBezTo>
                <a:cubicBezTo>
                  <a:pt x="6748474" y="5851828"/>
                  <a:pt x="6748474" y="5851828"/>
                  <a:pt x="6748474" y="5851828"/>
                </a:cubicBezTo>
                <a:lnTo>
                  <a:pt x="6755559" y="5858737"/>
                </a:lnTo>
                <a:cubicBezTo>
                  <a:pt x="6762643" y="5841463"/>
                  <a:pt x="6762643" y="5841463"/>
                  <a:pt x="6762643" y="5841463"/>
                </a:cubicBezTo>
                <a:cubicBezTo>
                  <a:pt x="6787438" y="5827644"/>
                  <a:pt x="6787438" y="5827644"/>
                  <a:pt x="6787438" y="5827644"/>
                </a:cubicBezTo>
                <a:cubicBezTo>
                  <a:pt x="6787438" y="5827644"/>
                  <a:pt x="6783896" y="5824189"/>
                  <a:pt x="6780354" y="5824189"/>
                </a:cubicBezTo>
                <a:cubicBezTo>
                  <a:pt x="6762643" y="5831099"/>
                  <a:pt x="6762643" y="5831099"/>
                  <a:pt x="6762643" y="5831099"/>
                </a:cubicBezTo>
                <a:cubicBezTo>
                  <a:pt x="6759101" y="5813824"/>
                  <a:pt x="6759101" y="5813824"/>
                  <a:pt x="6759101" y="5813824"/>
                </a:cubicBezTo>
                <a:cubicBezTo>
                  <a:pt x="6755559" y="5810370"/>
                  <a:pt x="6755559" y="5810370"/>
                  <a:pt x="6752016" y="5810370"/>
                </a:cubicBezTo>
                <a:close/>
                <a:moveTo>
                  <a:pt x="6717036" y="5806340"/>
                </a:moveTo>
                <a:cubicBezTo>
                  <a:pt x="6720529" y="5806340"/>
                  <a:pt x="6724022" y="5806340"/>
                  <a:pt x="6727516" y="5809699"/>
                </a:cubicBezTo>
                <a:cubicBezTo>
                  <a:pt x="6727516" y="5809699"/>
                  <a:pt x="6731009" y="5809699"/>
                  <a:pt x="6731009" y="5813058"/>
                </a:cubicBezTo>
                <a:cubicBezTo>
                  <a:pt x="6731009" y="5816416"/>
                  <a:pt x="6727516" y="5819775"/>
                  <a:pt x="6724022" y="5819775"/>
                </a:cubicBezTo>
                <a:cubicBezTo>
                  <a:pt x="6724022" y="5819775"/>
                  <a:pt x="6724022" y="5819775"/>
                  <a:pt x="6713542" y="5816416"/>
                </a:cubicBezTo>
                <a:lnTo>
                  <a:pt x="6713542" y="5813058"/>
                </a:lnTo>
                <a:cubicBezTo>
                  <a:pt x="6713542" y="5813058"/>
                  <a:pt x="6713542" y="5813058"/>
                  <a:pt x="6717036" y="5806340"/>
                </a:cubicBezTo>
                <a:close/>
                <a:moveTo>
                  <a:pt x="6583891" y="5805835"/>
                </a:moveTo>
                <a:cubicBezTo>
                  <a:pt x="6590945" y="5802308"/>
                  <a:pt x="6597998" y="5809363"/>
                  <a:pt x="6597998" y="5816416"/>
                </a:cubicBezTo>
                <a:cubicBezTo>
                  <a:pt x="6597998" y="5823470"/>
                  <a:pt x="6590945" y="5830523"/>
                  <a:pt x="6583891" y="5830523"/>
                </a:cubicBezTo>
                <a:cubicBezTo>
                  <a:pt x="6576837" y="5830523"/>
                  <a:pt x="6569783" y="5826997"/>
                  <a:pt x="6569783" y="5819943"/>
                </a:cubicBezTo>
                <a:cubicBezTo>
                  <a:pt x="6569783" y="5819943"/>
                  <a:pt x="6569783" y="5819943"/>
                  <a:pt x="6569783" y="5816416"/>
                </a:cubicBezTo>
                <a:cubicBezTo>
                  <a:pt x="6569783" y="5809363"/>
                  <a:pt x="6576837" y="5805835"/>
                  <a:pt x="6583891" y="5805835"/>
                </a:cubicBezTo>
                <a:close/>
                <a:moveTo>
                  <a:pt x="6671893" y="5799621"/>
                </a:moveTo>
                <a:cubicBezTo>
                  <a:pt x="6671893" y="5799621"/>
                  <a:pt x="6671893" y="5799621"/>
                  <a:pt x="6675251" y="5810101"/>
                </a:cubicBezTo>
                <a:cubicBezTo>
                  <a:pt x="6675251" y="5810101"/>
                  <a:pt x="6675251" y="5810101"/>
                  <a:pt x="6678610" y="5817088"/>
                </a:cubicBezTo>
                <a:cubicBezTo>
                  <a:pt x="6675251" y="5817088"/>
                  <a:pt x="6668534" y="5817088"/>
                  <a:pt x="6665174" y="5817088"/>
                </a:cubicBezTo>
                <a:lnTo>
                  <a:pt x="6668534" y="5810101"/>
                </a:lnTo>
                <a:cubicBezTo>
                  <a:pt x="6668534" y="5810101"/>
                  <a:pt x="6668534" y="5810101"/>
                  <a:pt x="6671893" y="5799621"/>
                </a:cubicBezTo>
                <a:close/>
                <a:moveTo>
                  <a:pt x="6580420" y="5799105"/>
                </a:moveTo>
                <a:cubicBezTo>
                  <a:pt x="6570007" y="5799105"/>
                  <a:pt x="6563065" y="5806133"/>
                  <a:pt x="6563065" y="5816675"/>
                </a:cubicBezTo>
                <a:cubicBezTo>
                  <a:pt x="6563065" y="5820188"/>
                  <a:pt x="6563065" y="5820188"/>
                  <a:pt x="6563065" y="5820188"/>
                </a:cubicBezTo>
                <a:cubicBezTo>
                  <a:pt x="6563065" y="5830730"/>
                  <a:pt x="6573477" y="5841272"/>
                  <a:pt x="6583891" y="5837758"/>
                </a:cubicBezTo>
                <a:cubicBezTo>
                  <a:pt x="6597774" y="5837758"/>
                  <a:pt x="6604715" y="5830730"/>
                  <a:pt x="6604715" y="5816675"/>
                </a:cubicBezTo>
                <a:cubicBezTo>
                  <a:pt x="6604715" y="5806133"/>
                  <a:pt x="6594303" y="5795591"/>
                  <a:pt x="6580420" y="5799105"/>
                </a:cubicBezTo>
                <a:close/>
                <a:moveTo>
                  <a:pt x="6710733" y="5795591"/>
                </a:moveTo>
                <a:cubicBezTo>
                  <a:pt x="6710733" y="5795591"/>
                  <a:pt x="6710733" y="5795591"/>
                  <a:pt x="6707191" y="5813345"/>
                </a:cubicBezTo>
                <a:cubicBezTo>
                  <a:pt x="6707191" y="5813345"/>
                  <a:pt x="6707191" y="5813345"/>
                  <a:pt x="6700107" y="5834650"/>
                </a:cubicBezTo>
                <a:cubicBezTo>
                  <a:pt x="6703649" y="5838201"/>
                  <a:pt x="6707191" y="5838201"/>
                  <a:pt x="6710733" y="5838201"/>
                </a:cubicBezTo>
                <a:lnTo>
                  <a:pt x="6714275" y="5823998"/>
                </a:lnTo>
                <a:cubicBezTo>
                  <a:pt x="6714275" y="5823998"/>
                  <a:pt x="6714275" y="5823998"/>
                  <a:pt x="6721360" y="5823998"/>
                </a:cubicBezTo>
                <a:cubicBezTo>
                  <a:pt x="6721360" y="5823998"/>
                  <a:pt x="6721360" y="5823998"/>
                  <a:pt x="6724902" y="5841752"/>
                </a:cubicBezTo>
                <a:cubicBezTo>
                  <a:pt x="6728443" y="5845303"/>
                  <a:pt x="6728443" y="5845303"/>
                  <a:pt x="6731986" y="5845303"/>
                </a:cubicBezTo>
                <a:cubicBezTo>
                  <a:pt x="6731986" y="5845303"/>
                  <a:pt x="6731986" y="5845303"/>
                  <a:pt x="6728443" y="5827549"/>
                </a:cubicBezTo>
                <a:cubicBezTo>
                  <a:pt x="6735528" y="5823998"/>
                  <a:pt x="6739070" y="5816896"/>
                  <a:pt x="6739070" y="5813345"/>
                </a:cubicBezTo>
                <a:cubicBezTo>
                  <a:pt x="6739070" y="5806244"/>
                  <a:pt x="6735528" y="5802693"/>
                  <a:pt x="6731986" y="5802693"/>
                </a:cubicBezTo>
                <a:cubicBezTo>
                  <a:pt x="6724902" y="5799142"/>
                  <a:pt x="6717817" y="5795591"/>
                  <a:pt x="6710733" y="5795591"/>
                </a:cubicBezTo>
                <a:close/>
                <a:moveTo>
                  <a:pt x="6668106" y="5788873"/>
                </a:moveTo>
                <a:cubicBezTo>
                  <a:pt x="6668106" y="5788873"/>
                  <a:pt x="6668106" y="5788873"/>
                  <a:pt x="6661022" y="5809957"/>
                </a:cubicBezTo>
                <a:cubicBezTo>
                  <a:pt x="6661022" y="5809957"/>
                  <a:pt x="6661022" y="5809957"/>
                  <a:pt x="6650396" y="5831040"/>
                </a:cubicBezTo>
                <a:cubicBezTo>
                  <a:pt x="6653938" y="5831040"/>
                  <a:pt x="6653938" y="5831040"/>
                  <a:pt x="6657481" y="5831040"/>
                </a:cubicBezTo>
                <a:lnTo>
                  <a:pt x="6661022" y="5824012"/>
                </a:lnTo>
                <a:cubicBezTo>
                  <a:pt x="6668106" y="5824012"/>
                  <a:pt x="6671649" y="5824012"/>
                  <a:pt x="6678733" y="5824012"/>
                </a:cubicBezTo>
                <a:cubicBezTo>
                  <a:pt x="6678733" y="5824012"/>
                  <a:pt x="6678733" y="5824012"/>
                  <a:pt x="6682275" y="5831040"/>
                </a:cubicBezTo>
                <a:cubicBezTo>
                  <a:pt x="6685817" y="5831040"/>
                  <a:pt x="6685817" y="5834554"/>
                  <a:pt x="6689359" y="5834554"/>
                </a:cubicBezTo>
                <a:cubicBezTo>
                  <a:pt x="6689359" y="5834554"/>
                  <a:pt x="6689359" y="5834554"/>
                  <a:pt x="6682275" y="5809957"/>
                </a:cubicBezTo>
                <a:cubicBezTo>
                  <a:pt x="6682275" y="5809957"/>
                  <a:pt x="6682275" y="5809957"/>
                  <a:pt x="6678733" y="5788873"/>
                </a:cubicBezTo>
                <a:cubicBezTo>
                  <a:pt x="6678733" y="5788873"/>
                  <a:pt x="6678733" y="5788873"/>
                  <a:pt x="6668106" y="5788873"/>
                </a:cubicBezTo>
                <a:close/>
                <a:moveTo>
                  <a:pt x="6647709" y="5788873"/>
                </a:moveTo>
                <a:cubicBezTo>
                  <a:pt x="6629999" y="5788873"/>
                  <a:pt x="6622914" y="5788873"/>
                  <a:pt x="6608746" y="5792344"/>
                </a:cubicBezTo>
                <a:cubicBezTo>
                  <a:pt x="6608746" y="5799285"/>
                  <a:pt x="6608746" y="5799285"/>
                  <a:pt x="6608746" y="5799285"/>
                </a:cubicBezTo>
                <a:lnTo>
                  <a:pt x="6622914" y="5795815"/>
                </a:lnTo>
                <a:cubicBezTo>
                  <a:pt x="6626456" y="5830523"/>
                  <a:pt x="6626456" y="5830523"/>
                  <a:pt x="6626456" y="5830523"/>
                </a:cubicBezTo>
                <a:cubicBezTo>
                  <a:pt x="6637082" y="5830523"/>
                  <a:pt x="6637082" y="5830523"/>
                  <a:pt x="6637082" y="5830523"/>
                </a:cubicBezTo>
                <a:cubicBezTo>
                  <a:pt x="6633540" y="5795815"/>
                  <a:pt x="6633540" y="5795815"/>
                  <a:pt x="6633540" y="5795815"/>
                </a:cubicBezTo>
                <a:cubicBezTo>
                  <a:pt x="6647709" y="5795815"/>
                  <a:pt x="6647709" y="5795815"/>
                  <a:pt x="6647709" y="5795815"/>
                </a:cubicBezTo>
                <a:cubicBezTo>
                  <a:pt x="6647709" y="5788873"/>
                  <a:pt x="6647709" y="5788873"/>
                  <a:pt x="6647709" y="5788873"/>
                </a:cubicBezTo>
                <a:close/>
                <a:moveTo>
                  <a:pt x="6198068" y="5788872"/>
                </a:moveTo>
                <a:cubicBezTo>
                  <a:pt x="6215982" y="5788872"/>
                  <a:pt x="6223148" y="5806339"/>
                  <a:pt x="6223148" y="5823804"/>
                </a:cubicBezTo>
                <a:lnTo>
                  <a:pt x="6169406" y="5823804"/>
                </a:lnTo>
                <a:cubicBezTo>
                  <a:pt x="6169406" y="5806339"/>
                  <a:pt x="6180154" y="5788872"/>
                  <a:pt x="6198068" y="5788872"/>
                </a:cubicBezTo>
                <a:close/>
                <a:moveTo>
                  <a:pt x="6650396" y="5782156"/>
                </a:moveTo>
                <a:cubicBezTo>
                  <a:pt x="6713570" y="5782156"/>
                  <a:pt x="6769725" y="5803115"/>
                  <a:pt x="6815350" y="5838047"/>
                </a:cubicBezTo>
                <a:cubicBezTo>
                  <a:pt x="6822370" y="5845034"/>
                  <a:pt x="6822370" y="5848527"/>
                  <a:pt x="6818860" y="5852020"/>
                </a:cubicBezTo>
                <a:cubicBezTo>
                  <a:pt x="6818860" y="5852020"/>
                  <a:pt x="6818860" y="5852020"/>
                  <a:pt x="6790783" y="5883460"/>
                </a:cubicBezTo>
                <a:cubicBezTo>
                  <a:pt x="6787273" y="5886952"/>
                  <a:pt x="6783764" y="5886952"/>
                  <a:pt x="6776744" y="5883460"/>
                </a:cubicBezTo>
                <a:cubicBezTo>
                  <a:pt x="6741648" y="5855514"/>
                  <a:pt x="6696021" y="5838047"/>
                  <a:pt x="6650396" y="5838047"/>
                </a:cubicBezTo>
                <a:cubicBezTo>
                  <a:pt x="6601261" y="5838047"/>
                  <a:pt x="6559145" y="5855514"/>
                  <a:pt x="6524048" y="5883460"/>
                </a:cubicBezTo>
                <a:cubicBezTo>
                  <a:pt x="6517028" y="5886952"/>
                  <a:pt x="6513519" y="5886952"/>
                  <a:pt x="6510010" y="5883460"/>
                </a:cubicBezTo>
                <a:cubicBezTo>
                  <a:pt x="6510010" y="5883460"/>
                  <a:pt x="6510010" y="5883460"/>
                  <a:pt x="6481932" y="5852020"/>
                </a:cubicBezTo>
                <a:cubicBezTo>
                  <a:pt x="6478422" y="5848527"/>
                  <a:pt x="6478422" y="5845034"/>
                  <a:pt x="6485442" y="5838047"/>
                </a:cubicBezTo>
                <a:cubicBezTo>
                  <a:pt x="6531067" y="5803115"/>
                  <a:pt x="6587222" y="5782156"/>
                  <a:pt x="6650396" y="5782156"/>
                </a:cubicBezTo>
                <a:close/>
                <a:moveTo>
                  <a:pt x="6198292" y="5782155"/>
                </a:moveTo>
                <a:cubicBezTo>
                  <a:pt x="6173924" y="5782155"/>
                  <a:pt x="6160001" y="5799669"/>
                  <a:pt x="6160001" y="5831195"/>
                </a:cubicBezTo>
                <a:cubicBezTo>
                  <a:pt x="6160001" y="5859217"/>
                  <a:pt x="6170443" y="5880234"/>
                  <a:pt x="6201773" y="5880234"/>
                </a:cubicBezTo>
                <a:cubicBezTo>
                  <a:pt x="6208735" y="5880234"/>
                  <a:pt x="6222659" y="5876731"/>
                  <a:pt x="6229621" y="5873228"/>
                </a:cubicBezTo>
                <a:lnTo>
                  <a:pt x="6229621" y="5862720"/>
                </a:lnTo>
                <a:cubicBezTo>
                  <a:pt x="6222659" y="5866223"/>
                  <a:pt x="6212216" y="5869725"/>
                  <a:pt x="6201773" y="5869725"/>
                </a:cubicBezTo>
                <a:cubicBezTo>
                  <a:pt x="6180887" y="5869725"/>
                  <a:pt x="6170443" y="5852211"/>
                  <a:pt x="6170443" y="5834698"/>
                </a:cubicBezTo>
                <a:cubicBezTo>
                  <a:pt x="6170443" y="5834698"/>
                  <a:pt x="6170443" y="5834698"/>
                  <a:pt x="6236583" y="5834698"/>
                </a:cubicBezTo>
                <a:cubicBezTo>
                  <a:pt x="6236583" y="5834698"/>
                  <a:pt x="6236583" y="5834698"/>
                  <a:pt x="6236583" y="5827692"/>
                </a:cubicBezTo>
                <a:cubicBezTo>
                  <a:pt x="6236583" y="5803172"/>
                  <a:pt x="6226140" y="5782155"/>
                  <a:pt x="6198292" y="5782155"/>
                </a:cubicBezTo>
                <a:close/>
                <a:moveTo>
                  <a:pt x="5949064" y="5745879"/>
                </a:moveTo>
                <a:lnTo>
                  <a:pt x="5949064" y="5756627"/>
                </a:lnTo>
                <a:lnTo>
                  <a:pt x="5988028" y="5756627"/>
                </a:lnTo>
                <a:lnTo>
                  <a:pt x="5988028" y="5876203"/>
                </a:lnTo>
                <a:lnTo>
                  <a:pt x="6001464" y="5876203"/>
                </a:lnTo>
                <a:lnTo>
                  <a:pt x="6001464" y="5756627"/>
                </a:lnTo>
                <a:lnTo>
                  <a:pt x="6040426" y="5756627"/>
                </a:lnTo>
                <a:lnTo>
                  <a:pt x="6040426" y="5745879"/>
                </a:lnTo>
                <a:close/>
                <a:moveTo>
                  <a:pt x="6061922" y="5735130"/>
                </a:moveTo>
                <a:lnTo>
                  <a:pt x="6061922" y="5876203"/>
                </a:lnTo>
                <a:cubicBezTo>
                  <a:pt x="6061922" y="5876203"/>
                  <a:pt x="6061922" y="5876203"/>
                  <a:pt x="6072287" y="5876203"/>
                </a:cubicBezTo>
                <a:cubicBezTo>
                  <a:pt x="6072287" y="5876203"/>
                  <a:pt x="6072287" y="5876203"/>
                  <a:pt x="6072287" y="5826827"/>
                </a:cubicBezTo>
                <a:cubicBezTo>
                  <a:pt x="6072287" y="5809193"/>
                  <a:pt x="6079197" y="5788033"/>
                  <a:pt x="6099926" y="5788033"/>
                </a:cubicBezTo>
                <a:cubicBezTo>
                  <a:pt x="6120655" y="5788033"/>
                  <a:pt x="6120655" y="5802140"/>
                  <a:pt x="6120655" y="5819774"/>
                </a:cubicBezTo>
                <a:cubicBezTo>
                  <a:pt x="6120655" y="5819774"/>
                  <a:pt x="6120655" y="5819774"/>
                  <a:pt x="6120655" y="5876203"/>
                </a:cubicBezTo>
                <a:cubicBezTo>
                  <a:pt x="6120655" y="5876203"/>
                  <a:pt x="6120655" y="5876203"/>
                  <a:pt x="6134474" y="5876203"/>
                </a:cubicBezTo>
                <a:cubicBezTo>
                  <a:pt x="6134474" y="5876203"/>
                  <a:pt x="6134474" y="5876203"/>
                  <a:pt x="6134474" y="5819774"/>
                </a:cubicBezTo>
                <a:cubicBezTo>
                  <a:pt x="6134474" y="5795086"/>
                  <a:pt x="6127564" y="5780979"/>
                  <a:pt x="6103380" y="5780979"/>
                </a:cubicBezTo>
                <a:cubicBezTo>
                  <a:pt x="6089561" y="5780979"/>
                  <a:pt x="6079197" y="5788033"/>
                  <a:pt x="6072287" y="5798613"/>
                </a:cubicBezTo>
                <a:cubicBezTo>
                  <a:pt x="6072287" y="5798613"/>
                  <a:pt x="6072287" y="5798613"/>
                  <a:pt x="6072287" y="5735130"/>
                </a:cubicBezTo>
                <a:cubicBezTo>
                  <a:pt x="6072287" y="5735130"/>
                  <a:pt x="6072287" y="5735130"/>
                  <a:pt x="6061922" y="5735130"/>
                </a:cubicBezTo>
                <a:close/>
                <a:moveTo>
                  <a:pt x="6640551" y="5710947"/>
                </a:moveTo>
                <a:cubicBezTo>
                  <a:pt x="6630033" y="5728568"/>
                  <a:pt x="6626527" y="5746189"/>
                  <a:pt x="6626527" y="5763810"/>
                </a:cubicBezTo>
                <a:cubicBezTo>
                  <a:pt x="6623021" y="5763810"/>
                  <a:pt x="6605492" y="5767334"/>
                  <a:pt x="6601987" y="5767334"/>
                </a:cubicBezTo>
                <a:cubicBezTo>
                  <a:pt x="6598480" y="5749713"/>
                  <a:pt x="6587963" y="5732092"/>
                  <a:pt x="6577446" y="5721520"/>
                </a:cubicBezTo>
                <a:cubicBezTo>
                  <a:pt x="6577446" y="5721520"/>
                  <a:pt x="6577446" y="5721520"/>
                  <a:pt x="6573940" y="5721520"/>
                </a:cubicBezTo>
                <a:cubicBezTo>
                  <a:pt x="6566929" y="5721520"/>
                  <a:pt x="6559917" y="5725044"/>
                  <a:pt x="6552905" y="5725044"/>
                </a:cubicBezTo>
                <a:cubicBezTo>
                  <a:pt x="6552905" y="5725044"/>
                  <a:pt x="6552905" y="5725044"/>
                  <a:pt x="6552905" y="5728568"/>
                </a:cubicBezTo>
                <a:cubicBezTo>
                  <a:pt x="6549399" y="5735617"/>
                  <a:pt x="6549399" y="5742665"/>
                  <a:pt x="6549399" y="5753237"/>
                </a:cubicBezTo>
                <a:cubicBezTo>
                  <a:pt x="6549399" y="5763810"/>
                  <a:pt x="6549399" y="5770858"/>
                  <a:pt x="6552905" y="5781431"/>
                </a:cubicBezTo>
                <a:cubicBezTo>
                  <a:pt x="6549399" y="5781431"/>
                  <a:pt x="6531870" y="5788479"/>
                  <a:pt x="6531870" y="5788479"/>
                </a:cubicBezTo>
                <a:cubicBezTo>
                  <a:pt x="6521353" y="5774382"/>
                  <a:pt x="6507329" y="5760286"/>
                  <a:pt x="6493306" y="5753237"/>
                </a:cubicBezTo>
                <a:cubicBezTo>
                  <a:pt x="6486295" y="5753237"/>
                  <a:pt x="6479283" y="5760286"/>
                  <a:pt x="6472271" y="5763810"/>
                </a:cubicBezTo>
                <a:cubicBezTo>
                  <a:pt x="6472271" y="5781431"/>
                  <a:pt x="6475777" y="5799052"/>
                  <a:pt x="6486295" y="5816672"/>
                </a:cubicBezTo>
                <a:cubicBezTo>
                  <a:pt x="6482789" y="5816672"/>
                  <a:pt x="6472271" y="5827245"/>
                  <a:pt x="6468766" y="5827245"/>
                </a:cubicBezTo>
                <a:cubicBezTo>
                  <a:pt x="6458248" y="5816672"/>
                  <a:pt x="6440719" y="5806100"/>
                  <a:pt x="6423190" y="5802576"/>
                </a:cubicBezTo>
                <a:cubicBezTo>
                  <a:pt x="6416178" y="5806100"/>
                  <a:pt x="6409167" y="5813148"/>
                  <a:pt x="6405661" y="5816672"/>
                </a:cubicBezTo>
                <a:cubicBezTo>
                  <a:pt x="6405661" y="5816672"/>
                  <a:pt x="6405661" y="5816672"/>
                  <a:pt x="6405661" y="5820196"/>
                </a:cubicBezTo>
                <a:cubicBezTo>
                  <a:pt x="6409167" y="5834294"/>
                  <a:pt x="6419684" y="5851914"/>
                  <a:pt x="6433707" y="5866011"/>
                </a:cubicBezTo>
                <a:cubicBezTo>
                  <a:pt x="6430202" y="5866011"/>
                  <a:pt x="6419684" y="5883632"/>
                  <a:pt x="6419684" y="5883632"/>
                </a:cubicBezTo>
                <a:cubicBezTo>
                  <a:pt x="6402155" y="5876583"/>
                  <a:pt x="6384626" y="5869535"/>
                  <a:pt x="6367097" y="5869535"/>
                </a:cubicBezTo>
                <a:cubicBezTo>
                  <a:pt x="6363592" y="5876583"/>
                  <a:pt x="6356580" y="5883632"/>
                  <a:pt x="6356580" y="5890680"/>
                </a:cubicBezTo>
                <a:cubicBezTo>
                  <a:pt x="6363592" y="5904777"/>
                  <a:pt x="6377614" y="5918873"/>
                  <a:pt x="6391638" y="5929447"/>
                </a:cubicBezTo>
                <a:cubicBezTo>
                  <a:pt x="6391638" y="5932971"/>
                  <a:pt x="6384626" y="5947067"/>
                  <a:pt x="6384626" y="5950591"/>
                </a:cubicBezTo>
                <a:cubicBezTo>
                  <a:pt x="6367097" y="5943543"/>
                  <a:pt x="6346062" y="5943543"/>
                  <a:pt x="6332039" y="5950591"/>
                </a:cubicBezTo>
                <a:cubicBezTo>
                  <a:pt x="6328533" y="5957640"/>
                  <a:pt x="6325027" y="5964688"/>
                  <a:pt x="6325027" y="5971736"/>
                </a:cubicBezTo>
                <a:cubicBezTo>
                  <a:pt x="6335544" y="5985833"/>
                  <a:pt x="6353073" y="5992881"/>
                  <a:pt x="6370602" y="5999930"/>
                </a:cubicBezTo>
                <a:cubicBezTo>
                  <a:pt x="6370602" y="6003454"/>
                  <a:pt x="6367097" y="6017550"/>
                  <a:pt x="6367097" y="6021074"/>
                </a:cubicBezTo>
                <a:cubicBezTo>
                  <a:pt x="6349568" y="6021074"/>
                  <a:pt x="6332039" y="6028123"/>
                  <a:pt x="6318016" y="6035172"/>
                </a:cubicBezTo>
                <a:cubicBezTo>
                  <a:pt x="6318016" y="6035172"/>
                  <a:pt x="6318016" y="6035172"/>
                  <a:pt x="6314510" y="6035172"/>
                </a:cubicBezTo>
                <a:cubicBezTo>
                  <a:pt x="6314510" y="6038696"/>
                  <a:pt x="6314510" y="6042220"/>
                  <a:pt x="6314510" y="6049268"/>
                </a:cubicBezTo>
                <a:cubicBezTo>
                  <a:pt x="6314510" y="6052792"/>
                  <a:pt x="6314510" y="6056316"/>
                  <a:pt x="6314510" y="6059841"/>
                </a:cubicBezTo>
                <a:cubicBezTo>
                  <a:pt x="6314510" y="6059841"/>
                  <a:pt x="6314510" y="6059841"/>
                  <a:pt x="6318016" y="6059841"/>
                </a:cubicBezTo>
                <a:cubicBezTo>
                  <a:pt x="6332039" y="6070414"/>
                  <a:pt x="6349568" y="6073938"/>
                  <a:pt x="6367097" y="6073938"/>
                </a:cubicBezTo>
                <a:cubicBezTo>
                  <a:pt x="6367097" y="6077462"/>
                  <a:pt x="6370602" y="6095083"/>
                  <a:pt x="6370602" y="6095083"/>
                </a:cubicBezTo>
                <a:cubicBezTo>
                  <a:pt x="6353073" y="6102131"/>
                  <a:pt x="6335544" y="6112703"/>
                  <a:pt x="6325027" y="6123276"/>
                </a:cubicBezTo>
                <a:cubicBezTo>
                  <a:pt x="6325027" y="6123276"/>
                  <a:pt x="6325027" y="6123276"/>
                  <a:pt x="6325027" y="6126800"/>
                </a:cubicBezTo>
                <a:cubicBezTo>
                  <a:pt x="6325027" y="6130325"/>
                  <a:pt x="6328533" y="6140897"/>
                  <a:pt x="6332039" y="6147945"/>
                </a:cubicBezTo>
                <a:cubicBezTo>
                  <a:pt x="6349568" y="6151469"/>
                  <a:pt x="6367097" y="6151469"/>
                  <a:pt x="6384626" y="6147945"/>
                </a:cubicBezTo>
                <a:cubicBezTo>
                  <a:pt x="6384626" y="6147945"/>
                  <a:pt x="6391638" y="6165566"/>
                  <a:pt x="6395143" y="6169091"/>
                </a:cubicBezTo>
                <a:cubicBezTo>
                  <a:pt x="6377614" y="6176139"/>
                  <a:pt x="6363592" y="6190235"/>
                  <a:pt x="6356580" y="6204332"/>
                </a:cubicBezTo>
                <a:cubicBezTo>
                  <a:pt x="6356580" y="6204332"/>
                  <a:pt x="6356580" y="6204332"/>
                  <a:pt x="6356580" y="6207856"/>
                </a:cubicBezTo>
                <a:cubicBezTo>
                  <a:pt x="6360085" y="6211380"/>
                  <a:pt x="6363592" y="6221953"/>
                  <a:pt x="6367097" y="6225477"/>
                </a:cubicBezTo>
                <a:cubicBezTo>
                  <a:pt x="6384626" y="6225477"/>
                  <a:pt x="6402155" y="6221953"/>
                  <a:pt x="6419684" y="6211380"/>
                </a:cubicBezTo>
                <a:cubicBezTo>
                  <a:pt x="6419684" y="6214905"/>
                  <a:pt x="6430202" y="6229001"/>
                  <a:pt x="6433707" y="6232526"/>
                </a:cubicBezTo>
                <a:cubicBezTo>
                  <a:pt x="6419684" y="6243098"/>
                  <a:pt x="6412673" y="6260718"/>
                  <a:pt x="6405661" y="6278340"/>
                </a:cubicBezTo>
                <a:cubicBezTo>
                  <a:pt x="6412673" y="6281864"/>
                  <a:pt x="6416178" y="6288912"/>
                  <a:pt x="6423190" y="6292436"/>
                </a:cubicBezTo>
                <a:cubicBezTo>
                  <a:pt x="6440719" y="6288912"/>
                  <a:pt x="6458248" y="6281864"/>
                  <a:pt x="6468766" y="6267768"/>
                </a:cubicBezTo>
                <a:cubicBezTo>
                  <a:pt x="6472271" y="6267768"/>
                  <a:pt x="6486295" y="6281864"/>
                  <a:pt x="6486295" y="6281864"/>
                </a:cubicBezTo>
                <a:cubicBezTo>
                  <a:pt x="6479283" y="6295960"/>
                  <a:pt x="6475777" y="6317106"/>
                  <a:pt x="6475777" y="6331202"/>
                </a:cubicBezTo>
                <a:cubicBezTo>
                  <a:pt x="6475777" y="6331202"/>
                  <a:pt x="6475777" y="6334727"/>
                  <a:pt x="6475777" y="6334727"/>
                </a:cubicBezTo>
                <a:cubicBezTo>
                  <a:pt x="6479283" y="6338251"/>
                  <a:pt x="6486295" y="6341775"/>
                  <a:pt x="6493306" y="6345299"/>
                </a:cubicBezTo>
                <a:cubicBezTo>
                  <a:pt x="6493306" y="6345299"/>
                  <a:pt x="6493306" y="6345299"/>
                  <a:pt x="6496812" y="6345299"/>
                </a:cubicBezTo>
                <a:cubicBezTo>
                  <a:pt x="6510836" y="6338251"/>
                  <a:pt x="6524858" y="6324154"/>
                  <a:pt x="6531870" y="6306533"/>
                </a:cubicBezTo>
                <a:cubicBezTo>
                  <a:pt x="6535376" y="6310057"/>
                  <a:pt x="6549399" y="6313582"/>
                  <a:pt x="6552905" y="6317106"/>
                </a:cubicBezTo>
                <a:cubicBezTo>
                  <a:pt x="6549399" y="6324154"/>
                  <a:pt x="6549399" y="6334727"/>
                  <a:pt x="6549399" y="6341775"/>
                </a:cubicBezTo>
                <a:cubicBezTo>
                  <a:pt x="6549399" y="6352347"/>
                  <a:pt x="6549399" y="6359396"/>
                  <a:pt x="6552905" y="6369969"/>
                </a:cubicBezTo>
                <a:cubicBezTo>
                  <a:pt x="6559917" y="6373493"/>
                  <a:pt x="6566929" y="6373493"/>
                  <a:pt x="6573940" y="6377017"/>
                </a:cubicBezTo>
                <a:cubicBezTo>
                  <a:pt x="6573940" y="6377017"/>
                  <a:pt x="6573940" y="6377017"/>
                  <a:pt x="6577446" y="6377017"/>
                </a:cubicBezTo>
                <a:cubicBezTo>
                  <a:pt x="6587963" y="6362920"/>
                  <a:pt x="6598480" y="6345299"/>
                  <a:pt x="6601987" y="6331202"/>
                </a:cubicBezTo>
                <a:cubicBezTo>
                  <a:pt x="6605492" y="6331202"/>
                  <a:pt x="6623021" y="6331202"/>
                  <a:pt x="6626527" y="6331202"/>
                </a:cubicBezTo>
                <a:cubicBezTo>
                  <a:pt x="6626527" y="6352347"/>
                  <a:pt x="6630033" y="6369969"/>
                  <a:pt x="6640551" y="6384065"/>
                </a:cubicBezTo>
                <a:cubicBezTo>
                  <a:pt x="6647562" y="6384065"/>
                  <a:pt x="6658080" y="6384065"/>
                  <a:pt x="6661585" y="6384065"/>
                </a:cubicBezTo>
                <a:cubicBezTo>
                  <a:pt x="6661585" y="6384065"/>
                  <a:pt x="6661585" y="6384065"/>
                  <a:pt x="6665092" y="6384065"/>
                </a:cubicBezTo>
                <a:cubicBezTo>
                  <a:pt x="6672103" y="6369969"/>
                  <a:pt x="6679114" y="6352347"/>
                  <a:pt x="6679114" y="6331202"/>
                </a:cubicBezTo>
                <a:cubicBezTo>
                  <a:pt x="6679114" y="6331202"/>
                  <a:pt x="6696643" y="6331202"/>
                  <a:pt x="6700150" y="6331202"/>
                </a:cubicBezTo>
                <a:cubicBezTo>
                  <a:pt x="6703655" y="6345299"/>
                  <a:pt x="6714173" y="6362920"/>
                  <a:pt x="6724690" y="6377017"/>
                </a:cubicBezTo>
                <a:cubicBezTo>
                  <a:pt x="6724690" y="6377017"/>
                  <a:pt x="6724690" y="6377017"/>
                  <a:pt x="6728196" y="6377017"/>
                </a:cubicBezTo>
                <a:cubicBezTo>
                  <a:pt x="6735207" y="6373493"/>
                  <a:pt x="6742219" y="6373493"/>
                  <a:pt x="6749231" y="6369969"/>
                </a:cubicBezTo>
                <a:cubicBezTo>
                  <a:pt x="6752736" y="6359396"/>
                  <a:pt x="6752736" y="6352347"/>
                  <a:pt x="6752736" y="6341775"/>
                </a:cubicBezTo>
                <a:cubicBezTo>
                  <a:pt x="6752736" y="6334727"/>
                  <a:pt x="6752736" y="6324154"/>
                  <a:pt x="6749231" y="6317106"/>
                </a:cubicBezTo>
                <a:cubicBezTo>
                  <a:pt x="6752736" y="6313582"/>
                  <a:pt x="6766760" y="6306533"/>
                  <a:pt x="6770266" y="6306533"/>
                </a:cubicBezTo>
                <a:cubicBezTo>
                  <a:pt x="6780783" y="6324154"/>
                  <a:pt x="6791301" y="6334727"/>
                  <a:pt x="6808830" y="6345299"/>
                </a:cubicBezTo>
                <a:cubicBezTo>
                  <a:pt x="6815841" y="6341775"/>
                  <a:pt x="6822853" y="6338251"/>
                  <a:pt x="6826358" y="6334727"/>
                </a:cubicBezTo>
                <a:cubicBezTo>
                  <a:pt x="6826358" y="6334727"/>
                  <a:pt x="6826358" y="6334727"/>
                  <a:pt x="6829865" y="6334727"/>
                </a:cubicBezTo>
                <a:cubicBezTo>
                  <a:pt x="6829865" y="6334727"/>
                  <a:pt x="6829865" y="6331202"/>
                  <a:pt x="6829865" y="6331202"/>
                </a:cubicBezTo>
                <a:cubicBezTo>
                  <a:pt x="6829865" y="6313582"/>
                  <a:pt x="6822853" y="6295960"/>
                  <a:pt x="6815841" y="6281864"/>
                </a:cubicBezTo>
                <a:cubicBezTo>
                  <a:pt x="6815841" y="6278340"/>
                  <a:pt x="6829865" y="6267768"/>
                  <a:pt x="6833370" y="6267768"/>
                </a:cubicBezTo>
                <a:cubicBezTo>
                  <a:pt x="6843888" y="6278340"/>
                  <a:pt x="6861417" y="6288912"/>
                  <a:pt x="6878946" y="6292436"/>
                </a:cubicBezTo>
                <a:cubicBezTo>
                  <a:pt x="6885958" y="6288912"/>
                  <a:pt x="6892970" y="6281864"/>
                  <a:pt x="6896475" y="6278340"/>
                </a:cubicBezTo>
                <a:cubicBezTo>
                  <a:pt x="6896475" y="6278340"/>
                  <a:pt x="6896475" y="6278340"/>
                  <a:pt x="6896475" y="6274816"/>
                </a:cubicBezTo>
                <a:cubicBezTo>
                  <a:pt x="6892970" y="6260718"/>
                  <a:pt x="6882452" y="6243098"/>
                  <a:pt x="6868429" y="6229001"/>
                </a:cubicBezTo>
                <a:cubicBezTo>
                  <a:pt x="6871934" y="6229001"/>
                  <a:pt x="6882452" y="6214905"/>
                  <a:pt x="6882452" y="6211380"/>
                </a:cubicBezTo>
                <a:cubicBezTo>
                  <a:pt x="6899981" y="6221953"/>
                  <a:pt x="6917510" y="6225477"/>
                  <a:pt x="6935039" y="6225477"/>
                </a:cubicBezTo>
                <a:cubicBezTo>
                  <a:pt x="6938545" y="6218429"/>
                  <a:pt x="6942051" y="6211380"/>
                  <a:pt x="6945557" y="6207856"/>
                </a:cubicBezTo>
                <a:cubicBezTo>
                  <a:pt x="6945557" y="6207856"/>
                  <a:pt x="6945557" y="6207856"/>
                  <a:pt x="6945557" y="6204332"/>
                </a:cubicBezTo>
                <a:cubicBezTo>
                  <a:pt x="6938545" y="6190235"/>
                  <a:pt x="6924521" y="6176139"/>
                  <a:pt x="6910499" y="6165566"/>
                </a:cubicBezTo>
                <a:cubicBezTo>
                  <a:pt x="6910499" y="6165566"/>
                  <a:pt x="6917510" y="6147945"/>
                  <a:pt x="6917510" y="6147945"/>
                </a:cubicBezTo>
                <a:cubicBezTo>
                  <a:pt x="6935039" y="6151469"/>
                  <a:pt x="6952568" y="6151469"/>
                  <a:pt x="6970097" y="6147945"/>
                </a:cubicBezTo>
                <a:cubicBezTo>
                  <a:pt x="6970097" y="6147945"/>
                  <a:pt x="6970097" y="6147945"/>
                  <a:pt x="6970097" y="6144421"/>
                </a:cubicBezTo>
                <a:cubicBezTo>
                  <a:pt x="6973603" y="6140897"/>
                  <a:pt x="6977109" y="6130325"/>
                  <a:pt x="6977109" y="6123276"/>
                </a:cubicBezTo>
                <a:cubicBezTo>
                  <a:pt x="6963086" y="6109179"/>
                  <a:pt x="6949062" y="6102131"/>
                  <a:pt x="6931533" y="6095083"/>
                </a:cubicBezTo>
                <a:cubicBezTo>
                  <a:pt x="6931533" y="6095083"/>
                  <a:pt x="6931533" y="6077462"/>
                  <a:pt x="6935039" y="6073938"/>
                </a:cubicBezTo>
                <a:cubicBezTo>
                  <a:pt x="6952568" y="6073938"/>
                  <a:pt x="6970097" y="6070414"/>
                  <a:pt x="6984121" y="6059841"/>
                </a:cubicBezTo>
                <a:cubicBezTo>
                  <a:pt x="6987626" y="6056316"/>
                  <a:pt x="6987626" y="6052792"/>
                  <a:pt x="6987626" y="6049268"/>
                </a:cubicBezTo>
                <a:cubicBezTo>
                  <a:pt x="6987626" y="6045744"/>
                  <a:pt x="6987626" y="6042220"/>
                  <a:pt x="6984121" y="6038696"/>
                </a:cubicBezTo>
                <a:cubicBezTo>
                  <a:pt x="6984121" y="6038696"/>
                  <a:pt x="6984121" y="6038696"/>
                  <a:pt x="6984121" y="6035172"/>
                </a:cubicBezTo>
                <a:cubicBezTo>
                  <a:pt x="6970097" y="6028123"/>
                  <a:pt x="6952568" y="6021074"/>
                  <a:pt x="6935039" y="6021074"/>
                </a:cubicBezTo>
                <a:cubicBezTo>
                  <a:pt x="6935039" y="6021074"/>
                  <a:pt x="6931533" y="6003454"/>
                  <a:pt x="6931533" y="5999930"/>
                </a:cubicBezTo>
                <a:cubicBezTo>
                  <a:pt x="6949062" y="5996406"/>
                  <a:pt x="6966592" y="5985833"/>
                  <a:pt x="6977109" y="5975261"/>
                </a:cubicBezTo>
                <a:cubicBezTo>
                  <a:pt x="6977109" y="5975261"/>
                  <a:pt x="6977109" y="5975261"/>
                  <a:pt x="6977109" y="5971736"/>
                </a:cubicBezTo>
                <a:cubicBezTo>
                  <a:pt x="6977109" y="5964688"/>
                  <a:pt x="6973603" y="5957640"/>
                  <a:pt x="6970097" y="5950591"/>
                </a:cubicBezTo>
                <a:cubicBezTo>
                  <a:pt x="6952568" y="5947067"/>
                  <a:pt x="6935039" y="5947067"/>
                  <a:pt x="6917510" y="5950591"/>
                </a:cubicBezTo>
                <a:cubicBezTo>
                  <a:pt x="6917510" y="5947067"/>
                  <a:pt x="6910499" y="5932971"/>
                  <a:pt x="6910499" y="5929447"/>
                </a:cubicBezTo>
                <a:cubicBezTo>
                  <a:pt x="6924521" y="5918873"/>
                  <a:pt x="6938545" y="5908301"/>
                  <a:pt x="6945557" y="5890680"/>
                </a:cubicBezTo>
                <a:cubicBezTo>
                  <a:pt x="6945557" y="5883632"/>
                  <a:pt x="6938545" y="5876583"/>
                  <a:pt x="6935039" y="5873059"/>
                </a:cubicBezTo>
                <a:cubicBezTo>
                  <a:pt x="6935039" y="5873059"/>
                  <a:pt x="6935039" y="5873059"/>
                  <a:pt x="6935039" y="5869535"/>
                </a:cubicBezTo>
                <a:cubicBezTo>
                  <a:pt x="6917510" y="5869535"/>
                  <a:pt x="6899981" y="5876583"/>
                  <a:pt x="6882452" y="5883632"/>
                </a:cubicBezTo>
                <a:cubicBezTo>
                  <a:pt x="6882452" y="5883632"/>
                  <a:pt x="6871934" y="5869535"/>
                  <a:pt x="6868429" y="5866011"/>
                </a:cubicBezTo>
                <a:cubicBezTo>
                  <a:pt x="6882452" y="5851914"/>
                  <a:pt x="6892970" y="5837818"/>
                  <a:pt x="6896475" y="5820196"/>
                </a:cubicBezTo>
                <a:cubicBezTo>
                  <a:pt x="6892970" y="5813148"/>
                  <a:pt x="6885958" y="5806100"/>
                  <a:pt x="6878946" y="5802576"/>
                </a:cubicBezTo>
                <a:cubicBezTo>
                  <a:pt x="6861417" y="5806100"/>
                  <a:pt x="6847394" y="5816672"/>
                  <a:pt x="6833370" y="5830770"/>
                </a:cubicBezTo>
                <a:cubicBezTo>
                  <a:pt x="6829865" y="5827245"/>
                  <a:pt x="6815841" y="5816672"/>
                  <a:pt x="6815841" y="5816672"/>
                </a:cubicBezTo>
                <a:cubicBezTo>
                  <a:pt x="6822853" y="5799052"/>
                  <a:pt x="6829865" y="5781431"/>
                  <a:pt x="6829865" y="5763810"/>
                </a:cubicBezTo>
                <a:cubicBezTo>
                  <a:pt x="6822853" y="5760286"/>
                  <a:pt x="6815841" y="5753237"/>
                  <a:pt x="6808830" y="5753237"/>
                </a:cubicBezTo>
                <a:cubicBezTo>
                  <a:pt x="6794806" y="5760286"/>
                  <a:pt x="6780783" y="5774382"/>
                  <a:pt x="6770266" y="5788479"/>
                </a:cubicBezTo>
                <a:cubicBezTo>
                  <a:pt x="6766760" y="5788479"/>
                  <a:pt x="6752736" y="5781431"/>
                  <a:pt x="6749231" y="5781431"/>
                </a:cubicBezTo>
                <a:cubicBezTo>
                  <a:pt x="6752736" y="5770858"/>
                  <a:pt x="6752736" y="5763810"/>
                  <a:pt x="6752736" y="5753237"/>
                </a:cubicBezTo>
                <a:cubicBezTo>
                  <a:pt x="6752736" y="5742665"/>
                  <a:pt x="6752736" y="5735617"/>
                  <a:pt x="6749231" y="5728568"/>
                </a:cubicBezTo>
                <a:cubicBezTo>
                  <a:pt x="6749231" y="5728568"/>
                  <a:pt x="6749231" y="5728568"/>
                  <a:pt x="6749231" y="5725044"/>
                </a:cubicBezTo>
                <a:cubicBezTo>
                  <a:pt x="6742219" y="5725044"/>
                  <a:pt x="6735207" y="5721520"/>
                  <a:pt x="6728196" y="5721520"/>
                </a:cubicBezTo>
                <a:cubicBezTo>
                  <a:pt x="6728196" y="5721520"/>
                  <a:pt x="6728196" y="5721520"/>
                  <a:pt x="6724690" y="5721520"/>
                </a:cubicBezTo>
                <a:cubicBezTo>
                  <a:pt x="6714173" y="5732092"/>
                  <a:pt x="6703655" y="5749713"/>
                  <a:pt x="6700150" y="5767334"/>
                </a:cubicBezTo>
                <a:cubicBezTo>
                  <a:pt x="6696643" y="5767334"/>
                  <a:pt x="6679114" y="5763810"/>
                  <a:pt x="6675609" y="5763810"/>
                </a:cubicBezTo>
                <a:cubicBezTo>
                  <a:pt x="6675609" y="5746189"/>
                  <a:pt x="6672103" y="5728568"/>
                  <a:pt x="6661585" y="5710947"/>
                </a:cubicBezTo>
                <a:cubicBezTo>
                  <a:pt x="6654574" y="5710947"/>
                  <a:pt x="6647562" y="5710947"/>
                  <a:pt x="6640551" y="5710947"/>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8" name="Text Placeholder 7">
            <a:extLst>
              <a:ext uri="{FF2B5EF4-FFF2-40B4-BE49-F238E27FC236}">
                <a16:creationId xmlns:a16="http://schemas.microsoft.com/office/drawing/2014/main" id="{4761F3CC-A4B3-4267-B0DB-F55218BAE8C8}"/>
              </a:ext>
            </a:extLst>
          </p:cNvPr>
          <p:cNvSpPr>
            <a:spLocks noGrp="1"/>
          </p:cNvSpPr>
          <p:nvPr>
            <p:ph type="body" sz="quarter" idx="14" hasCustomPrompt="1"/>
          </p:nvPr>
        </p:nvSpPr>
        <p:spPr>
          <a:xfrm>
            <a:off x="0" y="0"/>
            <a:ext cx="12192000" cy="6858000"/>
          </a:xfrm>
          <a:custGeom>
            <a:avLst/>
            <a:gdLst>
              <a:gd name="connsiteX0" fmla="*/ 6948486 w 12192000"/>
              <a:gd name="connsiteY0" fmla="*/ 6345467 h 6858000"/>
              <a:gd name="connsiteX1" fmla="*/ 6954599 w 12192000"/>
              <a:gd name="connsiteY1" fmla="*/ 6345467 h 6858000"/>
              <a:gd name="connsiteX2" fmla="*/ 6959994 w 12192000"/>
              <a:gd name="connsiteY2" fmla="*/ 6346042 h 6858000"/>
              <a:gd name="connsiteX3" fmla="*/ 6962272 w 12192000"/>
              <a:gd name="connsiteY3" fmla="*/ 6347785 h 6858000"/>
              <a:gd name="connsiteX4" fmla="*/ 6963092 w 12192000"/>
              <a:gd name="connsiteY4" fmla="*/ 6350432 h 6858000"/>
              <a:gd name="connsiteX5" fmla="*/ 6961389 w 12192000"/>
              <a:gd name="connsiteY5" fmla="*/ 6354124 h 6858000"/>
              <a:gd name="connsiteX6" fmla="*/ 6955010 w 12192000"/>
              <a:gd name="connsiteY6" fmla="*/ 6355519 h 6858000"/>
              <a:gd name="connsiteX7" fmla="*/ 6948486 w 12192000"/>
              <a:gd name="connsiteY7" fmla="*/ 6355519 h 6858000"/>
              <a:gd name="connsiteX8" fmla="*/ 6943111 w 12192000"/>
              <a:gd name="connsiteY8" fmla="*/ 6340955 h 6858000"/>
              <a:gd name="connsiteX9" fmla="*/ 6943111 w 12192000"/>
              <a:gd name="connsiteY9" fmla="*/ 6374269 h 6858000"/>
              <a:gd name="connsiteX10" fmla="*/ 6948486 w 12192000"/>
              <a:gd name="connsiteY10" fmla="*/ 6374269 h 6858000"/>
              <a:gd name="connsiteX11" fmla="*/ 6948486 w 12192000"/>
              <a:gd name="connsiteY11" fmla="*/ 6360115 h 6858000"/>
              <a:gd name="connsiteX12" fmla="*/ 6951645 w 12192000"/>
              <a:gd name="connsiteY12" fmla="*/ 6360115 h 6858000"/>
              <a:gd name="connsiteX13" fmla="*/ 6955953 w 12192000"/>
              <a:gd name="connsiteY13" fmla="*/ 6361263 h 6858000"/>
              <a:gd name="connsiteX14" fmla="*/ 6961574 w 12192000"/>
              <a:gd name="connsiteY14" fmla="*/ 6369017 h 6858000"/>
              <a:gd name="connsiteX15" fmla="*/ 6964528 w 12192000"/>
              <a:gd name="connsiteY15" fmla="*/ 6374269 h 6858000"/>
              <a:gd name="connsiteX16" fmla="*/ 6971092 w 12192000"/>
              <a:gd name="connsiteY16" fmla="*/ 6374269 h 6858000"/>
              <a:gd name="connsiteX17" fmla="*/ 6967031 w 12192000"/>
              <a:gd name="connsiteY17" fmla="*/ 6367745 h 6858000"/>
              <a:gd name="connsiteX18" fmla="*/ 6962108 w 12192000"/>
              <a:gd name="connsiteY18" fmla="*/ 6361140 h 6858000"/>
              <a:gd name="connsiteX19" fmla="*/ 6959277 w 12192000"/>
              <a:gd name="connsiteY19" fmla="*/ 6359376 h 6858000"/>
              <a:gd name="connsiteX20" fmla="*/ 6966190 w 12192000"/>
              <a:gd name="connsiteY20" fmla="*/ 6356340 h 6858000"/>
              <a:gd name="connsiteX21" fmla="*/ 6968795 w 12192000"/>
              <a:gd name="connsiteY21" fmla="*/ 6349981 h 6858000"/>
              <a:gd name="connsiteX22" fmla="*/ 6967236 w 12192000"/>
              <a:gd name="connsiteY22" fmla="*/ 6345098 h 6858000"/>
              <a:gd name="connsiteX23" fmla="*/ 6963051 w 12192000"/>
              <a:gd name="connsiteY23" fmla="*/ 6341878 h 6858000"/>
              <a:gd name="connsiteX24" fmla="*/ 6954558 w 12192000"/>
              <a:gd name="connsiteY24" fmla="*/ 6340955 h 6858000"/>
              <a:gd name="connsiteX25" fmla="*/ 5903900 w 12192000"/>
              <a:gd name="connsiteY25" fmla="*/ 6338384 h 6858000"/>
              <a:gd name="connsiteX26" fmla="*/ 5907414 w 12192000"/>
              <a:gd name="connsiteY26" fmla="*/ 6338384 h 6858000"/>
              <a:gd name="connsiteX27" fmla="*/ 5907414 w 12192000"/>
              <a:gd name="connsiteY27" fmla="*/ 6341925 h 6858000"/>
              <a:gd name="connsiteX28" fmla="*/ 5879303 w 12192000"/>
              <a:gd name="connsiteY28" fmla="*/ 6377347 h 6858000"/>
              <a:gd name="connsiteX29" fmla="*/ 5861734 w 12192000"/>
              <a:gd name="connsiteY29" fmla="*/ 6359637 h 6858000"/>
              <a:gd name="connsiteX30" fmla="*/ 5903900 w 12192000"/>
              <a:gd name="connsiteY30" fmla="*/ 6338384 h 6858000"/>
              <a:gd name="connsiteX31" fmla="*/ 6956692 w 12192000"/>
              <a:gd name="connsiteY31" fmla="*/ 6331313 h 6858000"/>
              <a:gd name="connsiteX32" fmla="*/ 6969369 w 12192000"/>
              <a:gd name="connsiteY32" fmla="*/ 6334657 h 6858000"/>
              <a:gd name="connsiteX33" fmla="*/ 6979032 w 12192000"/>
              <a:gd name="connsiteY33" fmla="*/ 6344216 h 6858000"/>
              <a:gd name="connsiteX34" fmla="*/ 6982498 w 12192000"/>
              <a:gd name="connsiteY34" fmla="*/ 6357160 h 6858000"/>
              <a:gd name="connsiteX35" fmla="*/ 6979093 w 12192000"/>
              <a:gd name="connsiteY35" fmla="*/ 6369981 h 6858000"/>
              <a:gd name="connsiteX36" fmla="*/ 6969533 w 12192000"/>
              <a:gd name="connsiteY36" fmla="*/ 6379541 h 6858000"/>
              <a:gd name="connsiteX37" fmla="*/ 6956692 w 12192000"/>
              <a:gd name="connsiteY37" fmla="*/ 6382967 h 6858000"/>
              <a:gd name="connsiteX38" fmla="*/ 6943850 w 12192000"/>
              <a:gd name="connsiteY38" fmla="*/ 6379541 h 6858000"/>
              <a:gd name="connsiteX39" fmla="*/ 6934270 w 12192000"/>
              <a:gd name="connsiteY39" fmla="*/ 6369981 h 6858000"/>
              <a:gd name="connsiteX40" fmla="*/ 6930844 w 12192000"/>
              <a:gd name="connsiteY40" fmla="*/ 6357160 h 6858000"/>
              <a:gd name="connsiteX41" fmla="*/ 6934332 w 12192000"/>
              <a:gd name="connsiteY41" fmla="*/ 6344216 h 6858000"/>
              <a:gd name="connsiteX42" fmla="*/ 6943994 w 12192000"/>
              <a:gd name="connsiteY42" fmla="*/ 6334657 h 6858000"/>
              <a:gd name="connsiteX43" fmla="*/ 6956692 w 12192000"/>
              <a:gd name="connsiteY43" fmla="*/ 6331313 h 6858000"/>
              <a:gd name="connsiteX44" fmla="*/ 6956692 w 12192000"/>
              <a:gd name="connsiteY44" fmla="*/ 6326185 h 6858000"/>
              <a:gd name="connsiteX45" fmla="*/ 6941471 w 12192000"/>
              <a:gd name="connsiteY45" fmla="*/ 6330185 h 6858000"/>
              <a:gd name="connsiteX46" fmla="*/ 6929880 w 12192000"/>
              <a:gd name="connsiteY46" fmla="*/ 6341632 h 6858000"/>
              <a:gd name="connsiteX47" fmla="*/ 6925716 w 12192000"/>
              <a:gd name="connsiteY47" fmla="*/ 6357160 h 6858000"/>
              <a:gd name="connsiteX48" fmla="*/ 6929819 w 12192000"/>
              <a:gd name="connsiteY48" fmla="*/ 6372546 h 6858000"/>
              <a:gd name="connsiteX49" fmla="*/ 6941286 w 12192000"/>
              <a:gd name="connsiteY49" fmla="*/ 6384013 h 6858000"/>
              <a:gd name="connsiteX50" fmla="*/ 6956692 w 12192000"/>
              <a:gd name="connsiteY50" fmla="*/ 6388095 h 6858000"/>
              <a:gd name="connsiteX51" fmla="*/ 6972098 w 12192000"/>
              <a:gd name="connsiteY51" fmla="*/ 6384013 h 6858000"/>
              <a:gd name="connsiteX52" fmla="*/ 6983544 w 12192000"/>
              <a:gd name="connsiteY52" fmla="*/ 6372546 h 6858000"/>
              <a:gd name="connsiteX53" fmla="*/ 6987626 w 12192000"/>
              <a:gd name="connsiteY53" fmla="*/ 6357160 h 6858000"/>
              <a:gd name="connsiteX54" fmla="*/ 6983483 w 12192000"/>
              <a:gd name="connsiteY54" fmla="*/ 6341632 h 6858000"/>
              <a:gd name="connsiteX55" fmla="*/ 6971912 w 12192000"/>
              <a:gd name="connsiteY55" fmla="*/ 6330185 h 6858000"/>
              <a:gd name="connsiteX56" fmla="*/ 6956692 w 12192000"/>
              <a:gd name="connsiteY56" fmla="*/ 6326185 h 6858000"/>
              <a:gd name="connsiteX57" fmla="*/ 6093496 w 12192000"/>
              <a:gd name="connsiteY57" fmla="*/ 6296733 h 6858000"/>
              <a:gd name="connsiteX58" fmla="*/ 6125070 w 12192000"/>
              <a:gd name="connsiteY58" fmla="*/ 6337040 h 6858000"/>
              <a:gd name="connsiteX59" fmla="*/ 6093496 w 12192000"/>
              <a:gd name="connsiteY59" fmla="*/ 6377346 h 6858000"/>
              <a:gd name="connsiteX60" fmla="*/ 6061922 w 12192000"/>
              <a:gd name="connsiteY60" fmla="*/ 6337040 h 6858000"/>
              <a:gd name="connsiteX61" fmla="*/ 6093496 w 12192000"/>
              <a:gd name="connsiteY61" fmla="*/ 6296733 h 6858000"/>
              <a:gd name="connsiteX62" fmla="*/ 5783809 w 12192000"/>
              <a:gd name="connsiteY62" fmla="*/ 6296733 h 6858000"/>
              <a:gd name="connsiteX63" fmla="*/ 5812024 w 12192000"/>
              <a:gd name="connsiteY63" fmla="*/ 6337040 h 6858000"/>
              <a:gd name="connsiteX64" fmla="*/ 5783809 w 12192000"/>
              <a:gd name="connsiteY64" fmla="*/ 6377346 h 6858000"/>
              <a:gd name="connsiteX65" fmla="*/ 5755594 w 12192000"/>
              <a:gd name="connsiteY65" fmla="*/ 6337040 h 6858000"/>
              <a:gd name="connsiteX66" fmla="*/ 5783809 w 12192000"/>
              <a:gd name="connsiteY66" fmla="*/ 6296733 h 6858000"/>
              <a:gd name="connsiteX67" fmla="*/ 5471433 w 12192000"/>
              <a:gd name="connsiteY67" fmla="*/ 6296733 h 6858000"/>
              <a:gd name="connsiteX68" fmla="*/ 5503007 w 12192000"/>
              <a:gd name="connsiteY68" fmla="*/ 6337040 h 6858000"/>
              <a:gd name="connsiteX69" fmla="*/ 5471433 w 12192000"/>
              <a:gd name="connsiteY69" fmla="*/ 6377346 h 6858000"/>
              <a:gd name="connsiteX70" fmla="*/ 5439860 w 12192000"/>
              <a:gd name="connsiteY70" fmla="*/ 6337040 h 6858000"/>
              <a:gd name="connsiteX71" fmla="*/ 5471433 w 12192000"/>
              <a:gd name="connsiteY71" fmla="*/ 6296733 h 6858000"/>
              <a:gd name="connsiteX72" fmla="*/ 6016373 w 12192000"/>
              <a:gd name="connsiteY72" fmla="*/ 6291486 h 6858000"/>
              <a:gd name="connsiteX73" fmla="*/ 6016373 w 12192000"/>
              <a:gd name="connsiteY73" fmla="*/ 6387446 h 6858000"/>
              <a:gd name="connsiteX74" fmla="*/ 6028662 w 12192000"/>
              <a:gd name="connsiteY74" fmla="*/ 6387446 h 6858000"/>
              <a:gd name="connsiteX75" fmla="*/ 6028662 w 12192000"/>
              <a:gd name="connsiteY75" fmla="*/ 6291486 h 6858000"/>
              <a:gd name="connsiteX76" fmla="*/ 6160001 w 12192000"/>
              <a:gd name="connsiteY76" fmla="*/ 6290016 h 6858000"/>
              <a:gd name="connsiteX77" fmla="*/ 6160001 w 12192000"/>
              <a:gd name="connsiteY77" fmla="*/ 6314399 h 6858000"/>
              <a:gd name="connsiteX78" fmla="*/ 6160001 w 12192000"/>
              <a:gd name="connsiteY78" fmla="*/ 6384064 h 6858000"/>
              <a:gd name="connsiteX79" fmla="*/ 6173820 w 12192000"/>
              <a:gd name="connsiteY79" fmla="*/ 6384064 h 6858000"/>
              <a:gd name="connsiteX80" fmla="*/ 6173820 w 12192000"/>
              <a:gd name="connsiteY80" fmla="*/ 6331815 h 6858000"/>
              <a:gd name="connsiteX81" fmla="*/ 6201459 w 12192000"/>
              <a:gd name="connsiteY81" fmla="*/ 6296982 h 6858000"/>
              <a:gd name="connsiteX82" fmla="*/ 6222188 w 12192000"/>
              <a:gd name="connsiteY82" fmla="*/ 6328332 h 6858000"/>
              <a:gd name="connsiteX83" fmla="*/ 6222188 w 12192000"/>
              <a:gd name="connsiteY83" fmla="*/ 6384064 h 6858000"/>
              <a:gd name="connsiteX84" fmla="*/ 6232552 w 12192000"/>
              <a:gd name="connsiteY84" fmla="*/ 6384064 h 6858000"/>
              <a:gd name="connsiteX85" fmla="*/ 6232552 w 12192000"/>
              <a:gd name="connsiteY85" fmla="*/ 6324848 h 6858000"/>
              <a:gd name="connsiteX86" fmla="*/ 6201459 w 12192000"/>
              <a:gd name="connsiteY86" fmla="*/ 6290016 h 6858000"/>
              <a:gd name="connsiteX87" fmla="*/ 6170366 w 12192000"/>
              <a:gd name="connsiteY87" fmla="*/ 6307432 h 6858000"/>
              <a:gd name="connsiteX88" fmla="*/ 6170366 w 12192000"/>
              <a:gd name="connsiteY88" fmla="*/ 6290016 h 6858000"/>
              <a:gd name="connsiteX89" fmla="*/ 6160001 w 12192000"/>
              <a:gd name="connsiteY89" fmla="*/ 6290016 h 6858000"/>
              <a:gd name="connsiteX90" fmla="*/ 6090808 w 12192000"/>
              <a:gd name="connsiteY90" fmla="*/ 6290016 h 6858000"/>
              <a:gd name="connsiteX91" fmla="*/ 6047143 w 12192000"/>
              <a:gd name="connsiteY91" fmla="*/ 6339056 h 6858000"/>
              <a:gd name="connsiteX92" fmla="*/ 6090808 w 12192000"/>
              <a:gd name="connsiteY92" fmla="*/ 6388095 h 6858000"/>
              <a:gd name="connsiteX93" fmla="*/ 6134474 w 12192000"/>
              <a:gd name="connsiteY93" fmla="*/ 6339056 h 6858000"/>
              <a:gd name="connsiteX94" fmla="*/ 6090808 w 12192000"/>
              <a:gd name="connsiteY94" fmla="*/ 6290016 h 6858000"/>
              <a:gd name="connsiteX95" fmla="*/ 5885663 w 12192000"/>
              <a:gd name="connsiteY95" fmla="*/ 6290016 h 6858000"/>
              <a:gd name="connsiteX96" fmla="*/ 5857511 w 12192000"/>
              <a:gd name="connsiteY96" fmla="*/ 6293519 h 6858000"/>
              <a:gd name="connsiteX97" fmla="*/ 5857511 w 12192000"/>
              <a:gd name="connsiteY97" fmla="*/ 6307530 h 6858000"/>
              <a:gd name="connsiteX98" fmla="*/ 5885663 w 12192000"/>
              <a:gd name="connsiteY98" fmla="*/ 6297022 h 6858000"/>
              <a:gd name="connsiteX99" fmla="*/ 5906775 w 12192000"/>
              <a:gd name="connsiteY99" fmla="*/ 6321542 h 6858000"/>
              <a:gd name="connsiteX100" fmla="*/ 5906775 w 12192000"/>
              <a:gd name="connsiteY100" fmla="*/ 6328547 h 6858000"/>
              <a:gd name="connsiteX101" fmla="*/ 5846955 w 12192000"/>
              <a:gd name="connsiteY101" fmla="*/ 6360072 h 6858000"/>
              <a:gd name="connsiteX102" fmla="*/ 5878625 w 12192000"/>
              <a:gd name="connsiteY102" fmla="*/ 6388095 h 6858000"/>
              <a:gd name="connsiteX103" fmla="*/ 5906775 w 12192000"/>
              <a:gd name="connsiteY103" fmla="*/ 6370581 h 6858000"/>
              <a:gd name="connsiteX104" fmla="*/ 5910294 w 12192000"/>
              <a:gd name="connsiteY104" fmla="*/ 6370581 h 6858000"/>
              <a:gd name="connsiteX105" fmla="*/ 5910294 w 12192000"/>
              <a:gd name="connsiteY105" fmla="*/ 6384592 h 6858000"/>
              <a:gd name="connsiteX106" fmla="*/ 5920851 w 12192000"/>
              <a:gd name="connsiteY106" fmla="*/ 6384592 h 6858000"/>
              <a:gd name="connsiteX107" fmla="*/ 5920851 w 12192000"/>
              <a:gd name="connsiteY107" fmla="*/ 6367078 h 6858000"/>
              <a:gd name="connsiteX108" fmla="*/ 5920851 w 12192000"/>
              <a:gd name="connsiteY108" fmla="*/ 6325045 h 6858000"/>
              <a:gd name="connsiteX109" fmla="*/ 5885663 w 12192000"/>
              <a:gd name="connsiteY109" fmla="*/ 6290016 h 6858000"/>
              <a:gd name="connsiteX110" fmla="*/ 5644079 w 12192000"/>
              <a:gd name="connsiteY110" fmla="*/ 6290016 h 6858000"/>
              <a:gd name="connsiteX111" fmla="*/ 5644079 w 12192000"/>
              <a:gd name="connsiteY111" fmla="*/ 6314399 h 6858000"/>
              <a:gd name="connsiteX112" fmla="*/ 5644079 w 12192000"/>
              <a:gd name="connsiteY112" fmla="*/ 6384064 h 6858000"/>
              <a:gd name="connsiteX113" fmla="*/ 5658155 w 12192000"/>
              <a:gd name="connsiteY113" fmla="*/ 6384064 h 6858000"/>
              <a:gd name="connsiteX114" fmla="*/ 5658155 w 12192000"/>
              <a:gd name="connsiteY114" fmla="*/ 6331815 h 6858000"/>
              <a:gd name="connsiteX115" fmla="*/ 5686305 w 12192000"/>
              <a:gd name="connsiteY115" fmla="*/ 6296982 h 6858000"/>
              <a:gd name="connsiteX116" fmla="*/ 5707418 w 12192000"/>
              <a:gd name="connsiteY116" fmla="*/ 6328332 h 6858000"/>
              <a:gd name="connsiteX117" fmla="*/ 5707418 w 12192000"/>
              <a:gd name="connsiteY117" fmla="*/ 6384064 h 6858000"/>
              <a:gd name="connsiteX118" fmla="*/ 5717975 w 12192000"/>
              <a:gd name="connsiteY118" fmla="*/ 6384064 h 6858000"/>
              <a:gd name="connsiteX119" fmla="*/ 5717975 w 12192000"/>
              <a:gd name="connsiteY119" fmla="*/ 6324848 h 6858000"/>
              <a:gd name="connsiteX120" fmla="*/ 5686305 w 12192000"/>
              <a:gd name="connsiteY120" fmla="*/ 6290016 h 6858000"/>
              <a:gd name="connsiteX121" fmla="*/ 5654636 w 12192000"/>
              <a:gd name="connsiteY121" fmla="*/ 6307432 h 6858000"/>
              <a:gd name="connsiteX122" fmla="*/ 5654636 w 12192000"/>
              <a:gd name="connsiteY122" fmla="*/ 6290016 h 6858000"/>
              <a:gd name="connsiteX123" fmla="*/ 5644079 w 12192000"/>
              <a:gd name="connsiteY123" fmla="*/ 6290016 h 6858000"/>
              <a:gd name="connsiteX124" fmla="*/ 5541970 w 12192000"/>
              <a:gd name="connsiteY124" fmla="*/ 6290016 h 6858000"/>
              <a:gd name="connsiteX125" fmla="*/ 5541970 w 12192000"/>
              <a:gd name="connsiteY125" fmla="*/ 6353066 h 6858000"/>
              <a:gd name="connsiteX126" fmla="*/ 5573640 w 12192000"/>
              <a:gd name="connsiteY126" fmla="*/ 6388095 h 6858000"/>
              <a:gd name="connsiteX127" fmla="*/ 5605309 w 12192000"/>
              <a:gd name="connsiteY127" fmla="*/ 6370581 h 6858000"/>
              <a:gd name="connsiteX128" fmla="*/ 5605309 w 12192000"/>
              <a:gd name="connsiteY128" fmla="*/ 6384592 h 6858000"/>
              <a:gd name="connsiteX129" fmla="*/ 5615865 w 12192000"/>
              <a:gd name="connsiteY129" fmla="*/ 6384592 h 6858000"/>
              <a:gd name="connsiteX130" fmla="*/ 5615865 w 12192000"/>
              <a:gd name="connsiteY130" fmla="*/ 6363575 h 6858000"/>
              <a:gd name="connsiteX131" fmla="*/ 5615865 w 12192000"/>
              <a:gd name="connsiteY131" fmla="*/ 6290016 h 6858000"/>
              <a:gd name="connsiteX132" fmla="*/ 5601790 w 12192000"/>
              <a:gd name="connsiteY132" fmla="*/ 6290016 h 6858000"/>
              <a:gd name="connsiteX133" fmla="*/ 5601790 w 12192000"/>
              <a:gd name="connsiteY133" fmla="*/ 6342558 h 6858000"/>
              <a:gd name="connsiteX134" fmla="*/ 5573640 w 12192000"/>
              <a:gd name="connsiteY134" fmla="*/ 6377586 h 6858000"/>
              <a:gd name="connsiteX135" fmla="*/ 5552527 w 12192000"/>
              <a:gd name="connsiteY135" fmla="*/ 6349564 h 6858000"/>
              <a:gd name="connsiteX136" fmla="*/ 5552527 w 12192000"/>
              <a:gd name="connsiteY136" fmla="*/ 6290016 h 6858000"/>
              <a:gd name="connsiteX137" fmla="*/ 5541970 w 12192000"/>
              <a:gd name="connsiteY137" fmla="*/ 6290016 h 6858000"/>
              <a:gd name="connsiteX138" fmla="*/ 5473449 w 12192000"/>
              <a:gd name="connsiteY138" fmla="*/ 6290016 h 6858000"/>
              <a:gd name="connsiteX139" fmla="*/ 5429111 w 12192000"/>
              <a:gd name="connsiteY139" fmla="*/ 6339056 h 6858000"/>
              <a:gd name="connsiteX140" fmla="*/ 5473449 w 12192000"/>
              <a:gd name="connsiteY140" fmla="*/ 6388095 h 6858000"/>
              <a:gd name="connsiteX141" fmla="*/ 5517786 w 12192000"/>
              <a:gd name="connsiteY141" fmla="*/ 6339056 h 6858000"/>
              <a:gd name="connsiteX142" fmla="*/ 5473449 w 12192000"/>
              <a:gd name="connsiteY142" fmla="*/ 6290016 h 6858000"/>
              <a:gd name="connsiteX143" fmla="*/ 6657114 w 12192000"/>
              <a:gd name="connsiteY143" fmla="*/ 6275237 h 6858000"/>
              <a:gd name="connsiteX144" fmla="*/ 6661144 w 12192000"/>
              <a:gd name="connsiteY144" fmla="*/ 6285986 h 6858000"/>
              <a:gd name="connsiteX145" fmla="*/ 6665175 w 12192000"/>
              <a:gd name="connsiteY145" fmla="*/ 6292704 h 6858000"/>
              <a:gd name="connsiteX146" fmla="*/ 6650396 w 12192000"/>
              <a:gd name="connsiteY146" fmla="*/ 6292704 h 6858000"/>
              <a:gd name="connsiteX147" fmla="*/ 6654427 w 12192000"/>
              <a:gd name="connsiteY147" fmla="*/ 6285986 h 6858000"/>
              <a:gd name="connsiteX148" fmla="*/ 6661257 w 12192000"/>
              <a:gd name="connsiteY148" fmla="*/ 6264489 h 6858000"/>
              <a:gd name="connsiteX149" fmla="*/ 6650844 w 12192000"/>
              <a:gd name="connsiteY149" fmla="*/ 6268003 h 6858000"/>
              <a:gd name="connsiteX150" fmla="*/ 6647373 w 12192000"/>
              <a:gd name="connsiteY150" fmla="*/ 6285573 h 6858000"/>
              <a:gd name="connsiteX151" fmla="*/ 6636960 w 12192000"/>
              <a:gd name="connsiteY151" fmla="*/ 6306655 h 6858000"/>
              <a:gd name="connsiteX152" fmla="*/ 6647373 w 12192000"/>
              <a:gd name="connsiteY152" fmla="*/ 6310169 h 6858000"/>
              <a:gd name="connsiteX153" fmla="*/ 6647373 w 12192000"/>
              <a:gd name="connsiteY153" fmla="*/ 6299628 h 6858000"/>
              <a:gd name="connsiteX154" fmla="*/ 6668198 w 12192000"/>
              <a:gd name="connsiteY154" fmla="*/ 6299628 h 6858000"/>
              <a:gd name="connsiteX155" fmla="*/ 6668198 w 12192000"/>
              <a:gd name="connsiteY155" fmla="*/ 6306655 h 6858000"/>
              <a:gd name="connsiteX156" fmla="*/ 6678611 w 12192000"/>
              <a:gd name="connsiteY156" fmla="*/ 6306655 h 6858000"/>
              <a:gd name="connsiteX157" fmla="*/ 6668198 w 12192000"/>
              <a:gd name="connsiteY157" fmla="*/ 6285573 h 6858000"/>
              <a:gd name="connsiteX158" fmla="*/ 6661257 w 12192000"/>
              <a:gd name="connsiteY158" fmla="*/ 6268003 h 6858000"/>
              <a:gd name="connsiteX159" fmla="*/ 6661257 w 12192000"/>
              <a:gd name="connsiteY159" fmla="*/ 6264489 h 6858000"/>
              <a:gd name="connsiteX160" fmla="*/ 5966262 w 12192000"/>
              <a:gd name="connsiteY160" fmla="*/ 6264488 h 6858000"/>
              <a:gd name="connsiteX161" fmla="*/ 5955783 w 12192000"/>
              <a:gd name="connsiteY161" fmla="*/ 6268020 h 6858000"/>
              <a:gd name="connsiteX162" fmla="*/ 5955783 w 12192000"/>
              <a:gd name="connsiteY162" fmla="*/ 6289209 h 6858000"/>
              <a:gd name="connsiteX163" fmla="*/ 5938316 w 12192000"/>
              <a:gd name="connsiteY163" fmla="*/ 6289209 h 6858000"/>
              <a:gd name="connsiteX164" fmla="*/ 5938316 w 12192000"/>
              <a:gd name="connsiteY164" fmla="*/ 6299804 h 6858000"/>
              <a:gd name="connsiteX165" fmla="*/ 5955783 w 12192000"/>
              <a:gd name="connsiteY165" fmla="*/ 6299804 h 6858000"/>
              <a:gd name="connsiteX166" fmla="*/ 5955783 w 12192000"/>
              <a:gd name="connsiteY166" fmla="*/ 6356310 h 6858000"/>
              <a:gd name="connsiteX167" fmla="*/ 5976742 w 12192000"/>
              <a:gd name="connsiteY167" fmla="*/ 6388094 h 6858000"/>
              <a:gd name="connsiteX168" fmla="*/ 5990715 w 12192000"/>
              <a:gd name="connsiteY168" fmla="*/ 6384563 h 6858000"/>
              <a:gd name="connsiteX169" fmla="*/ 5990715 w 12192000"/>
              <a:gd name="connsiteY169" fmla="*/ 6373968 h 6858000"/>
              <a:gd name="connsiteX170" fmla="*/ 5980235 w 12192000"/>
              <a:gd name="connsiteY170" fmla="*/ 6377499 h 6858000"/>
              <a:gd name="connsiteX171" fmla="*/ 5966262 w 12192000"/>
              <a:gd name="connsiteY171" fmla="*/ 6363373 h 6858000"/>
              <a:gd name="connsiteX172" fmla="*/ 5966262 w 12192000"/>
              <a:gd name="connsiteY172" fmla="*/ 6299804 h 6858000"/>
              <a:gd name="connsiteX173" fmla="*/ 5987221 w 12192000"/>
              <a:gd name="connsiteY173" fmla="*/ 6299804 h 6858000"/>
              <a:gd name="connsiteX174" fmla="*/ 5987221 w 12192000"/>
              <a:gd name="connsiteY174" fmla="*/ 6289209 h 6858000"/>
              <a:gd name="connsiteX175" fmla="*/ 5966262 w 12192000"/>
              <a:gd name="connsiteY175" fmla="*/ 6289209 h 6858000"/>
              <a:gd name="connsiteX176" fmla="*/ 5966262 w 12192000"/>
              <a:gd name="connsiteY176" fmla="*/ 6264488 h 6858000"/>
              <a:gd name="connsiteX177" fmla="*/ 6601692 w 12192000"/>
              <a:gd name="connsiteY177" fmla="*/ 6261802 h 6858000"/>
              <a:gd name="connsiteX178" fmla="*/ 6591280 w 12192000"/>
              <a:gd name="connsiteY178" fmla="*/ 6303968 h 6858000"/>
              <a:gd name="connsiteX179" fmla="*/ 6601692 w 12192000"/>
              <a:gd name="connsiteY179" fmla="*/ 6303968 h 6858000"/>
              <a:gd name="connsiteX180" fmla="*/ 6605163 w 12192000"/>
              <a:gd name="connsiteY180" fmla="*/ 6279372 h 6858000"/>
              <a:gd name="connsiteX181" fmla="*/ 6619047 w 12192000"/>
              <a:gd name="connsiteY181" fmla="*/ 6307482 h 6858000"/>
              <a:gd name="connsiteX182" fmla="*/ 6625989 w 12192000"/>
              <a:gd name="connsiteY182" fmla="*/ 6307482 h 6858000"/>
              <a:gd name="connsiteX183" fmla="*/ 6632930 w 12192000"/>
              <a:gd name="connsiteY183" fmla="*/ 6265316 h 6858000"/>
              <a:gd name="connsiteX184" fmla="*/ 6625989 w 12192000"/>
              <a:gd name="connsiteY184" fmla="*/ 6265316 h 6858000"/>
              <a:gd name="connsiteX185" fmla="*/ 6622518 w 12192000"/>
              <a:gd name="connsiteY185" fmla="*/ 6293427 h 6858000"/>
              <a:gd name="connsiteX186" fmla="*/ 6608635 w 12192000"/>
              <a:gd name="connsiteY186" fmla="*/ 6261802 h 6858000"/>
              <a:gd name="connsiteX187" fmla="*/ 6601692 w 12192000"/>
              <a:gd name="connsiteY187" fmla="*/ 6261802 h 6858000"/>
              <a:gd name="connsiteX188" fmla="*/ 6710855 w 12192000"/>
              <a:gd name="connsiteY188" fmla="*/ 6257772 h 6858000"/>
              <a:gd name="connsiteX189" fmla="*/ 6675923 w 12192000"/>
              <a:gd name="connsiteY189" fmla="*/ 6264873 h 6858000"/>
              <a:gd name="connsiteX190" fmla="*/ 6675923 w 12192000"/>
              <a:gd name="connsiteY190" fmla="*/ 6271975 h 6858000"/>
              <a:gd name="connsiteX191" fmla="*/ 6689896 w 12192000"/>
              <a:gd name="connsiteY191" fmla="*/ 6271975 h 6858000"/>
              <a:gd name="connsiteX192" fmla="*/ 6696882 w 12192000"/>
              <a:gd name="connsiteY192" fmla="*/ 6307483 h 6858000"/>
              <a:gd name="connsiteX193" fmla="*/ 6703869 w 12192000"/>
              <a:gd name="connsiteY193" fmla="*/ 6303932 h 6858000"/>
              <a:gd name="connsiteX194" fmla="*/ 6696882 w 12192000"/>
              <a:gd name="connsiteY194" fmla="*/ 6268424 h 6858000"/>
              <a:gd name="connsiteX195" fmla="*/ 6710855 w 12192000"/>
              <a:gd name="connsiteY195" fmla="*/ 6264873 h 6858000"/>
              <a:gd name="connsiteX196" fmla="*/ 6566559 w 12192000"/>
              <a:gd name="connsiteY196" fmla="*/ 6257772 h 6858000"/>
              <a:gd name="connsiteX197" fmla="*/ 6577039 w 12192000"/>
              <a:gd name="connsiteY197" fmla="*/ 6261131 h 6858000"/>
              <a:gd name="connsiteX198" fmla="*/ 6580532 w 12192000"/>
              <a:gd name="connsiteY198" fmla="*/ 6264490 h 6858000"/>
              <a:gd name="connsiteX199" fmla="*/ 6580532 w 12192000"/>
              <a:gd name="connsiteY199" fmla="*/ 6267848 h 6858000"/>
              <a:gd name="connsiteX200" fmla="*/ 6573545 w 12192000"/>
              <a:gd name="connsiteY200" fmla="*/ 6271207 h 6858000"/>
              <a:gd name="connsiteX201" fmla="*/ 6563065 w 12192000"/>
              <a:gd name="connsiteY201" fmla="*/ 6267848 h 6858000"/>
              <a:gd name="connsiteX202" fmla="*/ 6566559 w 12192000"/>
              <a:gd name="connsiteY202" fmla="*/ 6264490 h 6858000"/>
              <a:gd name="connsiteX203" fmla="*/ 6566559 w 12192000"/>
              <a:gd name="connsiteY203" fmla="*/ 6257772 h 6858000"/>
              <a:gd name="connsiteX204" fmla="*/ 6016373 w 12192000"/>
              <a:gd name="connsiteY204" fmla="*/ 6255886 h 6858000"/>
              <a:gd name="connsiteX205" fmla="*/ 6016373 w 12192000"/>
              <a:gd name="connsiteY205" fmla="*/ 6269580 h 6858000"/>
              <a:gd name="connsiteX206" fmla="*/ 6028662 w 12192000"/>
              <a:gd name="connsiteY206" fmla="*/ 6269580 h 6858000"/>
              <a:gd name="connsiteX207" fmla="*/ 6028662 w 12192000"/>
              <a:gd name="connsiteY207" fmla="*/ 6255886 h 6858000"/>
              <a:gd name="connsiteX208" fmla="*/ 6717573 w 12192000"/>
              <a:gd name="connsiteY208" fmla="*/ 6253740 h 6858000"/>
              <a:gd name="connsiteX209" fmla="*/ 6731393 w 12192000"/>
              <a:gd name="connsiteY209" fmla="*/ 6296734 h 6858000"/>
              <a:gd name="connsiteX210" fmla="*/ 6741757 w 12192000"/>
              <a:gd name="connsiteY210" fmla="*/ 6293151 h 6858000"/>
              <a:gd name="connsiteX211" fmla="*/ 6727938 w 12192000"/>
              <a:gd name="connsiteY211" fmla="*/ 6253740 h 6858000"/>
              <a:gd name="connsiteX212" fmla="*/ 6717573 w 12192000"/>
              <a:gd name="connsiteY212" fmla="*/ 6253740 h 6858000"/>
              <a:gd name="connsiteX213" fmla="*/ 5348499 w 12192000"/>
              <a:gd name="connsiteY213" fmla="*/ 6253740 h 6858000"/>
              <a:gd name="connsiteX214" fmla="*/ 5348499 w 12192000"/>
              <a:gd name="connsiteY214" fmla="*/ 6384064 h 6858000"/>
              <a:gd name="connsiteX215" fmla="*/ 5363278 w 12192000"/>
              <a:gd name="connsiteY215" fmla="*/ 6384064 h 6858000"/>
              <a:gd name="connsiteX216" fmla="*/ 5363278 w 12192000"/>
              <a:gd name="connsiteY216" fmla="*/ 6324948 h 6858000"/>
              <a:gd name="connsiteX217" fmla="*/ 5408960 w 12192000"/>
              <a:gd name="connsiteY217" fmla="*/ 6324948 h 6858000"/>
              <a:gd name="connsiteX218" fmla="*/ 5408960 w 12192000"/>
              <a:gd name="connsiteY218" fmla="*/ 6314200 h 6858000"/>
              <a:gd name="connsiteX219" fmla="*/ 5363278 w 12192000"/>
              <a:gd name="connsiteY219" fmla="*/ 6314200 h 6858000"/>
              <a:gd name="connsiteX220" fmla="*/ 5363278 w 12192000"/>
              <a:gd name="connsiteY220" fmla="*/ 6264488 h 6858000"/>
              <a:gd name="connsiteX221" fmla="*/ 5411646 w 12192000"/>
              <a:gd name="connsiteY221" fmla="*/ 6264488 h 6858000"/>
              <a:gd name="connsiteX222" fmla="*/ 5411646 w 12192000"/>
              <a:gd name="connsiteY222" fmla="*/ 6253740 h 6858000"/>
              <a:gd name="connsiteX223" fmla="*/ 6562954 w 12192000"/>
              <a:gd name="connsiteY223" fmla="*/ 6247023 h 6858000"/>
              <a:gd name="connsiteX224" fmla="*/ 6556012 w 12192000"/>
              <a:gd name="connsiteY224" fmla="*/ 6264490 h 6858000"/>
              <a:gd name="connsiteX225" fmla="*/ 6556012 w 12192000"/>
              <a:gd name="connsiteY225" fmla="*/ 6267982 h 6858000"/>
              <a:gd name="connsiteX226" fmla="*/ 6545599 w 12192000"/>
              <a:gd name="connsiteY226" fmla="*/ 6285449 h 6858000"/>
              <a:gd name="connsiteX227" fmla="*/ 6556012 w 12192000"/>
              <a:gd name="connsiteY227" fmla="*/ 6288942 h 6858000"/>
              <a:gd name="connsiteX228" fmla="*/ 6559483 w 12192000"/>
              <a:gd name="connsiteY228" fmla="*/ 6274969 h 6858000"/>
              <a:gd name="connsiteX229" fmla="*/ 6569896 w 12192000"/>
              <a:gd name="connsiteY229" fmla="*/ 6278463 h 6858000"/>
              <a:gd name="connsiteX230" fmla="*/ 6569896 w 12192000"/>
              <a:gd name="connsiteY230" fmla="*/ 6295928 h 6858000"/>
              <a:gd name="connsiteX231" fmla="*/ 6580308 w 12192000"/>
              <a:gd name="connsiteY231" fmla="*/ 6299422 h 6858000"/>
              <a:gd name="connsiteX232" fmla="*/ 6576837 w 12192000"/>
              <a:gd name="connsiteY232" fmla="*/ 6278463 h 6858000"/>
              <a:gd name="connsiteX233" fmla="*/ 6587250 w 12192000"/>
              <a:gd name="connsiteY233" fmla="*/ 6267982 h 6858000"/>
              <a:gd name="connsiteX234" fmla="*/ 6587250 w 12192000"/>
              <a:gd name="connsiteY234" fmla="*/ 6264490 h 6858000"/>
              <a:gd name="connsiteX235" fmla="*/ 6580308 w 12192000"/>
              <a:gd name="connsiteY235" fmla="*/ 6254010 h 6858000"/>
              <a:gd name="connsiteX236" fmla="*/ 6562954 w 12192000"/>
              <a:gd name="connsiteY236" fmla="*/ 6247023 h 6858000"/>
              <a:gd name="connsiteX237" fmla="*/ 6768052 w 12192000"/>
              <a:gd name="connsiteY237" fmla="*/ 6244316 h 6858000"/>
              <a:gd name="connsiteX238" fmla="*/ 6776689 w 12192000"/>
              <a:gd name="connsiteY238" fmla="*/ 6250047 h 6858000"/>
              <a:gd name="connsiteX239" fmla="*/ 6776689 w 12192000"/>
              <a:gd name="connsiteY239" fmla="*/ 6257100 h 6858000"/>
              <a:gd name="connsiteX240" fmla="*/ 6773234 w 12192000"/>
              <a:gd name="connsiteY240" fmla="*/ 6267681 h 6858000"/>
              <a:gd name="connsiteX241" fmla="*/ 6769780 w 12192000"/>
              <a:gd name="connsiteY241" fmla="*/ 6271208 h 6858000"/>
              <a:gd name="connsiteX242" fmla="*/ 6755960 w 12192000"/>
              <a:gd name="connsiteY242" fmla="*/ 6267681 h 6858000"/>
              <a:gd name="connsiteX243" fmla="*/ 6752505 w 12192000"/>
              <a:gd name="connsiteY243" fmla="*/ 6264155 h 6858000"/>
              <a:gd name="connsiteX244" fmla="*/ 6752505 w 12192000"/>
              <a:gd name="connsiteY244" fmla="*/ 6257100 h 6858000"/>
              <a:gd name="connsiteX245" fmla="*/ 6759415 w 12192000"/>
              <a:gd name="connsiteY245" fmla="*/ 6246520 h 6858000"/>
              <a:gd name="connsiteX246" fmla="*/ 6768052 w 12192000"/>
              <a:gd name="connsiteY246" fmla="*/ 6244316 h 6858000"/>
              <a:gd name="connsiteX247" fmla="*/ 5812549 w 12192000"/>
              <a:gd name="connsiteY247" fmla="*/ 6242991 h 6858000"/>
              <a:gd name="connsiteX248" fmla="*/ 5812549 w 12192000"/>
              <a:gd name="connsiteY248" fmla="*/ 6306695 h 6858000"/>
              <a:gd name="connsiteX249" fmla="*/ 5784042 w 12192000"/>
              <a:gd name="connsiteY249" fmla="*/ 6288999 h 6858000"/>
              <a:gd name="connsiteX250" fmla="*/ 5744846 w 12192000"/>
              <a:gd name="connsiteY250" fmla="*/ 6338547 h 6858000"/>
              <a:gd name="connsiteX251" fmla="*/ 5784042 w 12192000"/>
              <a:gd name="connsiteY251" fmla="*/ 6388094 h 6858000"/>
              <a:gd name="connsiteX252" fmla="*/ 5812549 w 12192000"/>
              <a:gd name="connsiteY252" fmla="*/ 6370398 h 6858000"/>
              <a:gd name="connsiteX253" fmla="*/ 5812549 w 12192000"/>
              <a:gd name="connsiteY253" fmla="*/ 6384555 h 6858000"/>
              <a:gd name="connsiteX254" fmla="*/ 5826802 w 12192000"/>
              <a:gd name="connsiteY254" fmla="*/ 6384555 h 6858000"/>
              <a:gd name="connsiteX255" fmla="*/ 5826802 w 12192000"/>
              <a:gd name="connsiteY255" fmla="*/ 6242991 h 6858000"/>
              <a:gd name="connsiteX256" fmla="*/ 5812549 w 12192000"/>
              <a:gd name="connsiteY256" fmla="*/ 6242991 h 6858000"/>
              <a:gd name="connsiteX257" fmla="*/ 6769972 w 12192000"/>
              <a:gd name="connsiteY257" fmla="*/ 6237475 h 6858000"/>
              <a:gd name="connsiteX258" fmla="*/ 6752505 w 12192000"/>
              <a:gd name="connsiteY258" fmla="*/ 6240498 h 6858000"/>
              <a:gd name="connsiteX259" fmla="*/ 6741757 w 12192000"/>
              <a:gd name="connsiteY259" fmla="*/ 6257772 h 6858000"/>
              <a:gd name="connsiteX260" fmla="*/ 6745339 w 12192000"/>
              <a:gd name="connsiteY260" fmla="*/ 6268137 h 6858000"/>
              <a:gd name="connsiteX261" fmla="*/ 6774002 w 12192000"/>
              <a:gd name="connsiteY261" fmla="*/ 6275047 h 6858000"/>
              <a:gd name="connsiteX262" fmla="*/ 6784750 w 12192000"/>
              <a:gd name="connsiteY262" fmla="*/ 6268137 h 6858000"/>
              <a:gd name="connsiteX263" fmla="*/ 6784750 w 12192000"/>
              <a:gd name="connsiteY263" fmla="*/ 6257772 h 6858000"/>
              <a:gd name="connsiteX264" fmla="*/ 6784750 w 12192000"/>
              <a:gd name="connsiteY264" fmla="*/ 6247408 h 6858000"/>
              <a:gd name="connsiteX265" fmla="*/ 6769972 w 12192000"/>
              <a:gd name="connsiteY265" fmla="*/ 6237475 h 6858000"/>
              <a:gd name="connsiteX266" fmla="*/ 6527720 w 12192000"/>
              <a:gd name="connsiteY266" fmla="*/ 6229557 h 6858000"/>
              <a:gd name="connsiteX267" fmla="*/ 6506636 w 12192000"/>
              <a:gd name="connsiteY267" fmla="*/ 6264489 h 6858000"/>
              <a:gd name="connsiteX268" fmla="*/ 6531234 w 12192000"/>
              <a:gd name="connsiteY268" fmla="*/ 6281955 h 6858000"/>
              <a:gd name="connsiteX269" fmla="*/ 6534748 w 12192000"/>
              <a:gd name="connsiteY269" fmla="*/ 6274969 h 6858000"/>
              <a:gd name="connsiteX270" fmla="*/ 6517178 w 12192000"/>
              <a:gd name="connsiteY270" fmla="*/ 6264489 h 6858000"/>
              <a:gd name="connsiteX271" fmla="*/ 6524206 w 12192000"/>
              <a:gd name="connsiteY271" fmla="*/ 6254010 h 6858000"/>
              <a:gd name="connsiteX272" fmla="*/ 6534748 w 12192000"/>
              <a:gd name="connsiteY272" fmla="*/ 6260996 h 6858000"/>
              <a:gd name="connsiteX273" fmla="*/ 6538261 w 12192000"/>
              <a:gd name="connsiteY273" fmla="*/ 6254010 h 6858000"/>
              <a:gd name="connsiteX274" fmla="*/ 6527720 w 12192000"/>
              <a:gd name="connsiteY274" fmla="*/ 6247023 h 6858000"/>
              <a:gd name="connsiteX275" fmla="*/ 6531234 w 12192000"/>
              <a:gd name="connsiteY275" fmla="*/ 6240037 h 6858000"/>
              <a:gd name="connsiteX276" fmla="*/ 6548803 w 12192000"/>
              <a:gd name="connsiteY276" fmla="*/ 6250516 h 6858000"/>
              <a:gd name="connsiteX277" fmla="*/ 6552317 w 12192000"/>
              <a:gd name="connsiteY277" fmla="*/ 6243529 h 6858000"/>
              <a:gd name="connsiteX278" fmla="*/ 6527720 w 12192000"/>
              <a:gd name="connsiteY278" fmla="*/ 6229557 h 6858000"/>
              <a:gd name="connsiteX279" fmla="*/ 6805172 w 12192000"/>
              <a:gd name="connsiteY279" fmla="*/ 6201343 h 6858000"/>
              <a:gd name="connsiteX280" fmla="*/ 6798186 w 12192000"/>
              <a:gd name="connsiteY280" fmla="*/ 6208396 h 6858000"/>
              <a:gd name="connsiteX281" fmla="*/ 6815652 w 12192000"/>
              <a:gd name="connsiteY281" fmla="*/ 6226030 h 6858000"/>
              <a:gd name="connsiteX282" fmla="*/ 6787706 w 12192000"/>
              <a:gd name="connsiteY282" fmla="*/ 6218977 h 6858000"/>
              <a:gd name="connsiteX283" fmla="*/ 6780719 w 12192000"/>
              <a:gd name="connsiteY283" fmla="*/ 6222503 h 6858000"/>
              <a:gd name="connsiteX284" fmla="*/ 6805172 w 12192000"/>
              <a:gd name="connsiteY284" fmla="*/ 6257772 h 6858000"/>
              <a:gd name="connsiteX285" fmla="*/ 6812159 w 12192000"/>
              <a:gd name="connsiteY285" fmla="*/ 6250718 h 6858000"/>
              <a:gd name="connsiteX286" fmla="*/ 6798186 w 12192000"/>
              <a:gd name="connsiteY286" fmla="*/ 6229557 h 6858000"/>
              <a:gd name="connsiteX287" fmla="*/ 6826132 w 12192000"/>
              <a:gd name="connsiteY287" fmla="*/ 6240137 h 6858000"/>
              <a:gd name="connsiteX288" fmla="*/ 6833118 w 12192000"/>
              <a:gd name="connsiteY288" fmla="*/ 6233084 h 6858000"/>
              <a:gd name="connsiteX289" fmla="*/ 6805172 w 12192000"/>
              <a:gd name="connsiteY289" fmla="*/ 6201343 h 6858000"/>
              <a:gd name="connsiteX290" fmla="*/ 6496819 w 12192000"/>
              <a:gd name="connsiteY290" fmla="*/ 6201343 h 6858000"/>
              <a:gd name="connsiteX291" fmla="*/ 6489791 w 12192000"/>
              <a:gd name="connsiteY291" fmla="*/ 6204856 h 6858000"/>
              <a:gd name="connsiteX292" fmla="*/ 6500333 w 12192000"/>
              <a:gd name="connsiteY292" fmla="*/ 6215398 h 6858000"/>
              <a:gd name="connsiteX293" fmla="*/ 6475735 w 12192000"/>
              <a:gd name="connsiteY293" fmla="*/ 6239995 h 6858000"/>
              <a:gd name="connsiteX294" fmla="*/ 6482763 w 12192000"/>
              <a:gd name="connsiteY294" fmla="*/ 6247023 h 6858000"/>
              <a:gd name="connsiteX295" fmla="*/ 6507360 w 12192000"/>
              <a:gd name="connsiteY295" fmla="*/ 6222426 h 6858000"/>
              <a:gd name="connsiteX296" fmla="*/ 6517902 w 12192000"/>
              <a:gd name="connsiteY296" fmla="*/ 6229453 h 6858000"/>
              <a:gd name="connsiteX297" fmla="*/ 6521416 w 12192000"/>
              <a:gd name="connsiteY297" fmla="*/ 6222426 h 6858000"/>
              <a:gd name="connsiteX298" fmla="*/ 6496819 w 12192000"/>
              <a:gd name="connsiteY298" fmla="*/ 6201343 h 6858000"/>
              <a:gd name="connsiteX299" fmla="*/ 6826400 w 12192000"/>
              <a:gd name="connsiteY299" fmla="*/ 6190594 h 6858000"/>
              <a:gd name="connsiteX300" fmla="*/ 6843866 w 12192000"/>
              <a:gd name="connsiteY300" fmla="*/ 6197312 h 6858000"/>
              <a:gd name="connsiteX301" fmla="*/ 6843866 w 12192000"/>
              <a:gd name="connsiteY301" fmla="*/ 6201343 h 6858000"/>
              <a:gd name="connsiteX302" fmla="*/ 6837148 w 12192000"/>
              <a:gd name="connsiteY302" fmla="*/ 6208061 h 6858000"/>
              <a:gd name="connsiteX303" fmla="*/ 6833118 w 12192000"/>
              <a:gd name="connsiteY303" fmla="*/ 6201343 h 6858000"/>
              <a:gd name="connsiteX304" fmla="*/ 6822753 w 12192000"/>
              <a:gd name="connsiteY304" fmla="*/ 6183876 h 6858000"/>
              <a:gd name="connsiteX305" fmla="*/ 6815652 w 12192000"/>
              <a:gd name="connsiteY305" fmla="*/ 6190818 h 6858000"/>
              <a:gd name="connsiteX306" fmla="*/ 6822753 w 12192000"/>
              <a:gd name="connsiteY306" fmla="*/ 6201230 h 6858000"/>
              <a:gd name="connsiteX307" fmla="*/ 6840507 w 12192000"/>
              <a:gd name="connsiteY307" fmla="*/ 6225526 h 6858000"/>
              <a:gd name="connsiteX308" fmla="*/ 6844059 w 12192000"/>
              <a:gd name="connsiteY308" fmla="*/ 6222056 h 6858000"/>
              <a:gd name="connsiteX309" fmla="*/ 6840507 w 12192000"/>
              <a:gd name="connsiteY309" fmla="*/ 6215114 h 6858000"/>
              <a:gd name="connsiteX310" fmla="*/ 6851160 w 12192000"/>
              <a:gd name="connsiteY310" fmla="*/ 6201230 h 6858000"/>
              <a:gd name="connsiteX311" fmla="*/ 6858262 w 12192000"/>
              <a:gd name="connsiteY311" fmla="*/ 6201230 h 6858000"/>
              <a:gd name="connsiteX312" fmla="*/ 6861813 w 12192000"/>
              <a:gd name="connsiteY312" fmla="*/ 6201230 h 6858000"/>
              <a:gd name="connsiteX313" fmla="*/ 6865363 w 12192000"/>
              <a:gd name="connsiteY313" fmla="*/ 6194288 h 6858000"/>
              <a:gd name="connsiteX314" fmla="*/ 6822753 w 12192000"/>
              <a:gd name="connsiteY314" fmla="*/ 6183876 h 6858000"/>
              <a:gd name="connsiteX315" fmla="*/ 6468010 w 12192000"/>
              <a:gd name="connsiteY315" fmla="*/ 6169097 h 6858000"/>
              <a:gd name="connsiteX316" fmla="*/ 6432742 w 12192000"/>
              <a:gd name="connsiteY316" fmla="*/ 6194177 h 6858000"/>
              <a:gd name="connsiteX317" fmla="*/ 6439796 w 12192000"/>
              <a:gd name="connsiteY317" fmla="*/ 6201343 h 6858000"/>
              <a:gd name="connsiteX318" fmla="*/ 6460956 w 12192000"/>
              <a:gd name="connsiteY318" fmla="*/ 6187012 h 6858000"/>
              <a:gd name="connsiteX319" fmla="*/ 6450376 w 12192000"/>
              <a:gd name="connsiteY319" fmla="*/ 6215673 h 6858000"/>
              <a:gd name="connsiteX320" fmla="*/ 6457429 w 12192000"/>
              <a:gd name="connsiteY320" fmla="*/ 6222839 h 6858000"/>
              <a:gd name="connsiteX321" fmla="*/ 6489170 w 12192000"/>
              <a:gd name="connsiteY321" fmla="*/ 6194177 h 6858000"/>
              <a:gd name="connsiteX322" fmla="*/ 6485644 w 12192000"/>
              <a:gd name="connsiteY322" fmla="*/ 6187012 h 6858000"/>
              <a:gd name="connsiteX323" fmla="*/ 6464483 w 12192000"/>
              <a:gd name="connsiteY323" fmla="*/ 6204925 h 6858000"/>
              <a:gd name="connsiteX324" fmla="*/ 6475063 w 12192000"/>
              <a:gd name="connsiteY324" fmla="*/ 6176263 h 6858000"/>
              <a:gd name="connsiteX325" fmla="*/ 6468010 w 12192000"/>
              <a:gd name="connsiteY325" fmla="*/ 6169097 h 6858000"/>
              <a:gd name="connsiteX326" fmla="*/ 6837149 w 12192000"/>
              <a:gd name="connsiteY326" fmla="*/ 6158349 h 6858000"/>
              <a:gd name="connsiteX327" fmla="*/ 6833118 w 12192000"/>
              <a:gd name="connsiteY327" fmla="*/ 6166410 h 6858000"/>
              <a:gd name="connsiteX328" fmla="*/ 6872081 w 12192000"/>
              <a:gd name="connsiteY328" fmla="*/ 6186564 h 6858000"/>
              <a:gd name="connsiteX329" fmla="*/ 6885517 w 12192000"/>
              <a:gd name="connsiteY329" fmla="*/ 6162380 h 6858000"/>
              <a:gd name="connsiteX330" fmla="*/ 6878799 w 12192000"/>
              <a:gd name="connsiteY330" fmla="*/ 6158349 h 6858000"/>
              <a:gd name="connsiteX331" fmla="*/ 6868050 w 12192000"/>
              <a:gd name="connsiteY331" fmla="*/ 6177159 h 6858000"/>
              <a:gd name="connsiteX332" fmla="*/ 6461445 w 12192000"/>
              <a:gd name="connsiteY332" fmla="*/ 6155662 h 6858000"/>
              <a:gd name="connsiteX333" fmla="*/ 6426023 w 12192000"/>
              <a:gd name="connsiteY333" fmla="*/ 6176824 h 6858000"/>
              <a:gd name="connsiteX334" fmla="*/ 6429565 w 12192000"/>
              <a:gd name="connsiteY334" fmla="*/ 6183877 h 6858000"/>
              <a:gd name="connsiteX335" fmla="*/ 6464987 w 12192000"/>
              <a:gd name="connsiteY335" fmla="*/ 6162716 h 6858000"/>
              <a:gd name="connsiteX336" fmla="*/ 6461445 w 12192000"/>
              <a:gd name="connsiteY336" fmla="*/ 6155662 h 6858000"/>
              <a:gd name="connsiteX337" fmla="*/ 6452739 w 12192000"/>
              <a:gd name="connsiteY337" fmla="*/ 6122052 h 6858000"/>
              <a:gd name="connsiteX338" fmla="*/ 6458004 w 12192000"/>
              <a:gd name="connsiteY338" fmla="*/ 6127783 h 6858000"/>
              <a:gd name="connsiteX339" fmla="*/ 6651068 w 12192000"/>
              <a:gd name="connsiteY339" fmla="*/ 6258276 h 6858000"/>
              <a:gd name="connsiteX340" fmla="*/ 6844131 w 12192000"/>
              <a:gd name="connsiteY340" fmla="*/ 6127783 h 6858000"/>
              <a:gd name="connsiteX341" fmla="*/ 6849397 w 12192000"/>
              <a:gd name="connsiteY341" fmla="*/ 6122052 h 6858000"/>
              <a:gd name="connsiteX342" fmla="*/ 6854662 w 12192000"/>
              <a:gd name="connsiteY342" fmla="*/ 6124256 h 6858000"/>
              <a:gd name="connsiteX343" fmla="*/ 6893275 w 12192000"/>
              <a:gd name="connsiteY343" fmla="*/ 6134837 h 6858000"/>
              <a:gd name="connsiteX344" fmla="*/ 6900295 w 12192000"/>
              <a:gd name="connsiteY344" fmla="*/ 6145417 h 6858000"/>
              <a:gd name="connsiteX345" fmla="*/ 6651068 w 12192000"/>
              <a:gd name="connsiteY345" fmla="*/ 6318232 h 6858000"/>
              <a:gd name="connsiteX346" fmla="*/ 6401840 w 12192000"/>
              <a:gd name="connsiteY346" fmla="*/ 6148945 h 6858000"/>
              <a:gd name="connsiteX347" fmla="*/ 6408860 w 12192000"/>
              <a:gd name="connsiteY347" fmla="*/ 6134837 h 6858000"/>
              <a:gd name="connsiteX348" fmla="*/ 6447473 w 12192000"/>
              <a:gd name="connsiteY348" fmla="*/ 6124256 h 6858000"/>
              <a:gd name="connsiteX349" fmla="*/ 6452739 w 12192000"/>
              <a:gd name="connsiteY349" fmla="*/ 6122052 h 6858000"/>
              <a:gd name="connsiteX350" fmla="*/ 6605253 w 12192000"/>
              <a:gd name="connsiteY350" fmla="*/ 6116214 h 6858000"/>
              <a:gd name="connsiteX351" fmla="*/ 6615733 w 12192000"/>
              <a:gd name="connsiteY351" fmla="*/ 6116214 h 6858000"/>
              <a:gd name="connsiteX352" fmla="*/ 6619226 w 12192000"/>
              <a:gd name="connsiteY352" fmla="*/ 6123305 h 6858000"/>
              <a:gd name="connsiteX353" fmla="*/ 6626212 w 12192000"/>
              <a:gd name="connsiteY353" fmla="*/ 6226124 h 6858000"/>
              <a:gd name="connsiteX354" fmla="*/ 6622719 w 12192000"/>
              <a:gd name="connsiteY354" fmla="*/ 6236761 h 6858000"/>
              <a:gd name="connsiteX355" fmla="*/ 6615733 w 12192000"/>
              <a:gd name="connsiteY355" fmla="*/ 6236761 h 6858000"/>
              <a:gd name="connsiteX356" fmla="*/ 6507443 w 12192000"/>
              <a:gd name="connsiteY356" fmla="*/ 6172941 h 6858000"/>
              <a:gd name="connsiteX357" fmla="*/ 6503949 w 12192000"/>
              <a:gd name="connsiteY357" fmla="*/ 6169396 h 6858000"/>
              <a:gd name="connsiteX358" fmla="*/ 6503949 w 12192000"/>
              <a:gd name="connsiteY358" fmla="*/ 6165851 h 6858000"/>
              <a:gd name="connsiteX359" fmla="*/ 6510935 w 12192000"/>
              <a:gd name="connsiteY359" fmla="*/ 6162306 h 6858000"/>
              <a:gd name="connsiteX360" fmla="*/ 6605253 w 12192000"/>
              <a:gd name="connsiteY360" fmla="*/ 6116214 h 6858000"/>
              <a:gd name="connsiteX361" fmla="*/ 6689896 w 12192000"/>
              <a:gd name="connsiteY361" fmla="*/ 6112668 h 6858000"/>
              <a:gd name="connsiteX362" fmla="*/ 6700376 w 12192000"/>
              <a:gd name="connsiteY362" fmla="*/ 6112668 h 6858000"/>
              <a:gd name="connsiteX363" fmla="*/ 6791199 w 12192000"/>
              <a:gd name="connsiteY363" fmla="*/ 6158579 h 6858000"/>
              <a:gd name="connsiteX364" fmla="*/ 6798186 w 12192000"/>
              <a:gd name="connsiteY364" fmla="*/ 6165643 h 6858000"/>
              <a:gd name="connsiteX365" fmla="*/ 6794693 w 12192000"/>
              <a:gd name="connsiteY365" fmla="*/ 6172706 h 6858000"/>
              <a:gd name="connsiteX366" fmla="*/ 6686403 w 12192000"/>
              <a:gd name="connsiteY366" fmla="*/ 6236275 h 6858000"/>
              <a:gd name="connsiteX367" fmla="*/ 6679416 w 12192000"/>
              <a:gd name="connsiteY367" fmla="*/ 6236275 h 6858000"/>
              <a:gd name="connsiteX368" fmla="*/ 6675923 w 12192000"/>
              <a:gd name="connsiteY368" fmla="*/ 6225680 h 6858000"/>
              <a:gd name="connsiteX369" fmla="*/ 6686403 w 12192000"/>
              <a:gd name="connsiteY369" fmla="*/ 6123264 h 6858000"/>
              <a:gd name="connsiteX370" fmla="*/ 6689896 w 12192000"/>
              <a:gd name="connsiteY370" fmla="*/ 6112668 h 6858000"/>
              <a:gd name="connsiteX371" fmla="*/ 5812094 w 12192000"/>
              <a:gd name="connsiteY371" fmla="*/ 6073704 h 6858000"/>
              <a:gd name="connsiteX372" fmla="*/ 5853673 w 12192000"/>
              <a:gd name="connsiteY372" fmla="*/ 6073704 h 6858000"/>
              <a:gd name="connsiteX373" fmla="*/ 5853673 w 12192000"/>
              <a:gd name="connsiteY373" fmla="*/ 6116314 h 6858000"/>
              <a:gd name="connsiteX374" fmla="*/ 5805164 w 12192000"/>
              <a:gd name="connsiteY374" fmla="*/ 6123416 h 6858000"/>
              <a:gd name="connsiteX375" fmla="*/ 5787839 w 12192000"/>
              <a:gd name="connsiteY375" fmla="*/ 6098560 h 6858000"/>
              <a:gd name="connsiteX376" fmla="*/ 5812094 w 12192000"/>
              <a:gd name="connsiteY376" fmla="*/ 6073704 h 6858000"/>
              <a:gd name="connsiteX377" fmla="*/ 5496290 w 12192000"/>
              <a:gd name="connsiteY377" fmla="*/ 6003839 h 6858000"/>
              <a:gd name="connsiteX378" fmla="*/ 5537940 w 12192000"/>
              <a:gd name="connsiteY378" fmla="*/ 6060111 h 6858000"/>
              <a:gd name="connsiteX379" fmla="*/ 5496290 w 12192000"/>
              <a:gd name="connsiteY379" fmla="*/ 6123415 h 6858000"/>
              <a:gd name="connsiteX380" fmla="*/ 5454640 w 12192000"/>
              <a:gd name="connsiteY380" fmla="*/ 6060111 h 6858000"/>
              <a:gd name="connsiteX381" fmla="*/ 5496290 w 12192000"/>
              <a:gd name="connsiteY381" fmla="*/ 6003839 h 6858000"/>
              <a:gd name="connsiteX382" fmla="*/ 6640816 w 12192000"/>
              <a:gd name="connsiteY382" fmla="*/ 5999810 h 6858000"/>
              <a:gd name="connsiteX383" fmla="*/ 6661845 w 12192000"/>
              <a:gd name="connsiteY383" fmla="*/ 5999810 h 6858000"/>
              <a:gd name="connsiteX384" fmla="*/ 6661845 w 12192000"/>
              <a:gd name="connsiteY384" fmla="*/ 6010450 h 6858000"/>
              <a:gd name="connsiteX385" fmla="*/ 6693389 w 12192000"/>
              <a:gd name="connsiteY385" fmla="*/ 6049467 h 6858000"/>
              <a:gd name="connsiteX386" fmla="*/ 6651330 w 12192000"/>
              <a:gd name="connsiteY386" fmla="*/ 6088484 h 6858000"/>
              <a:gd name="connsiteX387" fmla="*/ 6612777 w 12192000"/>
              <a:gd name="connsiteY387" fmla="*/ 6049467 h 6858000"/>
              <a:gd name="connsiteX388" fmla="*/ 6640816 w 12192000"/>
              <a:gd name="connsiteY388" fmla="*/ 6010450 h 6858000"/>
              <a:gd name="connsiteX389" fmla="*/ 6640816 w 12192000"/>
              <a:gd name="connsiteY389" fmla="*/ 5999810 h 6858000"/>
              <a:gd name="connsiteX390" fmla="*/ 6651068 w 12192000"/>
              <a:gd name="connsiteY390" fmla="*/ 5989061 h 6858000"/>
              <a:gd name="connsiteX391" fmla="*/ 6591280 w 12192000"/>
              <a:gd name="connsiteY391" fmla="*/ 6049521 h 6858000"/>
              <a:gd name="connsiteX392" fmla="*/ 6651068 w 12192000"/>
              <a:gd name="connsiteY392" fmla="*/ 6109981 h 6858000"/>
              <a:gd name="connsiteX393" fmla="*/ 6710856 w 12192000"/>
              <a:gd name="connsiteY393" fmla="*/ 6049521 h 6858000"/>
              <a:gd name="connsiteX394" fmla="*/ 6651068 w 12192000"/>
              <a:gd name="connsiteY394" fmla="*/ 5989061 h 6858000"/>
              <a:gd name="connsiteX395" fmla="*/ 6651068 w 12192000"/>
              <a:gd name="connsiteY395" fmla="*/ 5982344 h 6858000"/>
              <a:gd name="connsiteX396" fmla="*/ 6717574 w 12192000"/>
              <a:gd name="connsiteY396" fmla="*/ 6049521 h 6858000"/>
              <a:gd name="connsiteX397" fmla="*/ 6651068 w 12192000"/>
              <a:gd name="connsiteY397" fmla="*/ 6116699 h 6858000"/>
              <a:gd name="connsiteX398" fmla="*/ 6584562 w 12192000"/>
              <a:gd name="connsiteY398" fmla="*/ 6049521 h 6858000"/>
              <a:gd name="connsiteX399" fmla="*/ 6651068 w 12192000"/>
              <a:gd name="connsiteY399" fmla="*/ 5982344 h 6858000"/>
              <a:gd name="connsiteX400" fmla="*/ 6826360 w 12192000"/>
              <a:gd name="connsiteY400" fmla="*/ 5979657 h 6858000"/>
              <a:gd name="connsiteX401" fmla="*/ 6829861 w 12192000"/>
              <a:gd name="connsiteY401" fmla="*/ 5986710 h 6858000"/>
              <a:gd name="connsiteX402" fmla="*/ 6829861 w 12192000"/>
              <a:gd name="connsiteY402" fmla="*/ 6110149 h 6858000"/>
              <a:gd name="connsiteX403" fmla="*/ 6826360 w 12192000"/>
              <a:gd name="connsiteY403" fmla="*/ 6117203 h 6858000"/>
              <a:gd name="connsiteX404" fmla="*/ 6819357 w 12192000"/>
              <a:gd name="connsiteY404" fmla="*/ 6117203 h 6858000"/>
              <a:gd name="connsiteX405" fmla="*/ 6731823 w 12192000"/>
              <a:gd name="connsiteY405" fmla="*/ 6057247 h 6858000"/>
              <a:gd name="connsiteX406" fmla="*/ 6728322 w 12192000"/>
              <a:gd name="connsiteY406" fmla="*/ 6050193 h 6858000"/>
              <a:gd name="connsiteX407" fmla="*/ 6731823 w 12192000"/>
              <a:gd name="connsiteY407" fmla="*/ 6039612 h 6858000"/>
              <a:gd name="connsiteX408" fmla="*/ 6815856 w 12192000"/>
              <a:gd name="connsiteY408" fmla="*/ 5983183 h 6858000"/>
              <a:gd name="connsiteX409" fmla="*/ 6826360 w 12192000"/>
              <a:gd name="connsiteY409" fmla="*/ 5979657 h 6858000"/>
              <a:gd name="connsiteX410" fmla="*/ 6475776 w 12192000"/>
              <a:gd name="connsiteY410" fmla="*/ 5979657 h 6858000"/>
              <a:gd name="connsiteX411" fmla="*/ 6482778 w 12192000"/>
              <a:gd name="connsiteY411" fmla="*/ 5983183 h 6858000"/>
              <a:gd name="connsiteX412" fmla="*/ 6570312 w 12192000"/>
              <a:gd name="connsiteY412" fmla="*/ 6039612 h 6858000"/>
              <a:gd name="connsiteX413" fmla="*/ 6573813 w 12192000"/>
              <a:gd name="connsiteY413" fmla="*/ 6050193 h 6858000"/>
              <a:gd name="connsiteX414" fmla="*/ 6570312 w 12192000"/>
              <a:gd name="connsiteY414" fmla="*/ 6057247 h 6858000"/>
              <a:gd name="connsiteX415" fmla="*/ 6482778 w 12192000"/>
              <a:gd name="connsiteY415" fmla="*/ 6117203 h 6858000"/>
              <a:gd name="connsiteX416" fmla="*/ 6475776 w 12192000"/>
              <a:gd name="connsiteY416" fmla="*/ 6117203 h 6858000"/>
              <a:gd name="connsiteX417" fmla="*/ 6468772 w 12192000"/>
              <a:gd name="connsiteY417" fmla="*/ 6113676 h 6858000"/>
              <a:gd name="connsiteX418" fmla="*/ 6468772 w 12192000"/>
              <a:gd name="connsiteY418" fmla="*/ 5986710 h 6858000"/>
              <a:gd name="connsiteX419" fmla="*/ 6475776 w 12192000"/>
              <a:gd name="connsiteY419" fmla="*/ 5979657 h 6858000"/>
              <a:gd name="connsiteX420" fmla="*/ 6072127 w 12192000"/>
              <a:gd name="connsiteY420" fmla="*/ 5968908 h 6858000"/>
              <a:gd name="connsiteX421" fmla="*/ 6072127 w 12192000"/>
              <a:gd name="connsiteY421" fmla="*/ 5975961 h 6858000"/>
              <a:gd name="connsiteX422" fmla="*/ 6113977 w 12192000"/>
              <a:gd name="connsiteY422" fmla="*/ 6138195 h 6858000"/>
              <a:gd name="connsiteX423" fmla="*/ 6134902 w 12192000"/>
              <a:gd name="connsiteY423" fmla="*/ 6159356 h 6858000"/>
              <a:gd name="connsiteX424" fmla="*/ 6145365 w 12192000"/>
              <a:gd name="connsiteY424" fmla="*/ 6159356 h 6858000"/>
              <a:gd name="connsiteX425" fmla="*/ 6141877 w 12192000"/>
              <a:gd name="connsiteY425" fmla="*/ 6166409 h 6858000"/>
              <a:gd name="connsiteX426" fmla="*/ 6113977 w 12192000"/>
              <a:gd name="connsiteY426" fmla="*/ 6187570 h 6858000"/>
              <a:gd name="connsiteX427" fmla="*/ 6079102 w 12192000"/>
              <a:gd name="connsiteY427" fmla="*/ 6184044 h 6858000"/>
              <a:gd name="connsiteX428" fmla="*/ 6075615 w 12192000"/>
              <a:gd name="connsiteY428" fmla="*/ 6187570 h 6858000"/>
              <a:gd name="connsiteX429" fmla="*/ 6072127 w 12192000"/>
              <a:gd name="connsiteY429" fmla="*/ 6191097 h 6858000"/>
              <a:gd name="connsiteX430" fmla="*/ 6072127 w 12192000"/>
              <a:gd name="connsiteY430" fmla="*/ 6212258 h 6858000"/>
              <a:gd name="connsiteX431" fmla="*/ 6079102 w 12192000"/>
              <a:gd name="connsiteY431" fmla="*/ 6219312 h 6858000"/>
              <a:gd name="connsiteX432" fmla="*/ 6124440 w 12192000"/>
              <a:gd name="connsiteY432" fmla="*/ 6222838 h 6858000"/>
              <a:gd name="connsiteX433" fmla="*/ 6127927 w 12192000"/>
              <a:gd name="connsiteY433" fmla="*/ 6222838 h 6858000"/>
              <a:gd name="connsiteX434" fmla="*/ 6183727 w 12192000"/>
              <a:gd name="connsiteY434" fmla="*/ 6169936 h 6858000"/>
              <a:gd name="connsiteX435" fmla="*/ 6215114 w 12192000"/>
              <a:gd name="connsiteY435" fmla="*/ 6039444 h 6858000"/>
              <a:gd name="connsiteX436" fmla="*/ 6229064 w 12192000"/>
              <a:gd name="connsiteY436" fmla="*/ 5997122 h 6858000"/>
              <a:gd name="connsiteX437" fmla="*/ 6232552 w 12192000"/>
              <a:gd name="connsiteY437" fmla="*/ 5975961 h 6858000"/>
              <a:gd name="connsiteX438" fmla="*/ 6232552 w 12192000"/>
              <a:gd name="connsiteY438" fmla="*/ 5968908 h 6858000"/>
              <a:gd name="connsiteX439" fmla="*/ 6225577 w 12192000"/>
              <a:gd name="connsiteY439" fmla="*/ 5968908 h 6858000"/>
              <a:gd name="connsiteX440" fmla="*/ 6197677 w 12192000"/>
              <a:gd name="connsiteY440" fmla="*/ 5968908 h 6858000"/>
              <a:gd name="connsiteX441" fmla="*/ 6190702 w 12192000"/>
              <a:gd name="connsiteY441" fmla="*/ 5972434 h 6858000"/>
              <a:gd name="connsiteX442" fmla="*/ 6152340 w 12192000"/>
              <a:gd name="connsiteY442" fmla="*/ 6117034 h 6858000"/>
              <a:gd name="connsiteX443" fmla="*/ 6148852 w 12192000"/>
              <a:gd name="connsiteY443" fmla="*/ 6117034 h 6858000"/>
              <a:gd name="connsiteX444" fmla="*/ 6113977 w 12192000"/>
              <a:gd name="connsiteY444" fmla="*/ 5972434 h 6858000"/>
              <a:gd name="connsiteX445" fmla="*/ 6107002 w 12192000"/>
              <a:gd name="connsiteY445" fmla="*/ 5968908 h 6858000"/>
              <a:gd name="connsiteX446" fmla="*/ 6079102 w 12192000"/>
              <a:gd name="connsiteY446" fmla="*/ 5968908 h 6858000"/>
              <a:gd name="connsiteX447" fmla="*/ 6072127 w 12192000"/>
              <a:gd name="connsiteY447" fmla="*/ 5968908 h 6858000"/>
              <a:gd name="connsiteX448" fmla="*/ 6040101 w 12192000"/>
              <a:gd name="connsiteY448" fmla="*/ 5964877 h 6858000"/>
              <a:gd name="connsiteX449" fmla="*/ 5987285 w 12192000"/>
              <a:gd name="connsiteY449" fmla="*/ 5985983 h 6858000"/>
              <a:gd name="connsiteX450" fmla="*/ 5987285 w 12192000"/>
              <a:gd name="connsiteY450" fmla="*/ 5975430 h 6858000"/>
              <a:gd name="connsiteX451" fmla="*/ 5980244 w 12192000"/>
              <a:gd name="connsiteY451" fmla="*/ 5968395 h 6858000"/>
              <a:gd name="connsiteX452" fmla="*/ 5952076 w 12192000"/>
              <a:gd name="connsiteY452" fmla="*/ 5968395 h 6858000"/>
              <a:gd name="connsiteX453" fmla="*/ 5945033 w 12192000"/>
              <a:gd name="connsiteY453" fmla="*/ 5975430 h 6858000"/>
              <a:gd name="connsiteX454" fmla="*/ 5945033 w 12192000"/>
              <a:gd name="connsiteY454" fmla="*/ 6151313 h 6858000"/>
              <a:gd name="connsiteX455" fmla="*/ 5952076 w 12192000"/>
              <a:gd name="connsiteY455" fmla="*/ 6158348 h 6858000"/>
              <a:gd name="connsiteX456" fmla="*/ 5980244 w 12192000"/>
              <a:gd name="connsiteY456" fmla="*/ 6158348 h 6858000"/>
              <a:gd name="connsiteX457" fmla="*/ 5987285 w 12192000"/>
              <a:gd name="connsiteY457" fmla="*/ 6151313 h 6858000"/>
              <a:gd name="connsiteX458" fmla="*/ 5987285 w 12192000"/>
              <a:gd name="connsiteY458" fmla="*/ 6028195 h 6858000"/>
              <a:gd name="connsiteX459" fmla="*/ 6040101 w 12192000"/>
              <a:gd name="connsiteY459" fmla="*/ 6007089 h 6858000"/>
              <a:gd name="connsiteX460" fmla="*/ 6047143 w 12192000"/>
              <a:gd name="connsiteY460" fmla="*/ 6000054 h 6858000"/>
              <a:gd name="connsiteX461" fmla="*/ 6047143 w 12192000"/>
              <a:gd name="connsiteY461" fmla="*/ 5971913 h 6858000"/>
              <a:gd name="connsiteX462" fmla="*/ 6043622 w 12192000"/>
              <a:gd name="connsiteY462" fmla="*/ 5968395 h 6858000"/>
              <a:gd name="connsiteX463" fmla="*/ 6040101 w 12192000"/>
              <a:gd name="connsiteY463" fmla="*/ 5964877 h 6858000"/>
              <a:gd name="connsiteX464" fmla="*/ 5833459 w 12192000"/>
              <a:gd name="connsiteY464" fmla="*/ 5960846 h 6858000"/>
              <a:gd name="connsiteX465" fmla="*/ 5763228 w 12192000"/>
              <a:gd name="connsiteY465" fmla="*/ 5967917 h 6858000"/>
              <a:gd name="connsiteX466" fmla="*/ 5756205 w 12192000"/>
              <a:gd name="connsiteY466" fmla="*/ 5974989 h 6858000"/>
              <a:gd name="connsiteX467" fmla="*/ 5756205 w 12192000"/>
              <a:gd name="connsiteY467" fmla="*/ 5999738 h 6858000"/>
              <a:gd name="connsiteX468" fmla="*/ 5759716 w 12192000"/>
              <a:gd name="connsiteY468" fmla="*/ 6006810 h 6858000"/>
              <a:gd name="connsiteX469" fmla="*/ 5763228 w 12192000"/>
              <a:gd name="connsiteY469" fmla="*/ 6006810 h 6858000"/>
              <a:gd name="connsiteX470" fmla="*/ 5829947 w 12192000"/>
              <a:gd name="connsiteY470" fmla="*/ 6003274 h 6858000"/>
              <a:gd name="connsiteX471" fmla="*/ 5854528 w 12192000"/>
              <a:gd name="connsiteY471" fmla="*/ 6028024 h 6858000"/>
              <a:gd name="connsiteX472" fmla="*/ 5854528 w 12192000"/>
              <a:gd name="connsiteY472" fmla="*/ 6038631 h 6858000"/>
              <a:gd name="connsiteX473" fmla="*/ 5805366 w 12192000"/>
              <a:gd name="connsiteY473" fmla="*/ 6042167 h 6858000"/>
              <a:gd name="connsiteX474" fmla="*/ 5742158 w 12192000"/>
              <a:gd name="connsiteY474" fmla="*/ 6102272 h 6858000"/>
              <a:gd name="connsiteX475" fmla="*/ 5798344 w 12192000"/>
              <a:gd name="connsiteY475" fmla="*/ 6162378 h 6858000"/>
              <a:gd name="connsiteX476" fmla="*/ 5861552 w 12192000"/>
              <a:gd name="connsiteY476" fmla="*/ 6148235 h 6858000"/>
              <a:gd name="connsiteX477" fmla="*/ 5889644 w 12192000"/>
              <a:gd name="connsiteY477" fmla="*/ 6162378 h 6858000"/>
              <a:gd name="connsiteX478" fmla="*/ 5896667 w 12192000"/>
              <a:gd name="connsiteY478" fmla="*/ 6158842 h 6858000"/>
              <a:gd name="connsiteX479" fmla="*/ 5896667 w 12192000"/>
              <a:gd name="connsiteY479" fmla="*/ 6155307 h 6858000"/>
              <a:gd name="connsiteX480" fmla="*/ 5896667 w 12192000"/>
              <a:gd name="connsiteY480" fmla="*/ 6028024 h 6858000"/>
              <a:gd name="connsiteX481" fmla="*/ 5833459 w 12192000"/>
              <a:gd name="connsiteY481" fmla="*/ 5960846 h 6858000"/>
              <a:gd name="connsiteX482" fmla="*/ 5497633 w 12192000"/>
              <a:gd name="connsiteY482" fmla="*/ 5960845 h 6858000"/>
              <a:gd name="connsiteX483" fmla="*/ 5411646 w 12192000"/>
              <a:gd name="connsiteY483" fmla="*/ 6061612 h 6858000"/>
              <a:gd name="connsiteX484" fmla="*/ 5497633 w 12192000"/>
              <a:gd name="connsiteY484" fmla="*/ 6162378 h 6858000"/>
              <a:gd name="connsiteX485" fmla="*/ 5583620 w 12192000"/>
              <a:gd name="connsiteY485" fmla="*/ 6061612 h 6858000"/>
              <a:gd name="connsiteX486" fmla="*/ 5497633 w 12192000"/>
              <a:gd name="connsiteY486" fmla="*/ 5960845 h 6858000"/>
              <a:gd name="connsiteX487" fmla="*/ 5243703 w 12192000"/>
              <a:gd name="connsiteY487" fmla="*/ 5936662 h 6858000"/>
              <a:gd name="connsiteX488" fmla="*/ 5275052 w 12192000"/>
              <a:gd name="connsiteY488" fmla="*/ 5936662 h 6858000"/>
              <a:gd name="connsiteX489" fmla="*/ 5292468 w 12192000"/>
              <a:gd name="connsiteY489" fmla="*/ 5936662 h 6858000"/>
              <a:gd name="connsiteX490" fmla="*/ 5337751 w 12192000"/>
              <a:gd name="connsiteY490" fmla="*/ 5975626 h 6858000"/>
              <a:gd name="connsiteX491" fmla="*/ 5288986 w 12192000"/>
              <a:gd name="connsiteY491" fmla="*/ 6014588 h 6858000"/>
              <a:gd name="connsiteX492" fmla="*/ 5243703 w 12192000"/>
              <a:gd name="connsiteY492" fmla="*/ 6014588 h 6858000"/>
              <a:gd name="connsiteX493" fmla="*/ 5243703 w 12192000"/>
              <a:gd name="connsiteY493" fmla="*/ 5936662 h 6858000"/>
              <a:gd name="connsiteX494" fmla="*/ 5660874 w 12192000"/>
              <a:gd name="connsiteY494" fmla="*/ 5923227 h 6858000"/>
              <a:gd name="connsiteX495" fmla="*/ 5629222 w 12192000"/>
              <a:gd name="connsiteY495" fmla="*/ 5930261 h 6858000"/>
              <a:gd name="connsiteX496" fmla="*/ 5625705 w 12192000"/>
              <a:gd name="connsiteY496" fmla="*/ 5937295 h 6858000"/>
              <a:gd name="connsiteX497" fmla="*/ 5625705 w 12192000"/>
              <a:gd name="connsiteY497" fmla="*/ 5968947 h 6858000"/>
              <a:gd name="connsiteX498" fmla="*/ 5608120 w 12192000"/>
              <a:gd name="connsiteY498" fmla="*/ 5968947 h 6858000"/>
              <a:gd name="connsiteX499" fmla="*/ 5601086 w 12192000"/>
              <a:gd name="connsiteY499" fmla="*/ 5975981 h 6858000"/>
              <a:gd name="connsiteX500" fmla="*/ 5601086 w 12192000"/>
              <a:gd name="connsiteY500" fmla="*/ 6000599 h 6858000"/>
              <a:gd name="connsiteX501" fmla="*/ 5608120 w 12192000"/>
              <a:gd name="connsiteY501" fmla="*/ 6007633 h 6858000"/>
              <a:gd name="connsiteX502" fmla="*/ 5625705 w 12192000"/>
              <a:gd name="connsiteY502" fmla="*/ 6007633 h 6858000"/>
              <a:gd name="connsiteX503" fmla="*/ 5625705 w 12192000"/>
              <a:gd name="connsiteY503" fmla="*/ 6092040 h 6858000"/>
              <a:gd name="connsiteX504" fmla="*/ 5681975 w 12192000"/>
              <a:gd name="connsiteY504" fmla="*/ 6162378 h 6858000"/>
              <a:gd name="connsiteX505" fmla="*/ 5713628 w 12192000"/>
              <a:gd name="connsiteY505" fmla="*/ 6158862 h 6858000"/>
              <a:gd name="connsiteX506" fmla="*/ 5720662 w 12192000"/>
              <a:gd name="connsiteY506" fmla="*/ 6151827 h 6858000"/>
              <a:gd name="connsiteX507" fmla="*/ 5720662 w 12192000"/>
              <a:gd name="connsiteY507" fmla="*/ 6127209 h 6858000"/>
              <a:gd name="connsiteX508" fmla="*/ 5713628 w 12192000"/>
              <a:gd name="connsiteY508" fmla="*/ 6120175 h 6858000"/>
              <a:gd name="connsiteX509" fmla="*/ 5689009 w 12192000"/>
              <a:gd name="connsiteY509" fmla="*/ 6120175 h 6858000"/>
              <a:gd name="connsiteX510" fmla="*/ 5667908 w 12192000"/>
              <a:gd name="connsiteY510" fmla="*/ 6085006 h 6858000"/>
              <a:gd name="connsiteX511" fmla="*/ 5667908 w 12192000"/>
              <a:gd name="connsiteY511" fmla="*/ 6007633 h 6858000"/>
              <a:gd name="connsiteX512" fmla="*/ 5713628 w 12192000"/>
              <a:gd name="connsiteY512" fmla="*/ 6007633 h 6858000"/>
              <a:gd name="connsiteX513" fmla="*/ 5720662 w 12192000"/>
              <a:gd name="connsiteY513" fmla="*/ 6000599 h 6858000"/>
              <a:gd name="connsiteX514" fmla="*/ 5720662 w 12192000"/>
              <a:gd name="connsiteY514" fmla="*/ 5975981 h 6858000"/>
              <a:gd name="connsiteX515" fmla="*/ 5713628 w 12192000"/>
              <a:gd name="connsiteY515" fmla="*/ 5968947 h 6858000"/>
              <a:gd name="connsiteX516" fmla="*/ 5667908 w 12192000"/>
              <a:gd name="connsiteY516" fmla="*/ 5968947 h 6858000"/>
              <a:gd name="connsiteX517" fmla="*/ 5667908 w 12192000"/>
              <a:gd name="connsiteY517" fmla="*/ 5930261 h 6858000"/>
              <a:gd name="connsiteX518" fmla="*/ 5664391 w 12192000"/>
              <a:gd name="connsiteY518" fmla="*/ 5923227 h 6858000"/>
              <a:gd name="connsiteX519" fmla="*/ 5660874 w 12192000"/>
              <a:gd name="connsiteY519" fmla="*/ 5923227 h 6858000"/>
              <a:gd name="connsiteX520" fmla="*/ 5285479 w 12192000"/>
              <a:gd name="connsiteY520" fmla="*/ 5895013 h 6858000"/>
              <a:gd name="connsiteX521" fmla="*/ 5205019 w 12192000"/>
              <a:gd name="connsiteY521" fmla="*/ 5898524 h 6858000"/>
              <a:gd name="connsiteX522" fmla="*/ 5198022 w 12192000"/>
              <a:gd name="connsiteY522" fmla="*/ 5905546 h 6858000"/>
              <a:gd name="connsiteX523" fmla="*/ 5198022 w 12192000"/>
              <a:gd name="connsiteY523" fmla="*/ 6151326 h 6858000"/>
              <a:gd name="connsiteX524" fmla="*/ 5205019 w 12192000"/>
              <a:gd name="connsiteY524" fmla="*/ 6158348 h 6858000"/>
              <a:gd name="connsiteX525" fmla="*/ 5236504 w 12192000"/>
              <a:gd name="connsiteY525" fmla="*/ 6158348 h 6858000"/>
              <a:gd name="connsiteX526" fmla="*/ 5243501 w 12192000"/>
              <a:gd name="connsiteY526" fmla="*/ 6151326 h 6858000"/>
              <a:gd name="connsiteX527" fmla="*/ 5243501 w 12192000"/>
              <a:gd name="connsiteY527" fmla="*/ 6053014 h 6858000"/>
              <a:gd name="connsiteX528" fmla="*/ 5292476 w 12192000"/>
              <a:gd name="connsiteY528" fmla="*/ 6056525 h 6858000"/>
              <a:gd name="connsiteX529" fmla="*/ 5337954 w 12192000"/>
              <a:gd name="connsiteY529" fmla="*/ 6154837 h 6858000"/>
              <a:gd name="connsiteX530" fmla="*/ 5344951 w 12192000"/>
              <a:gd name="connsiteY530" fmla="*/ 6158348 h 6858000"/>
              <a:gd name="connsiteX531" fmla="*/ 5376435 w 12192000"/>
              <a:gd name="connsiteY531" fmla="*/ 6158348 h 6858000"/>
              <a:gd name="connsiteX532" fmla="*/ 5383431 w 12192000"/>
              <a:gd name="connsiteY532" fmla="*/ 6154837 h 6858000"/>
              <a:gd name="connsiteX533" fmla="*/ 5383431 w 12192000"/>
              <a:gd name="connsiteY533" fmla="*/ 6147815 h 6858000"/>
              <a:gd name="connsiteX534" fmla="*/ 5337954 w 12192000"/>
              <a:gd name="connsiteY534" fmla="*/ 6042481 h 6858000"/>
              <a:gd name="connsiteX535" fmla="*/ 5383431 w 12192000"/>
              <a:gd name="connsiteY535" fmla="*/ 5975769 h 6858000"/>
              <a:gd name="connsiteX536" fmla="*/ 5292476 w 12192000"/>
              <a:gd name="connsiteY536" fmla="*/ 5895013 h 6858000"/>
              <a:gd name="connsiteX537" fmla="*/ 5285479 w 12192000"/>
              <a:gd name="connsiteY537" fmla="*/ 5895013 h 6858000"/>
              <a:gd name="connsiteX538" fmla="*/ 6840997 w 12192000"/>
              <a:gd name="connsiteY538" fmla="*/ 5864091 h 6858000"/>
              <a:gd name="connsiteX539" fmla="*/ 6847534 w 12192000"/>
              <a:gd name="connsiteY539" fmla="*/ 5869822 h 6858000"/>
              <a:gd name="connsiteX540" fmla="*/ 6910281 w 12192000"/>
              <a:gd name="connsiteY540" fmla="*/ 6109646 h 6858000"/>
              <a:gd name="connsiteX541" fmla="*/ 6899823 w 12192000"/>
              <a:gd name="connsiteY541" fmla="*/ 6113173 h 6858000"/>
              <a:gd name="connsiteX542" fmla="*/ 6861478 w 12192000"/>
              <a:gd name="connsiteY542" fmla="*/ 6102592 h 6858000"/>
              <a:gd name="connsiteX543" fmla="*/ 6854506 w 12192000"/>
              <a:gd name="connsiteY543" fmla="*/ 6092012 h 6858000"/>
              <a:gd name="connsiteX544" fmla="*/ 6809188 w 12192000"/>
              <a:gd name="connsiteY544" fmla="*/ 5912144 h 6858000"/>
              <a:gd name="connsiteX545" fmla="*/ 6809188 w 12192000"/>
              <a:gd name="connsiteY545" fmla="*/ 5898037 h 6858000"/>
              <a:gd name="connsiteX546" fmla="*/ 6837075 w 12192000"/>
              <a:gd name="connsiteY546" fmla="*/ 5866295 h 6858000"/>
              <a:gd name="connsiteX547" fmla="*/ 6840997 w 12192000"/>
              <a:gd name="connsiteY547" fmla="*/ 5864091 h 6858000"/>
              <a:gd name="connsiteX548" fmla="*/ 6460734 w 12192000"/>
              <a:gd name="connsiteY548" fmla="*/ 5864091 h 6858000"/>
              <a:gd name="connsiteX549" fmla="*/ 6464696 w 12192000"/>
              <a:gd name="connsiteY549" fmla="*/ 5866295 h 6858000"/>
              <a:gd name="connsiteX550" fmla="*/ 6496396 w 12192000"/>
              <a:gd name="connsiteY550" fmla="*/ 5898037 h 6858000"/>
              <a:gd name="connsiteX551" fmla="*/ 6492874 w 12192000"/>
              <a:gd name="connsiteY551" fmla="*/ 5912144 h 6858000"/>
              <a:gd name="connsiteX552" fmla="*/ 6447085 w 12192000"/>
              <a:gd name="connsiteY552" fmla="*/ 6092012 h 6858000"/>
              <a:gd name="connsiteX553" fmla="*/ 6440040 w 12192000"/>
              <a:gd name="connsiteY553" fmla="*/ 6102592 h 6858000"/>
              <a:gd name="connsiteX554" fmla="*/ 6401295 w 12192000"/>
              <a:gd name="connsiteY554" fmla="*/ 6113173 h 6858000"/>
              <a:gd name="connsiteX555" fmla="*/ 6390728 w 12192000"/>
              <a:gd name="connsiteY555" fmla="*/ 6109646 h 6858000"/>
              <a:gd name="connsiteX556" fmla="*/ 6454129 w 12192000"/>
              <a:gd name="connsiteY556" fmla="*/ 5869822 h 6858000"/>
              <a:gd name="connsiteX557" fmla="*/ 6460734 w 12192000"/>
              <a:gd name="connsiteY557" fmla="*/ 5864091 h 6858000"/>
              <a:gd name="connsiteX558" fmla="*/ 6679416 w 12192000"/>
              <a:gd name="connsiteY558" fmla="*/ 5858737 h 6858000"/>
              <a:gd name="connsiteX559" fmla="*/ 6686403 w 12192000"/>
              <a:gd name="connsiteY559" fmla="*/ 5858737 h 6858000"/>
              <a:gd name="connsiteX560" fmla="*/ 6794693 w 12192000"/>
              <a:gd name="connsiteY560" fmla="*/ 5922306 h 6858000"/>
              <a:gd name="connsiteX561" fmla="*/ 6798186 w 12192000"/>
              <a:gd name="connsiteY561" fmla="*/ 5929370 h 6858000"/>
              <a:gd name="connsiteX562" fmla="*/ 6791199 w 12192000"/>
              <a:gd name="connsiteY562" fmla="*/ 5936433 h 6858000"/>
              <a:gd name="connsiteX563" fmla="*/ 6700376 w 12192000"/>
              <a:gd name="connsiteY563" fmla="*/ 5982344 h 6858000"/>
              <a:gd name="connsiteX564" fmla="*/ 6689896 w 12192000"/>
              <a:gd name="connsiteY564" fmla="*/ 5982344 h 6858000"/>
              <a:gd name="connsiteX565" fmla="*/ 6682909 w 12192000"/>
              <a:gd name="connsiteY565" fmla="*/ 5971749 h 6858000"/>
              <a:gd name="connsiteX566" fmla="*/ 6675923 w 12192000"/>
              <a:gd name="connsiteY566" fmla="*/ 5869333 h 6858000"/>
              <a:gd name="connsiteX567" fmla="*/ 6679416 w 12192000"/>
              <a:gd name="connsiteY567" fmla="*/ 5858737 h 6858000"/>
              <a:gd name="connsiteX568" fmla="*/ 6615733 w 12192000"/>
              <a:gd name="connsiteY568" fmla="*/ 5858737 h 6858000"/>
              <a:gd name="connsiteX569" fmla="*/ 6622719 w 12192000"/>
              <a:gd name="connsiteY569" fmla="*/ 5858737 h 6858000"/>
              <a:gd name="connsiteX570" fmla="*/ 6626212 w 12192000"/>
              <a:gd name="connsiteY570" fmla="*/ 5869333 h 6858000"/>
              <a:gd name="connsiteX571" fmla="*/ 6615733 w 12192000"/>
              <a:gd name="connsiteY571" fmla="*/ 5975280 h 6858000"/>
              <a:gd name="connsiteX572" fmla="*/ 6612239 w 12192000"/>
              <a:gd name="connsiteY572" fmla="*/ 5982344 h 6858000"/>
              <a:gd name="connsiteX573" fmla="*/ 6601760 w 12192000"/>
              <a:gd name="connsiteY573" fmla="*/ 5982344 h 6858000"/>
              <a:gd name="connsiteX574" fmla="*/ 6510935 w 12192000"/>
              <a:gd name="connsiteY574" fmla="*/ 5936433 h 6858000"/>
              <a:gd name="connsiteX575" fmla="*/ 6503949 w 12192000"/>
              <a:gd name="connsiteY575" fmla="*/ 5929370 h 6858000"/>
              <a:gd name="connsiteX576" fmla="*/ 6507443 w 12192000"/>
              <a:gd name="connsiteY576" fmla="*/ 5922306 h 6858000"/>
              <a:gd name="connsiteX577" fmla="*/ 6615733 w 12192000"/>
              <a:gd name="connsiteY577" fmla="*/ 5858737 h 6858000"/>
              <a:gd name="connsiteX578" fmla="*/ 6534583 w 12192000"/>
              <a:gd name="connsiteY578" fmla="*/ 5823805 h 6858000"/>
              <a:gd name="connsiteX579" fmla="*/ 6541569 w 12192000"/>
              <a:gd name="connsiteY579" fmla="*/ 5831195 h 6858000"/>
              <a:gd name="connsiteX580" fmla="*/ 6538076 w 12192000"/>
              <a:gd name="connsiteY580" fmla="*/ 5834890 h 6858000"/>
              <a:gd name="connsiteX581" fmla="*/ 6531089 w 12192000"/>
              <a:gd name="connsiteY581" fmla="*/ 5838585 h 6858000"/>
              <a:gd name="connsiteX582" fmla="*/ 6527596 w 12192000"/>
              <a:gd name="connsiteY582" fmla="*/ 5831195 h 6858000"/>
              <a:gd name="connsiteX583" fmla="*/ 6524103 w 12192000"/>
              <a:gd name="connsiteY583" fmla="*/ 5831195 h 6858000"/>
              <a:gd name="connsiteX584" fmla="*/ 6534583 w 12192000"/>
              <a:gd name="connsiteY584" fmla="*/ 5823805 h 6858000"/>
              <a:gd name="connsiteX585" fmla="*/ 6531109 w 12192000"/>
              <a:gd name="connsiteY585" fmla="*/ 5816608 h 6858000"/>
              <a:gd name="connsiteX586" fmla="*/ 6513354 w 12192000"/>
              <a:gd name="connsiteY586" fmla="*/ 5827260 h 6858000"/>
              <a:gd name="connsiteX587" fmla="*/ 6516905 w 12192000"/>
              <a:gd name="connsiteY587" fmla="*/ 5830811 h 6858000"/>
              <a:gd name="connsiteX588" fmla="*/ 6534660 w 12192000"/>
              <a:gd name="connsiteY588" fmla="*/ 5862769 h 6858000"/>
              <a:gd name="connsiteX589" fmla="*/ 6541761 w 12192000"/>
              <a:gd name="connsiteY589" fmla="*/ 5859217 h 6858000"/>
              <a:gd name="connsiteX590" fmla="*/ 6534660 w 12192000"/>
              <a:gd name="connsiteY590" fmla="*/ 5845014 h 6858000"/>
              <a:gd name="connsiteX591" fmla="*/ 6541761 w 12192000"/>
              <a:gd name="connsiteY591" fmla="*/ 5841464 h 6858000"/>
              <a:gd name="connsiteX592" fmla="*/ 6555964 w 12192000"/>
              <a:gd name="connsiteY592" fmla="*/ 5852116 h 6858000"/>
              <a:gd name="connsiteX593" fmla="*/ 6563066 w 12192000"/>
              <a:gd name="connsiteY593" fmla="*/ 5848565 h 6858000"/>
              <a:gd name="connsiteX594" fmla="*/ 6548863 w 12192000"/>
              <a:gd name="connsiteY594" fmla="*/ 5834362 h 6858000"/>
              <a:gd name="connsiteX595" fmla="*/ 6548863 w 12192000"/>
              <a:gd name="connsiteY595" fmla="*/ 5830811 h 6858000"/>
              <a:gd name="connsiteX596" fmla="*/ 6531109 w 12192000"/>
              <a:gd name="connsiteY596" fmla="*/ 5816608 h 6858000"/>
              <a:gd name="connsiteX597" fmla="*/ 6752016 w 12192000"/>
              <a:gd name="connsiteY597" fmla="*/ 5810370 h 6858000"/>
              <a:gd name="connsiteX598" fmla="*/ 6755559 w 12192000"/>
              <a:gd name="connsiteY598" fmla="*/ 5834554 h 6858000"/>
              <a:gd name="connsiteX599" fmla="*/ 6748474 w 12192000"/>
              <a:gd name="connsiteY599" fmla="*/ 5851828 h 6858000"/>
              <a:gd name="connsiteX600" fmla="*/ 6755559 w 12192000"/>
              <a:gd name="connsiteY600" fmla="*/ 5858737 h 6858000"/>
              <a:gd name="connsiteX601" fmla="*/ 6762643 w 12192000"/>
              <a:gd name="connsiteY601" fmla="*/ 5841463 h 6858000"/>
              <a:gd name="connsiteX602" fmla="*/ 6787438 w 12192000"/>
              <a:gd name="connsiteY602" fmla="*/ 5827644 h 6858000"/>
              <a:gd name="connsiteX603" fmla="*/ 6780354 w 12192000"/>
              <a:gd name="connsiteY603" fmla="*/ 5824189 h 6858000"/>
              <a:gd name="connsiteX604" fmla="*/ 6762643 w 12192000"/>
              <a:gd name="connsiteY604" fmla="*/ 5831099 h 6858000"/>
              <a:gd name="connsiteX605" fmla="*/ 6759101 w 12192000"/>
              <a:gd name="connsiteY605" fmla="*/ 5813824 h 6858000"/>
              <a:gd name="connsiteX606" fmla="*/ 6752016 w 12192000"/>
              <a:gd name="connsiteY606" fmla="*/ 5810370 h 6858000"/>
              <a:gd name="connsiteX607" fmla="*/ 6717036 w 12192000"/>
              <a:gd name="connsiteY607" fmla="*/ 5806340 h 6858000"/>
              <a:gd name="connsiteX608" fmla="*/ 6727516 w 12192000"/>
              <a:gd name="connsiteY608" fmla="*/ 5809699 h 6858000"/>
              <a:gd name="connsiteX609" fmla="*/ 6731009 w 12192000"/>
              <a:gd name="connsiteY609" fmla="*/ 5813058 h 6858000"/>
              <a:gd name="connsiteX610" fmla="*/ 6724022 w 12192000"/>
              <a:gd name="connsiteY610" fmla="*/ 5819775 h 6858000"/>
              <a:gd name="connsiteX611" fmla="*/ 6713542 w 12192000"/>
              <a:gd name="connsiteY611" fmla="*/ 5816416 h 6858000"/>
              <a:gd name="connsiteX612" fmla="*/ 6713542 w 12192000"/>
              <a:gd name="connsiteY612" fmla="*/ 5813058 h 6858000"/>
              <a:gd name="connsiteX613" fmla="*/ 6717036 w 12192000"/>
              <a:gd name="connsiteY613" fmla="*/ 5806340 h 6858000"/>
              <a:gd name="connsiteX614" fmla="*/ 6583891 w 12192000"/>
              <a:gd name="connsiteY614" fmla="*/ 5805835 h 6858000"/>
              <a:gd name="connsiteX615" fmla="*/ 6597998 w 12192000"/>
              <a:gd name="connsiteY615" fmla="*/ 5816416 h 6858000"/>
              <a:gd name="connsiteX616" fmla="*/ 6583891 w 12192000"/>
              <a:gd name="connsiteY616" fmla="*/ 5830523 h 6858000"/>
              <a:gd name="connsiteX617" fmla="*/ 6569783 w 12192000"/>
              <a:gd name="connsiteY617" fmla="*/ 5819943 h 6858000"/>
              <a:gd name="connsiteX618" fmla="*/ 6569783 w 12192000"/>
              <a:gd name="connsiteY618" fmla="*/ 5816416 h 6858000"/>
              <a:gd name="connsiteX619" fmla="*/ 6583891 w 12192000"/>
              <a:gd name="connsiteY619" fmla="*/ 5805835 h 6858000"/>
              <a:gd name="connsiteX620" fmla="*/ 6671893 w 12192000"/>
              <a:gd name="connsiteY620" fmla="*/ 5799621 h 6858000"/>
              <a:gd name="connsiteX621" fmla="*/ 6675251 w 12192000"/>
              <a:gd name="connsiteY621" fmla="*/ 5810101 h 6858000"/>
              <a:gd name="connsiteX622" fmla="*/ 6678610 w 12192000"/>
              <a:gd name="connsiteY622" fmla="*/ 5817088 h 6858000"/>
              <a:gd name="connsiteX623" fmla="*/ 6665174 w 12192000"/>
              <a:gd name="connsiteY623" fmla="*/ 5817088 h 6858000"/>
              <a:gd name="connsiteX624" fmla="*/ 6668534 w 12192000"/>
              <a:gd name="connsiteY624" fmla="*/ 5810101 h 6858000"/>
              <a:gd name="connsiteX625" fmla="*/ 6671893 w 12192000"/>
              <a:gd name="connsiteY625" fmla="*/ 5799621 h 6858000"/>
              <a:gd name="connsiteX626" fmla="*/ 6580420 w 12192000"/>
              <a:gd name="connsiteY626" fmla="*/ 5799105 h 6858000"/>
              <a:gd name="connsiteX627" fmla="*/ 6563065 w 12192000"/>
              <a:gd name="connsiteY627" fmla="*/ 5816675 h 6858000"/>
              <a:gd name="connsiteX628" fmla="*/ 6563065 w 12192000"/>
              <a:gd name="connsiteY628" fmla="*/ 5820188 h 6858000"/>
              <a:gd name="connsiteX629" fmla="*/ 6583891 w 12192000"/>
              <a:gd name="connsiteY629" fmla="*/ 5837758 h 6858000"/>
              <a:gd name="connsiteX630" fmla="*/ 6604715 w 12192000"/>
              <a:gd name="connsiteY630" fmla="*/ 5816675 h 6858000"/>
              <a:gd name="connsiteX631" fmla="*/ 6580420 w 12192000"/>
              <a:gd name="connsiteY631" fmla="*/ 5799105 h 6858000"/>
              <a:gd name="connsiteX632" fmla="*/ 6710733 w 12192000"/>
              <a:gd name="connsiteY632" fmla="*/ 5795591 h 6858000"/>
              <a:gd name="connsiteX633" fmla="*/ 6707191 w 12192000"/>
              <a:gd name="connsiteY633" fmla="*/ 5813345 h 6858000"/>
              <a:gd name="connsiteX634" fmla="*/ 6700107 w 12192000"/>
              <a:gd name="connsiteY634" fmla="*/ 5834650 h 6858000"/>
              <a:gd name="connsiteX635" fmla="*/ 6710733 w 12192000"/>
              <a:gd name="connsiteY635" fmla="*/ 5838201 h 6858000"/>
              <a:gd name="connsiteX636" fmla="*/ 6714275 w 12192000"/>
              <a:gd name="connsiteY636" fmla="*/ 5823998 h 6858000"/>
              <a:gd name="connsiteX637" fmla="*/ 6721360 w 12192000"/>
              <a:gd name="connsiteY637" fmla="*/ 5823998 h 6858000"/>
              <a:gd name="connsiteX638" fmla="*/ 6724902 w 12192000"/>
              <a:gd name="connsiteY638" fmla="*/ 5841752 h 6858000"/>
              <a:gd name="connsiteX639" fmla="*/ 6731986 w 12192000"/>
              <a:gd name="connsiteY639" fmla="*/ 5845303 h 6858000"/>
              <a:gd name="connsiteX640" fmla="*/ 6728443 w 12192000"/>
              <a:gd name="connsiteY640" fmla="*/ 5827549 h 6858000"/>
              <a:gd name="connsiteX641" fmla="*/ 6739070 w 12192000"/>
              <a:gd name="connsiteY641" fmla="*/ 5813345 h 6858000"/>
              <a:gd name="connsiteX642" fmla="*/ 6731986 w 12192000"/>
              <a:gd name="connsiteY642" fmla="*/ 5802693 h 6858000"/>
              <a:gd name="connsiteX643" fmla="*/ 6710733 w 12192000"/>
              <a:gd name="connsiteY643" fmla="*/ 5795591 h 6858000"/>
              <a:gd name="connsiteX644" fmla="*/ 6668106 w 12192000"/>
              <a:gd name="connsiteY644" fmla="*/ 5788873 h 6858000"/>
              <a:gd name="connsiteX645" fmla="*/ 6661022 w 12192000"/>
              <a:gd name="connsiteY645" fmla="*/ 5809957 h 6858000"/>
              <a:gd name="connsiteX646" fmla="*/ 6650396 w 12192000"/>
              <a:gd name="connsiteY646" fmla="*/ 5831040 h 6858000"/>
              <a:gd name="connsiteX647" fmla="*/ 6657481 w 12192000"/>
              <a:gd name="connsiteY647" fmla="*/ 5831040 h 6858000"/>
              <a:gd name="connsiteX648" fmla="*/ 6661022 w 12192000"/>
              <a:gd name="connsiteY648" fmla="*/ 5824012 h 6858000"/>
              <a:gd name="connsiteX649" fmla="*/ 6678733 w 12192000"/>
              <a:gd name="connsiteY649" fmla="*/ 5824012 h 6858000"/>
              <a:gd name="connsiteX650" fmla="*/ 6682275 w 12192000"/>
              <a:gd name="connsiteY650" fmla="*/ 5831040 h 6858000"/>
              <a:gd name="connsiteX651" fmla="*/ 6689359 w 12192000"/>
              <a:gd name="connsiteY651" fmla="*/ 5834554 h 6858000"/>
              <a:gd name="connsiteX652" fmla="*/ 6682275 w 12192000"/>
              <a:gd name="connsiteY652" fmla="*/ 5809957 h 6858000"/>
              <a:gd name="connsiteX653" fmla="*/ 6678733 w 12192000"/>
              <a:gd name="connsiteY653" fmla="*/ 5788873 h 6858000"/>
              <a:gd name="connsiteX654" fmla="*/ 6668106 w 12192000"/>
              <a:gd name="connsiteY654" fmla="*/ 5788873 h 6858000"/>
              <a:gd name="connsiteX655" fmla="*/ 6647709 w 12192000"/>
              <a:gd name="connsiteY655" fmla="*/ 5788873 h 6858000"/>
              <a:gd name="connsiteX656" fmla="*/ 6608746 w 12192000"/>
              <a:gd name="connsiteY656" fmla="*/ 5792344 h 6858000"/>
              <a:gd name="connsiteX657" fmla="*/ 6608746 w 12192000"/>
              <a:gd name="connsiteY657" fmla="*/ 5799285 h 6858000"/>
              <a:gd name="connsiteX658" fmla="*/ 6622914 w 12192000"/>
              <a:gd name="connsiteY658" fmla="*/ 5795815 h 6858000"/>
              <a:gd name="connsiteX659" fmla="*/ 6626456 w 12192000"/>
              <a:gd name="connsiteY659" fmla="*/ 5830523 h 6858000"/>
              <a:gd name="connsiteX660" fmla="*/ 6637082 w 12192000"/>
              <a:gd name="connsiteY660" fmla="*/ 5830523 h 6858000"/>
              <a:gd name="connsiteX661" fmla="*/ 6633540 w 12192000"/>
              <a:gd name="connsiteY661" fmla="*/ 5795815 h 6858000"/>
              <a:gd name="connsiteX662" fmla="*/ 6647709 w 12192000"/>
              <a:gd name="connsiteY662" fmla="*/ 5795815 h 6858000"/>
              <a:gd name="connsiteX663" fmla="*/ 6647709 w 12192000"/>
              <a:gd name="connsiteY663" fmla="*/ 5788873 h 6858000"/>
              <a:gd name="connsiteX664" fmla="*/ 6198068 w 12192000"/>
              <a:gd name="connsiteY664" fmla="*/ 5788872 h 6858000"/>
              <a:gd name="connsiteX665" fmla="*/ 6223148 w 12192000"/>
              <a:gd name="connsiteY665" fmla="*/ 5823804 h 6858000"/>
              <a:gd name="connsiteX666" fmla="*/ 6169406 w 12192000"/>
              <a:gd name="connsiteY666" fmla="*/ 5823804 h 6858000"/>
              <a:gd name="connsiteX667" fmla="*/ 6198068 w 12192000"/>
              <a:gd name="connsiteY667" fmla="*/ 5788872 h 6858000"/>
              <a:gd name="connsiteX668" fmla="*/ 6650396 w 12192000"/>
              <a:gd name="connsiteY668" fmla="*/ 5782156 h 6858000"/>
              <a:gd name="connsiteX669" fmla="*/ 6815350 w 12192000"/>
              <a:gd name="connsiteY669" fmla="*/ 5838047 h 6858000"/>
              <a:gd name="connsiteX670" fmla="*/ 6818860 w 12192000"/>
              <a:gd name="connsiteY670" fmla="*/ 5852020 h 6858000"/>
              <a:gd name="connsiteX671" fmla="*/ 6790783 w 12192000"/>
              <a:gd name="connsiteY671" fmla="*/ 5883460 h 6858000"/>
              <a:gd name="connsiteX672" fmla="*/ 6776744 w 12192000"/>
              <a:gd name="connsiteY672" fmla="*/ 5883460 h 6858000"/>
              <a:gd name="connsiteX673" fmla="*/ 6650396 w 12192000"/>
              <a:gd name="connsiteY673" fmla="*/ 5838047 h 6858000"/>
              <a:gd name="connsiteX674" fmla="*/ 6524048 w 12192000"/>
              <a:gd name="connsiteY674" fmla="*/ 5883460 h 6858000"/>
              <a:gd name="connsiteX675" fmla="*/ 6510010 w 12192000"/>
              <a:gd name="connsiteY675" fmla="*/ 5883460 h 6858000"/>
              <a:gd name="connsiteX676" fmla="*/ 6481932 w 12192000"/>
              <a:gd name="connsiteY676" fmla="*/ 5852020 h 6858000"/>
              <a:gd name="connsiteX677" fmla="*/ 6485442 w 12192000"/>
              <a:gd name="connsiteY677" fmla="*/ 5838047 h 6858000"/>
              <a:gd name="connsiteX678" fmla="*/ 6650396 w 12192000"/>
              <a:gd name="connsiteY678" fmla="*/ 5782156 h 6858000"/>
              <a:gd name="connsiteX679" fmla="*/ 6198292 w 12192000"/>
              <a:gd name="connsiteY679" fmla="*/ 5782155 h 6858000"/>
              <a:gd name="connsiteX680" fmla="*/ 6160001 w 12192000"/>
              <a:gd name="connsiteY680" fmla="*/ 5831195 h 6858000"/>
              <a:gd name="connsiteX681" fmla="*/ 6201773 w 12192000"/>
              <a:gd name="connsiteY681" fmla="*/ 5880234 h 6858000"/>
              <a:gd name="connsiteX682" fmla="*/ 6229621 w 12192000"/>
              <a:gd name="connsiteY682" fmla="*/ 5873228 h 6858000"/>
              <a:gd name="connsiteX683" fmla="*/ 6229621 w 12192000"/>
              <a:gd name="connsiteY683" fmla="*/ 5862720 h 6858000"/>
              <a:gd name="connsiteX684" fmla="*/ 6201773 w 12192000"/>
              <a:gd name="connsiteY684" fmla="*/ 5869725 h 6858000"/>
              <a:gd name="connsiteX685" fmla="*/ 6170443 w 12192000"/>
              <a:gd name="connsiteY685" fmla="*/ 5834698 h 6858000"/>
              <a:gd name="connsiteX686" fmla="*/ 6236583 w 12192000"/>
              <a:gd name="connsiteY686" fmla="*/ 5834698 h 6858000"/>
              <a:gd name="connsiteX687" fmla="*/ 6236583 w 12192000"/>
              <a:gd name="connsiteY687" fmla="*/ 5827692 h 6858000"/>
              <a:gd name="connsiteX688" fmla="*/ 6198292 w 12192000"/>
              <a:gd name="connsiteY688" fmla="*/ 5782155 h 6858000"/>
              <a:gd name="connsiteX689" fmla="*/ 5949064 w 12192000"/>
              <a:gd name="connsiteY689" fmla="*/ 5745879 h 6858000"/>
              <a:gd name="connsiteX690" fmla="*/ 5949064 w 12192000"/>
              <a:gd name="connsiteY690" fmla="*/ 5756627 h 6858000"/>
              <a:gd name="connsiteX691" fmla="*/ 5988028 w 12192000"/>
              <a:gd name="connsiteY691" fmla="*/ 5756627 h 6858000"/>
              <a:gd name="connsiteX692" fmla="*/ 5988028 w 12192000"/>
              <a:gd name="connsiteY692" fmla="*/ 5876203 h 6858000"/>
              <a:gd name="connsiteX693" fmla="*/ 6001464 w 12192000"/>
              <a:gd name="connsiteY693" fmla="*/ 5876203 h 6858000"/>
              <a:gd name="connsiteX694" fmla="*/ 6001464 w 12192000"/>
              <a:gd name="connsiteY694" fmla="*/ 5756627 h 6858000"/>
              <a:gd name="connsiteX695" fmla="*/ 6040426 w 12192000"/>
              <a:gd name="connsiteY695" fmla="*/ 5756627 h 6858000"/>
              <a:gd name="connsiteX696" fmla="*/ 6040426 w 12192000"/>
              <a:gd name="connsiteY696" fmla="*/ 5745879 h 6858000"/>
              <a:gd name="connsiteX697" fmla="*/ 6061922 w 12192000"/>
              <a:gd name="connsiteY697" fmla="*/ 5735130 h 6858000"/>
              <a:gd name="connsiteX698" fmla="*/ 6061922 w 12192000"/>
              <a:gd name="connsiteY698" fmla="*/ 5876203 h 6858000"/>
              <a:gd name="connsiteX699" fmla="*/ 6072287 w 12192000"/>
              <a:gd name="connsiteY699" fmla="*/ 5876203 h 6858000"/>
              <a:gd name="connsiteX700" fmla="*/ 6072287 w 12192000"/>
              <a:gd name="connsiteY700" fmla="*/ 5826827 h 6858000"/>
              <a:gd name="connsiteX701" fmla="*/ 6099926 w 12192000"/>
              <a:gd name="connsiteY701" fmla="*/ 5788033 h 6858000"/>
              <a:gd name="connsiteX702" fmla="*/ 6120655 w 12192000"/>
              <a:gd name="connsiteY702" fmla="*/ 5819774 h 6858000"/>
              <a:gd name="connsiteX703" fmla="*/ 6120655 w 12192000"/>
              <a:gd name="connsiteY703" fmla="*/ 5876203 h 6858000"/>
              <a:gd name="connsiteX704" fmla="*/ 6134474 w 12192000"/>
              <a:gd name="connsiteY704" fmla="*/ 5876203 h 6858000"/>
              <a:gd name="connsiteX705" fmla="*/ 6134474 w 12192000"/>
              <a:gd name="connsiteY705" fmla="*/ 5819774 h 6858000"/>
              <a:gd name="connsiteX706" fmla="*/ 6103380 w 12192000"/>
              <a:gd name="connsiteY706" fmla="*/ 5780979 h 6858000"/>
              <a:gd name="connsiteX707" fmla="*/ 6072287 w 12192000"/>
              <a:gd name="connsiteY707" fmla="*/ 5798613 h 6858000"/>
              <a:gd name="connsiteX708" fmla="*/ 6072287 w 12192000"/>
              <a:gd name="connsiteY708" fmla="*/ 5735130 h 6858000"/>
              <a:gd name="connsiteX709" fmla="*/ 6061922 w 12192000"/>
              <a:gd name="connsiteY709" fmla="*/ 5735130 h 6858000"/>
              <a:gd name="connsiteX710" fmla="*/ 6640551 w 12192000"/>
              <a:gd name="connsiteY710" fmla="*/ 5710947 h 6858000"/>
              <a:gd name="connsiteX711" fmla="*/ 6626527 w 12192000"/>
              <a:gd name="connsiteY711" fmla="*/ 5763810 h 6858000"/>
              <a:gd name="connsiteX712" fmla="*/ 6601987 w 12192000"/>
              <a:gd name="connsiteY712" fmla="*/ 5767334 h 6858000"/>
              <a:gd name="connsiteX713" fmla="*/ 6577446 w 12192000"/>
              <a:gd name="connsiteY713" fmla="*/ 5721520 h 6858000"/>
              <a:gd name="connsiteX714" fmla="*/ 6573940 w 12192000"/>
              <a:gd name="connsiteY714" fmla="*/ 5721520 h 6858000"/>
              <a:gd name="connsiteX715" fmla="*/ 6552905 w 12192000"/>
              <a:gd name="connsiteY715" fmla="*/ 5725044 h 6858000"/>
              <a:gd name="connsiteX716" fmla="*/ 6552905 w 12192000"/>
              <a:gd name="connsiteY716" fmla="*/ 5728568 h 6858000"/>
              <a:gd name="connsiteX717" fmla="*/ 6549399 w 12192000"/>
              <a:gd name="connsiteY717" fmla="*/ 5753237 h 6858000"/>
              <a:gd name="connsiteX718" fmla="*/ 6552905 w 12192000"/>
              <a:gd name="connsiteY718" fmla="*/ 5781431 h 6858000"/>
              <a:gd name="connsiteX719" fmla="*/ 6531870 w 12192000"/>
              <a:gd name="connsiteY719" fmla="*/ 5788479 h 6858000"/>
              <a:gd name="connsiteX720" fmla="*/ 6493306 w 12192000"/>
              <a:gd name="connsiteY720" fmla="*/ 5753237 h 6858000"/>
              <a:gd name="connsiteX721" fmla="*/ 6472271 w 12192000"/>
              <a:gd name="connsiteY721" fmla="*/ 5763810 h 6858000"/>
              <a:gd name="connsiteX722" fmla="*/ 6486295 w 12192000"/>
              <a:gd name="connsiteY722" fmla="*/ 5816672 h 6858000"/>
              <a:gd name="connsiteX723" fmla="*/ 6468766 w 12192000"/>
              <a:gd name="connsiteY723" fmla="*/ 5827245 h 6858000"/>
              <a:gd name="connsiteX724" fmla="*/ 6423190 w 12192000"/>
              <a:gd name="connsiteY724" fmla="*/ 5802576 h 6858000"/>
              <a:gd name="connsiteX725" fmla="*/ 6405661 w 12192000"/>
              <a:gd name="connsiteY725" fmla="*/ 5816672 h 6858000"/>
              <a:gd name="connsiteX726" fmla="*/ 6405661 w 12192000"/>
              <a:gd name="connsiteY726" fmla="*/ 5820196 h 6858000"/>
              <a:gd name="connsiteX727" fmla="*/ 6433707 w 12192000"/>
              <a:gd name="connsiteY727" fmla="*/ 5866011 h 6858000"/>
              <a:gd name="connsiteX728" fmla="*/ 6419684 w 12192000"/>
              <a:gd name="connsiteY728" fmla="*/ 5883632 h 6858000"/>
              <a:gd name="connsiteX729" fmla="*/ 6367097 w 12192000"/>
              <a:gd name="connsiteY729" fmla="*/ 5869535 h 6858000"/>
              <a:gd name="connsiteX730" fmla="*/ 6356580 w 12192000"/>
              <a:gd name="connsiteY730" fmla="*/ 5890680 h 6858000"/>
              <a:gd name="connsiteX731" fmla="*/ 6391638 w 12192000"/>
              <a:gd name="connsiteY731" fmla="*/ 5929447 h 6858000"/>
              <a:gd name="connsiteX732" fmla="*/ 6384626 w 12192000"/>
              <a:gd name="connsiteY732" fmla="*/ 5950591 h 6858000"/>
              <a:gd name="connsiteX733" fmla="*/ 6332039 w 12192000"/>
              <a:gd name="connsiteY733" fmla="*/ 5950591 h 6858000"/>
              <a:gd name="connsiteX734" fmla="*/ 6325027 w 12192000"/>
              <a:gd name="connsiteY734" fmla="*/ 5971736 h 6858000"/>
              <a:gd name="connsiteX735" fmla="*/ 6370602 w 12192000"/>
              <a:gd name="connsiteY735" fmla="*/ 5999930 h 6858000"/>
              <a:gd name="connsiteX736" fmla="*/ 6367097 w 12192000"/>
              <a:gd name="connsiteY736" fmla="*/ 6021074 h 6858000"/>
              <a:gd name="connsiteX737" fmla="*/ 6318016 w 12192000"/>
              <a:gd name="connsiteY737" fmla="*/ 6035172 h 6858000"/>
              <a:gd name="connsiteX738" fmla="*/ 6314510 w 12192000"/>
              <a:gd name="connsiteY738" fmla="*/ 6035172 h 6858000"/>
              <a:gd name="connsiteX739" fmla="*/ 6314510 w 12192000"/>
              <a:gd name="connsiteY739" fmla="*/ 6049268 h 6858000"/>
              <a:gd name="connsiteX740" fmla="*/ 6314510 w 12192000"/>
              <a:gd name="connsiteY740" fmla="*/ 6059841 h 6858000"/>
              <a:gd name="connsiteX741" fmla="*/ 6318016 w 12192000"/>
              <a:gd name="connsiteY741" fmla="*/ 6059841 h 6858000"/>
              <a:gd name="connsiteX742" fmla="*/ 6367097 w 12192000"/>
              <a:gd name="connsiteY742" fmla="*/ 6073938 h 6858000"/>
              <a:gd name="connsiteX743" fmla="*/ 6370602 w 12192000"/>
              <a:gd name="connsiteY743" fmla="*/ 6095083 h 6858000"/>
              <a:gd name="connsiteX744" fmla="*/ 6325027 w 12192000"/>
              <a:gd name="connsiteY744" fmla="*/ 6123276 h 6858000"/>
              <a:gd name="connsiteX745" fmla="*/ 6325027 w 12192000"/>
              <a:gd name="connsiteY745" fmla="*/ 6126800 h 6858000"/>
              <a:gd name="connsiteX746" fmla="*/ 6332039 w 12192000"/>
              <a:gd name="connsiteY746" fmla="*/ 6147945 h 6858000"/>
              <a:gd name="connsiteX747" fmla="*/ 6384626 w 12192000"/>
              <a:gd name="connsiteY747" fmla="*/ 6147945 h 6858000"/>
              <a:gd name="connsiteX748" fmla="*/ 6395143 w 12192000"/>
              <a:gd name="connsiteY748" fmla="*/ 6169091 h 6858000"/>
              <a:gd name="connsiteX749" fmla="*/ 6356580 w 12192000"/>
              <a:gd name="connsiteY749" fmla="*/ 6204332 h 6858000"/>
              <a:gd name="connsiteX750" fmla="*/ 6356580 w 12192000"/>
              <a:gd name="connsiteY750" fmla="*/ 6207856 h 6858000"/>
              <a:gd name="connsiteX751" fmla="*/ 6367097 w 12192000"/>
              <a:gd name="connsiteY751" fmla="*/ 6225477 h 6858000"/>
              <a:gd name="connsiteX752" fmla="*/ 6419684 w 12192000"/>
              <a:gd name="connsiteY752" fmla="*/ 6211380 h 6858000"/>
              <a:gd name="connsiteX753" fmla="*/ 6433707 w 12192000"/>
              <a:gd name="connsiteY753" fmla="*/ 6232526 h 6858000"/>
              <a:gd name="connsiteX754" fmla="*/ 6405661 w 12192000"/>
              <a:gd name="connsiteY754" fmla="*/ 6278340 h 6858000"/>
              <a:gd name="connsiteX755" fmla="*/ 6423190 w 12192000"/>
              <a:gd name="connsiteY755" fmla="*/ 6292436 h 6858000"/>
              <a:gd name="connsiteX756" fmla="*/ 6468766 w 12192000"/>
              <a:gd name="connsiteY756" fmla="*/ 6267768 h 6858000"/>
              <a:gd name="connsiteX757" fmla="*/ 6486295 w 12192000"/>
              <a:gd name="connsiteY757" fmla="*/ 6281864 h 6858000"/>
              <a:gd name="connsiteX758" fmla="*/ 6475777 w 12192000"/>
              <a:gd name="connsiteY758" fmla="*/ 6331202 h 6858000"/>
              <a:gd name="connsiteX759" fmla="*/ 6475777 w 12192000"/>
              <a:gd name="connsiteY759" fmla="*/ 6334727 h 6858000"/>
              <a:gd name="connsiteX760" fmla="*/ 6493306 w 12192000"/>
              <a:gd name="connsiteY760" fmla="*/ 6345299 h 6858000"/>
              <a:gd name="connsiteX761" fmla="*/ 6496812 w 12192000"/>
              <a:gd name="connsiteY761" fmla="*/ 6345299 h 6858000"/>
              <a:gd name="connsiteX762" fmla="*/ 6531870 w 12192000"/>
              <a:gd name="connsiteY762" fmla="*/ 6306533 h 6858000"/>
              <a:gd name="connsiteX763" fmla="*/ 6552905 w 12192000"/>
              <a:gd name="connsiteY763" fmla="*/ 6317106 h 6858000"/>
              <a:gd name="connsiteX764" fmla="*/ 6549399 w 12192000"/>
              <a:gd name="connsiteY764" fmla="*/ 6341775 h 6858000"/>
              <a:gd name="connsiteX765" fmla="*/ 6552905 w 12192000"/>
              <a:gd name="connsiteY765" fmla="*/ 6369969 h 6858000"/>
              <a:gd name="connsiteX766" fmla="*/ 6573940 w 12192000"/>
              <a:gd name="connsiteY766" fmla="*/ 6377017 h 6858000"/>
              <a:gd name="connsiteX767" fmla="*/ 6577446 w 12192000"/>
              <a:gd name="connsiteY767" fmla="*/ 6377017 h 6858000"/>
              <a:gd name="connsiteX768" fmla="*/ 6601987 w 12192000"/>
              <a:gd name="connsiteY768" fmla="*/ 6331202 h 6858000"/>
              <a:gd name="connsiteX769" fmla="*/ 6626527 w 12192000"/>
              <a:gd name="connsiteY769" fmla="*/ 6331202 h 6858000"/>
              <a:gd name="connsiteX770" fmla="*/ 6640551 w 12192000"/>
              <a:gd name="connsiteY770" fmla="*/ 6384065 h 6858000"/>
              <a:gd name="connsiteX771" fmla="*/ 6661585 w 12192000"/>
              <a:gd name="connsiteY771" fmla="*/ 6384065 h 6858000"/>
              <a:gd name="connsiteX772" fmla="*/ 6665092 w 12192000"/>
              <a:gd name="connsiteY772" fmla="*/ 6384065 h 6858000"/>
              <a:gd name="connsiteX773" fmla="*/ 6679114 w 12192000"/>
              <a:gd name="connsiteY773" fmla="*/ 6331202 h 6858000"/>
              <a:gd name="connsiteX774" fmla="*/ 6700150 w 12192000"/>
              <a:gd name="connsiteY774" fmla="*/ 6331202 h 6858000"/>
              <a:gd name="connsiteX775" fmla="*/ 6724690 w 12192000"/>
              <a:gd name="connsiteY775" fmla="*/ 6377017 h 6858000"/>
              <a:gd name="connsiteX776" fmla="*/ 6728196 w 12192000"/>
              <a:gd name="connsiteY776" fmla="*/ 6377017 h 6858000"/>
              <a:gd name="connsiteX777" fmla="*/ 6749231 w 12192000"/>
              <a:gd name="connsiteY777" fmla="*/ 6369969 h 6858000"/>
              <a:gd name="connsiteX778" fmla="*/ 6752736 w 12192000"/>
              <a:gd name="connsiteY778" fmla="*/ 6341775 h 6858000"/>
              <a:gd name="connsiteX779" fmla="*/ 6749231 w 12192000"/>
              <a:gd name="connsiteY779" fmla="*/ 6317106 h 6858000"/>
              <a:gd name="connsiteX780" fmla="*/ 6770266 w 12192000"/>
              <a:gd name="connsiteY780" fmla="*/ 6306533 h 6858000"/>
              <a:gd name="connsiteX781" fmla="*/ 6808830 w 12192000"/>
              <a:gd name="connsiteY781" fmla="*/ 6345299 h 6858000"/>
              <a:gd name="connsiteX782" fmla="*/ 6826358 w 12192000"/>
              <a:gd name="connsiteY782" fmla="*/ 6334727 h 6858000"/>
              <a:gd name="connsiteX783" fmla="*/ 6829865 w 12192000"/>
              <a:gd name="connsiteY783" fmla="*/ 6334727 h 6858000"/>
              <a:gd name="connsiteX784" fmla="*/ 6829865 w 12192000"/>
              <a:gd name="connsiteY784" fmla="*/ 6331202 h 6858000"/>
              <a:gd name="connsiteX785" fmla="*/ 6815841 w 12192000"/>
              <a:gd name="connsiteY785" fmla="*/ 6281864 h 6858000"/>
              <a:gd name="connsiteX786" fmla="*/ 6833370 w 12192000"/>
              <a:gd name="connsiteY786" fmla="*/ 6267768 h 6858000"/>
              <a:gd name="connsiteX787" fmla="*/ 6878946 w 12192000"/>
              <a:gd name="connsiteY787" fmla="*/ 6292436 h 6858000"/>
              <a:gd name="connsiteX788" fmla="*/ 6896475 w 12192000"/>
              <a:gd name="connsiteY788" fmla="*/ 6278340 h 6858000"/>
              <a:gd name="connsiteX789" fmla="*/ 6896475 w 12192000"/>
              <a:gd name="connsiteY789" fmla="*/ 6274816 h 6858000"/>
              <a:gd name="connsiteX790" fmla="*/ 6868429 w 12192000"/>
              <a:gd name="connsiteY790" fmla="*/ 6229001 h 6858000"/>
              <a:gd name="connsiteX791" fmla="*/ 6882452 w 12192000"/>
              <a:gd name="connsiteY791" fmla="*/ 6211380 h 6858000"/>
              <a:gd name="connsiteX792" fmla="*/ 6935039 w 12192000"/>
              <a:gd name="connsiteY792" fmla="*/ 6225477 h 6858000"/>
              <a:gd name="connsiteX793" fmla="*/ 6945557 w 12192000"/>
              <a:gd name="connsiteY793" fmla="*/ 6207856 h 6858000"/>
              <a:gd name="connsiteX794" fmla="*/ 6945557 w 12192000"/>
              <a:gd name="connsiteY794" fmla="*/ 6204332 h 6858000"/>
              <a:gd name="connsiteX795" fmla="*/ 6910499 w 12192000"/>
              <a:gd name="connsiteY795" fmla="*/ 6165566 h 6858000"/>
              <a:gd name="connsiteX796" fmla="*/ 6917510 w 12192000"/>
              <a:gd name="connsiteY796" fmla="*/ 6147945 h 6858000"/>
              <a:gd name="connsiteX797" fmla="*/ 6970097 w 12192000"/>
              <a:gd name="connsiteY797" fmla="*/ 6147945 h 6858000"/>
              <a:gd name="connsiteX798" fmla="*/ 6970097 w 12192000"/>
              <a:gd name="connsiteY798" fmla="*/ 6144421 h 6858000"/>
              <a:gd name="connsiteX799" fmla="*/ 6977109 w 12192000"/>
              <a:gd name="connsiteY799" fmla="*/ 6123276 h 6858000"/>
              <a:gd name="connsiteX800" fmla="*/ 6931533 w 12192000"/>
              <a:gd name="connsiteY800" fmla="*/ 6095083 h 6858000"/>
              <a:gd name="connsiteX801" fmla="*/ 6935039 w 12192000"/>
              <a:gd name="connsiteY801" fmla="*/ 6073938 h 6858000"/>
              <a:gd name="connsiteX802" fmla="*/ 6984121 w 12192000"/>
              <a:gd name="connsiteY802" fmla="*/ 6059841 h 6858000"/>
              <a:gd name="connsiteX803" fmla="*/ 6987626 w 12192000"/>
              <a:gd name="connsiteY803" fmla="*/ 6049268 h 6858000"/>
              <a:gd name="connsiteX804" fmla="*/ 6984121 w 12192000"/>
              <a:gd name="connsiteY804" fmla="*/ 6038696 h 6858000"/>
              <a:gd name="connsiteX805" fmla="*/ 6984121 w 12192000"/>
              <a:gd name="connsiteY805" fmla="*/ 6035172 h 6858000"/>
              <a:gd name="connsiteX806" fmla="*/ 6935039 w 12192000"/>
              <a:gd name="connsiteY806" fmla="*/ 6021074 h 6858000"/>
              <a:gd name="connsiteX807" fmla="*/ 6931533 w 12192000"/>
              <a:gd name="connsiteY807" fmla="*/ 5999930 h 6858000"/>
              <a:gd name="connsiteX808" fmla="*/ 6977109 w 12192000"/>
              <a:gd name="connsiteY808" fmla="*/ 5975261 h 6858000"/>
              <a:gd name="connsiteX809" fmla="*/ 6977109 w 12192000"/>
              <a:gd name="connsiteY809" fmla="*/ 5971736 h 6858000"/>
              <a:gd name="connsiteX810" fmla="*/ 6970097 w 12192000"/>
              <a:gd name="connsiteY810" fmla="*/ 5950591 h 6858000"/>
              <a:gd name="connsiteX811" fmla="*/ 6917510 w 12192000"/>
              <a:gd name="connsiteY811" fmla="*/ 5950591 h 6858000"/>
              <a:gd name="connsiteX812" fmla="*/ 6910499 w 12192000"/>
              <a:gd name="connsiteY812" fmla="*/ 5929447 h 6858000"/>
              <a:gd name="connsiteX813" fmla="*/ 6945557 w 12192000"/>
              <a:gd name="connsiteY813" fmla="*/ 5890680 h 6858000"/>
              <a:gd name="connsiteX814" fmla="*/ 6935039 w 12192000"/>
              <a:gd name="connsiteY814" fmla="*/ 5873059 h 6858000"/>
              <a:gd name="connsiteX815" fmla="*/ 6935039 w 12192000"/>
              <a:gd name="connsiteY815" fmla="*/ 5869535 h 6858000"/>
              <a:gd name="connsiteX816" fmla="*/ 6882452 w 12192000"/>
              <a:gd name="connsiteY816" fmla="*/ 5883632 h 6858000"/>
              <a:gd name="connsiteX817" fmla="*/ 6868429 w 12192000"/>
              <a:gd name="connsiteY817" fmla="*/ 5866011 h 6858000"/>
              <a:gd name="connsiteX818" fmla="*/ 6896475 w 12192000"/>
              <a:gd name="connsiteY818" fmla="*/ 5820196 h 6858000"/>
              <a:gd name="connsiteX819" fmla="*/ 6878946 w 12192000"/>
              <a:gd name="connsiteY819" fmla="*/ 5802576 h 6858000"/>
              <a:gd name="connsiteX820" fmla="*/ 6833370 w 12192000"/>
              <a:gd name="connsiteY820" fmla="*/ 5830770 h 6858000"/>
              <a:gd name="connsiteX821" fmla="*/ 6815841 w 12192000"/>
              <a:gd name="connsiteY821" fmla="*/ 5816672 h 6858000"/>
              <a:gd name="connsiteX822" fmla="*/ 6829865 w 12192000"/>
              <a:gd name="connsiteY822" fmla="*/ 5763810 h 6858000"/>
              <a:gd name="connsiteX823" fmla="*/ 6808830 w 12192000"/>
              <a:gd name="connsiteY823" fmla="*/ 5753237 h 6858000"/>
              <a:gd name="connsiteX824" fmla="*/ 6770266 w 12192000"/>
              <a:gd name="connsiteY824" fmla="*/ 5788479 h 6858000"/>
              <a:gd name="connsiteX825" fmla="*/ 6749231 w 12192000"/>
              <a:gd name="connsiteY825" fmla="*/ 5781431 h 6858000"/>
              <a:gd name="connsiteX826" fmla="*/ 6752736 w 12192000"/>
              <a:gd name="connsiteY826" fmla="*/ 5753237 h 6858000"/>
              <a:gd name="connsiteX827" fmla="*/ 6749231 w 12192000"/>
              <a:gd name="connsiteY827" fmla="*/ 5728568 h 6858000"/>
              <a:gd name="connsiteX828" fmla="*/ 6749231 w 12192000"/>
              <a:gd name="connsiteY828" fmla="*/ 5725044 h 6858000"/>
              <a:gd name="connsiteX829" fmla="*/ 6728196 w 12192000"/>
              <a:gd name="connsiteY829" fmla="*/ 5721520 h 6858000"/>
              <a:gd name="connsiteX830" fmla="*/ 6724690 w 12192000"/>
              <a:gd name="connsiteY830" fmla="*/ 5721520 h 6858000"/>
              <a:gd name="connsiteX831" fmla="*/ 6700150 w 12192000"/>
              <a:gd name="connsiteY831" fmla="*/ 5767334 h 6858000"/>
              <a:gd name="connsiteX832" fmla="*/ 6675609 w 12192000"/>
              <a:gd name="connsiteY832" fmla="*/ 5763810 h 6858000"/>
              <a:gd name="connsiteX833" fmla="*/ 6661585 w 12192000"/>
              <a:gd name="connsiteY833" fmla="*/ 5710947 h 6858000"/>
              <a:gd name="connsiteX834" fmla="*/ 6640551 w 12192000"/>
              <a:gd name="connsiteY834" fmla="*/ 5710947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6948486" y="6345467"/>
                </a:moveTo>
                <a:lnTo>
                  <a:pt x="6954599" y="6345467"/>
                </a:lnTo>
                <a:cubicBezTo>
                  <a:pt x="6957225" y="6345467"/>
                  <a:pt x="6959024" y="6345659"/>
                  <a:pt x="6959994" y="6346042"/>
                </a:cubicBezTo>
                <a:cubicBezTo>
                  <a:pt x="6960965" y="6346425"/>
                  <a:pt x="6961724" y="6347006"/>
                  <a:pt x="6962272" y="6347785"/>
                </a:cubicBezTo>
                <a:cubicBezTo>
                  <a:pt x="6962819" y="6348565"/>
                  <a:pt x="6963092" y="6349448"/>
                  <a:pt x="6963092" y="6350432"/>
                </a:cubicBezTo>
                <a:cubicBezTo>
                  <a:pt x="6963092" y="6351964"/>
                  <a:pt x="6962524" y="6353194"/>
                  <a:pt x="6961389" y="6354124"/>
                </a:cubicBezTo>
                <a:cubicBezTo>
                  <a:pt x="6960254" y="6355055"/>
                  <a:pt x="6958127" y="6355519"/>
                  <a:pt x="6955010" y="6355519"/>
                </a:cubicBezTo>
                <a:lnTo>
                  <a:pt x="6948486" y="6355519"/>
                </a:lnTo>
                <a:close/>
                <a:moveTo>
                  <a:pt x="6943111" y="6340955"/>
                </a:moveTo>
                <a:lnTo>
                  <a:pt x="6943111" y="6374269"/>
                </a:lnTo>
                <a:lnTo>
                  <a:pt x="6948486" y="6374269"/>
                </a:lnTo>
                <a:lnTo>
                  <a:pt x="6948486" y="6360115"/>
                </a:lnTo>
                <a:lnTo>
                  <a:pt x="6951645" y="6360115"/>
                </a:lnTo>
                <a:cubicBezTo>
                  <a:pt x="6953533" y="6360115"/>
                  <a:pt x="6954969" y="6360497"/>
                  <a:pt x="6955953" y="6361263"/>
                </a:cubicBezTo>
                <a:cubicBezTo>
                  <a:pt x="6957375" y="6362302"/>
                  <a:pt x="6959249" y="6364887"/>
                  <a:pt x="6961574" y="6369017"/>
                </a:cubicBezTo>
                <a:lnTo>
                  <a:pt x="6964528" y="6374269"/>
                </a:lnTo>
                <a:lnTo>
                  <a:pt x="6971092" y="6374269"/>
                </a:lnTo>
                <a:lnTo>
                  <a:pt x="6967031" y="6367745"/>
                </a:lnTo>
                <a:cubicBezTo>
                  <a:pt x="6965088" y="6364654"/>
                  <a:pt x="6963447" y="6362453"/>
                  <a:pt x="6962108" y="6361140"/>
                </a:cubicBezTo>
                <a:cubicBezTo>
                  <a:pt x="6961396" y="6360457"/>
                  <a:pt x="6960452" y="6359868"/>
                  <a:pt x="6959277" y="6359376"/>
                </a:cubicBezTo>
                <a:cubicBezTo>
                  <a:pt x="6962148" y="6359157"/>
                  <a:pt x="6964453" y="6358145"/>
                  <a:pt x="6966190" y="6356340"/>
                </a:cubicBezTo>
                <a:cubicBezTo>
                  <a:pt x="6967926" y="6354535"/>
                  <a:pt x="6968795" y="6352415"/>
                  <a:pt x="6968795" y="6349981"/>
                </a:cubicBezTo>
                <a:cubicBezTo>
                  <a:pt x="6968795" y="6348258"/>
                  <a:pt x="6968275" y="6346630"/>
                  <a:pt x="6967236" y="6345098"/>
                </a:cubicBezTo>
                <a:cubicBezTo>
                  <a:pt x="6966196" y="6343566"/>
                  <a:pt x="6964802" y="6342493"/>
                  <a:pt x="6963051" y="6341878"/>
                </a:cubicBezTo>
                <a:cubicBezTo>
                  <a:pt x="6961300" y="6341262"/>
                  <a:pt x="6958469" y="6340955"/>
                  <a:pt x="6954558" y="6340955"/>
                </a:cubicBezTo>
                <a:close/>
                <a:moveTo>
                  <a:pt x="5903900" y="6338384"/>
                </a:moveTo>
                <a:cubicBezTo>
                  <a:pt x="5903900" y="6338384"/>
                  <a:pt x="5903900" y="6338384"/>
                  <a:pt x="5907414" y="6338384"/>
                </a:cubicBezTo>
                <a:lnTo>
                  <a:pt x="5907414" y="6341925"/>
                </a:lnTo>
                <a:cubicBezTo>
                  <a:pt x="5907414" y="6352552"/>
                  <a:pt x="5907414" y="6377347"/>
                  <a:pt x="5879303" y="6377347"/>
                </a:cubicBezTo>
                <a:cubicBezTo>
                  <a:pt x="5868761" y="6377347"/>
                  <a:pt x="5861734" y="6373805"/>
                  <a:pt x="5861734" y="6359637"/>
                </a:cubicBezTo>
                <a:cubicBezTo>
                  <a:pt x="5861734" y="6338384"/>
                  <a:pt x="5886331" y="6338384"/>
                  <a:pt x="5903900" y="6338384"/>
                </a:cubicBezTo>
                <a:close/>
                <a:moveTo>
                  <a:pt x="6956692" y="6331313"/>
                </a:moveTo>
                <a:cubicBezTo>
                  <a:pt x="6961013" y="6331313"/>
                  <a:pt x="6965239" y="6332428"/>
                  <a:pt x="6969369" y="6334657"/>
                </a:cubicBezTo>
                <a:cubicBezTo>
                  <a:pt x="6973499" y="6336886"/>
                  <a:pt x="6976720" y="6340073"/>
                  <a:pt x="6979032" y="6344216"/>
                </a:cubicBezTo>
                <a:cubicBezTo>
                  <a:pt x="6981342" y="6348360"/>
                  <a:pt x="6982498" y="6352675"/>
                  <a:pt x="6982498" y="6357160"/>
                </a:cubicBezTo>
                <a:cubicBezTo>
                  <a:pt x="6982498" y="6361619"/>
                  <a:pt x="6981363" y="6365893"/>
                  <a:pt x="6979093" y="6369981"/>
                </a:cubicBezTo>
                <a:cubicBezTo>
                  <a:pt x="6976823" y="6374071"/>
                  <a:pt x="6973636" y="6377257"/>
                  <a:pt x="6969533" y="6379541"/>
                </a:cubicBezTo>
                <a:cubicBezTo>
                  <a:pt x="6965430" y="6381825"/>
                  <a:pt x="6961151" y="6382967"/>
                  <a:pt x="6956692" y="6382967"/>
                </a:cubicBezTo>
                <a:cubicBezTo>
                  <a:pt x="6952234" y="6382967"/>
                  <a:pt x="6947953" y="6381825"/>
                  <a:pt x="6943850" y="6379541"/>
                </a:cubicBezTo>
                <a:cubicBezTo>
                  <a:pt x="6939748" y="6377257"/>
                  <a:pt x="6936554" y="6374071"/>
                  <a:pt x="6934270" y="6369981"/>
                </a:cubicBezTo>
                <a:cubicBezTo>
                  <a:pt x="6931986" y="6365893"/>
                  <a:pt x="6930844" y="6361619"/>
                  <a:pt x="6930844" y="6357160"/>
                </a:cubicBezTo>
                <a:cubicBezTo>
                  <a:pt x="6930844" y="6352675"/>
                  <a:pt x="6932006" y="6348360"/>
                  <a:pt x="6934332" y="6344216"/>
                </a:cubicBezTo>
                <a:cubicBezTo>
                  <a:pt x="6936657" y="6340073"/>
                  <a:pt x="6939877" y="6336886"/>
                  <a:pt x="6943994" y="6334657"/>
                </a:cubicBezTo>
                <a:cubicBezTo>
                  <a:pt x="6948110" y="6332428"/>
                  <a:pt x="6952343" y="6331313"/>
                  <a:pt x="6956692" y="6331313"/>
                </a:cubicBezTo>
                <a:close/>
                <a:moveTo>
                  <a:pt x="6956692" y="6326185"/>
                </a:moveTo>
                <a:cubicBezTo>
                  <a:pt x="6951495" y="6326185"/>
                  <a:pt x="6946421" y="6327518"/>
                  <a:pt x="6941471" y="6330185"/>
                </a:cubicBezTo>
                <a:cubicBezTo>
                  <a:pt x="6936520" y="6332851"/>
                  <a:pt x="6932656" y="6336667"/>
                  <a:pt x="6929880" y="6341632"/>
                </a:cubicBezTo>
                <a:cubicBezTo>
                  <a:pt x="6927104" y="6346595"/>
                  <a:pt x="6925716" y="6351772"/>
                  <a:pt x="6925716" y="6357160"/>
                </a:cubicBezTo>
                <a:cubicBezTo>
                  <a:pt x="6925716" y="6362494"/>
                  <a:pt x="6927083" y="6367623"/>
                  <a:pt x="6929819" y="6372546"/>
                </a:cubicBezTo>
                <a:cubicBezTo>
                  <a:pt x="6932554" y="6377469"/>
                  <a:pt x="6936376" y="6381292"/>
                  <a:pt x="6941286" y="6384013"/>
                </a:cubicBezTo>
                <a:cubicBezTo>
                  <a:pt x="6946196" y="6386734"/>
                  <a:pt x="6951331" y="6388095"/>
                  <a:pt x="6956692" y="6388095"/>
                </a:cubicBezTo>
                <a:cubicBezTo>
                  <a:pt x="6962053" y="6388095"/>
                  <a:pt x="6967187" y="6386734"/>
                  <a:pt x="6972098" y="6384013"/>
                </a:cubicBezTo>
                <a:cubicBezTo>
                  <a:pt x="6977007" y="6381292"/>
                  <a:pt x="6980823" y="6377469"/>
                  <a:pt x="6983544" y="6372546"/>
                </a:cubicBezTo>
                <a:cubicBezTo>
                  <a:pt x="6986265" y="6367623"/>
                  <a:pt x="6987626" y="6362494"/>
                  <a:pt x="6987626" y="6357160"/>
                </a:cubicBezTo>
                <a:cubicBezTo>
                  <a:pt x="6987626" y="6351772"/>
                  <a:pt x="6986245" y="6346595"/>
                  <a:pt x="6983483" y="6341632"/>
                </a:cubicBezTo>
                <a:cubicBezTo>
                  <a:pt x="6980720" y="6336667"/>
                  <a:pt x="6976863" y="6332851"/>
                  <a:pt x="6971912" y="6330185"/>
                </a:cubicBezTo>
                <a:cubicBezTo>
                  <a:pt x="6966962" y="6327518"/>
                  <a:pt x="6961889" y="6326185"/>
                  <a:pt x="6956692" y="6326185"/>
                </a:cubicBezTo>
                <a:close/>
                <a:moveTo>
                  <a:pt x="6093496" y="6296733"/>
                </a:moveTo>
                <a:cubicBezTo>
                  <a:pt x="6110934" y="6296733"/>
                  <a:pt x="6125070" y="6314779"/>
                  <a:pt x="6125070" y="6337040"/>
                </a:cubicBezTo>
                <a:cubicBezTo>
                  <a:pt x="6125070" y="6359301"/>
                  <a:pt x="6110934" y="6377346"/>
                  <a:pt x="6093496" y="6377346"/>
                </a:cubicBezTo>
                <a:cubicBezTo>
                  <a:pt x="6076059" y="6377346"/>
                  <a:pt x="6061922" y="6359301"/>
                  <a:pt x="6061922" y="6337040"/>
                </a:cubicBezTo>
                <a:cubicBezTo>
                  <a:pt x="6061922" y="6314779"/>
                  <a:pt x="6076059" y="6296733"/>
                  <a:pt x="6093496" y="6296733"/>
                </a:cubicBezTo>
                <a:close/>
                <a:moveTo>
                  <a:pt x="5783809" y="6296733"/>
                </a:moveTo>
                <a:cubicBezTo>
                  <a:pt x="5799391" y="6296733"/>
                  <a:pt x="5812024" y="6314779"/>
                  <a:pt x="5812024" y="6337040"/>
                </a:cubicBezTo>
                <a:cubicBezTo>
                  <a:pt x="5812024" y="6359301"/>
                  <a:pt x="5799391" y="6377346"/>
                  <a:pt x="5783809" y="6377346"/>
                </a:cubicBezTo>
                <a:cubicBezTo>
                  <a:pt x="5768226" y="6377346"/>
                  <a:pt x="5755594" y="6359301"/>
                  <a:pt x="5755594" y="6337040"/>
                </a:cubicBezTo>
                <a:cubicBezTo>
                  <a:pt x="5755594" y="6314779"/>
                  <a:pt x="5768226" y="6296733"/>
                  <a:pt x="5783809" y="6296733"/>
                </a:cubicBezTo>
                <a:close/>
                <a:moveTo>
                  <a:pt x="5471433" y="6296733"/>
                </a:moveTo>
                <a:cubicBezTo>
                  <a:pt x="5488871" y="6296733"/>
                  <a:pt x="5503007" y="6314779"/>
                  <a:pt x="5503007" y="6337040"/>
                </a:cubicBezTo>
                <a:cubicBezTo>
                  <a:pt x="5503007" y="6359301"/>
                  <a:pt x="5488871" y="6377346"/>
                  <a:pt x="5471433" y="6377346"/>
                </a:cubicBezTo>
                <a:cubicBezTo>
                  <a:pt x="5453996" y="6377346"/>
                  <a:pt x="5439860" y="6359301"/>
                  <a:pt x="5439860" y="6337040"/>
                </a:cubicBezTo>
                <a:cubicBezTo>
                  <a:pt x="5439860" y="6314779"/>
                  <a:pt x="5453996" y="6296733"/>
                  <a:pt x="5471433" y="6296733"/>
                </a:cubicBezTo>
                <a:close/>
                <a:moveTo>
                  <a:pt x="6016373" y="6291486"/>
                </a:moveTo>
                <a:lnTo>
                  <a:pt x="6016373" y="6387446"/>
                </a:lnTo>
                <a:lnTo>
                  <a:pt x="6028662" y="6387446"/>
                </a:lnTo>
                <a:lnTo>
                  <a:pt x="6028662" y="6291486"/>
                </a:lnTo>
                <a:close/>
                <a:moveTo>
                  <a:pt x="6160001" y="6290016"/>
                </a:moveTo>
                <a:cubicBezTo>
                  <a:pt x="6160001" y="6296982"/>
                  <a:pt x="6160001" y="6307432"/>
                  <a:pt x="6160001" y="6314399"/>
                </a:cubicBezTo>
                <a:lnTo>
                  <a:pt x="6160001" y="6384064"/>
                </a:lnTo>
                <a:cubicBezTo>
                  <a:pt x="6160001" y="6384064"/>
                  <a:pt x="6160001" y="6384064"/>
                  <a:pt x="6173820" y="6384064"/>
                </a:cubicBezTo>
                <a:cubicBezTo>
                  <a:pt x="6173820" y="6384064"/>
                  <a:pt x="6173820" y="6384064"/>
                  <a:pt x="6173820" y="6331815"/>
                </a:cubicBezTo>
                <a:cubicBezTo>
                  <a:pt x="6173820" y="6317882"/>
                  <a:pt x="6180730" y="6296982"/>
                  <a:pt x="6201459" y="6296982"/>
                </a:cubicBezTo>
                <a:cubicBezTo>
                  <a:pt x="6215278" y="6296982"/>
                  <a:pt x="6222188" y="6310915"/>
                  <a:pt x="6222188" y="6328332"/>
                </a:cubicBezTo>
                <a:cubicBezTo>
                  <a:pt x="6222188" y="6328332"/>
                  <a:pt x="6222188" y="6328332"/>
                  <a:pt x="6222188" y="6384064"/>
                </a:cubicBezTo>
                <a:cubicBezTo>
                  <a:pt x="6222188" y="6384064"/>
                  <a:pt x="6222188" y="6384064"/>
                  <a:pt x="6232552" y="6384064"/>
                </a:cubicBezTo>
                <a:cubicBezTo>
                  <a:pt x="6232552" y="6384064"/>
                  <a:pt x="6232552" y="6384064"/>
                  <a:pt x="6232552" y="6324848"/>
                </a:cubicBezTo>
                <a:cubicBezTo>
                  <a:pt x="6232552" y="6303949"/>
                  <a:pt x="6225643" y="6290016"/>
                  <a:pt x="6201459" y="6290016"/>
                </a:cubicBezTo>
                <a:cubicBezTo>
                  <a:pt x="6184184" y="6290016"/>
                  <a:pt x="6177275" y="6300465"/>
                  <a:pt x="6170366" y="6307432"/>
                </a:cubicBezTo>
                <a:cubicBezTo>
                  <a:pt x="6170366" y="6307432"/>
                  <a:pt x="6170366" y="6307432"/>
                  <a:pt x="6170366" y="6290016"/>
                </a:cubicBezTo>
                <a:cubicBezTo>
                  <a:pt x="6170366" y="6290016"/>
                  <a:pt x="6170366" y="6290016"/>
                  <a:pt x="6160001" y="6290016"/>
                </a:cubicBezTo>
                <a:close/>
                <a:moveTo>
                  <a:pt x="6090808" y="6290016"/>
                </a:moveTo>
                <a:cubicBezTo>
                  <a:pt x="6066692" y="6290016"/>
                  <a:pt x="6047143" y="6311971"/>
                  <a:pt x="6047143" y="6339056"/>
                </a:cubicBezTo>
                <a:cubicBezTo>
                  <a:pt x="6047143" y="6366140"/>
                  <a:pt x="6066692" y="6388095"/>
                  <a:pt x="6090808" y="6388095"/>
                </a:cubicBezTo>
                <a:cubicBezTo>
                  <a:pt x="6114924" y="6388095"/>
                  <a:pt x="6134474" y="6366140"/>
                  <a:pt x="6134474" y="6339056"/>
                </a:cubicBezTo>
                <a:cubicBezTo>
                  <a:pt x="6134474" y="6311971"/>
                  <a:pt x="6114924" y="6290016"/>
                  <a:pt x="6090808" y="6290016"/>
                </a:cubicBezTo>
                <a:close/>
                <a:moveTo>
                  <a:pt x="5885663" y="6290016"/>
                </a:moveTo>
                <a:cubicBezTo>
                  <a:pt x="5878625" y="6290016"/>
                  <a:pt x="5864549" y="6290016"/>
                  <a:pt x="5857511" y="6293519"/>
                </a:cubicBezTo>
                <a:cubicBezTo>
                  <a:pt x="5857511" y="6293519"/>
                  <a:pt x="5857511" y="6293519"/>
                  <a:pt x="5857511" y="6307530"/>
                </a:cubicBezTo>
                <a:cubicBezTo>
                  <a:pt x="5868068" y="6300525"/>
                  <a:pt x="5875106" y="6297022"/>
                  <a:pt x="5885663" y="6297022"/>
                </a:cubicBezTo>
                <a:cubicBezTo>
                  <a:pt x="5903256" y="6297022"/>
                  <a:pt x="5906775" y="6307530"/>
                  <a:pt x="5906775" y="6321542"/>
                </a:cubicBezTo>
                <a:cubicBezTo>
                  <a:pt x="5906775" y="6321542"/>
                  <a:pt x="5906775" y="6321542"/>
                  <a:pt x="5906775" y="6328547"/>
                </a:cubicBezTo>
                <a:cubicBezTo>
                  <a:pt x="5882144" y="6328547"/>
                  <a:pt x="5846955" y="6328547"/>
                  <a:pt x="5846955" y="6360072"/>
                </a:cubicBezTo>
                <a:cubicBezTo>
                  <a:pt x="5846955" y="6370581"/>
                  <a:pt x="5850474" y="6388095"/>
                  <a:pt x="5878625" y="6388095"/>
                </a:cubicBezTo>
                <a:cubicBezTo>
                  <a:pt x="5889181" y="6388095"/>
                  <a:pt x="5903256" y="6381089"/>
                  <a:pt x="5906775" y="6370581"/>
                </a:cubicBezTo>
                <a:cubicBezTo>
                  <a:pt x="5906775" y="6370581"/>
                  <a:pt x="5906775" y="6370581"/>
                  <a:pt x="5910294" y="6370581"/>
                </a:cubicBezTo>
                <a:lnTo>
                  <a:pt x="5910294" y="6384592"/>
                </a:lnTo>
                <a:cubicBezTo>
                  <a:pt x="5910294" y="6384592"/>
                  <a:pt x="5910294" y="6384592"/>
                  <a:pt x="5920851" y="6384592"/>
                </a:cubicBezTo>
                <a:cubicBezTo>
                  <a:pt x="5920851" y="6381089"/>
                  <a:pt x="5920851" y="6374084"/>
                  <a:pt x="5920851" y="6367078"/>
                </a:cubicBezTo>
                <a:cubicBezTo>
                  <a:pt x="5920851" y="6367078"/>
                  <a:pt x="5920851" y="6367078"/>
                  <a:pt x="5920851" y="6325045"/>
                </a:cubicBezTo>
                <a:cubicBezTo>
                  <a:pt x="5920851" y="6300525"/>
                  <a:pt x="5910294" y="6290016"/>
                  <a:pt x="5885663" y="6290016"/>
                </a:cubicBezTo>
                <a:close/>
                <a:moveTo>
                  <a:pt x="5644079" y="6290016"/>
                </a:moveTo>
                <a:cubicBezTo>
                  <a:pt x="5644079" y="6296982"/>
                  <a:pt x="5644079" y="6307432"/>
                  <a:pt x="5644079" y="6314399"/>
                </a:cubicBezTo>
                <a:lnTo>
                  <a:pt x="5644079" y="6384064"/>
                </a:lnTo>
                <a:cubicBezTo>
                  <a:pt x="5644079" y="6384064"/>
                  <a:pt x="5644079" y="6384064"/>
                  <a:pt x="5658155" y="6384064"/>
                </a:cubicBezTo>
                <a:cubicBezTo>
                  <a:pt x="5658155" y="6384064"/>
                  <a:pt x="5658155" y="6384064"/>
                  <a:pt x="5658155" y="6331815"/>
                </a:cubicBezTo>
                <a:cubicBezTo>
                  <a:pt x="5658155" y="6317882"/>
                  <a:pt x="5665192" y="6296982"/>
                  <a:pt x="5686305" y="6296982"/>
                </a:cubicBezTo>
                <a:cubicBezTo>
                  <a:pt x="5700381" y="6296982"/>
                  <a:pt x="5707418" y="6310915"/>
                  <a:pt x="5707418" y="6328332"/>
                </a:cubicBezTo>
                <a:cubicBezTo>
                  <a:pt x="5707418" y="6328332"/>
                  <a:pt x="5707418" y="6328332"/>
                  <a:pt x="5707418" y="6384064"/>
                </a:cubicBezTo>
                <a:cubicBezTo>
                  <a:pt x="5707418" y="6384064"/>
                  <a:pt x="5707418" y="6384064"/>
                  <a:pt x="5717975" y="6384064"/>
                </a:cubicBezTo>
                <a:cubicBezTo>
                  <a:pt x="5717975" y="6384064"/>
                  <a:pt x="5717975" y="6384064"/>
                  <a:pt x="5717975" y="6324848"/>
                </a:cubicBezTo>
                <a:cubicBezTo>
                  <a:pt x="5717975" y="6303949"/>
                  <a:pt x="5710937" y="6290016"/>
                  <a:pt x="5686305" y="6290016"/>
                </a:cubicBezTo>
                <a:cubicBezTo>
                  <a:pt x="5668711" y="6290016"/>
                  <a:pt x="5661674" y="6300465"/>
                  <a:pt x="5654636" y="6307432"/>
                </a:cubicBezTo>
                <a:cubicBezTo>
                  <a:pt x="5654636" y="6307432"/>
                  <a:pt x="5654636" y="6307432"/>
                  <a:pt x="5654636" y="6290016"/>
                </a:cubicBezTo>
                <a:cubicBezTo>
                  <a:pt x="5654636" y="6290016"/>
                  <a:pt x="5654636" y="6290016"/>
                  <a:pt x="5644079" y="6290016"/>
                </a:cubicBezTo>
                <a:close/>
                <a:moveTo>
                  <a:pt x="5541970" y="6290016"/>
                </a:moveTo>
                <a:cubicBezTo>
                  <a:pt x="5541970" y="6290016"/>
                  <a:pt x="5541970" y="6290016"/>
                  <a:pt x="5541970" y="6353066"/>
                </a:cubicBezTo>
                <a:cubicBezTo>
                  <a:pt x="5541970" y="6374084"/>
                  <a:pt x="5549007" y="6388095"/>
                  <a:pt x="5573640" y="6388095"/>
                </a:cubicBezTo>
                <a:cubicBezTo>
                  <a:pt x="5591234" y="6388095"/>
                  <a:pt x="5598271" y="6377586"/>
                  <a:pt x="5605309" y="6370581"/>
                </a:cubicBezTo>
                <a:cubicBezTo>
                  <a:pt x="5605309" y="6370581"/>
                  <a:pt x="5605309" y="6370581"/>
                  <a:pt x="5605309" y="6384592"/>
                </a:cubicBezTo>
                <a:cubicBezTo>
                  <a:pt x="5605309" y="6384592"/>
                  <a:pt x="5605309" y="6384592"/>
                  <a:pt x="5615865" y="6384592"/>
                </a:cubicBezTo>
                <a:cubicBezTo>
                  <a:pt x="5615865" y="6377586"/>
                  <a:pt x="5615865" y="6370581"/>
                  <a:pt x="5615865" y="6363575"/>
                </a:cubicBezTo>
                <a:lnTo>
                  <a:pt x="5615865" y="6290016"/>
                </a:lnTo>
                <a:cubicBezTo>
                  <a:pt x="5615865" y="6290016"/>
                  <a:pt x="5615865" y="6290016"/>
                  <a:pt x="5601790" y="6290016"/>
                </a:cubicBezTo>
                <a:cubicBezTo>
                  <a:pt x="5601790" y="6290016"/>
                  <a:pt x="5601790" y="6290016"/>
                  <a:pt x="5601790" y="6342558"/>
                </a:cubicBezTo>
                <a:cubicBezTo>
                  <a:pt x="5601790" y="6360072"/>
                  <a:pt x="5594752" y="6377586"/>
                  <a:pt x="5573640" y="6377586"/>
                </a:cubicBezTo>
                <a:cubicBezTo>
                  <a:pt x="5559564" y="6377586"/>
                  <a:pt x="5552527" y="6367078"/>
                  <a:pt x="5552527" y="6349564"/>
                </a:cubicBezTo>
                <a:cubicBezTo>
                  <a:pt x="5552527" y="6349564"/>
                  <a:pt x="5552527" y="6349564"/>
                  <a:pt x="5552527" y="6290016"/>
                </a:cubicBezTo>
                <a:cubicBezTo>
                  <a:pt x="5552527" y="6290016"/>
                  <a:pt x="5552527" y="6290016"/>
                  <a:pt x="5541970" y="6290016"/>
                </a:cubicBezTo>
                <a:close/>
                <a:moveTo>
                  <a:pt x="5473449" y="6290016"/>
                </a:moveTo>
                <a:cubicBezTo>
                  <a:pt x="5448962" y="6290016"/>
                  <a:pt x="5429111" y="6311971"/>
                  <a:pt x="5429111" y="6339056"/>
                </a:cubicBezTo>
                <a:cubicBezTo>
                  <a:pt x="5429111" y="6366140"/>
                  <a:pt x="5448962" y="6388095"/>
                  <a:pt x="5473449" y="6388095"/>
                </a:cubicBezTo>
                <a:cubicBezTo>
                  <a:pt x="5497935" y="6388095"/>
                  <a:pt x="5517786" y="6366140"/>
                  <a:pt x="5517786" y="6339056"/>
                </a:cubicBezTo>
                <a:cubicBezTo>
                  <a:pt x="5517786" y="6311971"/>
                  <a:pt x="5497935" y="6290016"/>
                  <a:pt x="5473449" y="6290016"/>
                </a:cubicBezTo>
                <a:close/>
                <a:moveTo>
                  <a:pt x="6657114" y="6275237"/>
                </a:moveTo>
                <a:lnTo>
                  <a:pt x="6661144" y="6285986"/>
                </a:lnTo>
                <a:lnTo>
                  <a:pt x="6665175" y="6292704"/>
                </a:lnTo>
                <a:lnTo>
                  <a:pt x="6650396" y="6292704"/>
                </a:lnTo>
                <a:lnTo>
                  <a:pt x="6654427" y="6285986"/>
                </a:lnTo>
                <a:close/>
                <a:moveTo>
                  <a:pt x="6661257" y="6264489"/>
                </a:moveTo>
                <a:cubicBezTo>
                  <a:pt x="6661257" y="6264489"/>
                  <a:pt x="6661257" y="6264489"/>
                  <a:pt x="6650844" y="6268003"/>
                </a:cubicBezTo>
                <a:cubicBezTo>
                  <a:pt x="6650844" y="6268003"/>
                  <a:pt x="6650844" y="6268003"/>
                  <a:pt x="6647373" y="6285573"/>
                </a:cubicBezTo>
                <a:cubicBezTo>
                  <a:pt x="6647373" y="6285573"/>
                  <a:pt x="6647373" y="6285573"/>
                  <a:pt x="6636960" y="6306655"/>
                </a:cubicBezTo>
                <a:cubicBezTo>
                  <a:pt x="6640431" y="6306655"/>
                  <a:pt x="6643902" y="6306655"/>
                  <a:pt x="6647373" y="6310169"/>
                </a:cubicBezTo>
                <a:cubicBezTo>
                  <a:pt x="6647373" y="6310169"/>
                  <a:pt x="6647373" y="6310169"/>
                  <a:pt x="6647373" y="6299628"/>
                </a:cubicBezTo>
                <a:cubicBezTo>
                  <a:pt x="6647373" y="6299628"/>
                  <a:pt x="6647373" y="6299628"/>
                  <a:pt x="6668198" y="6299628"/>
                </a:cubicBezTo>
                <a:cubicBezTo>
                  <a:pt x="6668198" y="6299628"/>
                  <a:pt x="6668198" y="6299628"/>
                  <a:pt x="6668198" y="6306655"/>
                </a:cubicBezTo>
                <a:cubicBezTo>
                  <a:pt x="6671669" y="6306655"/>
                  <a:pt x="6675140" y="6306655"/>
                  <a:pt x="6678611" y="6306655"/>
                </a:cubicBezTo>
                <a:cubicBezTo>
                  <a:pt x="6678611" y="6306655"/>
                  <a:pt x="6678611" y="6306655"/>
                  <a:pt x="6668198" y="6285573"/>
                </a:cubicBezTo>
                <a:lnTo>
                  <a:pt x="6661257" y="6268003"/>
                </a:lnTo>
                <a:cubicBezTo>
                  <a:pt x="6661257" y="6268003"/>
                  <a:pt x="6661257" y="6268003"/>
                  <a:pt x="6661257" y="6264489"/>
                </a:cubicBezTo>
                <a:close/>
                <a:moveTo>
                  <a:pt x="5966262" y="6264488"/>
                </a:moveTo>
                <a:cubicBezTo>
                  <a:pt x="5966262" y="6264488"/>
                  <a:pt x="5966262" y="6264488"/>
                  <a:pt x="5955783" y="6268020"/>
                </a:cubicBezTo>
                <a:cubicBezTo>
                  <a:pt x="5955783" y="6268020"/>
                  <a:pt x="5955783" y="6268020"/>
                  <a:pt x="5955783" y="6289209"/>
                </a:cubicBezTo>
                <a:cubicBezTo>
                  <a:pt x="5955783" y="6289209"/>
                  <a:pt x="5955783" y="6289209"/>
                  <a:pt x="5938316" y="6289209"/>
                </a:cubicBezTo>
                <a:cubicBezTo>
                  <a:pt x="5938316" y="6289209"/>
                  <a:pt x="5938316" y="6289209"/>
                  <a:pt x="5938316" y="6299804"/>
                </a:cubicBezTo>
                <a:cubicBezTo>
                  <a:pt x="5938316" y="6299804"/>
                  <a:pt x="5938316" y="6299804"/>
                  <a:pt x="5955783" y="6299804"/>
                </a:cubicBezTo>
                <a:cubicBezTo>
                  <a:pt x="5955783" y="6299804"/>
                  <a:pt x="5955783" y="6299804"/>
                  <a:pt x="5955783" y="6356310"/>
                </a:cubicBezTo>
                <a:cubicBezTo>
                  <a:pt x="5955783" y="6373968"/>
                  <a:pt x="5955783" y="6388094"/>
                  <a:pt x="5976742" y="6388094"/>
                </a:cubicBezTo>
                <a:cubicBezTo>
                  <a:pt x="5983728" y="6388094"/>
                  <a:pt x="5987221" y="6388094"/>
                  <a:pt x="5990715" y="6384563"/>
                </a:cubicBezTo>
                <a:cubicBezTo>
                  <a:pt x="5990715" y="6384563"/>
                  <a:pt x="5990715" y="6384563"/>
                  <a:pt x="5990715" y="6373968"/>
                </a:cubicBezTo>
                <a:cubicBezTo>
                  <a:pt x="5987221" y="6377499"/>
                  <a:pt x="5983728" y="6377499"/>
                  <a:pt x="5980235" y="6377499"/>
                </a:cubicBezTo>
                <a:cubicBezTo>
                  <a:pt x="5969755" y="6377499"/>
                  <a:pt x="5966262" y="6370437"/>
                  <a:pt x="5966262" y="6363373"/>
                </a:cubicBezTo>
                <a:cubicBezTo>
                  <a:pt x="5966262" y="6363373"/>
                  <a:pt x="5966262" y="6363373"/>
                  <a:pt x="5966262" y="6299804"/>
                </a:cubicBezTo>
                <a:cubicBezTo>
                  <a:pt x="5966262" y="6299804"/>
                  <a:pt x="5966262" y="6299804"/>
                  <a:pt x="5987221" y="6299804"/>
                </a:cubicBezTo>
                <a:lnTo>
                  <a:pt x="5987221" y="6289209"/>
                </a:lnTo>
                <a:cubicBezTo>
                  <a:pt x="5987221" y="6289209"/>
                  <a:pt x="5987221" y="6289209"/>
                  <a:pt x="5966262" y="6289209"/>
                </a:cubicBezTo>
                <a:cubicBezTo>
                  <a:pt x="5966262" y="6289209"/>
                  <a:pt x="5966262" y="6289209"/>
                  <a:pt x="5966262" y="6264488"/>
                </a:cubicBezTo>
                <a:close/>
                <a:moveTo>
                  <a:pt x="6601692" y="6261802"/>
                </a:moveTo>
                <a:cubicBezTo>
                  <a:pt x="6591280" y="6303968"/>
                  <a:pt x="6591280" y="6303968"/>
                  <a:pt x="6591280" y="6303968"/>
                </a:cubicBezTo>
                <a:cubicBezTo>
                  <a:pt x="6594751" y="6303968"/>
                  <a:pt x="6598221" y="6303968"/>
                  <a:pt x="6601692" y="6303968"/>
                </a:cubicBezTo>
                <a:cubicBezTo>
                  <a:pt x="6605163" y="6279372"/>
                  <a:pt x="6605163" y="6279372"/>
                  <a:pt x="6605163" y="6279372"/>
                </a:cubicBezTo>
                <a:cubicBezTo>
                  <a:pt x="6619047" y="6307482"/>
                  <a:pt x="6619047" y="6307482"/>
                  <a:pt x="6619047" y="6307482"/>
                </a:cubicBezTo>
                <a:cubicBezTo>
                  <a:pt x="6622518" y="6307482"/>
                  <a:pt x="6625989" y="6307482"/>
                  <a:pt x="6625989" y="6307482"/>
                </a:cubicBezTo>
                <a:cubicBezTo>
                  <a:pt x="6632930" y="6265316"/>
                  <a:pt x="6632930" y="6265316"/>
                  <a:pt x="6632930" y="6265316"/>
                </a:cubicBezTo>
                <a:cubicBezTo>
                  <a:pt x="6629459" y="6265316"/>
                  <a:pt x="6625989" y="6265316"/>
                  <a:pt x="6625989" y="6265316"/>
                </a:cubicBezTo>
                <a:cubicBezTo>
                  <a:pt x="6622518" y="6293427"/>
                  <a:pt x="6622518" y="6293427"/>
                  <a:pt x="6622518" y="6293427"/>
                </a:cubicBezTo>
                <a:cubicBezTo>
                  <a:pt x="6608635" y="6261802"/>
                  <a:pt x="6608635" y="6261802"/>
                  <a:pt x="6608635" y="6261802"/>
                </a:cubicBezTo>
                <a:cubicBezTo>
                  <a:pt x="6605163" y="6261802"/>
                  <a:pt x="6605163" y="6261802"/>
                  <a:pt x="6601692" y="6261802"/>
                </a:cubicBezTo>
                <a:close/>
                <a:moveTo>
                  <a:pt x="6710855" y="6257772"/>
                </a:moveTo>
                <a:cubicBezTo>
                  <a:pt x="6696882" y="6261323"/>
                  <a:pt x="6686403" y="6264873"/>
                  <a:pt x="6675923" y="6264873"/>
                </a:cubicBezTo>
                <a:cubicBezTo>
                  <a:pt x="6675923" y="6271975"/>
                  <a:pt x="6675923" y="6271975"/>
                  <a:pt x="6675923" y="6271975"/>
                </a:cubicBezTo>
                <a:cubicBezTo>
                  <a:pt x="6682909" y="6271975"/>
                  <a:pt x="6686403" y="6271975"/>
                  <a:pt x="6689896" y="6271975"/>
                </a:cubicBezTo>
                <a:cubicBezTo>
                  <a:pt x="6696882" y="6307483"/>
                  <a:pt x="6696882" y="6307483"/>
                  <a:pt x="6696882" y="6307483"/>
                </a:cubicBezTo>
                <a:cubicBezTo>
                  <a:pt x="6703869" y="6303932"/>
                  <a:pt x="6703869" y="6303932"/>
                  <a:pt x="6703869" y="6303932"/>
                </a:cubicBezTo>
                <a:cubicBezTo>
                  <a:pt x="6696882" y="6268424"/>
                  <a:pt x="6696882" y="6268424"/>
                  <a:pt x="6696882" y="6268424"/>
                </a:cubicBezTo>
                <a:cubicBezTo>
                  <a:pt x="6703869" y="6268424"/>
                  <a:pt x="6707362" y="6268424"/>
                  <a:pt x="6710855" y="6264873"/>
                </a:cubicBezTo>
                <a:close/>
                <a:moveTo>
                  <a:pt x="6566559" y="6257772"/>
                </a:moveTo>
                <a:cubicBezTo>
                  <a:pt x="6566559" y="6257772"/>
                  <a:pt x="6566559" y="6257772"/>
                  <a:pt x="6577039" y="6261131"/>
                </a:cubicBezTo>
                <a:cubicBezTo>
                  <a:pt x="6580532" y="6261131"/>
                  <a:pt x="6580532" y="6264490"/>
                  <a:pt x="6580532" y="6264490"/>
                </a:cubicBezTo>
                <a:cubicBezTo>
                  <a:pt x="6580532" y="6264490"/>
                  <a:pt x="6580532" y="6267848"/>
                  <a:pt x="6580532" y="6267848"/>
                </a:cubicBezTo>
                <a:cubicBezTo>
                  <a:pt x="6580532" y="6267848"/>
                  <a:pt x="6577039" y="6271207"/>
                  <a:pt x="6573545" y="6271207"/>
                </a:cubicBezTo>
                <a:cubicBezTo>
                  <a:pt x="6573545" y="6271207"/>
                  <a:pt x="6573545" y="6271207"/>
                  <a:pt x="6563065" y="6267848"/>
                </a:cubicBezTo>
                <a:cubicBezTo>
                  <a:pt x="6563065" y="6267848"/>
                  <a:pt x="6563065" y="6267848"/>
                  <a:pt x="6566559" y="6264490"/>
                </a:cubicBezTo>
                <a:cubicBezTo>
                  <a:pt x="6566559" y="6264490"/>
                  <a:pt x="6566559" y="6264490"/>
                  <a:pt x="6566559" y="6257772"/>
                </a:cubicBezTo>
                <a:close/>
                <a:moveTo>
                  <a:pt x="6016373" y="6255886"/>
                </a:moveTo>
                <a:lnTo>
                  <a:pt x="6016373" y="6269580"/>
                </a:lnTo>
                <a:lnTo>
                  <a:pt x="6028662" y="6269580"/>
                </a:lnTo>
                <a:lnTo>
                  <a:pt x="6028662" y="6255886"/>
                </a:lnTo>
                <a:close/>
                <a:moveTo>
                  <a:pt x="6717573" y="6253740"/>
                </a:moveTo>
                <a:cubicBezTo>
                  <a:pt x="6731393" y="6296734"/>
                  <a:pt x="6731393" y="6296734"/>
                  <a:pt x="6731393" y="6296734"/>
                </a:cubicBezTo>
                <a:cubicBezTo>
                  <a:pt x="6734848" y="6293151"/>
                  <a:pt x="6738302" y="6293151"/>
                  <a:pt x="6741757" y="6293151"/>
                </a:cubicBezTo>
                <a:cubicBezTo>
                  <a:pt x="6727938" y="6253740"/>
                  <a:pt x="6727938" y="6253740"/>
                  <a:pt x="6727938" y="6253740"/>
                </a:cubicBezTo>
                <a:cubicBezTo>
                  <a:pt x="6724483" y="6253740"/>
                  <a:pt x="6721028" y="6253740"/>
                  <a:pt x="6717573" y="6253740"/>
                </a:cubicBezTo>
                <a:close/>
                <a:moveTo>
                  <a:pt x="5348499" y="6253740"/>
                </a:moveTo>
                <a:lnTo>
                  <a:pt x="5348499" y="6384064"/>
                </a:lnTo>
                <a:lnTo>
                  <a:pt x="5363278" y="6384064"/>
                </a:lnTo>
                <a:lnTo>
                  <a:pt x="5363278" y="6324948"/>
                </a:lnTo>
                <a:lnTo>
                  <a:pt x="5408960" y="6324948"/>
                </a:lnTo>
                <a:lnTo>
                  <a:pt x="5408960" y="6314200"/>
                </a:lnTo>
                <a:lnTo>
                  <a:pt x="5363278" y="6314200"/>
                </a:lnTo>
                <a:lnTo>
                  <a:pt x="5363278" y="6264488"/>
                </a:lnTo>
                <a:lnTo>
                  <a:pt x="5411646" y="6264488"/>
                </a:lnTo>
                <a:lnTo>
                  <a:pt x="5411646" y="6253740"/>
                </a:lnTo>
                <a:close/>
                <a:moveTo>
                  <a:pt x="6562954" y="6247023"/>
                </a:moveTo>
                <a:cubicBezTo>
                  <a:pt x="6562954" y="6247023"/>
                  <a:pt x="6562954" y="6247023"/>
                  <a:pt x="6556012" y="6264490"/>
                </a:cubicBezTo>
                <a:cubicBezTo>
                  <a:pt x="6556012" y="6264490"/>
                  <a:pt x="6556012" y="6264490"/>
                  <a:pt x="6556012" y="6267982"/>
                </a:cubicBezTo>
                <a:cubicBezTo>
                  <a:pt x="6556012" y="6267982"/>
                  <a:pt x="6556012" y="6267982"/>
                  <a:pt x="6545599" y="6285449"/>
                </a:cubicBezTo>
                <a:cubicBezTo>
                  <a:pt x="6549070" y="6288942"/>
                  <a:pt x="6552541" y="6288942"/>
                  <a:pt x="6556012" y="6288942"/>
                </a:cubicBezTo>
                <a:cubicBezTo>
                  <a:pt x="6556012" y="6288942"/>
                  <a:pt x="6556012" y="6288942"/>
                  <a:pt x="6559483" y="6274969"/>
                </a:cubicBezTo>
                <a:cubicBezTo>
                  <a:pt x="6559483" y="6274969"/>
                  <a:pt x="6559483" y="6274969"/>
                  <a:pt x="6569896" y="6278463"/>
                </a:cubicBezTo>
                <a:cubicBezTo>
                  <a:pt x="6569896" y="6278463"/>
                  <a:pt x="6569896" y="6278463"/>
                  <a:pt x="6569896" y="6295928"/>
                </a:cubicBezTo>
                <a:cubicBezTo>
                  <a:pt x="6573367" y="6295928"/>
                  <a:pt x="6576837" y="6299422"/>
                  <a:pt x="6580308" y="6299422"/>
                </a:cubicBezTo>
                <a:cubicBezTo>
                  <a:pt x="6580308" y="6299422"/>
                  <a:pt x="6580308" y="6299422"/>
                  <a:pt x="6576837" y="6278463"/>
                </a:cubicBezTo>
                <a:cubicBezTo>
                  <a:pt x="6583779" y="6278463"/>
                  <a:pt x="6587250" y="6271476"/>
                  <a:pt x="6587250" y="6267982"/>
                </a:cubicBezTo>
                <a:cubicBezTo>
                  <a:pt x="6587250" y="6267982"/>
                  <a:pt x="6587250" y="6264490"/>
                  <a:pt x="6587250" y="6264490"/>
                </a:cubicBezTo>
                <a:cubicBezTo>
                  <a:pt x="6587250" y="6260996"/>
                  <a:pt x="6587250" y="6257503"/>
                  <a:pt x="6580308" y="6254010"/>
                </a:cubicBezTo>
                <a:cubicBezTo>
                  <a:pt x="6580308" y="6254010"/>
                  <a:pt x="6580308" y="6254010"/>
                  <a:pt x="6562954" y="6247023"/>
                </a:cubicBezTo>
                <a:close/>
                <a:moveTo>
                  <a:pt x="6768052" y="6244316"/>
                </a:moveTo>
                <a:cubicBezTo>
                  <a:pt x="6771507" y="6244757"/>
                  <a:pt x="6774962" y="6246520"/>
                  <a:pt x="6776689" y="6250047"/>
                </a:cubicBezTo>
                <a:cubicBezTo>
                  <a:pt x="6776689" y="6253574"/>
                  <a:pt x="6776689" y="6257100"/>
                  <a:pt x="6776689" y="6257100"/>
                </a:cubicBezTo>
                <a:cubicBezTo>
                  <a:pt x="6776689" y="6260627"/>
                  <a:pt x="6776689" y="6264155"/>
                  <a:pt x="6773234" y="6267681"/>
                </a:cubicBezTo>
                <a:cubicBezTo>
                  <a:pt x="6773234" y="6267681"/>
                  <a:pt x="6773234" y="6267681"/>
                  <a:pt x="6769780" y="6271208"/>
                </a:cubicBezTo>
                <a:cubicBezTo>
                  <a:pt x="6766325" y="6271208"/>
                  <a:pt x="6759415" y="6271208"/>
                  <a:pt x="6755960" y="6267681"/>
                </a:cubicBezTo>
                <a:cubicBezTo>
                  <a:pt x="6752505" y="6267681"/>
                  <a:pt x="6752505" y="6264155"/>
                  <a:pt x="6752505" y="6264155"/>
                </a:cubicBezTo>
                <a:cubicBezTo>
                  <a:pt x="6752505" y="6264155"/>
                  <a:pt x="6752505" y="6260627"/>
                  <a:pt x="6752505" y="6257100"/>
                </a:cubicBezTo>
                <a:cubicBezTo>
                  <a:pt x="6752505" y="6253574"/>
                  <a:pt x="6752505" y="6250047"/>
                  <a:pt x="6759415" y="6246520"/>
                </a:cubicBezTo>
                <a:cubicBezTo>
                  <a:pt x="6761143" y="6244757"/>
                  <a:pt x="6764598" y="6243875"/>
                  <a:pt x="6768052" y="6244316"/>
                </a:cubicBezTo>
                <a:close/>
                <a:moveTo>
                  <a:pt x="5812549" y="6242991"/>
                </a:moveTo>
                <a:cubicBezTo>
                  <a:pt x="5812549" y="6242991"/>
                  <a:pt x="5812549" y="6242991"/>
                  <a:pt x="5812549" y="6306695"/>
                </a:cubicBezTo>
                <a:cubicBezTo>
                  <a:pt x="5812549" y="6299617"/>
                  <a:pt x="5801859" y="6288999"/>
                  <a:pt x="5784042" y="6288999"/>
                </a:cubicBezTo>
                <a:cubicBezTo>
                  <a:pt x="5755536" y="6288999"/>
                  <a:pt x="5744846" y="6310234"/>
                  <a:pt x="5744846" y="6338547"/>
                </a:cubicBezTo>
                <a:cubicBezTo>
                  <a:pt x="5744846" y="6366860"/>
                  <a:pt x="5755536" y="6388094"/>
                  <a:pt x="5784042" y="6388094"/>
                </a:cubicBezTo>
                <a:cubicBezTo>
                  <a:pt x="5798295" y="6388094"/>
                  <a:pt x="5805422" y="6384555"/>
                  <a:pt x="5812549" y="6370398"/>
                </a:cubicBezTo>
                <a:cubicBezTo>
                  <a:pt x="5812549" y="6370398"/>
                  <a:pt x="5812549" y="6370398"/>
                  <a:pt x="5812549" y="6384555"/>
                </a:cubicBezTo>
                <a:cubicBezTo>
                  <a:pt x="5812549" y="6384555"/>
                  <a:pt x="5812549" y="6384555"/>
                  <a:pt x="5826802" y="6384555"/>
                </a:cubicBezTo>
                <a:lnTo>
                  <a:pt x="5826802" y="6242991"/>
                </a:lnTo>
                <a:cubicBezTo>
                  <a:pt x="5826802" y="6242991"/>
                  <a:pt x="5826802" y="6242991"/>
                  <a:pt x="5812549" y="6242991"/>
                </a:cubicBezTo>
                <a:close/>
                <a:moveTo>
                  <a:pt x="6769972" y="6237475"/>
                </a:moveTo>
                <a:cubicBezTo>
                  <a:pt x="6764149" y="6236180"/>
                  <a:pt x="6757880" y="6237043"/>
                  <a:pt x="6752505" y="6240498"/>
                </a:cubicBezTo>
                <a:cubicBezTo>
                  <a:pt x="6745339" y="6243953"/>
                  <a:pt x="6741757" y="6250863"/>
                  <a:pt x="6741757" y="6257772"/>
                </a:cubicBezTo>
                <a:cubicBezTo>
                  <a:pt x="6741757" y="6261227"/>
                  <a:pt x="6745339" y="6264682"/>
                  <a:pt x="6745339" y="6268137"/>
                </a:cubicBezTo>
                <a:cubicBezTo>
                  <a:pt x="6752505" y="6278502"/>
                  <a:pt x="6766836" y="6281956"/>
                  <a:pt x="6774002" y="6275047"/>
                </a:cubicBezTo>
                <a:cubicBezTo>
                  <a:pt x="6781168" y="6275047"/>
                  <a:pt x="6781168" y="6271592"/>
                  <a:pt x="6784750" y="6268137"/>
                </a:cubicBezTo>
                <a:cubicBezTo>
                  <a:pt x="6784750" y="6264682"/>
                  <a:pt x="6784750" y="6261227"/>
                  <a:pt x="6784750" y="6257772"/>
                </a:cubicBezTo>
                <a:cubicBezTo>
                  <a:pt x="6784750" y="6254318"/>
                  <a:pt x="6784750" y="6250863"/>
                  <a:pt x="6784750" y="6247408"/>
                </a:cubicBezTo>
                <a:cubicBezTo>
                  <a:pt x="6781168" y="6242225"/>
                  <a:pt x="6775794" y="6238771"/>
                  <a:pt x="6769972" y="6237475"/>
                </a:cubicBezTo>
                <a:close/>
                <a:moveTo>
                  <a:pt x="6527720" y="6229557"/>
                </a:moveTo>
                <a:cubicBezTo>
                  <a:pt x="6506636" y="6264489"/>
                  <a:pt x="6506636" y="6264489"/>
                  <a:pt x="6506636" y="6264489"/>
                </a:cubicBezTo>
                <a:cubicBezTo>
                  <a:pt x="6513664" y="6271475"/>
                  <a:pt x="6520692" y="6274969"/>
                  <a:pt x="6531234" y="6281955"/>
                </a:cubicBezTo>
                <a:cubicBezTo>
                  <a:pt x="6534748" y="6274969"/>
                  <a:pt x="6534748" y="6274969"/>
                  <a:pt x="6534748" y="6274969"/>
                </a:cubicBezTo>
                <a:cubicBezTo>
                  <a:pt x="6517178" y="6264489"/>
                  <a:pt x="6517178" y="6264489"/>
                  <a:pt x="6517178" y="6264489"/>
                </a:cubicBezTo>
                <a:cubicBezTo>
                  <a:pt x="6524206" y="6254010"/>
                  <a:pt x="6524206" y="6254010"/>
                  <a:pt x="6524206" y="6254010"/>
                </a:cubicBezTo>
                <a:cubicBezTo>
                  <a:pt x="6534748" y="6260996"/>
                  <a:pt x="6534748" y="6260996"/>
                  <a:pt x="6534748" y="6260996"/>
                </a:cubicBezTo>
                <a:cubicBezTo>
                  <a:pt x="6538261" y="6254010"/>
                  <a:pt x="6538261" y="6254010"/>
                  <a:pt x="6538261" y="6254010"/>
                </a:cubicBezTo>
                <a:cubicBezTo>
                  <a:pt x="6534748" y="6254010"/>
                  <a:pt x="6531234" y="6250516"/>
                  <a:pt x="6527720" y="6247023"/>
                </a:cubicBezTo>
                <a:lnTo>
                  <a:pt x="6531234" y="6240037"/>
                </a:lnTo>
                <a:cubicBezTo>
                  <a:pt x="6538261" y="6243529"/>
                  <a:pt x="6541775" y="6247023"/>
                  <a:pt x="6548803" y="6250516"/>
                </a:cubicBezTo>
                <a:cubicBezTo>
                  <a:pt x="6552317" y="6243529"/>
                  <a:pt x="6552317" y="6243529"/>
                  <a:pt x="6552317" y="6243529"/>
                </a:cubicBezTo>
                <a:cubicBezTo>
                  <a:pt x="6545289" y="6240037"/>
                  <a:pt x="6534748" y="6233050"/>
                  <a:pt x="6527720" y="6229557"/>
                </a:cubicBezTo>
                <a:close/>
                <a:moveTo>
                  <a:pt x="6805172" y="6201343"/>
                </a:moveTo>
                <a:cubicBezTo>
                  <a:pt x="6801679" y="6204869"/>
                  <a:pt x="6801679" y="6204869"/>
                  <a:pt x="6798186" y="6208396"/>
                </a:cubicBezTo>
                <a:cubicBezTo>
                  <a:pt x="6815652" y="6226030"/>
                  <a:pt x="6815652" y="6226030"/>
                  <a:pt x="6815652" y="6226030"/>
                </a:cubicBezTo>
                <a:cubicBezTo>
                  <a:pt x="6787706" y="6218977"/>
                  <a:pt x="6787706" y="6218977"/>
                  <a:pt x="6787706" y="6218977"/>
                </a:cubicBezTo>
                <a:cubicBezTo>
                  <a:pt x="6784213" y="6218977"/>
                  <a:pt x="6784213" y="6222503"/>
                  <a:pt x="6780719" y="6222503"/>
                </a:cubicBezTo>
                <a:cubicBezTo>
                  <a:pt x="6805172" y="6257772"/>
                  <a:pt x="6805172" y="6257772"/>
                  <a:pt x="6805172" y="6257772"/>
                </a:cubicBezTo>
                <a:cubicBezTo>
                  <a:pt x="6808665" y="6254245"/>
                  <a:pt x="6808665" y="6254245"/>
                  <a:pt x="6812159" y="6250718"/>
                </a:cubicBezTo>
                <a:cubicBezTo>
                  <a:pt x="6798186" y="6229557"/>
                  <a:pt x="6798186" y="6229557"/>
                  <a:pt x="6798186" y="6229557"/>
                </a:cubicBezTo>
                <a:cubicBezTo>
                  <a:pt x="6826132" y="6240137"/>
                  <a:pt x="6826132" y="6240137"/>
                  <a:pt x="6826132" y="6240137"/>
                </a:cubicBezTo>
                <a:cubicBezTo>
                  <a:pt x="6829625" y="6236611"/>
                  <a:pt x="6829625" y="6236611"/>
                  <a:pt x="6833118" y="6233084"/>
                </a:cubicBezTo>
                <a:cubicBezTo>
                  <a:pt x="6805172" y="6201343"/>
                  <a:pt x="6805172" y="6201343"/>
                  <a:pt x="6805172" y="6201343"/>
                </a:cubicBezTo>
                <a:close/>
                <a:moveTo>
                  <a:pt x="6496819" y="6201343"/>
                </a:moveTo>
                <a:cubicBezTo>
                  <a:pt x="6496819" y="6201343"/>
                  <a:pt x="6496819" y="6201343"/>
                  <a:pt x="6489791" y="6204856"/>
                </a:cubicBezTo>
                <a:cubicBezTo>
                  <a:pt x="6493305" y="6208370"/>
                  <a:pt x="6496819" y="6211884"/>
                  <a:pt x="6500333" y="6215398"/>
                </a:cubicBezTo>
                <a:cubicBezTo>
                  <a:pt x="6500333" y="6215398"/>
                  <a:pt x="6500333" y="6215398"/>
                  <a:pt x="6475735" y="6239995"/>
                </a:cubicBezTo>
                <a:cubicBezTo>
                  <a:pt x="6475735" y="6239995"/>
                  <a:pt x="6475735" y="6239995"/>
                  <a:pt x="6482763" y="6247023"/>
                </a:cubicBezTo>
                <a:cubicBezTo>
                  <a:pt x="6482763" y="6247023"/>
                  <a:pt x="6482763" y="6247023"/>
                  <a:pt x="6507360" y="6222426"/>
                </a:cubicBezTo>
                <a:cubicBezTo>
                  <a:pt x="6510874" y="6222426"/>
                  <a:pt x="6514388" y="6225939"/>
                  <a:pt x="6517902" y="6229453"/>
                </a:cubicBezTo>
                <a:cubicBezTo>
                  <a:pt x="6517902" y="6229453"/>
                  <a:pt x="6517902" y="6229453"/>
                  <a:pt x="6521416" y="6222426"/>
                </a:cubicBezTo>
                <a:cubicBezTo>
                  <a:pt x="6510874" y="6215398"/>
                  <a:pt x="6503847" y="6208370"/>
                  <a:pt x="6496819" y="6201343"/>
                </a:cubicBezTo>
                <a:close/>
                <a:moveTo>
                  <a:pt x="6826400" y="6190594"/>
                </a:moveTo>
                <a:lnTo>
                  <a:pt x="6843866" y="6197312"/>
                </a:lnTo>
                <a:lnTo>
                  <a:pt x="6843866" y="6201343"/>
                </a:lnTo>
                <a:lnTo>
                  <a:pt x="6837148" y="6208061"/>
                </a:lnTo>
                <a:lnTo>
                  <a:pt x="6833118" y="6201343"/>
                </a:lnTo>
                <a:close/>
                <a:moveTo>
                  <a:pt x="6822753" y="6183876"/>
                </a:moveTo>
                <a:lnTo>
                  <a:pt x="6815652" y="6190818"/>
                </a:lnTo>
                <a:cubicBezTo>
                  <a:pt x="6815652" y="6190818"/>
                  <a:pt x="6815652" y="6190818"/>
                  <a:pt x="6822753" y="6201230"/>
                </a:cubicBezTo>
                <a:cubicBezTo>
                  <a:pt x="6822753" y="6201230"/>
                  <a:pt x="6822753" y="6201230"/>
                  <a:pt x="6840507" y="6225526"/>
                </a:cubicBezTo>
                <a:cubicBezTo>
                  <a:pt x="6840507" y="6225526"/>
                  <a:pt x="6844059" y="6222056"/>
                  <a:pt x="6844059" y="6222056"/>
                </a:cubicBezTo>
                <a:cubicBezTo>
                  <a:pt x="6844059" y="6222056"/>
                  <a:pt x="6844059" y="6222056"/>
                  <a:pt x="6840507" y="6215114"/>
                </a:cubicBezTo>
                <a:cubicBezTo>
                  <a:pt x="6840507" y="6215114"/>
                  <a:pt x="6840507" y="6215114"/>
                  <a:pt x="6851160" y="6201230"/>
                </a:cubicBezTo>
                <a:cubicBezTo>
                  <a:pt x="6851160" y="6201230"/>
                  <a:pt x="6851160" y="6201230"/>
                  <a:pt x="6858262" y="6201230"/>
                </a:cubicBezTo>
                <a:cubicBezTo>
                  <a:pt x="6861813" y="6201230"/>
                  <a:pt x="6861813" y="6201230"/>
                  <a:pt x="6861813" y="6201230"/>
                </a:cubicBezTo>
                <a:cubicBezTo>
                  <a:pt x="6861813" y="6197759"/>
                  <a:pt x="6865363" y="6197759"/>
                  <a:pt x="6865363" y="6194288"/>
                </a:cubicBezTo>
                <a:cubicBezTo>
                  <a:pt x="6865363" y="6194288"/>
                  <a:pt x="6865363" y="6194288"/>
                  <a:pt x="6822753" y="6183876"/>
                </a:cubicBezTo>
                <a:close/>
                <a:moveTo>
                  <a:pt x="6468010" y="6169097"/>
                </a:moveTo>
                <a:cubicBezTo>
                  <a:pt x="6432742" y="6194177"/>
                  <a:pt x="6432742" y="6194177"/>
                  <a:pt x="6432742" y="6194177"/>
                </a:cubicBezTo>
                <a:cubicBezTo>
                  <a:pt x="6436268" y="6197760"/>
                  <a:pt x="6436268" y="6197760"/>
                  <a:pt x="6439796" y="6201343"/>
                </a:cubicBezTo>
                <a:cubicBezTo>
                  <a:pt x="6460956" y="6187012"/>
                  <a:pt x="6460956" y="6187012"/>
                  <a:pt x="6460956" y="6187012"/>
                </a:cubicBezTo>
                <a:cubicBezTo>
                  <a:pt x="6450376" y="6215673"/>
                  <a:pt x="6450376" y="6215673"/>
                  <a:pt x="6450376" y="6215673"/>
                </a:cubicBezTo>
                <a:cubicBezTo>
                  <a:pt x="6453902" y="6219257"/>
                  <a:pt x="6453902" y="6219257"/>
                  <a:pt x="6457429" y="6222839"/>
                </a:cubicBezTo>
                <a:cubicBezTo>
                  <a:pt x="6489170" y="6194177"/>
                  <a:pt x="6489170" y="6194177"/>
                  <a:pt x="6489170" y="6194177"/>
                </a:cubicBezTo>
                <a:cubicBezTo>
                  <a:pt x="6489170" y="6190594"/>
                  <a:pt x="6485644" y="6190594"/>
                  <a:pt x="6485644" y="6187012"/>
                </a:cubicBezTo>
                <a:cubicBezTo>
                  <a:pt x="6464483" y="6204925"/>
                  <a:pt x="6464483" y="6204925"/>
                  <a:pt x="6464483" y="6204925"/>
                </a:cubicBezTo>
                <a:cubicBezTo>
                  <a:pt x="6475063" y="6176263"/>
                  <a:pt x="6475063" y="6176263"/>
                  <a:pt x="6475063" y="6176263"/>
                </a:cubicBezTo>
                <a:cubicBezTo>
                  <a:pt x="6471536" y="6172680"/>
                  <a:pt x="6471536" y="6172680"/>
                  <a:pt x="6468010" y="6169097"/>
                </a:cubicBezTo>
                <a:close/>
                <a:moveTo>
                  <a:pt x="6837149" y="6158349"/>
                </a:moveTo>
                <a:lnTo>
                  <a:pt x="6833118" y="6166410"/>
                </a:lnTo>
                <a:lnTo>
                  <a:pt x="6872081" y="6186564"/>
                </a:lnTo>
                <a:lnTo>
                  <a:pt x="6885517" y="6162380"/>
                </a:lnTo>
                <a:lnTo>
                  <a:pt x="6878799" y="6158349"/>
                </a:lnTo>
                <a:lnTo>
                  <a:pt x="6868050" y="6177159"/>
                </a:lnTo>
                <a:close/>
                <a:moveTo>
                  <a:pt x="6461445" y="6155662"/>
                </a:moveTo>
                <a:cubicBezTo>
                  <a:pt x="6426023" y="6176824"/>
                  <a:pt x="6426023" y="6176824"/>
                  <a:pt x="6426023" y="6176824"/>
                </a:cubicBezTo>
                <a:cubicBezTo>
                  <a:pt x="6426023" y="6176824"/>
                  <a:pt x="6426023" y="6180350"/>
                  <a:pt x="6429565" y="6183877"/>
                </a:cubicBezTo>
                <a:cubicBezTo>
                  <a:pt x="6464987" y="6162716"/>
                  <a:pt x="6464987" y="6162716"/>
                  <a:pt x="6464987" y="6162716"/>
                </a:cubicBezTo>
                <a:cubicBezTo>
                  <a:pt x="6464987" y="6159189"/>
                  <a:pt x="6461445" y="6159189"/>
                  <a:pt x="6461445" y="6155662"/>
                </a:cubicBezTo>
                <a:close/>
                <a:moveTo>
                  <a:pt x="6452739" y="6122052"/>
                </a:moveTo>
                <a:cubicBezTo>
                  <a:pt x="6454494" y="6122493"/>
                  <a:pt x="6456248" y="6124256"/>
                  <a:pt x="6458004" y="6127783"/>
                </a:cubicBezTo>
                <a:cubicBezTo>
                  <a:pt x="6489596" y="6205374"/>
                  <a:pt x="6563311" y="6258276"/>
                  <a:pt x="6651068" y="6258276"/>
                </a:cubicBezTo>
                <a:cubicBezTo>
                  <a:pt x="6738824" y="6258276"/>
                  <a:pt x="6812539" y="6205374"/>
                  <a:pt x="6844131" y="6127783"/>
                </a:cubicBezTo>
                <a:cubicBezTo>
                  <a:pt x="6845887" y="6124256"/>
                  <a:pt x="6847642" y="6122493"/>
                  <a:pt x="6849397" y="6122052"/>
                </a:cubicBezTo>
                <a:cubicBezTo>
                  <a:pt x="6851152" y="6121612"/>
                  <a:pt x="6852907" y="6122493"/>
                  <a:pt x="6854662" y="6124256"/>
                </a:cubicBezTo>
                <a:cubicBezTo>
                  <a:pt x="6854662" y="6124256"/>
                  <a:pt x="6854662" y="6124256"/>
                  <a:pt x="6893275" y="6134837"/>
                </a:cubicBezTo>
                <a:cubicBezTo>
                  <a:pt x="6896786" y="6138364"/>
                  <a:pt x="6900295" y="6141890"/>
                  <a:pt x="6900295" y="6145417"/>
                </a:cubicBezTo>
                <a:cubicBezTo>
                  <a:pt x="6861682" y="6247695"/>
                  <a:pt x="6763396" y="6318232"/>
                  <a:pt x="6651068" y="6318232"/>
                </a:cubicBezTo>
                <a:cubicBezTo>
                  <a:pt x="6538740" y="6318232"/>
                  <a:pt x="6440452" y="6247695"/>
                  <a:pt x="6401840" y="6148945"/>
                </a:cubicBezTo>
                <a:cubicBezTo>
                  <a:pt x="6401840" y="6141890"/>
                  <a:pt x="6401840" y="6138364"/>
                  <a:pt x="6408860" y="6134837"/>
                </a:cubicBezTo>
                <a:cubicBezTo>
                  <a:pt x="6408860" y="6134837"/>
                  <a:pt x="6408860" y="6134837"/>
                  <a:pt x="6447473" y="6124256"/>
                </a:cubicBezTo>
                <a:cubicBezTo>
                  <a:pt x="6449228" y="6122493"/>
                  <a:pt x="6450983" y="6121612"/>
                  <a:pt x="6452739" y="6122052"/>
                </a:cubicBezTo>
                <a:close/>
                <a:moveTo>
                  <a:pt x="6605253" y="6116214"/>
                </a:moveTo>
                <a:cubicBezTo>
                  <a:pt x="6608746" y="6112668"/>
                  <a:pt x="6612239" y="6112668"/>
                  <a:pt x="6615733" y="6116214"/>
                </a:cubicBezTo>
                <a:cubicBezTo>
                  <a:pt x="6615733" y="6116214"/>
                  <a:pt x="6619226" y="6119760"/>
                  <a:pt x="6619226" y="6123305"/>
                </a:cubicBezTo>
                <a:cubicBezTo>
                  <a:pt x="6619226" y="6123305"/>
                  <a:pt x="6626212" y="6226124"/>
                  <a:pt x="6626212" y="6226124"/>
                </a:cubicBezTo>
                <a:cubicBezTo>
                  <a:pt x="6626212" y="6233215"/>
                  <a:pt x="6626212" y="6236761"/>
                  <a:pt x="6622719" y="6236761"/>
                </a:cubicBezTo>
                <a:cubicBezTo>
                  <a:pt x="6622719" y="6240306"/>
                  <a:pt x="6619226" y="6240306"/>
                  <a:pt x="6615733" y="6236761"/>
                </a:cubicBezTo>
                <a:cubicBezTo>
                  <a:pt x="6570321" y="6226124"/>
                  <a:pt x="6538881" y="6208397"/>
                  <a:pt x="6507443" y="6172941"/>
                </a:cubicBezTo>
                <a:cubicBezTo>
                  <a:pt x="6503949" y="6172941"/>
                  <a:pt x="6503949" y="6169396"/>
                  <a:pt x="6503949" y="6169396"/>
                </a:cubicBezTo>
                <a:cubicBezTo>
                  <a:pt x="6503949" y="6165851"/>
                  <a:pt x="6503949" y="6165851"/>
                  <a:pt x="6503949" y="6165851"/>
                </a:cubicBezTo>
                <a:cubicBezTo>
                  <a:pt x="6503949" y="6162306"/>
                  <a:pt x="6507443" y="6162306"/>
                  <a:pt x="6510935" y="6162306"/>
                </a:cubicBezTo>
                <a:cubicBezTo>
                  <a:pt x="6510935" y="6162306"/>
                  <a:pt x="6510935" y="6162306"/>
                  <a:pt x="6605253" y="6116214"/>
                </a:cubicBezTo>
                <a:close/>
                <a:moveTo>
                  <a:pt x="6689896" y="6112668"/>
                </a:moveTo>
                <a:cubicBezTo>
                  <a:pt x="6693389" y="6112668"/>
                  <a:pt x="6696882" y="6112668"/>
                  <a:pt x="6700376" y="6112668"/>
                </a:cubicBezTo>
                <a:cubicBezTo>
                  <a:pt x="6700376" y="6112668"/>
                  <a:pt x="6700376" y="6112668"/>
                  <a:pt x="6791199" y="6158579"/>
                </a:cubicBezTo>
                <a:cubicBezTo>
                  <a:pt x="6794693" y="6162111"/>
                  <a:pt x="6798186" y="6162111"/>
                  <a:pt x="6798186" y="6165643"/>
                </a:cubicBezTo>
                <a:cubicBezTo>
                  <a:pt x="6798186" y="6169174"/>
                  <a:pt x="6798186" y="6169174"/>
                  <a:pt x="6794693" y="6172706"/>
                </a:cubicBezTo>
                <a:cubicBezTo>
                  <a:pt x="6763254" y="6208022"/>
                  <a:pt x="6731814" y="6225680"/>
                  <a:pt x="6686403" y="6236275"/>
                </a:cubicBezTo>
                <a:cubicBezTo>
                  <a:pt x="6682909" y="6236275"/>
                  <a:pt x="6679416" y="6236275"/>
                  <a:pt x="6679416" y="6236275"/>
                </a:cubicBezTo>
                <a:cubicBezTo>
                  <a:pt x="6675923" y="6232743"/>
                  <a:pt x="6675923" y="6229211"/>
                  <a:pt x="6675923" y="6225680"/>
                </a:cubicBezTo>
                <a:cubicBezTo>
                  <a:pt x="6675923" y="6225680"/>
                  <a:pt x="6675923" y="6225680"/>
                  <a:pt x="6686403" y="6123264"/>
                </a:cubicBezTo>
                <a:cubicBezTo>
                  <a:pt x="6686403" y="6119732"/>
                  <a:pt x="6686403" y="6116200"/>
                  <a:pt x="6689896" y="6112668"/>
                </a:cubicBezTo>
                <a:close/>
                <a:moveTo>
                  <a:pt x="5812094" y="6073704"/>
                </a:moveTo>
                <a:lnTo>
                  <a:pt x="5853673" y="6073704"/>
                </a:lnTo>
                <a:cubicBezTo>
                  <a:pt x="5853673" y="6073704"/>
                  <a:pt x="5853673" y="6073704"/>
                  <a:pt x="5853673" y="6116314"/>
                </a:cubicBezTo>
                <a:cubicBezTo>
                  <a:pt x="5853673" y="6116314"/>
                  <a:pt x="5825954" y="6123416"/>
                  <a:pt x="5805164" y="6123416"/>
                </a:cubicBezTo>
                <a:cubicBezTo>
                  <a:pt x="5787839" y="6123416"/>
                  <a:pt x="5787839" y="6109213"/>
                  <a:pt x="5787839" y="6098560"/>
                </a:cubicBezTo>
                <a:cubicBezTo>
                  <a:pt x="5787839" y="6084357"/>
                  <a:pt x="5794769" y="6077255"/>
                  <a:pt x="5812094" y="6073704"/>
                </a:cubicBezTo>
                <a:close/>
                <a:moveTo>
                  <a:pt x="5496290" y="6003839"/>
                </a:moveTo>
                <a:cubicBezTo>
                  <a:pt x="5527527" y="6003839"/>
                  <a:pt x="5537940" y="6017907"/>
                  <a:pt x="5537940" y="6060111"/>
                </a:cubicBezTo>
                <a:cubicBezTo>
                  <a:pt x="5537940" y="6098796"/>
                  <a:pt x="5530998" y="6123415"/>
                  <a:pt x="5496290" y="6123415"/>
                </a:cubicBezTo>
                <a:cubicBezTo>
                  <a:pt x="5461581" y="6123415"/>
                  <a:pt x="5454640" y="6102314"/>
                  <a:pt x="5454640" y="6060111"/>
                </a:cubicBezTo>
                <a:cubicBezTo>
                  <a:pt x="5454640" y="6017907"/>
                  <a:pt x="5465052" y="6003839"/>
                  <a:pt x="5496290" y="6003839"/>
                </a:cubicBezTo>
                <a:close/>
                <a:moveTo>
                  <a:pt x="6640816" y="5999810"/>
                </a:moveTo>
                <a:cubicBezTo>
                  <a:pt x="6640816" y="5999810"/>
                  <a:pt x="6640816" y="5999810"/>
                  <a:pt x="6661845" y="5999810"/>
                </a:cubicBezTo>
                <a:cubicBezTo>
                  <a:pt x="6661845" y="5999810"/>
                  <a:pt x="6661845" y="6006903"/>
                  <a:pt x="6661845" y="6010450"/>
                </a:cubicBezTo>
                <a:cubicBezTo>
                  <a:pt x="6679370" y="6013997"/>
                  <a:pt x="6693389" y="6031732"/>
                  <a:pt x="6693389" y="6049467"/>
                </a:cubicBezTo>
                <a:cubicBezTo>
                  <a:pt x="6693389" y="6070749"/>
                  <a:pt x="6672360" y="6088484"/>
                  <a:pt x="6651330" y="6088484"/>
                </a:cubicBezTo>
                <a:cubicBezTo>
                  <a:pt x="6630302" y="6088484"/>
                  <a:pt x="6612777" y="6070749"/>
                  <a:pt x="6612777" y="6049467"/>
                </a:cubicBezTo>
                <a:cubicBezTo>
                  <a:pt x="6612777" y="6031732"/>
                  <a:pt x="6623291" y="6013997"/>
                  <a:pt x="6640816" y="6010450"/>
                </a:cubicBezTo>
                <a:cubicBezTo>
                  <a:pt x="6640816" y="6010450"/>
                  <a:pt x="6640816" y="5999810"/>
                  <a:pt x="6640816" y="5999810"/>
                </a:cubicBezTo>
                <a:close/>
                <a:moveTo>
                  <a:pt x="6651068" y="5989061"/>
                </a:moveTo>
                <a:cubicBezTo>
                  <a:pt x="6618048" y="5989061"/>
                  <a:pt x="6591280" y="6016130"/>
                  <a:pt x="6591280" y="6049521"/>
                </a:cubicBezTo>
                <a:cubicBezTo>
                  <a:pt x="6591280" y="6082912"/>
                  <a:pt x="6618048" y="6109981"/>
                  <a:pt x="6651068" y="6109981"/>
                </a:cubicBezTo>
                <a:cubicBezTo>
                  <a:pt x="6684088" y="6109981"/>
                  <a:pt x="6710856" y="6082912"/>
                  <a:pt x="6710856" y="6049521"/>
                </a:cubicBezTo>
                <a:cubicBezTo>
                  <a:pt x="6710856" y="6016130"/>
                  <a:pt x="6684088" y="5989061"/>
                  <a:pt x="6651068" y="5989061"/>
                </a:cubicBezTo>
                <a:close/>
                <a:moveTo>
                  <a:pt x="6651068" y="5982344"/>
                </a:moveTo>
                <a:cubicBezTo>
                  <a:pt x="6687799" y="5982344"/>
                  <a:pt x="6717574" y="6012420"/>
                  <a:pt x="6717574" y="6049521"/>
                </a:cubicBezTo>
                <a:cubicBezTo>
                  <a:pt x="6717574" y="6086623"/>
                  <a:pt x="6687799" y="6116699"/>
                  <a:pt x="6651068" y="6116699"/>
                </a:cubicBezTo>
                <a:cubicBezTo>
                  <a:pt x="6614337" y="6116699"/>
                  <a:pt x="6584562" y="6086623"/>
                  <a:pt x="6584562" y="6049521"/>
                </a:cubicBezTo>
                <a:cubicBezTo>
                  <a:pt x="6584562" y="6012420"/>
                  <a:pt x="6614337" y="5982344"/>
                  <a:pt x="6651068" y="5982344"/>
                </a:cubicBezTo>
                <a:close/>
                <a:moveTo>
                  <a:pt x="6826360" y="5979657"/>
                </a:moveTo>
                <a:cubicBezTo>
                  <a:pt x="6829861" y="5979657"/>
                  <a:pt x="6829861" y="5983183"/>
                  <a:pt x="6829861" y="5986710"/>
                </a:cubicBezTo>
                <a:cubicBezTo>
                  <a:pt x="6843866" y="6029032"/>
                  <a:pt x="6843866" y="6067827"/>
                  <a:pt x="6829861" y="6110149"/>
                </a:cubicBezTo>
                <a:cubicBezTo>
                  <a:pt x="6829861" y="6117203"/>
                  <a:pt x="6829861" y="6117203"/>
                  <a:pt x="6826360" y="6117203"/>
                </a:cubicBezTo>
                <a:cubicBezTo>
                  <a:pt x="6822858" y="6120730"/>
                  <a:pt x="6819357" y="6117203"/>
                  <a:pt x="6819357" y="6117203"/>
                </a:cubicBezTo>
                <a:lnTo>
                  <a:pt x="6731823" y="6057247"/>
                </a:lnTo>
                <a:cubicBezTo>
                  <a:pt x="6728322" y="6053720"/>
                  <a:pt x="6728322" y="6050193"/>
                  <a:pt x="6728322" y="6050193"/>
                </a:cubicBezTo>
                <a:cubicBezTo>
                  <a:pt x="6728322" y="6046667"/>
                  <a:pt x="6728322" y="6043140"/>
                  <a:pt x="6731823" y="6039612"/>
                </a:cubicBezTo>
                <a:cubicBezTo>
                  <a:pt x="6731823" y="6039612"/>
                  <a:pt x="6731823" y="6039612"/>
                  <a:pt x="6815856" y="5983183"/>
                </a:cubicBezTo>
                <a:cubicBezTo>
                  <a:pt x="6822858" y="5979657"/>
                  <a:pt x="6826360" y="5979657"/>
                  <a:pt x="6826360" y="5979657"/>
                </a:cubicBezTo>
                <a:close/>
                <a:moveTo>
                  <a:pt x="6475776" y="5979657"/>
                </a:moveTo>
                <a:cubicBezTo>
                  <a:pt x="6479277" y="5979657"/>
                  <a:pt x="6482778" y="5979657"/>
                  <a:pt x="6482778" y="5983183"/>
                </a:cubicBezTo>
                <a:lnTo>
                  <a:pt x="6570312" y="6039612"/>
                </a:lnTo>
                <a:cubicBezTo>
                  <a:pt x="6573813" y="6043140"/>
                  <a:pt x="6573813" y="6046667"/>
                  <a:pt x="6573813" y="6050193"/>
                </a:cubicBezTo>
                <a:cubicBezTo>
                  <a:pt x="6573813" y="6053720"/>
                  <a:pt x="6573813" y="6057247"/>
                  <a:pt x="6570312" y="6057247"/>
                </a:cubicBezTo>
                <a:cubicBezTo>
                  <a:pt x="6570312" y="6057247"/>
                  <a:pt x="6570312" y="6057247"/>
                  <a:pt x="6482778" y="6117203"/>
                </a:cubicBezTo>
                <a:cubicBezTo>
                  <a:pt x="6479277" y="6117203"/>
                  <a:pt x="6475776" y="6120730"/>
                  <a:pt x="6475776" y="6117203"/>
                </a:cubicBezTo>
                <a:cubicBezTo>
                  <a:pt x="6472274" y="6117203"/>
                  <a:pt x="6472274" y="6113676"/>
                  <a:pt x="6468772" y="6113676"/>
                </a:cubicBezTo>
                <a:cubicBezTo>
                  <a:pt x="6458269" y="6067827"/>
                  <a:pt x="6458269" y="6029032"/>
                  <a:pt x="6468772" y="5986710"/>
                </a:cubicBezTo>
                <a:cubicBezTo>
                  <a:pt x="6472274" y="5983183"/>
                  <a:pt x="6472274" y="5979657"/>
                  <a:pt x="6475776" y="5979657"/>
                </a:cubicBezTo>
                <a:close/>
                <a:moveTo>
                  <a:pt x="6072127" y="5968908"/>
                </a:moveTo>
                <a:cubicBezTo>
                  <a:pt x="6072127" y="5972434"/>
                  <a:pt x="6068640" y="5972434"/>
                  <a:pt x="6072127" y="5975961"/>
                </a:cubicBezTo>
                <a:cubicBezTo>
                  <a:pt x="6113977" y="6138195"/>
                  <a:pt x="6113977" y="6138195"/>
                  <a:pt x="6113977" y="6138195"/>
                </a:cubicBezTo>
                <a:cubicBezTo>
                  <a:pt x="6113977" y="6145249"/>
                  <a:pt x="6120952" y="6159356"/>
                  <a:pt x="6134902" y="6159356"/>
                </a:cubicBezTo>
                <a:cubicBezTo>
                  <a:pt x="6145365" y="6159356"/>
                  <a:pt x="6145365" y="6159356"/>
                  <a:pt x="6145365" y="6159356"/>
                </a:cubicBezTo>
                <a:cubicBezTo>
                  <a:pt x="6141877" y="6162883"/>
                  <a:pt x="6141877" y="6162883"/>
                  <a:pt x="6141877" y="6166409"/>
                </a:cubicBezTo>
                <a:cubicBezTo>
                  <a:pt x="6138390" y="6176989"/>
                  <a:pt x="6134902" y="6187570"/>
                  <a:pt x="6113977" y="6187570"/>
                </a:cubicBezTo>
                <a:cubicBezTo>
                  <a:pt x="6079102" y="6184044"/>
                  <a:pt x="6079102" y="6184044"/>
                  <a:pt x="6079102" y="6184044"/>
                </a:cubicBezTo>
                <a:cubicBezTo>
                  <a:pt x="6079102" y="6184044"/>
                  <a:pt x="6075615" y="6184044"/>
                  <a:pt x="6075615" y="6187570"/>
                </a:cubicBezTo>
                <a:cubicBezTo>
                  <a:pt x="6072127" y="6187570"/>
                  <a:pt x="6072127" y="6191097"/>
                  <a:pt x="6072127" y="6191097"/>
                </a:cubicBezTo>
                <a:cubicBezTo>
                  <a:pt x="6072127" y="6212258"/>
                  <a:pt x="6072127" y="6212258"/>
                  <a:pt x="6072127" y="6212258"/>
                </a:cubicBezTo>
                <a:cubicBezTo>
                  <a:pt x="6072127" y="6215785"/>
                  <a:pt x="6075615" y="6215785"/>
                  <a:pt x="6079102" y="6219312"/>
                </a:cubicBezTo>
                <a:cubicBezTo>
                  <a:pt x="6089566" y="6219312"/>
                  <a:pt x="6110490" y="6222838"/>
                  <a:pt x="6124440" y="6222838"/>
                </a:cubicBezTo>
                <a:cubicBezTo>
                  <a:pt x="6127927" y="6222838"/>
                  <a:pt x="6127927" y="6222838"/>
                  <a:pt x="6127927" y="6222838"/>
                </a:cubicBezTo>
                <a:cubicBezTo>
                  <a:pt x="6155827" y="6222838"/>
                  <a:pt x="6173264" y="6205204"/>
                  <a:pt x="6183727" y="6169936"/>
                </a:cubicBezTo>
                <a:cubicBezTo>
                  <a:pt x="6194190" y="6131141"/>
                  <a:pt x="6208140" y="6078239"/>
                  <a:pt x="6215114" y="6039444"/>
                </a:cubicBezTo>
                <a:cubicBezTo>
                  <a:pt x="6222090" y="6021810"/>
                  <a:pt x="6225577" y="6007702"/>
                  <a:pt x="6229064" y="5997122"/>
                </a:cubicBezTo>
                <a:cubicBezTo>
                  <a:pt x="6232552" y="5975961"/>
                  <a:pt x="6232552" y="5975961"/>
                  <a:pt x="6232552" y="5975961"/>
                </a:cubicBezTo>
                <a:cubicBezTo>
                  <a:pt x="6232552" y="5972434"/>
                  <a:pt x="6232552" y="5972434"/>
                  <a:pt x="6232552" y="5968908"/>
                </a:cubicBezTo>
                <a:cubicBezTo>
                  <a:pt x="6229064" y="5968908"/>
                  <a:pt x="6229064" y="5968908"/>
                  <a:pt x="6225577" y="5968908"/>
                </a:cubicBezTo>
                <a:cubicBezTo>
                  <a:pt x="6197677" y="5968908"/>
                  <a:pt x="6197677" y="5968908"/>
                  <a:pt x="6197677" y="5968908"/>
                </a:cubicBezTo>
                <a:cubicBezTo>
                  <a:pt x="6194190" y="5968908"/>
                  <a:pt x="6190702" y="5968908"/>
                  <a:pt x="6190702" y="5972434"/>
                </a:cubicBezTo>
                <a:cubicBezTo>
                  <a:pt x="6152340" y="6117034"/>
                  <a:pt x="6152340" y="6117034"/>
                  <a:pt x="6152340" y="6117034"/>
                </a:cubicBezTo>
                <a:cubicBezTo>
                  <a:pt x="6148852" y="6117034"/>
                  <a:pt x="6148852" y="6117034"/>
                  <a:pt x="6148852" y="6117034"/>
                </a:cubicBezTo>
                <a:cubicBezTo>
                  <a:pt x="6113977" y="5972434"/>
                  <a:pt x="6113977" y="5972434"/>
                  <a:pt x="6113977" y="5972434"/>
                </a:cubicBezTo>
                <a:cubicBezTo>
                  <a:pt x="6110490" y="5968908"/>
                  <a:pt x="6110490" y="5968908"/>
                  <a:pt x="6107002" y="5968908"/>
                </a:cubicBezTo>
                <a:cubicBezTo>
                  <a:pt x="6079102" y="5968908"/>
                  <a:pt x="6079102" y="5968908"/>
                  <a:pt x="6079102" y="5968908"/>
                </a:cubicBezTo>
                <a:cubicBezTo>
                  <a:pt x="6075615" y="5968908"/>
                  <a:pt x="6072127" y="5968908"/>
                  <a:pt x="6072127" y="5968908"/>
                </a:cubicBezTo>
                <a:close/>
                <a:moveTo>
                  <a:pt x="6040101" y="5964877"/>
                </a:moveTo>
                <a:cubicBezTo>
                  <a:pt x="6018975" y="5964877"/>
                  <a:pt x="6001370" y="5978948"/>
                  <a:pt x="5987285" y="5985983"/>
                </a:cubicBezTo>
                <a:cubicBezTo>
                  <a:pt x="5987285" y="5975430"/>
                  <a:pt x="5987285" y="5975430"/>
                  <a:pt x="5987285" y="5975430"/>
                </a:cubicBezTo>
                <a:cubicBezTo>
                  <a:pt x="5987285" y="5968395"/>
                  <a:pt x="5983765" y="5968395"/>
                  <a:pt x="5980244" y="5968395"/>
                </a:cubicBezTo>
                <a:cubicBezTo>
                  <a:pt x="5952076" y="5968395"/>
                  <a:pt x="5952076" y="5968395"/>
                  <a:pt x="5952076" y="5968395"/>
                </a:cubicBezTo>
                <a:cubicBezTo>
                  <a:pt x="5948554" y="5968395"/>
                  <a:pt x="5945033" y="5968395"/>
                  <a:pt x="5945033" y="5975430"/>
                </a:cubicBezTo>
                <a:cubicBezTo>
                  <a:pt x="5945033" y="6151313"/>
                  <a:pt x="5945033" y="6151313"/>
                  <a:pt x="5945033" y="6151313"/>
                </a:cubicBezTo>
                <a:cubicBezTo>
                  <a:pt x="5945033" y="6154831"/>
                  <a:pt x="5948554" y="6158348"/>
                  <a:pt x="5952076" y="6158348"/>
                </a:cubicBezTo>
                <a:cubicBezTo>
                  <a:pt x="5980244" y="6158348"/>
                  <a:pt x="5980244" y="6158348"/>
                  <a:pt x="5980244" y="6158348"/>
                </a:cubicBezTo>
                <a:cubicBezTo>
                  <a:pt x="5983765" y="6158348"/>
                  <a:pt x="5987285" y="6154831"/>
                  <a:pt x="5987285" y="6151313"/>
                </a:cubicBezTo>
                <a:cubicBezTo>
                  <a:pt x="5987285" y="6028195"/>
                  <a:pt x="5987285" y="6028195"/>
                  <a:pt x="5987285" y="6028195"/>
                </a:cubicBezTo>
                <a:cubicBezTo>
                  <a:pt x="5994328" y="6024677"/>
                  <a:pt x="6015454" y="6007089"/>
                  <a:pt x="6040101" y="6007089"/>
                </a:cubicBezTo>
                <a:cubicBezTo>
                  <a:pt x="6043622" y="6003571"/>
                  <a:pt x="6047143" y="6003571"/>
                  <a:pt x="6047143" y="6000054"/>
                </a:cubicBezTo>
                <a:cubicBezTo>
                  <a:pt x="6047143" y="5971913"/>
                  <a:pt x="6047143" y="5971913"/>
                  <a:pt x="6047143" y="5971913"/>
                </a:cubicBezTo>
                <a:cubicBezTo>
                  <a:pt x="6047143" y="5971913"/>
                  <a:pt x="6047143" y="5968395"/>
                  <a:pt x="6043622" y="5968395"/>
                </a:cubicBezTo>
                <a:cubicBezTo>
                  <a:pt x="6043622" y="5964877"/>
                  <a:pt x="6040101" y="5964877"/>
                  <a:pt x="6040101" y="5964877"/>
                </a:cubicBezTo>
                <a:close/>
                <a:moveTo>
                  <a:pt x="5833459" y="5960846"/>
                </a:moveTo>
                <a:cubicBezTo>
                  <a:pt x="5812389" y="5960846"/>
                  <a:pt x="5777274" y="5967917"/>
                  <a:pt x="5763228" y="5967917"/>
                </a:cubicBezTo>
                <a:cubicBezTo>
                  <a:pt x="5759716" y="5967917"/>
                  <a:pt x="5756205" y="5971453"/>
                  <a:pt x="5756205" y="5974989"/>
                </a:cubicBezTo>
                <a:cubicBezTo>
                  <a:pt x="5756205" y="5974989"/>
                  <a:pt x="5756205" y="5974989"/>
                  <a:pt x="5756205" y="5999738"/>
                </a:cubicBezTo>
                <a:cubicBezTo>
                  <a:pt x="5756205" y="6003274"/>
                  <a:pt x="5756205" y="6003274"/>
                  <a:pt x="5759716" y="6006810"/>
                </a:cubicBezTo>
                <a:cubicBezTo>
                  <a:pt x="5759716" y="6006810"/>
                  <a:pt x="5763228" y="6006810"/>
                  <a:pt x="5763228" y="6006810"/>
                </a:cubicBezTo>
                <a:cubicBezTo>
                  <a:pt x="5780786" y="6006810"/>
                  <a:pt x="5808878" y="6003274"/>
                  <a:pt x="5829947" y="6003274"/>
                </a:cubicBezTo>
                <a:cubicBezTo>
                  <a:pt x="5843994" y="6003274"/>
                  <a:pt x="5854528" y="6013881"/>
                  <a:pt x="5854528" y="6028024"/>
                </a:cubicBezTo>
                <a:cubicBezTo>
                  <a:pt x="5854528" y="6028024"/>
                  <a:pt x="5854528" y="6028024"/>
                  <a:pt x="5854528" y="6038631"/>
                </a:cubicBezTo>
                <a:cubicBezTo>
                  <a:pt x="5854528" y="6038631"/>
                  <a:pt x="5854528" y="6038631"/>
                  <a:pt x="5805366" y="6042167"/>
                </a:cubicBezTo>
                <a:cubicBezTo>
                  <a:pt x="5763228" y="6045702"/>
                  <a:pt x="5742158" y="6063380"/>
                  <a:pt x="5742158" y="6102272"/>
                </a:cubicBezTo>
                <a:cubicBezTo>
                  <a:pt x="5742158" y="6141164"/>
                  <a:pt x="5763228" y="6162378"/>
                  <a:pt x="5798344" y="6162378"/>
                </a:cubicBezTo>
                <a:cubicBezTo>
                  <a:pt x="5826436" y="6162378"/>
                  <a:pt x="5861552" y="6148235"/>
                  <a:pt x="5861552" y="6148235"/>
                </a:cubicBezTo>
                <a:cubicBezTo>
                  <a:pt x="5868574" y="6155307"/>
                  <a:pt x="5875597" y="6158842"/>
                  <a:pt x="5889644" y="6162378"/>
                </a:cubicBezTo>
                <a:cubicBezTo>
                  <a:pt x="5893155" y="6162378"/>
                  <a:pt x="5893155" y="6162378"/>
                  <a:pt x="5896667" y="6158842"/>
                </a:cubicBezTo>
                <a:cubicBezTo>
                  <a:pt x="5896667" y="6158842"/>
                  <a:pt x="5896667" y="6155307"/>
                  <a:pt x="5896667" y="6155307"/>
                </a:cubicBezTo>
                <a:cubicBezTo>
                  <a:pt x="5896667" y="6155307"/>
                  <a:pt x="5896667" y="6155307"/>
                  <a:pt x="5896667" y="6028024"/>
                </a:cubicBezTo>
                <a:cubicBezTo>
                  <a:pt x="5896667" y="5982060"/>
                  <a:pt x="5875597" y="5960846"/>
                  <a:pt x="5833459" y="5960846"/>
                </a:cubicBezTo>
                <a:close/>
                <a:moveTo>
                  <a:pt x="5497633" y="5960845"/>
                </a:moveTo>
                <a:cubicBezTo>
                  <a:pt x="5450145" y="5960845"/>
                  <a:pt x="5411646" y="6005960"/>
                  <a:pt x="5411646" y="6061612"/>
                </a:cubicBezTo>
                <a:cubicBezTo>
                  <a:pt x="5411646" y="6117264"/>
                  <a:pt x="5450145" y="6162378"/>
                  <a:pt x="5497633" y="6162378"/>
                </a:cubicBezTo>
                <a:cubicBezTo>
                  <a:pt x="5545122" y="6162378"/>
                  <a:pt x="5583620" y="6117264"/>
                  <a:pt x="5583620" y="6061612"/>
                </a:cubicBezTo>
                <a:cubicBezTo>
                  <a:pt x="5583620" y="6005960"/>
                  <a:pt x="5545122" y="5960845"/>
                  <a:pt x="5497633" y="5960845"/>
                </a:cubicBezTo>
                <a:close/>
                <a:moveTo>
                  <a:pt x="5243703" y="5936662"/>
                </a:moveTo>
                <a:cubicBezTo>
                  <a:pt x="5250670" y="5936662"/>
                  <a:pt x="5257636" y="5936662"/>
                  <a:pt x="5275052" y="5936662"/>
                </a:cubicBezTo>
                <a:cubicBezTo>
                  <a:pt x="5275052" y="5936662"/>
                  <a:pt x="5275052" y="5936662"/>
                  <a:pt x="5292468" y="5936662"/>
                </a:cubicBezTo>
                <a:cubicBezTo>
                  <a:pt x="5323818" y="5936662"/>
                  <a:pt x="5337751" y="5957915"/>
                  <a:pt x="5337751" y="5975626"/>
                </a:cubicBezTo>
                <a:cubicBezTo>
                  <a:pt x="5337751" y="6000420"/>
                  <a:pt x="5320334" y="6014588"/>
                  <a:pt x="5288986" y="6014588"/>
                </a:cubicBezTo>
                <a:cubicBezTo>
                  <a:pt x="5268085" y="6014588"/>
                  <a:pt x="5250670" y="6014588"/>
                  <a:pt x="5243703" y="6014588"/>
                </a:cubicBezTo>
                <a:cubicBezTo>
                  <a:pt x="5243703" y="6014588"/>
                  <a:pt x="5243703" y="6014588"/>
                  <a:pt x="5243703" y="5936662"/>
                </a:cubicBezTo>
                <a:close/>
                <a:moveTo>
                  <a:pt x="5660874" y="5923227"/>
                </a:moveTo>
                <a:cubicBezTo>
                  <a:pt x="5660874" y="5923227"/>
                  <a:pt x="5660874" y="5923227"/>
                  <a:pt x="5629222" y="5930261"/>
                </a:cubicBezTo>
                <a:cubicBezTo>
                  <a:pt x="5625705" y="5930261"/>
                  <a:pt x="5625705" y="5933778"/>
                  <a:pt x="5625705" y="5937295"/>
                </a:cubicBezTo>
                <a:cubicBezTo>
                  <a:pt x="5625705" y="5937295"/>
                  <a:pt x="5625705" y="5937295"/>
                  <a:pt x="5625705" y="5968947"/>
                </a:cubicBezTo>
                <a:cubicBezTo>
                  <a:pt x="5625705" y="5968947"/>
                  <a:pt x="5625705" y="5968947"/>
                  <a:pt x="5608120" y="5968947"/>
                </a:cubicBezTo>
                <a:cubicBezTo>
                  <a:pt x="5604603" y="5968947"/>
                  <a:pt x="5601086" y="5968947"/>
                  <a:pt x="5601086" y="5975981"/>
                </a:cubicBezTo>
                <a:cubicBezTo>
                  <a:pt x="5601086" y="5975981"/>
                  <a:pt x="5601086" y="5975981"/>
                  <a:pt x="5601086" y="6000599"/>
                </a:cubicBezTo>
                <a:cubicBezTo>
                  <a:pt x="5601086" y="6004117"/>
                  <a:pt x="5604603" y="6007633"/>
                  <a:pt x="5608120" y="6007633"/>
                </a:cubicBezTo>
                <a:cubicBezTo>
                  <a:pt x="5608120" y="6007633"/>
                  <a:pt x="5608120" y="6007633"/>
                  <a:pt x="5625705" y="6007633"/>
                </a:cubicBezTo>
                <a:cubicBezTo>
                  <a:pt x="5625705" y="6007633"/>
                  <a:pt x="5625705" y="6007633"/>
                  <a:pt x="5625705" y="6092040"/>
                </a:cubicBezTo>
                <a:cubicBezTo>
                  <a:pt x="5625705" y="6144793"/>
                  <a:pt x="5639772" y="6162378"/>
                  <a:pt x="5681975" y="6162378"/>
                </a:cubicBezTo>
                <a:cubicBezTo>
                  <a:pt x="5692527" y="6162378"/>
                  <a:pt x="5703077" y="6158862"/>
                  <a:pt x="5713628" y="6158862"/>
                </a:cubicBezTo>
                <a:cubicBezTo>
                  <a:pt x="5717145" y="6158862"/>
                  <a:pt x="5720662" y="6155345"/>
                  <a:pt x="5720662" y="6151827"/>
                </a:cubicBezTo>
                <a:cubicBezTo>
                  <a:pt x="5720662" y="6151827"/>
                  <a:pt x="5720662" y="6151827"/>
                  <a:pt x="5720662" y="6127209"/>
                </a:cubicBezTo>
                <a:cubicBezTo>
                  <a:pt x="5720662" y="6123692"/>
                  <a:pt x="5717145" y="6120175"/>
                  <a:pt x="5713628" y="6120175"/>
                </a:cubicBezTo>
                <a:cubicBezTo>
                  <a:pt x="5706595" y="6120175"/>
                  <a:pt x="5696043" y="6120175"/>
                  <a:pt x="5689009" y="6120175"/>
                </a:cubicBezTo>
                <a:cubicBezTo>
                  <a:pt x="5667908" y="6120175"/>
                  <a:pt x="5667908" y="6113141"/>
                  <a:pt x="5667908" y="6085006"/>
                </a:cubicBezTo>
                <a:cubicBezTo>
                  <a:pt x="5667908" y="6085006"/>
                  <a:pt x="5667908" y="6085006"/>
                  <a:pt x="5667908" y="6007633"/>
                </a:cubicBezTo>
                <a:cubicBezTo>
                  <a:pt x="5667908" y="6007633"/>
                  <a:pt x="5667908" y="6007633"/>
                  <a:pt x="5713628" y="6007633"/>
                </a:cubicBezTo>
                <a:cubicBezTo>
                  <a:pt x="5717145" y="6007633"/>
                  <a:pt x="5720662" y="6004117"/>
                  <a:pt x="5720662" y="6000599"/>
                </a:cubicBezTo>
                <a:cubicBezTo>
                  <a:pt x="5720662" y="6000599"/>
                  <a:pt x="5720662" y="6000599"/>
                  <a:pt x="5720662" y="5975981"/>
                </a:cubicBezTo>
                <a:cubicBezTo>
                  <a:pt x="5720662" y="5968947"/>
                  <a:pt x="5717145" y="5968947"/>
                  <a:pt x="5713628" y="5968947"/>
                </a:cubicBezTo>
                <a:cubicBezTo>
                  <a:pt x="5713628" y="5968947"/>
                  <a:pt x="5713628" y="5968947"/>
                  <a:pt x="5667908" y="5968947"/>
                </a:cubicBezTo>
                <a:cubicBezTo>
                  <a:pt x="5667908" y="5968947"/>
                  <a:pt x="5667908" y="5968947"/>
                  <a:pt x="5667908" y="5930261"/>
                </a:cubicBezTo>
                <a:cubicBezTo>
                  <a:pt x="5667908" y="5926744"/>
                  <a:pt x="5667908" y="5926744"/>
                  <a:pt x="5664391" y="5923227"/>
                </a:cubicBezTo>
                <a:cubicBezTo>
                  <a:pt x="5664391" y="5923227"/>
                  <a:pt x="5660874" y="5923227"/>
                  <a:pt x="5660874" y="5923227"/>
                </a:cubicBezTo>
                <a:close/>
                <a:moveTo>
                  <a:pt x="5285479" y="5895013"/>
                </a:moveTo>
                <a:cubicBezTo>
                  <a:pt x="5274985" y="5895013"/>
                  <a:pt x="5243501" y="5895013"/>
                  <a:pt x="5205019" y="5898524"/>
                </a:cubicBezTo>
                <a:cubicBezTo>
                  <a:pt x="5201521" y="5898524"/>
                  <a:pt x="5198022" y="5902035"/>
                  <a:pt x="5198022" y="5905546"/>
                </a:cubicBezTo>
                <a:cubicBezTo>
                  <a:pt x="5198022" y="5905546"/>
                  <a:pt x="5198022" y="5905546"/>
                  <a:pt x="5198022" y="6151326"/>
                </a:cubicBezTo>
                <a:cubicBezTo>
                  <a:pt x="5198022" y="6154837"/>
                  <a:pt x="5201521" y="6158348"/>
                  <a:pt x="5205019" y="6158348"/>
                </a:cubicBezTo>
                <a:cubicBezTo>
                  <a:pt x="5205019" y="6158348"/>
                  <a:pt x="5205019" y="6158348"/>
                  <a:pt x="5236504" y="6158348"/>
                </a:cubicBezTo>
                <a:cubicBezTo>
                  <a:pt x="5240002" y="6158348"/>
                  <a:pt x="5243501" y="6154837"/>
                  <a:pt x="5243501" y="6151326"/>
                </a:cubicBezTo>
                <a:cubicBezTo>
                  <a:pt x="5243501" y="6151326"/>
                  <a:pt x="5243501" y="6151326"/>
                  <a:pt x="5243501" y="6053014"/>
                </a:cubicBezTo>
                <a:cubicBezTo>
                  <a:pt x="5253995" y="6056525"/>
                  <a:pt x="5271486" y="6056525"/>
                  <a:pt x="5292476" y="6056525"/>
                </a:cubicBezTo>
                <a:cubicBezTo>
                  <a:pt x="5292476" y="6056525"/>
                  <a:pt x="5292476" y="6056525"/>
                  <a:pt x="5337954" y="6154837"/>
                </a:cubicBezTo>
                <a:cubicBezTo>
                  <a:pt x="5337954" y="6154837"/>
                  <a:pt x="5341452" y="6158348"/>
                  <a:pt x="5344951" y="6158348"/>
                </a:cubicBezTo>
                <a:cubicBezTo>
                  <a:pt x="5344951" y="6158348"/>
                  <a:pt x="5344951" y="6158348"/>
                  <a:pt x="5376435" y="6158348"/>
                </a:cubicBezTo>
                <a:cubicBezTo>
                  <a:pt x="5379934" y="6158348"/>
                  <a:pt x="5383431" y="6154837"/>
                  <a:pt x="5383431" y="6154837"/>
                </a:cubicBezTo>
                <a:cubicBezTo>
                  <a:pt x="5383431" y="6151326"/>
                  <a:pt x="5383431" y="6151326"/>
                  <a:pt x="5383431" y="6147815"/>
                </a:cubicBezTo>
                <a:lnTo>
                  <a:pt x="5337954" y="6042481"/>
                </a:lnTo>
                <a:cubicBezTo>
                  <a:pt x="5369438" y="6028436"/>
                  <a:pt x="5383431" y="6007369"/>
                  <a:pt x="5383431" y="5975769"/>
                </a:cubicBezTo>
                <a:cubicBezTo>
                  <a:pt x="5383431" y="5937146"/>
                  <a:pt x="5365940" y="5895013"/>
                  <a:pt x="5292476" y="5895013"/>
                </a:cubicBezTo>
                <a:cubicBezTo>
                  <a:pt x="5292476" y="5895013"/>
                  <a:pt x="5288978" y="5895013"/>
                  <a:pt x="5285479" y="5895013"/>
                </a:cubicBezTo>
                <a:close/>
                <a:moveTo>
                  <a:pt x="6840997" y="5864091"/>
                </a:moveTo>
                <a:cubicBezTo>
                  <a:pt x="6843176" y="5864532"/>
                  <a:pt x="6845791" y="5866295"/>
                  <a:pt x="6847534" y="5869822"/>
                </a:cubicBezTo>
                <a:cubicBezTo>
                  <a:pt x="6903309" y="5926252"/>
                  <a:pt x="6931196" y="6017949"/>
                  <a:pt x="6910281" y="6109646"/>
                </a:cubicBezTo>
                <a:cubicBezTo>
                  <a:pt x="6910281" y="6113173"/>
                  <a:pt x="6906795" y="6116699"/>
                  <a:pt x="6899823" y="6113173"/>
                </a:cubicBezTo>
                <a:cubicBezTo>
                  <a:pt x="6899823" y="6113173"/>
                  <a:pt x="6899823" y="6113173"/>
                  <a:pt x="6861478" y="6102592"/>
                </a:cubicBezTo>
                <a:cubicBezTo>
                  <a:pt x="6857992" y="6102592"/>
                  <a:pt x="6854506" y="6099065"/>
                  <a:pt x="6854506" y="6092012"/>
                </a:cubicBezTo>
                <a:cubicBezTo>
                  <a:pt x="6868450" y="6017949"/>
                  <a:pt x="6851020" y="5957992"/>
                  <a:pt x="6809188" y="5912144"/>
                </a:cubicBezTo>
                <a:cubicBezTo>
                  <a:pt x="6802216" y="5908618"/>
                  <a:pt x="6802216" y="5901563"/>
                  <a:pt x="6809188" y="5898037"/>
                </a:cubicBezTo>
                <a:cubicBezTo>
                  <a:pt x="6809188" y="5898037"/>
                  <a:pt x="6809188" y="5898037"/>
                  <a:pt x="6837075" y="5866295"/>
                </a:cubicBezTo>
                <a:cubicBezTo>
                  <a:pt x="6837075" y="5864532"/>
                  <a:pt x="6838819" y="5863650"/>
                  <a:pt x="6840997" y="5864091"/>
                </a:cubicBezTo>
                <a:close/>
                <a:moveTo>
                  <a:pt x="6460734" y="5864091"/>
                </a:moveTo>
                <a:cubicBezTo>
                  <a:pt x="6462935" y="5863650"/>
                  <a:pt x="6464696" y="5864532"/>
                  <a:pt x="6464696" y="5866295"/>
                </a:cubicBezTo>
                <a:cubicBezTo>
                  <a:pt x="6464696" y="5866295"/>
                  <a:pt x="6464696" y="5866295"/>
                  <a:pt x="6496396" y="5898037"/>
                </a:cubicBezTo>
                <a:cubicBezTo>
                  <a:pt x="6499919" y="5901563"/>
                  <a:pt x="6499919" y="5908618"/>
                  <a:pt x="6492874" y="5912144"/>
                </a:cubicBezTo>
                <a:cubicBezTo>
                  <a:pt x="6450607" y="5957992"/>
                  <a:pt x="6432995" y="6017949"/>
                  <a:pt x="6447085" y="6092012"/>
                </a:cubicBezTo>
                <a:cubicBezTo>
                  <a:pt x="6447085" y="6099065"/>
                  <a:pt x="6443563" y="6102592"/>
                  <a:pt x="6440040" y="6102592"/>
                </a:cubicBezTo>
                <a:cubicBezTo>
                  <a:pt x="6440040" y="6102592"/>
                  <a:pt x="6440040" y="6102592"/>
                  <a:pt x="6401295" y="6113173"/>
                </a:cubicBezTo>
                <a:cubicBezTo>
                  <a:pt x="6394251" y="6116699"/>
                  <a:pt x="6390728" y="6113173"/>
                  <a:pt x="6390728" y="6109646"/>
                </a:cubicBezTo>
                <a:cubicBezTo>
                  <a:pt x="6369595" y="6017949"/>
                  <a:pt x="6397773" y="5926252"/>
                  <a:pt x="6454129" y="5869822"/>
                </a:cubicBezTo>
                <a:cubicBezTo>
                  <a:pt x="6455890" y="5866295"/>
                  <a:pt x="6458533" y="5864532"/>
                  <a:pt x="6460734" y="5864091"/>
                </a:cubicBezTo>
                <a:close/>
                <a:moveTo>
                  <a:pt x="6679416" y="5858737"/>
                </a:moveTo>
                <a:cubicBezTo>
                  <a:pt x="6682909" y="5858737"/>
                  <a:pt x="6682909" y="5858737"/>
                  <a:pt x="6686403" y="5858737"/>
                </a:cubicBezTo>
                <a:cubicBezTo>
                  <a:pt x="6731814" y="5869333"/>
                  <a:pt x="6763254" y="5886990"/>
                  <a:pt x="6794693" y="5922306"/>
                </a:cubicBezTo>
                <a:cubicBezTo>
                  <a:pt x="6798186" y="5925838"/>
                  <a:pt x="6798186" y="5925838"/>
                  <a:pt x="6798186" y="5929370"/>
                </a:cubicBezTo>
                <a:cubicBezTo>
                  <a:pt x="6798186" y="5932901"/>
                  <a:pt x="6794693" y="5932901"/>
                  <a:pt x="6791199" y="5936433"/>
                </a:cubicBezTo>
                <a:cubicBezTo>
                  <a:pt x="6791199" y="5936433"/>
                  <a:pt x="6791199" y="5936433"/>
                  <a:pt x="6700376" y="5982344"/>
                </a:cubicBezTo>
                <a:cubicBezTo>
                  <a:pt x="6696882" y="5982344"/>
                  <a:pt x="6693389" y="5982344"/>
                  <a:pt x="6689896" y="5982344"/>
                </a:cubicBezTo>
                <a:cubicBezTo>
                  <a:pt x="6686403" y="5978812"/>
                  <a:pt x="6686403" y="5975280"/>
                  <a:pt x="6682909" y="5971749"/>
                </a:cubicBezTo>
                <a:cubicBezTo>
                  <a:pt x="6682909" y="5971749"/>
                  <a:pt x="6682909" y="5971749"/>
                  <a:pt x="6675923" y="5869333"/>
                </a:cubicBezTo>
                <a:cubicBezTo>
                  <a:pt x="6675923" y="5865801"/>
                  <a:pt x="6675923" y="5862269"/>
                  <a:pt x="6679416" y="5858737"/>
                </a:cubicBezTo>
                <a:close/>
                <a:moveTo>
                  <a:pt x="6615733" y="5858737"/>
                </a:moveTo>
                <a:cubicBezTo>
                  <a:pt x="6619226" y="5858737"/>
                  <a:pt x="6619226" y="5858737"/>
                  <a:pt x="6622719" y="5858737"/>
                </a:cubicBezTo>
                <a:cubicBezTo>
                  <a:pt x="6622719" y="5862269"/>
                  <a:pt x="6626212" y="5865801"/>
                  <a:pt x="6626212" y="5869333"/>
                </a:cubicBezTo>
                <a:cubicBezTo>
                  <a:pt x="6626212" y="5869333"/>
                  <a:pt x="6626212" y="5869333"/>
                  <a:pt x="6615733" y="5975280"/>
                </a:cubicBezTo>
                <a:cubicBezTo>
                  <a:pt x="6615733" y="5978812"/>
                  <a:pt x="6615733" y="5982344"/>
                  <a:pt x="6612239" y="5982344"/>
                </a:cubicBezTo>
                <a:cubicBezTo>
                  <a:pt x="6608746" y="5982344"/>
                  <a:pt x="6605253" y="5982344"/>
                  <a:pt x="6601760" y="5982344"/>
                </a:cubicBezTo>
                <a:cubicBezTo>
                  <a:pt x="6601760" y="5982344"/>
                  <a:pt x="6601760" y="5982344"/>
                  <a:pt x="6510935" y="5936433"/>
                </a:cubicBezTo>
                <a:cubicBezTo>
                  <a:pt x="6507443" y="5936433"/>
                  <a:pt x="6503949" y="5932901"/>
                  <a:pt x="6503949" y="5929370"/>
                </a:cubicBezTo>
                <a:cubicBezTo>
                  <a:pt x="6503949" y="5929370"/>
                  <a:pt x="6503949" y="5925838"/>
                  <a:pt x="6507443" y="5922306"/>
                </a:cubicBezTo>
                <a:cubicBezTo>
                  <a:pt x="6538881" y="5890522"/>
                  <a:pt x="6570321" y="5869333"/>
                  <a:pt x="6615733" y="5858737"/>
                </a:cubicBezTo>
                <a:close/>
                <a:moveTo>
                  <a:pt x="6534583" y="5823805"/>
                </a:moveTo>
                <a:cubicBezTo>
                  <a:pt x="6538076" y="5823805"/>
                  <a:pt x="6541569" y="5827500"/>
                  <a:pt x="6541569" y="5831195"/>
                </a:cubicBezTo>
                <a:cubicBezTo>
                  <a:pt x="6541569" y="5834890"/>
                  <a:pt x="6541569" y="5834890"/>
                  <a:pt x="6538076" y="5834890"/>
                </a:cubicBezTo>
                <a:cubicBezTo>
                  <a:pt x="6538076" y="5834890"/>
                  <a:pt x="6538076" y="5834890"/>
                  <a:pt x="6531089" y="5838585"/>
                </a:cubicBezTo>
                <a:cubicBezTo>
                  <a:pt x="6531089" y="5838585"/>
                  <a:pt x="6531089" y="5838585"/>
                  <a:pt x="6527596" y="5831195"/>
                </a:cubicBezTo>
                <a:cubicBezTo>
                  <a:pt x="6527596" y="5831195"/>
                  <a:pt x="6527596" y="5831195"/>
                  <a:pt x="6524103" y="5831195"/>
                </a:cubicBezTo>
                <a:cubicBezTo>
                  <a:pt x="6527596" y="5827500"/>
                  <a:pt x="6531089" y="5827500"/>
                  <a:pt x="6534583" y="5823805"/>
                </a:cubicBezTo>
                <a:close/>
                <a:moveTo>
                  <a:pt x="6531109" y="5816608"/>
                </a:moveTo>
                <a:cubicBezTo>
                  <a:pt x="6527557" y="5820158"/>
                  <a:pt x="6520456" y="5823710"/>
                  <a:pt x="6513354" y="5827260"/>
                </a:cubicBezTo>
                <a:cubicBezTo>
                  <a:pt x="6513354" y="5827260"/>
                  <a:pt x="6513354" y="5827260"/>
                  <a:pt x="6516905" y="5830811"/>
                </a:cubicBezTo>
                <a:lnTo>
                  <a:pt x="6534660" y="5862769"/>
                </a:lnTo>
                <a:cubicBezTo>
                  <a:pt x="6538210" y="5862769"/>
                  <a:pt x="6538210" y="5859217"/>
                  <a:pt x="6541761" y="5859217"/>
                </a:cubicBezTo>
                <a:cubicBezTo>
                  <a:pt x="6541761" y="5859217"/>
                  <a:pt x="6541761" y="5859217"/>
                  <a:pt x="6534660" y="5845014"/>
                </a:cubicBezTo>
                <a:cubicBezTo>
                  <a:pt x="6534660" y="5845014"/>
                  <a:pt x="6534660" y="5845014"/>
                  <a:pt x="6541761" y="5841464"/>
                </a:cubicBezTo>
                <a:cubicBezTo>
                  <a:pt x="6541761" y="5841464"/>
                  <a:pt x="6541761" y="5841464"/>
                  <a:pt x="6555964" y="5852116"/>
                </a:cubicBezTo>
                <a:cubicBezTo>
                  <a:pt x="6559516" y="5848565"/>
                  <a:pt x="6559516" y="5848565"/>
                  <a:pt x="6563066" y="5848565"/>
                </a:cubicBezTo>
                <a:cubicBezTo>
                  <a:pt x="6563066" y="5848565"/>
                  <a:pt x="6563066" y="5848565"/>
                  <a:pt x="6548863" y="5834362"/>
                </a:cubicBezTo>
                <a:cubicBezTo>
                  <a:pt x="6548863" y="5834362"/>
                  <a:pt x="6548863" y="5834362"/>
                  <a:pt x="6548863" y="5830811"/>
                </a:cubicBezTo>
                <a:cubicBezTo>
                  <a:pt x="6552413" y="5823710"/>
                  <a:pt x="6541761" y="5813057"/>
                  <a:pt x="6531109" y="5816608"/>
                </a:cubicBezTo>
                <a:close/>
                <a:moveTo>
                  <a:pt x="6752016" y="5810370"/>
                </a:moveTo>
                <a:cubicBezTo>
                  <a:pt x="6755559" y="5834554"/>
                  <a:pt x="6755559" y="5834554"/>
                  <a:pt x="6755559" y="5834554"/>
                </a:cubicBezTo>
                <a:cubicBezTo>
                  <a:pt x="6748474" y="5851828"/>
                  <a:pt x="6748474" y="5851828"/>
                  <a:pt x="6748474" y="5851828"/>
                </a:cubicBezTo>
                <a:lnTo>
                  <a:pt x="6755559" y="5858737"/>
                </a:lnTo>
                <a:cubicBezTo>
                  <a:pt x="6762643" y="5841463"/>
                  <a:pt x="6762643" y="5841463"/>
                  <a:pt x="6762643" y="5841463"/>
                </a:cubicBezTo>
                <a:cubicBezTo>
                  <a:pt x="6787438" y="5827644"/>
                  <a:pt x="6787438" y="5827644"/>
                  <a:pt x="6787438" y="5827644"/>
                </a:cubicBezTo>
                <a:cubicBezTo>
                  <a:pt x="6787438" y="5827644"/>
                  <a:pt x="6783896" y="5824189"/>
                  <a:pt x="6780354" y="5824189"/>
                </a:cubicBezTo>
                <a:cubicBezTo>
                  <a:pt x="6762643" y="5831099"/>
                  <a:pt x="6762643" y="5831099"/>
                  <a:pt x="6762643" y="5831099"/>
                </a:cubicBezTo>
                <a:cubicBezTo>
                  <a:pt x="6759101" y="5813824"/>
                  <a:pt x="6759101" y="5813824"/>
                  <a:pt x="6759101" y="5813824"/>
                </a:cubicBezTo>
                <a:cubicBezTo>
                  <a:pt x="6755559" y="5810370"/>
                  <a:pt x="6755559" y="5810370"/>
                  <a:pt x="6752016" y="5810370"/>
                </a:cubicBezTo>
                <a:close/>
                <a:moveTo>
                  <a:pt x="6717036" y="5806340"/>
                </a:moveTo>
                <a:cubicBezTo>
                  <a:pt x="6720529" y="5806340"/>
                  <a:pt x="6724022" y="5806340"/>
                  <a:pt x="6727516" y="5809699"/>
                </a:cubicBezTo>
                <a:cubicBezTo>
                  <a:pt x="6727516" y="5809699"/>
                  <a:pt x="6731009" y="5809699"/>
                  <a:pt x="6731009" y="5813058"/>
                </a:cubicBezTo>
                <a:cubicBezTo>
                  <a:pt x="6731009" y="5816416"/>
                  <a:pt x="6727516" y="5819775"/>
                  <a:pt x="6724022" y="5819775"/>
                </a:cubicBezTo>
                <a:cubicBezTo>
                  <a:pt x="6724022" y="5819775"/>
                  <a:pt x="6724022" y="5819775"/>
                  <a:pt x="6713542" y="5816416"/>
                </a:cubicBezTo>
                <a:lnTo>
                  <a:pt x="6713542" y="5813058"/>
                </a:lnTo>
                <a:cubicBezTo>
                  <a:pt x="6713542" y="5813058"/>
                  <a:pt x="6713542" y="5813058"/>
                  <a:pt x="6717036" y="5806340"/>
                </a:cubicBezTo>
                <a:close/>
                <a:moveTo>
                  <a:pt x="6583891" y="5805835"/>
                </a:moveTo>
                <a:cubicBezTo>
                  <a:pt x="6590945" y="5802308"/>
                  <a:pt x="6597998" y="5809363"/>
                  <a:pt x="6597998" y="5816416"/>
                </a:cubicBezTo>
                <a:cubicBezTo>
                  <a:pt x="6597998" y="5823470"/>
                  <a:pt x="6590945" y="5830523"/>
                  <a:pt x="6583891" y="5830523"/>
                </a:cubicBezTo>
                <a:cubicBezTo>
                  <a:pt x="6576837" y="5830523"/>
                  <a:pt x="6569783" y="5826997"/>
                  <a:pt x="6569783" y="5819943"/>
                </a:cubicBezTo>
                <a:cubicBezTo>
                  <a:pt x="6569783" y="5819943"/>
                  <a:pt x="6569783" y="5819943"/>
                  <a:pt x="6569783" y="5816416"/>
                </a:cubicBezTo>
                <a:cubicBezTo>
                  <a:pt x="6569783" y="5809363"/>
                  <a:pt x="6576837" y="5805835"/>
                  <a:pt x="6583891" y="5805835"/>
                </a:cubicBezTo>
                <a:close/>
                <a:moveTo>
                  <a:pt x="6671893" y="5799621"/>
                </a:moveTo>
                <a:cubicBezTo>
                  <a:pt x="6671893" y="5799621"/>
                  <a:pt x="6671893" y="5799621"/>
                  <a:pt x="6675251" y="5810101"/>
                </a:cubicBezTo>
                <a:cubicBezTo>
                  <a:pt x="6675251" y="5810101"/>
                  <a:pt x="6675251" y="5810101"/>
                  <a:pt x="6678610" y="5817088"/>
                </a:cubicBezTo>
                <a:cubicBezTo>
                  <a:pt x="6675251" y="5817088"/>
                  <a:pt x="6668534" y="5817088"/>
                  <a:pt x="6665174" y="5817088"/>
                </a:cubicBezTo>
                <a:lnTo>
                  <a:pt x="6668534" y="5810101"/>
                </a:lnTo>
                <a:cubicBezTo>
                  <a:pt x="6668534" y="5810101"/>
                  <a:pt x="6668534" y="5810101"/>
                  <a:pt x="6671893" y="5799621"/>
                </a:cubicBezTo>
                <a:close/>
                <a:moveTo>
                  <a:pt x="6580420" y="5799105"/>
                </a:moveTo>
                <a:cubicBezTo>
                  <a:pt x="6570007" y="5799105"/>
                  <a:pt x="6563065" y="5806133"/>
                  <a:pt x="6563065" y="5816675"/>
                </a:cubicBezTo>
                <a:cubicBezTo>
                  <a:pt x="6563065" y="5820188"/>
                  <a:pt x="6563065" y="5820188"/>
                  <a:pt x="6563065" y="5820188"/>
                </a:cubicBezTo>
                <a:cubicBezTo>
                  <a:pt x="6563065" y="5830730"/>
                  <a:pt x="6573477" y="5841272"/>
                  <a:pt x="6583891" y="5837758"/>
                </a:cubicBezTo>
                <a:cubicBezTo>
                  <a:pt x="6597774" y="5837758"/>
                  <a:pt x="6604715" y="5830730"/>
                  <a:pt x="6604715" y="5816675"/>
                </a:cubicBezTo>
                <a:cubicBezTo>
                  <a:pt x="6604715" y="5806133"/>
                  <a:pt x="6594303" y="5795591"/>
                  <a:pt x="6580420" y="5799105"/>
                </a:cubicBezTo>
                <a:close/>
                <a:moveTo>
                  <a:pt x="6710733" y="5795591"/>
                </a:moveTo>
                <a:cubicBezTo>
                  <a:pt x="6710733" y="5795591"/>
                  <a:pt x="6710733" y="5795591"/>
                  <a:pt x="6707191" y="5813345"/>
                </a:cubicBezTo>
                <a:cubicBezTo>
                  <a:pt x="6707191" y="5813345"/>
                  <a:pt x="6707191" y="5813345"/>
                  <a:pt x="6700107" y="5834650"/>
                </a:cubicBezTo>
                <a:cubicBezTo>
                  <a:pt x="6703649" y="5838201"/>
                  <a:pt x="6707191" y="5838201"/>
                  <a:pt x="6710733" y="5838201"/>
                </a:cubicBezTo>
                <a:lnTo>
                  <a:pt x="6714275" y="5823998"/>
                </a:lnTo>
                <a:cubicBezTo>
                  <a:pt x="6714275" y="5823998"/>
                  <a:pt x="6714275" y="5823998"/>
                  <a:pt x="6721360" y="5823998"/>
                </a:cubicBezTo>
                <a:cubicBezTo>
                  <a:pt x="6721360" y="5823998"/>
                  <a:pt x="6721360" y="5823998"/>
                  <a:pt x="6724902" y="5841752"/>
                </a:cubicBezTo>
                <a:cubicBezTo>
                  <a:pt x="6728443" y="5845303"/>
                  <a:pt x="6728443" y="5845303"/>
                  <a:pt x="6731986" y="5845303"/>
                </a:cubicBezTo>
                <a:cubicBezTo>
                  <a:pt x="6731986" y="5845303"/>
                  <a:pt x="6731986" y="5845303"/>
                  <a:pt x="6728443" y="5827549"/>
                </a:cubicBezTo>
                <a:cubicBezTo>
                  <a:pt x="6735528" y="5823998"/>
                  <a:pt x="6739070" y="5816896"/>
                  <a:pt x="6739070" y="5813345"/>
                </a:cubicBezTo>
                <a:cubicBezTo>
                  <a:pt x="6739070" y="5806244"/>
                  <a:pt x="6735528" y="5802693"/>
                  <a:pt x="6731986" y="5802693"/>
                </a:cubicBezTo>
                <a:cubicBezTo>
                  <a:pt x="6724902" y="5799142"/>
                  <a:pt x="6717817" y="5795591"/>
                  <a:pt x="6710733" y="5795591"/>
                </a:cubicBezTo>
                <a:close/>
                <a:moveTo>
                  <a:pt x="6668106" y="5788873"/>
                </a:moveTo>
                <a:cubicBezTo>
                  <a:pt x="6668106" y="5788873"/>
                  <a:pt x="6668106" y="5788873"/>
                  <a:pt x="6661022" y="5809957"/>
                </a:cubicBezTo>
                <a:cubicBezTo>
                  <a:pt x="6661022" y="5809957"/>
                  <a:pt x="6661022" y="5809957"/>
                  <a:pt x="6650396" y="5831040"/>
                </a:cubicBezTo>
                <a:cubicBezTo>
                  <a:pt x="6653938" y="5831040"/>
                  <a:pt x="6653938" y="5831040"/>
                  <a:pt x="6657481" y="5831040"/>
                </a:cubicBezTo>
                <a:lnTo>
                  <a:pt x="6661022" y="5824012"/>
                </a:lnTo>
                <a:cubicBezTo>
                  <a:pt x="6668106" y="5824012"/>
                  <a:pt x="6671649" y="5824012"/>
                  <a:pt x="6678733" y="5824012"/>
                </a:cubicBezTo>
                <a:cubicBezTo>
                  <a:pt x="6678733" y="5824012"/>
                  <a:pt x="6678733" y="5824012"/>
                  <a:pt x="6682275" y="5831040"/>
                </a:cubicBezTo>
                <a:cubicBezTo>
                  <a:pt x="6685817" y="5831040"/>
                  <a:pt x="6685817" y="5834554"/>
                  <a:pt x="6689359" y="5834554"/>
                </a:cubicBezTo>
                <a:cubicBezTo>
                  <a:pt x="6689359" y="5834554"/>
                  <a:pt x="6689359" y="5834554"/>
                  <a:pt x="6682275" y="5809957"/>
                </a:cubicBezTo>
                <a:cubicBezTo>
                  <a:pt x="6682275" y="5809957"/>
                  <a:pt x="6682275" y="5809957"/>
                  <a:pt x="6678733" y="5788873"/>
                </a:cubicBezTo>
                <a:cubicBezTo>
                  <a:pt x="6678733" y="5788873"/>
                  <a:pt x="6678733" y="5788873"/>
                  <a:pt x="6668106" y="5788873"/>
                </a:cubicBezTo>
                <a:close/>
                <a:moveTo>
                  <a:pt x="6647709" y="5788873"/>
                </a:moveTo>
                <a:cubicBezTo>
                  <a:pt x="6629999" y="5788873"/>
                  <a:pt x="6622914" y="5788873"/>
                  <a:pt x="6608746" y="5792344"/>
                </a:cubicBezTo>
                <a:cubicBezTo>
                  <a:pt x="6608746" y="5799285"/>
                  <a:pt x="6608746" y="5799285"/>
                  <a:pt x="6608746" y="5799285"/>
                </a:cubicBezTo>
                <a:lnTo>
                  <a:pt x="6622914" y="5795815"/>
                </a:lnTo>
                <a:cubicBezTo>
                  <a:pt x="6626456" y="5830523"/>
                  <a:pt x="6626456" y="5830523"/>
                  <a:pt x="6626456" y="5830523"/>
                </a:cubicBezTo>
                <a:cubicBezTo>
                  <a:pt x="6637082" y="5830523"/>
                  <a:pt x="6637082" y="5830523"/>
                  <a:pt x="6637082" y="5830523"/>
                </a:cubicBezTo>
                <a:cubicBezTo>
                  <a:pt x="6633540" y="5795815"/>
                  <a:pt x="6633540" y="5795815"/>
                  <a:pt x="6633540" y="5795815"/>
                </a:cubicBezTo>
                <a:cubicBezTo>
                  <a:pt x="6647709" y="5795815"/>
                  <a:pt x="6647709" y="5795815"/>
                  <a:pt x="6647709" y="5795815"/>
                </a:cubicBezTo>
                <a:cubicBezTo>
                  <a:pt x="6647709" y="5788873"/>
                  <a:pt x="6647709" y="5788873"/>
                  <a:pt x="6647709" y="5788873"/>
                </a:cubicBezTo>
                <a:close/>
                <a:moveTo>
                  <a:pt x="6198068" y="5788872"/>
                </a:moveTo>
                <a:cubicBezTo>
                  <a:pt x="6215982" y="5788872"/>
                  <a:pt x="6223148" y="5806339"/>
                  <a:pt x="6223148" y="5823804"/>
                </a:cubicBezTo>
                <a:lnTo>
                  <a:pt x="6169406" y="5823804"/>
                </a:lnTo>
                <a:cubicBezTo>
                  <a:pt x="6169406" y="5806339"/>
                  <a:pt x="6180154" y="5788872"/>
                  <a:pt x="6198068" y="5788872"/>
                </a:cubicBezTo>
                <a:close/>
                <a:moveTo>
                  <a:pt x="6650396" y="5782156"/>
                </a:moveTo>
                <a:cubicBezTo>
                  <a:pt x="6713570" y="5782156"/>
                  <a:pt x="6769725" y="5803115"/>
                  <a:pt x="6815350" y="5838047"/>
                </a:cubicBezTo>
                <a:cubicBezTo>
                  <a:pt x="6822370" y="5845034"/>
                  <a:pt x="6822370" y="5848527"/>
                  <a:pt x="6818860" y="5852020"/>
                </a:cubicBezTo>
                <a:cubicBezTo>
                  <a:pt x="6818860" y="5852020"/>
                  <a:pt x="6818860" y="5852020"/>
                  <a:pt x="6790783" y="5883460"/>
                </a:cubicBezTo>
                <a:cubicBezTo>
                  <a:pt x="6787273" y="5886952"/>
                  <a:pt x="6783764" y="5886952"/>
                  <a:pt x="6776744" y="5883460"/>
                </a:cubicBezTo>
                <a:cubicBezTo>
                  <a:pt x="6741648" y="5855514"/>
                  <a:pt x="6696021" y="5838047"/>
                  <a:pt x="6650396" y="5838047"/>
                </a:cubicBezTo>
                <a:cubicBezTo>
                  <a:pt x="6601261" y="5838047"/>
                  <a:pt x="6559145" y="5855514"/>
                  <a:pt x="6524048" y="5883460"/>
                </a:cubicBezTo>
                <a:cubicBezTo>
                  <a:pt x="6517028" y="5886952"/>
                  <a:pt x="6513519" y="5886952"/>
                  <a:pt x="6510010" y="5883460"/>
                </a:cubicBezTo>
                <a:cubicBezTo>
                  <a:pt x="6510010" y="5883460"/>
                  <a:pt x="6510010" y="5883460"/>
                  <a:pt x="6481932" y="5852020"/>
                </a:cubicBezTo>
                <a:cubicBezTo>
                  <a:pt x="6478422" y="5848527"/>
                  <a:pt x="6478422" y="5845034"/>
                  <a:pt x="6485442" y="5838047"/>
                </a:cubicBezTo>
                <a:cubicBezTo>
                  <a:pt x="6531067" y="5803115"/>
                  <a:pt x="6587222" y="5782156"/>
                  <a:pt x="6650396" y="5782156"/>
                </a:cubicBezTo>
                <a:close/>
                <a:moveTo>
                  <a:pt x="6198292" y="5782155"/>
                </a:moveTo>
                <a:cubicBezTo>
                  <a:pt x="6173924" y="5782155"/>
                  <a:pt x="6160001" y="5799669"/>
                  <a:pt x="6160001" y="5831195"/>
                </a:cubicBezTo>
                <a:cubicBezTo>
                  <a:pt x="6160001" y="5859217"/>
                  <a:pt x="6170443" y="5880234"/>
                  <a:pt x="6201773" y="5880234"/>
                </a:cubicBezTo>
                <a:cubicBezTo>
                  <a:pt x="6208735" y="5880234"/>
                  <a:pt x="6222659" y="5876731"/>
                  <a:pt x="6229621" y="5873228"/>
                </a:cubicBezTo>
                <a:lnTo>
                  <a:pt x="6229621" y="5862720"/>
                </a:lnTo>
                <a:cubicBezTo>
                  <a:pt x="6222659" y="5866223"/>
                  <a:pt x="6212216" y="5869725"/>
                  <a:pt x="6201773" y="5869725"/>
                </a:cubicBezTo>
                <a:cubicBezTo>
                  <a:pt x="6180887" y="5869725"/>
                  <a:pt x="6170443" y="5852211"/>
                  <a:pt x="6170443" y="5834698"/>
                </a:cubicBezTo>
                <a:cubicBezTo>
                  <a:pt x="6170443" y="5834698"/>
                  <a:pt x="6170443" y="5834698"/>
                  <a:pt x="6236583" y="5834698"/>
                </a:cubicBezTo>
                <a:cubicBezTo>
                  <a:pt x="6236583" y="5834698"/>
                  <a:pt x="6236583" y="5834698"/>
                  <a:pt x="6236583" y="5827692"/>
                </a:cubicBezTo>
                <a:cubicBezTo>
                  <a:pt x="6236583" y="5803172"/>
                  <a:pt x="6226140" y="5782155"/>
                  <a:pt x="6198292" y="5782155"/>
                </a:cubicBezTo>
                <a:close/>
                <a:moveTo>
                  <a:pt x="5949064" y="5745879"/>
                </a:moveTo>
                <a:lnTo>
                  <a:pt x="5949064" y="5756627"/>
                </a:lnTo>
                <a:lnTo>
                  <a:pt x="5988028" y="5756627"/>
                </a:lnTo>
                <a:lnTo>
                  <a:pt x="5988028" y="5876203"/>
                </a:lnTo>
                <a:lnTo>
                  <a:pt x="6001464" y="5876203"/>
                </a:lnTo>
                <a:lnTo>
                  <a:pt x="6001464" y="5756627"/>
                </a:lnTo>
                <a:lnTo>
                  <a:pt x="6040426" y="5756627"/>
                </a:lnTo>
                <a:lnTo>
                  <a:pt x="6040426" y="5745879"/>
                </a:lnTo>
                <a:close/>
                <a:moveTo>
                  <a:pt x="6061922" y="5735130"/>
                </a:moveTo>
                <a:lnTo>
                  <a:pt x="6061922" y="5876203"/>
                </a:lnTo>
                <a:cubicBezTo>
                  <a:pt x="6061922" y="5876203"/>
                  <a:pt x="6061922" y="5876203"/>
                  <a:pt x="6072287" y="5876203"/>
                </a:cubicBezTo>
                <a:cubicBezTo>
                  <a:pt x="6072287" y="5876203"/>
                  <a:pt x="6072287" y="5876203"/>
                  <a:pt x="6072287" y="5826827"/>
                </a:cubicBezTo>
                <a:cubicBezTo>
                  <a:pt x="6072287" y="5809193"/>
                  <a:pt x="6079197" y="5788033"/>
                  <a:pt x="6099926" y="5788033"/>
                </a:cubicBezTo>
                <a:cubicBezTo>
                  <a:pt x="6120655" y="5788033"/>
                  <a:pt x="6120655" y="5802140"/>
                  <a:pt x="6120655" y="5819774"/>
                </a:cubicBezTo>
                <a:cubicBezTo>
                  <a:pt x="6120655" y="5819774"/>
                  <a:pt x="6120655" y="5819774"/>
                  <a:pt x="6120655" y="5876203"/>
                </a:cubicBezTo>
                <a:cubicBezTo>
                  <a:pt x="6120655" y="5876203"/>
                  <a:pt x="6120655" y="5876203"/>
                  <a:pt x="6134474" y="5876203"/>
                </a:cubicBezTo>
                <a:cubicBezTo>
                  <a:pt x="6134474" y="5876203"/>
                  <a:pt x="6134474" y="5876203"/>
                  <a:pt x="6134474" y="5819774"/>
                </a:cubicBezTo>
                <a:cubicBezTo>
                  <a:pt x="6134474" y="5795086"/>
                  <a:pt x="6127564" y="5780979"/>
                  <a:pt x="6103380" y="5780979"/>
                </a:cubicBezTo>
                <a:cubicBezTo>
                  <a:pt x="6089561" y="5780979"/>
                  <a:pt x="6079197" y="5788033"/>
                  <a:pt x="6072287" y="5798613"/>
                </a:cubicBezTo>
                <a:cubicBezTo>
                  <a:pt x="6072287" y="5798613"/>
                  <a:pt x="6072287" y="5798613"/>
                  <a:pt x="6072287" y="5735130"/>
                </a:cubicBezTo>
                <a:cubicBezTo>
                  <a:pt x="6072287" y="5735130"/>
                  <a:pt x="6072287" y="5735130"/>
                  <a:pt x="6061922" y="5735130"/>
                </a:cubicBezTo>
                <a:close/>
                <a:moveTo>
                  <a:pt x="6640551" y="5710947"/>
                </a:moveTo>
                <a:cubicBezTo>
                  <a:pt x="6630033" y="5728568"/>
                  <a:pt x="6626527" y="5746189"/>
                  <a:pt x="6626527" y="5763810"/>
                </a:cubicBezTo>
                <a:cubicBezTo>
                  <a:pt x="6623021" y="5763810"/>
                  <a:pt x="6605492" y="5767334"/>
                  <a:pt x="6601987" y="5767334"/>
                </a:cubicBezTo>
                <a:cubicBezTo>
                  <a:pt x="6598480" y="5749713"/>
                  <a:pt x="6587963" y="5732092"/>
                  <a:pt x="6577446" y="5721520"/>
                </a:cubicBezTo>
                <a:cubicBezTo>
                  <a:pt x="6577446" y="5721520"/>
                  <a:pt x="6577446" y="5721520"/>
                  <a:pt x="6573940" y="5721520"/>
                </a:cubicBezTo>
                <a:cubicBezTo>
                  <a:pt x="6566929" y="5721520"/>
                  <a:pt x="6559917" y="5725044"/>
                  <a:pt x="6552905" y="5725044"/>
                </a:cubicBezTo>
                <a:cubicBezTo>
                  <a:pt x="6552905" y="5725044"/>
                  <a:pt x="6552905" y="5725044"/>
                  <a:pt x="6552905" y="5728568"/>
                </a:cubicBezTo>
                <a:cubicBezTo>
                  <a:pt x="6549399" y="5735617"/>
                  <a:pt x="6549399" y="5742665"/>
                  <a:pt x="6549399" y="5753237"/>
                </a:cubicBezTo>
                <a:cubicBezTo>
                  <a:pt x="6549399" y="5763810"/>
                  <a:pt x="6549399" y="5770858"/>
                  <a:pt x="6552905" y="5781431"/>
                </a:cubicBezTo>
                <a:cubicBezTo>
                  <a:pt x="6549399" y="5781431"/>
                  <a:pt x="6531870" y="5788479"/>
                  <a:pt x="6531870" y="5788479"/>
                </a:cubicBezTo>
                <a:cubicBezTo>
                  <a:pt x="6521353" y="5774382"/>
                  <a:pt x="6507329" y="5760286"/>
                  <a:pt x="6493306" y="5753237"/>
                </a:cubicBezTo>
                <a:cubicBezTo>
                  <a:pt x="6486295" y="5753237"/>
                  <a:pt x="6479283" y="5760286"/>
                  <a:pt x="6472271" y="5763810"/>
                </a:cubicBezTo>
                <a:cubicBezTo>
                  <a:pt x="6472271" y="5781431"/>
                  <a:pt x="6475777" y="5799052"/>
                  <a:pt x="6486295" y="5816672"/>
                </a:cubicBezTo>
                <a:cubicBezTo>
                  <a:pt x="6482789" y="5816672"/>
                  <a:pt x="6472271" y="5827245"/>
                  <a:pt x="6468766" y="5827245"/>
                </a:cubicBezTo>
                <a:cubicBezTo>
                  <a:pt x="6458248" y="5816672"/>
                  <a:pt x="6440719" y="5806100"/>
                  <a:pt x="6423190" y="5802576"/>
                </a:cubicBezTo>
                <a:cubicBezTo>
                  <a:pt x="6416178" y="5806100"/>
                  <a:pt x="6409167" y="5813148"/>
                  <a:pt x="6405661" y="5816672"/>
                </a:cubicBezTo>
                <a:cubicBezTo>
                  <a:pt x="6405661" y="5816672"/>
                  <a:pt x="6405661" y="5816672"/>
                  <a:pt x="6405661" y="5820196"/>
                </a:cubicBezTo>
                <a:cubicBezTo>
                  <a:pt x="6409167" y="5834294"/>
                  <a:pt x="6419684" y="5851914"/>
                  <a:pt x="6433707" y="5866011"/>
                </a:cubicBezTo>
                <a:cubicBezTo>
                  <a:pt x="6430202" y="5866011"/>
                  <a:pt x="6419684" y="5883632"/>
                  <a:pt x="6419684" y="5883632"/>
                </a:cubicBezTo>
                <a:cubicBezTo>
                  <a:pt x="6402155" y="5876583"/>
                  <a:pt x="6384626" y="5869535"/>
                  <a:pt x="6367097" y="5869535"/>
                </a:cubicBezTo>
                <a:cubicBezTo>
                  <a:pt x="6363592" y="5876583"/>
                  <a:pt x="6356580" y="5883632"/>
                  <a:pt x="6356580" y="5890680"/>
                </a:cubicBezTo>
                <a:cubicBezTo>
                  <a:pt x="6363592" y="5904777"/>
                  <a:pt x="6377614" y="5918873"/>
                  <a:pt x="6391638" y="5929447"/>
                </a:cubicBezTo>
                <a:cubicBezTo>
                  <a:pt x="6391638" y="5932971"/>
                  <a:pt x="6384626" y="5947067"/>
                  <a:pt x="6384626" y="5950591"/>
                </a:cubicBezTo>
                <a:cubicBezTo>
                  <a:pt x="6367097" y="5943543"/>
                  <a:pt x="6346062" y="5943543"/>
                  <a:pt x="6332039" y="5950591"/>
                </a:cubicBezTo>
                <a:cubicBezTo>
                  <a:pt x="6328533" y="5957640"/>
                  <a:pt x="6325027" y="5964688"/>
                  <a:pt x="6325027" y="5971736"/>
                </a:cubicBezTo>
                <a:cubicBezTo>
                  <a:pt x="6335544" y="5985833"/>
                  <a:pt x="6353073" y="5992881"/>
                  <a:pt x="6370602" y="5999930"/>
                </a:cubicBezTo>
                <a:cubicBezTo>
                  <a:pt x="6370602" y="6003454"/>
                  <a:pt x="6367097" y="6017550"/>
                  <a:pt x="6367097" y="6021074"/>
                </a:cubicBezTo>
                <a:cubicBezTo>
                  <a:pt x="6349568" y="6021074"/>
                  <a:pt x="6332039" y="6028123"/>
                  <a:pt x="6318016" y="6035172"/>
                </a:cubicBezTo>
                <a:cubicBezTo>
                  <a:pt x="6318016" y="6035172"/>
                  <a:pt x="6318016" y="6035172"/>
                  <a:pt x="6314510" y="6035172"/>
                </a:cubicBezTo>
                <a:cubicBezTo>
                  <a:pt x="6314510" y="6038696"/>
                  <a:pt x="6314510" y="6042220"/>
                  <a:pt x="6314510" y="6049268"/>
                </a:cubicBezTo>
                <a:cubicBezTo>
                  <a:pt x="6314510" y="6052792"/>
                  <a:pt x="6314510" y="6056316"/>
                  <a:pt x="6314510" y="6059841"/>
                </a:cubicBezTo>
                <a:cubicBezTo>
                  <a:pt x="6314510" y="6059841"/>
                  <a:pt x="6314510" y="6059841"/>
                  <a:pt x="6318016" y="6059841"/>
                </a:cubicBezTo>
                <a:cubicBezTo>
                  <a:pt x="6332039" y="6070414"/>
                  <a:pt x="6349568" y="6073938"/>
                  <a:pt x="6367097" y="6073938"/>
                </a:cubicBezTo>
                <a:cubicBezTo>
                  <a:pt x="6367097" y="6077462"/>
                  <a:pt x="6370602" y="6095083"/>
                  <a:pt x="6370602" y="6095083"/>
                </a:cubicBezTo>
                <a:cubicBezTo>
                  <a:pt x="6353073" y="6102131"/>
                  <a:pt x="6335544" y="6112703"/>
                  <a:pt x="6325027" y="6123276"/>
                </a:cubicBezTo>
                <a:cubicBezTo>
                  <a:pt x="6325027" y="6123276"/>
                  <a:pt x="6325027" y="6123276"/>
                  <a:pt x="6325027" y="6126800"/>
                </a:cubicBezTo>
                <a:cubicBezTo>
                  <a:pt x="6325027" y="6130325"/>
                  <a:pt x="6328533" y="6140897"/>
                  <a:pt x="6332039" y="6147945"/>
                </a:cubicBezTo>
                <a:cubicBezTo>
                  <a:pt x="6349568" y="6151469"/>
                  <a:pt x="6367097" y="6151469"/>
                  <a:pt x="6384626" y="6147945"/>
                </a:cubicBezTo>
                <a:cubicBezTo>
                  <a:pt x="6384626" y="6147945"/>
                  <a:pt x="6391638" y="6165566"/>
                  <a:pt x="6395143" y="6169091"/>
                </a:cubicBezTo>
                <a:cubicBezTo>
                  <a:pt x="6377614" y="6176139"/>
                  <a:pt x="6363592" y="6190235"/>
                  <a:pt x="6356580" y="6204332"/>
                </a:cubicBezTo>
                <a:cubicBezTo>
                  <a:pt x="6356580" y="6204332"/>
                  <a:pt x="6356580" y="6204332"/>
                  <a:pt x="6356580" y="6207856"/>
                </a:cubicBezTo>
                <a:cubicBezTo>
                  <a:pt x="6360085" y="6211380"/>
                  <a:pt x="6363592" y="6221953"/>
                  <a:pt x="6367097" y="6225477"/>
                </a:cubicBezTo>
                <a:cubicBezTo>
                  <a:pt x="6384626" y="6225477"/>
                  <a:pt x="6402155" y="6221953"/>
                  <a:pt x="6419684" y="6211380"/>
                </a:cubicBezTo>
                <a:cubicBezTo>
                  <a:pt x="6419684" y="6214905"/>
                  <a:pt x="6430202" y="6229001"/>
                  <a:pt x="6433707" y="6232526"/>
                </a:cubicBezTo>
                <a:cubicBezTo>
                  <a:pt x="6419684" y="6243098"/>
                  <a:pt x="6412673" y="6260718"/>
                  <a:pt x="6405661" y="6278340"/>
                </a:cubicBezTo>
                <a:cubicBezTo>
                  <a:pt x="6412673" y="6281864"/>
                  <a:pt x="6416178" y="6288912"/>
                  <a:pt x="6423190" y="6292436"/>
                </a:cubicBezTo>
                <a:cubicBezTo>
                  <a:pt x="6440719" y="6288912"/>
                  <a:pt x="6458248" y="6281864"/>
                  <a:pt x="6468766" y="6267768"/>
                </a:cubicBezTo>
                <a:cubicBezTo>
                  <a:pt x="6472271" y="6267768"/>
                  <a:pt x="6486295" y="6281864"/>
                  <a:pt x="6486295" y="6281864"/>
                </a:cubicBezTo>
                <a:cubicBezTo>
                  <a:pt x="6479283" y="6295960"/>
                  <a:pt x="6475777" y="6317106"/>
                  <a:pt x="6475777" y="6331202"/>
                </a:cubicBezTo>
                <a:cubicBezTo>
                  <a:pt x="6475777" y="6331202"/>
                  <a:pt x="6475777" y="6334727"/>
                  <a:pt x="6475777" y="6334727"/>
                </a:cubicBezTo>
                <a:cubicBezTo>
                  <a:pt x="6479283" y="6338251"/>
                  <a:pt x="6486295" y="6341775"/>
                  <a:pt x="6493306" y="6345299"/>
                </a:cubicBezTo>
                <a:cubicBezTo>
                  <a:pt x="6493306" y="6345299"/>
                  <a:pt x="6493306" y="6345299"/>
                  <a:pt x="6496812" y="6345299"/>
                </a:cubicBezTo>
                <a:cubicBezTo>
                  <a:pt x="6510836" y="6338251"/>
                  <a:pt x="6524858" y="6324154"/>
                  <a:pt x="6531870" y="6306533"/>
                </a:cubicBezTo>
                <a:cubicBezTo>
                  <a:pt x="6535376" y="6310057"/>
                  <a:pt x="6549399" y="6313582"/>
                  <a:pt x="6552905" y="6317106"/>
                </a:cubicBezTo>
                <a:cubicBezTo>
                  <a:pt x="6549399" y="6324154"/>
                  <a:pt x="6549399" y="6334727"/>
                  <a:pt x="6549399" y="6341775"/>
                </a:cubicBezTo>
                <a:cubicBezTo>
                  <a:pt x="6549399" y="6352347"/>
                  <a:pt x="6549399" y="6359396"/>
                  <a:pt x="6552905" y="6369969"/>
                </a:cubicBezTo>
                <a:cubicBezTo>
                  <a:pt x="6559917" y="6373493"/>
                  <a:pt x="6566929" y="6373493"/>
                  <a:pt x="6573940" y="6377017"/>
                </a:cubicBezTo>
                <a:cubicBezTo>
                  <a:pt x="6573940" y="6377017"/>
                  <a:pt x="6573940" y="6377017"/>
                  <a:pt x="6577446" y="6377017"/>
                </a:cubicBezTo>
                <a:cubicBezTo>
                  <a:pt x="6587963" y="6362920"/>
                  <a:pt x="6598480" y="6345299"/>
                  <a:pt x="6601987" y="6331202"/>
                </a:cubicBezTo>
                <a:cubicBezTo>
                  <a:pt x="6605492" y="6331202"/>
                  <a:pt x="6623021" y="6331202"/>
                  <a:pt x="6626527" y="6331202"/>
                </a:cubicBezTo>
                <a:cubicBezTo>
                  <a:pt x="6626527" y="6352347"/>
                  <a:pt x="6630033" y="6369969"/>
                  <a:pt x="6640551" y="6384065"/>
                </a:cubicBezTo>
                <a:cubicBezTo>
                  <a:pt x="6647562" y="6384065"/>
                  <a:pt x="6658080" y="6384065"/>
                  <a:pt x="6661585" y="6384065"/>
                </a:cubicBezTo>
                <a:cubicBezTo>
                  <a:pt x="6661585" y="6384065"/>
                  <a:pt x="6661585" y="6384065"/>
                  <a:pt x="6665092" y="6384065"/>
                </a:cubicBezTo>
                <a:cubicBezTo>
                  <a:pt x="6672103" y="6369969"/>
                  <a:pt x="6679114" y="6352347"/>
                  <a:pt x="6679114" y="6331202"/>
                </a:cubicBezTo>
                <a:cubicBezTo>
                  <a:pt x="6679114" y="6331202"/>
                  <a:pt x="6696643" y="6331202"/>
                  <a:pt x="6700150" y="6331202"/>
                </a:cubicBezTo>
                <a:cubicBezTo>
                  <a:pt x="6703655" y="6345299"/>
                  <a:pt x="6714173" y="6362920"/>
                  <a:pt x="6724690" y="6377017"/>
                </a:cubicBezTo>
                <a:cubicBezTo>
                  <a:pt x="6724690" y="6377017"/>
                  <a:pt x="6724690" y="6377017"/>
                  <a:pt x="6728196" y="6377017"/>
                </a:cubicBezTo>
                <a:cubicBezTo>
                  <a:pt x="6735207" y="6373493"/>
                  <a:pt x="6742219" y="6373493"/>
                  <a:pt x="6749231" y="6369969"/>
                </a:cubicBezTo>
                <a:cubicBezTo>
                  <a:pt x="6752736" y="6359396"/>
                  <a:pt x="6752736" y="6352347"/>
                  <a:pt x="6752736" y="6341775"/>
                </a:cubicBezTo>
                <a:cubicBezTo>
                  <a:pt x="6752736" y="6334727"/>
                  <a:pt x="6752736" y="6324154"/>
                  <a:pt x="6749231" y="6317106"/>
                </a:cubicBezTo>
                <a:cubicBezTo>
                  <a:pt x="6752736" y="6313582"/>
                  <a:pt x="6766760" y="6306533"/>
                  <a:pt x="6770266" y="6306533"/>
                </a:cubicBezTo>
                <a:cubicBezTo>
                  <a:pt x="6780783" y="6324154"/>
                  <a:pt x="6791301" y="6334727"/>
                  <a:pt x="6808830" y="6345299"/>
                </a:cubicBezTo>
                <a:cubicBezTo>
                  <a:pt x="6815841" y="6341775"/>
                  <a:pt x="6822853" y="6338251"/>
                  <a:pt x="6826358" y="6334727"/>
                </a:cubicBezTo>
                <a:cubicBezTo>
                  <a:pt x="6826358" y="6334727"/>
                  <a:pt x="6826358" y="6334727"/>
                  <a:pt x="6829865" y="6334727"/>
                </a:cubicBezTo>
                <a:cubicBezTo>
                  <a:pt x="6829865" y="6334727"/>
                  <a:pt x="6829865" y="6331202"/>
                  <a:pt x="6829865" y="6331202"/>
                </a:cubicBezTo>
                <a:cubicBezTo>
                  <a:pt x="6829865" y="6313582"/>
                  <a:pt x="6822853" y="6295960"/>
                  <a:pt x="6815841" y="6281864"/>
                </a:cubicBezTo>
                <a:cubicBezTo>
                  <a:pt x="6815841" y="6278340"/>
                  <a:pt x="6829865" y="6267768"/>
                  <a:pt x="6833370" y="6267768"/>
                </a:cubicBezTo>
                <a:cubicBezTo>
                  <a:pt x="6843888" y="6278340"/>
                  <a:pt x="6861417" y="6288912"/>
                  <a:pt x="6878946" y="6292436"/>
                </a:cubicBezTo>
                <a:cubicBezTo>
                  <a:pt x="6885958" y="6288912"/>
                  <a:pt x="6892970" y="6281864"/>
                  <a:pt x="6896475" y="6278340"/>
                </a:cubicBezTo>
                <a:cubicBezTo>
                  <a:pt x="6896475" y="6278340"/>
                  <a:pt x="6896475" y="6278340"/>
                  <a:pt x="6896475" y="6274816"/>
                </a:cubicBezTo>
                <a:cubicBezTo>
                  <a:pt x="6892970" y="6260718"/>
                  <a:pt x="6882452" y="6243098"/>
                  <a:pt x="6868429" y="6229001"/>
                </a:cubicBezTo>
                <a:cubicBezTo>
                  <a:pt x="6871934" y="6229001"/>
                  <a:pt x="6882452" y="6214905"/>
                  <a:pt x="6882452" y="6211380"/>
                </a:cubicBezTo>
                <a:cubicBezTo>
                  <a:pt x="6899981" y="6221953"/>
                  <a:pt x="6917510" y="6225477"/>
                  <a:pt x="6935039" y="6225477"/>
                </a:cubicBezTo>
                <a:cubicBezTo>
                  <a:pt x="6938545" y="6218429"/>
                  <a:pt x="6942051" y="6211380"/>
                  <a:pt x="6945557" y="6207856"/>
                </a:cubicBezTo>
                <a:cubicBezTo>
                  <a:pt x="6945557" y="6207856"/>
                  <a:pt x="6945557" y="6207856"/>
                  <a:pt x="6945557" y="6204332"/>
                </a:cubicBezTo>
                <a:cubicBezTo>
                  <a:pt x="6938545" y="6190235"/>
                  <a:pt x="6924521" y="6176139"/>
                  <a:pt x="6910499" y="6165566"/>
                </a:cubicBezTo>
                <a:cubicBezTo>
                  <a:pt x="6910499" y="6165566"/>
                  <a:pt x="6917510" y="6147945"/>
                  <a:pt x="6917510" y="6147945"/>
                </a:cubicBezTo>
                <a:cubicBezTo>
                  <a:pt x="6935039" y="6151469"/>
                  <a:pt x="6952568" y="6151469"/>
                  <a:pt x="6970097" y="6147945"/>
                </a:cubicBezTo>
                <a:cubicBezTo>
                  <a:pt x="6970097" y="6147945"/>
                  <a:pt x="6970097" y="6147945"/>
                  <a:pt x="6970097" y="6144421"/>
                </a:cubicBezTo>
                <a:cubicBezTo>
                  <a:pt x="6973603" y="6140897"/>
                  <a:pt x="6977109" y="6130325"/>
                  <a:pt x="6977109" y="6123276"/>
                </a:cubicBezTo>
                <a:cubicBezTo>
                  <a:pt x="6963086" y="6109179"/>
                  <a:pt x="6949062" y="6102131"/>
                  <a:pt x="6931533" y="6095083"/>
                </a:cubicBezTo>
                <a:cubicBezTo>
                  <a:pt x="6931533" y="6095083"/>
                  <a:pt x="6931533" y="6077462"/>
                  <a:pt x="6935039" y="6073938"/>
                </a:cubicBezTo>
                <a:cubicBezTo>
                  <a:pt x="6952568" y="6073938"/>
                  <a:pt x="6970097" y="6070414"/>
                  <a:pt x="6984121" y="6059841"/>
                </a:cubicBezTo>
                <a:cubicBezTo>
                  <a:pt x="6987626" y="6056316"/>
                  <a:pt x="6987626" y="6052792"/>
                  <a:pt x="6987626" y="6049268"/>
                </a:cubicBezTo>
                <a:cubicBezTo>
                  <a:pt x="6987626" y="6045744"/>
                  <a:pt x="6987626" y="6042220"/>
                  <a:pt x="6984121" y="6038696"/>
                </a:cubicBezTo>
                <a:cubicBezTo>
                  <a:pt x="6984121" y="6038696"/>
                  <a:pt x="6984121" y="6038696"/>
                  <a:pt x="6984121" y="6035172"/>
                </a:cubicBezTo>
                <a:cubicBezTo>
                  <a:pt x="6970097" y="6028123"/>
                  <a:pt x="6952568" y="6021074"/>
                  <a:pt x="6935039" y="6021074"/>
                </a:cubicBezTo>
                <a:cubicBezTo>
                  <a:pt x="6935039" y="6021074"/>
                  <a:pt x="6931533" y="6003454"/>
                  <a:pt x="6931533" y="5999930"/>
                </a:cubicBezTo>
                <a:cubicBezTo>
                  <a:pt x="6949062" y="5996406"/>
                  <a:pt x="6966592" y="5985833"/>
                  <a:pt x="6977109" y="5975261"/>
                </a:cubicBezTo>
                <a:cubicBezTo>
                  <a:pt x="6977109" y="5975261"/>
                  <a:pt x="6977109" y="5975261"/>
                  <a:pt x="6977109" y="5971736"/>
                </a:cubicBezTo>
                <a:cubicBezTo>
                  <a:pt x="6977109" y="5964688"/>
                  <a:pt x="6973603" y="5957640"/>
                  <a:pt x="6970097" y="5950591"/>
                </a:cubicBezTo>
                <a:cubicBezTo>
                  <a:pt x="6952568" y="5947067"/>
                  <a:pt x="6935039" y="5947067"/>
                  <a:pt x="6917510" y="5950591"/>
                </a:cubicBezTo>
                <a:cubicBezTo>
                  <a:pt x="6917510" y="5947067"/>
                  <a:pt x="6910499" y="5932971"/>
                  <a:pt x="6910499" y="5929447"/>
                </a:cubicBezTo>
                <a:cubicBezTo>
                  <a:pt x="6924521" y="5918873"/>
                  <a:pt x="6938545" y="5908301"/>
                  <a:pt x="6945557" y="5890680"/>
                </a:cubicBezTo>
                <a:cubicBezTo>
                  <a:pt x="6945557" y="5883632"/>
                  <a:pt x="6938545" y="5876583"/>
                  <a:pt x="6935039" y="5873059"/>
                </a:cubicBezTo>
                <a:cubicBezTo>
                  <a:pt x="6935039" y="5873059"/>
                  <a:pt x="6935039" y="5873059"/>
                  <a:pt x="6935039" y="5869535"/>
                </a:cubicBezTo>
                <a:cubicBezTo>
                  <a:pt x="6917510" y="5869535"/>
                  <a:pt x="6899981" y="5876583"/>
                  <a:pt x="6882452" y="5883632"/>
                </a:cubicBezTo>
                <a:cubicBezTo>
                  <a:pt x="6882452" y="5883632"/>
                  <a:pt x="6871934" y="5869535"/>
                  <a:pt x="6868429" y="5866011"/>
                </a:cubicBezTo>
                <a:cubicBezTo>
                  <a:pt x="6882452" y="5851914"/>
                  <a:pt x="6892970" y="5837818"/>
                  <a:pt x="6896475" y="5820196"/>
                </a:cubicBezTo>
                <a:cubicBezTo>
                  <a:pt x="6892970" y="5813148"/>
                  <a:pt x="6885958" y="5806100"/>
                  <a:pt x="6878946" y="5802576"/>
                </a:cubicBezTo>
                <a:cubicBezTo>
                  <a:pt x="6861417" y="5806100"/>
                  <a:pt x="6847394" y="5816672"/>
                  <a:pt x="6833370" y="5830770"/>
                </a:cubicBezTo>
                <a:cubicBezTo>
                  <a:pt x="6829865" y="5827245"/>
                  <a:pt x="6815841" y="5816672"/>
                  <a:pt x="6815841" y="5816672"/>
                </a:cubicBezTo>
                <a:cubicBezTo>
                  <a:pt x="6822853" y="5799052"/>
                  <a:pt x="6829865" y="5781431"/>
                  <a:pt x="6829865" y="5763810"/>
                </a:cubicBezTo>
                <a:cubicBezTo>
                  <a:pt x="6822853" y="5760286"/>
                  <a:pt x="6815841" y="5753237"/>
                  <a:pt x="6808830" y="5753237"/>
                </a:cubicBezTo>
                <a:cubicBezTo>
                  <a:pt x="6794806" y="5760286"/>
                  <a:pt x="6780783" y="5774382"/>
                  <a:pt x="6770266" y="5788479"/>
                </a:cubicBezTo>
                <a:cubicBezTo>
                  <a:pt x="6766760" y="5788479"/>
                  <a:pt x="6752736" y="5781431"/>
                  <a:pt x="6749231" y="5781431"/>
                </a:cubicBezTo>
                <a:cubicBezTo>
                  <a:pt x="6752736" y="5770858"/>
                  <a:pt x="6752736" y="5763810"/>
                  <a:pt x="6752736" y="5753237"/>
                </a:cubicBezTo>
                <a:cubicBezTo>
                  <a:pt x="6752736" y="5742665"/>
                  <a:pt x="6752736" y="5735617"/>
                  <a:pt x="6749231" y="5728568"/>
                </a:cubicBezTo>
                <a:cubicBezTo>
                  <a:pt x="6749231" y="5728568"/>
                  <a:pt x="6749231" y="5728568"/>
                  <a:pt x="6749231" y="5725044"/>
                </a:cubicBezTo>
                <a:cubicBezTo>
                  <a:pt x="6742219" y="5725044"/>
                  <a:pt x="6735207" y="5721520"/>
                  <a:pt x="6728196" y="5721520"/>
                </a:cubicBezTo>
                <a:cubicBezTo>
                  <a:pt x="6728196" y="5721520"/>
                  <a:pt x="6728196" y="5721520"/>
                  <a:pt x="6724690" y="5721520"/>
                </a:cubicBezTo>
                <a:cubicBezTo>
                  <a:pt x="6714173" y="5732092"/>
                  <a:pt x="6703655" y="5749713"/>
                  <a:pt x="6700150" y="5767334"/>
                </a:cubicBezTo>
                <a:cubicBezTo>
                  <a:pt x="6696643" y="5767334"/>
                  <a:pt x="6679114" y="5763810"/>
                  <a:pt x="6675609" y="5763810"/>
                </a:cubicBezTo>
                <a:cubicBezTo>
                  <a:pt x="6675609" y="5746189"/>
                  <a:pt x="6672103" y="5728568"/>
                  <a:pt x="6661585" y="5710947"/>
                </a:cubicBezTo>
                <a:cubicBezTo>
                  <a:pt x="6654574" y="5710947"/>
                  <a:pt x="6647562" y="5710947"/>
                  <a:pt x="6640551" y="5710947"/>
                </a:cubicBezTo>
                <a:close/>
                <a:moveTo>
                  <a:pt x="0" y="0"/>
                </a:moveTo>
                <a:lnTo>
                  <a:pt x="12192000" y="0"/>
                </a:lnTo>
                <a:lnTo>
                  <a:pt x="12192000" y="6858000"/>
                </a:lnTo>
                <a:lnTo>
                  <a:pt x="0" y="6858000"/>
                </a:lnTo>
                <a:close/>
              </a:path>
            </a:pathLst>
          </a:custGeom>
          <a:solidFill>
            <a:srgbClr val="48595D">
              <a:alpha val="70000"/>
            </a:srgbClr>
          </a:solidFill>
        </p:spPr>
        <p:txBody>
          <a:bodyPr wrap="square" tIns="3474720">
            <a:noAutofit/>
          </a:bodyPr>
          <a:lstStyle>
            <a:lvl1pPr marL="0" indent="0" algn="ctr">
              <a:buNone/>
              <a:defRPr sz="4400" b="1" cap="all" baseline="0">
                <a:solidFill>
                  <a:schemeClr val="bg1"/>
                </a:solidFill>
                <a:latin typeface="Arial Narrow" panose="020B0606020202030204" pitchFamily="34" charset="0"/>
              </a:defRPr>
            </a:lvl1pPr>
            <a:lvl2pPr marL="0" indent="0" algn="ctr">
              <a:buNone/>
              <a:defRPr sz="1500">
                <a:solidFill>
                  <a:schemeClr val="bg1"/>
                </a:solidFill>
              </a:defRPr>
            </a:lvl2pPr>
            <a:lvl3pPr>
              <a:defRPr sz="1350"/>
            </a:lvl3pPr>
            <a:lvl4pPr>
              <a:defRPr sz="1200"/>
            </a:lvl4pPr>
            <a:lvl5pPr>
              <a:defRPr sz="12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829734" y="4174068"/>
            <a:ext cx="10532535" cy="465667"/>
          </a:xfrm>
        </p:spPr>
        <p:txBody>
          <a:bodyPr/>
          <a:lstStyle>
            <a:lvl1pPr marL="0" indent="0" algn="ctr">
              <a:buNone/>
              <a:defRPr sz="1800">
                <a:solidFill>
                  <a:srgbClr val="01B0E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427690505"/>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548FCEE-38AC-4178-A11A-C2643EE521B7}"/>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10" name="Text Placeholder 9">
            <a:extLst>
              <a:ext uri="{FF2B5EF4-FFF2-40B4-BE49-F238E27FC236}">
                <a16:creationId xmlns:a16="http://schemas.microsoft.com/office/drawing/2014/main" id="{EB123902-70AC-406B-AE88-41EE8766BD74}"/>
              </a:ext>
            </a:extLst>
          </p:cNvPr>
          <p:cNvSpPr>
            <a:spLocks noGrp="1"/>
          </p:cNvSpPr>
          <p:nvPr>
            <p:ph type="body" sz="quarter" idx="16"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rgbClr val="48595D">
              <a:alpha val="70000"/>
            </a:srgbClr>
          </a:solidFill>
        </p:spPr>
        <p:txBody>
          <a:bodyPr wrap="square" lIns="0" tIns="0" rIns="0" bIns="0" anchor="ctr" anchorCtr="0">
            <a:noAutofit/>
          </a:bodyPr>
          <a:lstStyle>
            <a:lvl1pPr marL="342900" indent="0" algn="ctr">
              <a:buNone/>
              <a:defRPr sz="4950" b="1" cap="all" baseline="0">
                <a:solidFill>
                  <a:schemeClr val="bg1"/>
                </a:solidFill>
                <a:latin typeface="Arial Narrow" panose="020B0606020202030204" pitchFamily="34" charset="0"/>
              </a:defRPr>
            </a:lvl1pPr>
            <a:lvl2pPr marL="0" indent="0" algn="ctr">
              <a:buNone/>
              <a:defRPr sz="1500">
                <a:solidFill>
                  <a:schemeClr val="bg1"/>
                </a:solidFill>
              </a:defRPr>
            </a:lvl2pPr>
            <a:lvl3pPr>
              <a:defRPr sz="1350"/>
            </a:lvl3pPr>
            <a:lvl4pPr>
              <a:defRPr sz="1200"/>
            </a:lvl4pPr>
            <a:lvl5pPr>
              <a:defRPr sz="12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829734" y="4330702"/>
            <a:ext cx="10532535" cy="465667"/>
          </a:xfrm>
        </p:spPr>
        <p:txBody>
          <a:bodyPr tIns="91440">
            <a:noAutofit/>
          </a:bodyPr>
          <a:lstStyle>
            <a:lvl1pPr marL="0" indent="0" algn="ctr">
              <a:buNone/>
              <a:defRPr sz="2475">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821503403"/>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AA1EDD-93C7-48F2-8DDA-421DB956EEC1}"/>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7" name="Text Placeholder 6">
            <a:extLst>
              <a:ext uri="{FF2B5EF4-FFF2-40B4-BE49-F238E27FC236}">
                <a16:creationId xmlns:a16="http://schemas.microsoft.com/office/drawing/2014/main" id="{4140AC3B-1D51-45C0-9372-440D01C2C3A7}"/>
              </a:ext>
            </a:extLst>
          </p:cNvPr>
          <p:cNvSpPr>
            <a:spLocks noGrp="1"/>
          </p:cNvSpPr>
          <p:nvPr>
            <p:ph type="body" sz="quarter" idx="15"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rgbClr val="48595D">
              <a:alpha val="70000"/>
            </a:srgbClr>
          </a:solidFill>
        </p:spPr>
        <p:txBody>
          <a:bodyPr wrap="square" tIns="0" bIns="1371600" anchor="b">
            <a:noAutofit/>
          </a:bodyPr>
          <a:lstStyle>
            <a:lvl1pPr marL="342900" indent="0" algn="l">
              <a:buNone/>
              <a:defRPr sz="4950" b="1" cap="all" baseline="0">
                <a:solidFill>
                  <a:schemeClr val="bg1"/>
                </a:solidFill>
                <a:latin typeface="Arial Narrow" panose="020B0606020202030204" pitchFamily="34" charset="0"/>
              </a:defRPr>
            </a:lvl1pPr>
            <a:lvl2pPr marL="0" indent="0" algn="ctr">
              <a:buNone/>
              <a:defRPr sz="1500">
                <a:solidFill>
                  <a:schemeClr val="bg1"/>
                </a:solidFill>
              </a:defRPr>
            </a:lvl2pPr>
            <a:lvl3pPr>
              <a:defRPr sz="1350"/>
            </a:lvl3pPr>
            <a:lvl4pPr>
              <a:defRPr sz="1200"/>
            </a:lvl4pPr>
            <a:lvl5pPr>
              <a:defRPr sz="1200"/>
            </a:lvl5pPr>
          </a:lstStyle>
          <a:p>
            <a:pPr lvl="0"/>
            <a:r>
              <a:rPr lang="en-US" dirty="0"/>
              <a:t>Title</a:t>
            </a:r>
          </a:p>
        </p:txBody>
      </p:sp>
    </p:spTree>
    <p:extLst>
      <p:ext uri="{BB962C8B-B14F-4D97-AF65-F5344CB8AC3E}">
        <p14:creationId xmlns:p14="http://schemas.microsoft.com/office/powerpoint/2010/main" val="410176401"/>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E5F67721-056F-4D91-9D51-C6EB2514F371}"/>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9" name="Freeform: Shape 8">
            <a:extLst>
              <a:ext uri="{FF2B5EF4-FFF2-40B4-BE49-F238E27FC236}">
                <a16:creationId xmlns:a16="http://schemas.microsoft.com/office/drawing/2014/main" id="{1F764B23-B9E5-4F2C-80F8-DAE022449872}"/>
              </a:ext>
            </a:extLst>
          </p:cNvPr>
          <p:cNvSpPr/>
          <p:nvPr userDrawn="1"/>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205740" rtlCol="0" anchor="b">
            <a:noAutofit/>
          </a:bodyPr>
          <a:lstStyle/>
          <a:p>
            <a:pPr algn="l"/>
            <a:r>
              <a:rPr lang="en-US" sz="1800" dirty="0">
                <a:solidFill>
                  <a:schemeClr val="lt1">
                    <a:alpha val="0"/>
                  </a:schemeClr>
                </a:solidFill>
                <a:latin typeface="Arial Narrow" panose="020B0606020202030204" pitchFamily="34" charset="0"/>
              </a:rPr>
              <a:t>z</a:t>
            </a:r>
          </a:p>
        </p:txBody>
      </p:sp>
      <p:sp>
        <p:nvSpPr>
          <p:cNvPr id="7" name="Text Placeholder 11">
            <a:extLst>
              <a:ext uri="{FF2B5EF4-FFF2-40B4-BE49-F238E27FC236}">
                <a16:creationId xmlns:a16="http://schemas.microsoft.com/office/drawing/2014/main" id="{1E089F70-69C6-4742-888F-F432A72B657B}"/>
              </a:ext>
            </a:extLst>
          </p:cNvPr>
          <p:cNvSpPr>
            <a:spLocks noGrp="1"/>
          </p:cNvSpPr>
          <p:nvPr>
            <p:ph type="body" sz="quarter" idx="14" hasCustomPrompt="1"/>
          </p:nvPr>
        </p:nvSpPr>
        <p:spPr>
          <a:xfrm>
            <a:off x="829734" y="3429000"/>
            <a:ext cx="10532535" cy="1135062"/>
          </a:xfrm>
        </p:spPr>
        <p:txBody>
          <a:bodyPr>
            <a:normAutofit/>
          </a:bodyPr>
          <a:lstStyle>
            <a:lvl1pPr marL="0" indent="0" algn="ctr">
              <a:buNone/>
              <a:defRPr sz="3300" b="1" cap="all" baseline="0">
                <a:solidFill>
                  <a:schemeClr val="bg1"/>
                </a:solidFill>
                <a:latin typeface="+mj-lt"/>
              </a:defRPr>
            </a:lvl1pPr>
            <a:lvl2pPr marL="0" indent="0" algn="ctr">
              <a:buNone/>
              <a:defRPr sz="1500">
                <a:solidFill>
                  <a:schemeClr val="bg1"/>
                </a:solidFill>
              </a:defRPr>
            </a:lvl2pPr>
            <a:lvl3pPr>
              <a:defRPr sz="1350"/>
            </a:lvl3pPr>
            <a:lvl4pPr>
              <a:defRPr sz="1200"/>
            </a:lvl4pPr>
            <a:lvl5pPr>
              <a:defRPr sz="1200"/>
            </a:lvl5pPr>
          </a:lstStyle>
          <a:p>
            <a:pPr lvl="0"/>
            <a:r>
              <a:rPr lang="en-US" dirty="0"/>
              <a:t>Title</a:t>
            </a:r>
          </a:p>
          <a:p>
            <a:pPr lvl="1"/>
            <a:r>
              <a:rPr lang="en-US" dirty="0"/>
              <a:t>Second level</a:t>
            </a:r>
          </a:p>
        </p:txBody>
      </p:sp>
    </p:spTree>
    <p:extLst>
      <p:ext uri="{BB962C8B-B14F-4D97-AF65-F5344CB8AC3E}">
        <p14:creationId xmlns:p14="http://schemas.microsoft.com/office/powerpoint/2010/main" val="42302010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BB0E19E-2EC7-475B-9B28-093E8638E481}"/>
              </a:ext>
            </a:extLst>
          </p:cNvPr>
          <p:cNvSpPr/>
          <p:nvPr userDrawn="1"/>
        </p:nvSpPr>
        <p:spPr>
          <a:xfrm>
            <a:off x="-12084" y="-4763"/>
            <a:ext cx="12216168" cy="1600200"/>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Arial Narrow" panose="020B0606020202030204" pitchFamily="34" charset="0"/>
            </a:endParaRPr>
          </a:p>
        </p:txBody>
      </p:sp>
      <p:sp>
        <p:nvSpPr>
          <p:cNvPr id="15" name="Picture Placeholder 14">
            <a:extLst>
              <a:ext uri="{FF2B5EF4-FFF2-40B4-BE49-F238E27FC236}">
                <a16:creationId xmlns:a16="http://schemas.microsoft.com/office/drawing/2014/main" id="{3623201C-EF3A-4012-8E2F-9E768AB41F7D}"/>
              </a:ext>
            </a:extLst>
          </p:cNvPr>
          <p:cNvSpPr>
            <a:spLocks noGrp="1"/>
          </p:cNvSpPr>
          <p:nvPr>
            <p:ph type="pic" sz="quarter" idx="13"/>
          </p:nvPr>
        </p:nvSpPr>
        <p:spPr>
          <a:xfrm>
            <a:off x="12084" y="-2929"/>
            <a:ext cx="12192000" cy="5268098"/>
          </a:xfrm>
          <a:custGeom>
            <a:avLst/>
            <a:gdLst>
              <a:gd name="connsiteX0" fmla="*/ 11946675 w 12192000"/>
              <a:gd name="connsiteY0" fmla="*/ 4274240 h 4454665"/>
              <a:gd name="connsiteX1" fmla="*/ 11952788 w 12192000"/>
              <a:gd name="connsiteY1" fmla="*/ 4274240 h 4454665"/>
              <a:gd name="connsiteX2" fmla="*/ 11958183 w 12192000"/>
              <a:gd name="connsiteY2" fmla="*/ 4274815 h 4454665"/>
              <a:gd name="connsiteX3" fmla="*/ 11960461 w 12192000"/>
              <a:gd name="connsiteY3" fmla="*/ 4276558 h 4454665"/>
              <a:gd name="connsiteX4" fmla="*/ 11961281 w 12192000"/>
              <a:gd name="connsiteY4" fmla="*/ 4279205 h 4454665"/>
              <a:gd name="connsiteX5" fmla="*/ 11959578 w 12192000"/>
              <a:gd name="connsiteY5" fmla="*/ 4282897 h 4454665"/>
              <a:gd name="connsiteX6" fmla="*/ 11953198 w 12192000"/>
              <a:gd name="connsiteY6" fmla="*/ 4284292 h 4454665"/>
              <a:gd name="connsiteX7" fmla="*/ 11946675 w 12192000"/>
              <a:gd name="connsiteY7" fmla="*/ 4284292 h 4454665"/>
              <a:gd name="connsiteX8" fmla="*/ 11941300 w 12192000"/>
              <a:gd name="connsiteY8" fmla="*/ 4269728 h 4454665"/>
              <a:gd name="connsiteX9" fmla="*/ 11941300 w 12192000"/>
              <a:gd name="connsiteY9" fmla="*/ 4303042 h 4454665"/>
              <a:gd name="connsiteX10" fmla="*/ 11946675 w 12192000"/>
              <a:gd name="connsiteY10" fmla="*/ 4303042 h 4454665"/>
              <a:gd name="connsiteX11" fmla="*/ 11946675 w 12192000"/>
              <a:gd name="connsiteY11" fmla="*/ 4288888 h 4454665"/>
              <a:gd name="connsiteX12" fmla="*/ 11949834 w 12192000"/>
              <a:gd name="connsiteY12" fmla="*/ 4288888 h 4454665"/>
              <a:gd name="connsiteX13" fmla="*/ 11954142 w 12192000"/>
              <a:gd name="connsiteY13" fmla="*/ 4290036 h 4454665"/>
              <a:gd name="connsiteX14" fmla="*/ 11959762 w 12192000"/>
              <a:gd name="connsiteY14" fmla="*/ 4297790 h 4454665"/>
              <a:gd name="connsiteX15" fmla="*/ 11962717 w 12192000"/>
              <a:gd name="connsiteY15" fmla="*/ 4303042 h 4454665"/>
              <a:gd name="connsiteX16" fmla="*/ 11969281 w 12192000"/>
              <a:gd name="connsiteY16" fmla="*/ 4303042 h 4454665"/>
              <a:gd name="connsiteX17" fmla="*/ 11965220 w 12192000"/>
              <a:gd name="connsiteY17" fmla="*/ 4296518 h 4454665"/>
              <a:gd name="connsiteX18" fmla="*/ 11960296 w 12192000"/>
              <a:gd name="connsiteY18" fmla="*/ 4289913 h 4454665"/>
              <a:gd name="connsiteX19" fmla="*/ 11957466 w 12192000"/>
              <a:gd name="connsiteY19" fmla="*/ 4288149 h 4454665"/>
              <a:gd name="connsiteX20" fmla="*/ 11964378 w 12192000"/>
              <a:gd name="connsiteY20" fmla="*/ 4285113 h 4454665"/>
              <a:gd name="connsiteX21" fmla="*/ 11966983 w 12192000"/>
              <a:gd name="connsiteY21" fmla="*/ 4278754 h 4454665"/>
              <a:gd name="connsiteX22" fmla="*/ 11965424 w 12192000"/>
              <a:gd name="connsiteY22" fmla="*/ 4273871 h 4454665"/>
              <a:gd name="connsiteX23" fmla="*/ 11961239 w 12192000"/>
              <a:gd name="connsiteY23" fmla="*/ 4270651 h 4454665"/>
              <a:gd name="connsiteX24" fmla="*/ 11952747 w 12192000"/>
              <a:gd name="connsiteY24" fmla="*/ 4269728 h 4454665"/>
              <a:gd name="connsiteX25" fmla="*/ 10902089 w 12192000"/>
              <a:gd name="connsiteY25" fmla="*/ 4267157 h 4454665"/>
              <a:gd name="connsiteX26" fmla="*/ 10905603 w 12192000"/>
              <a:gd name="connsiteY26" fmla="*/ 4267157 h 4454665"/>
              <a:gd name="connsiteX27" fmla="*/ 10905603 w 12192000"/>
              <a:gd name="connsiteY27" fmla="*/ 4270698 h 4454665"/>
              <a:gd name="connsiteX28" fmla="*/ 10877492 w 12192000"/>
              <a:gd name="connsiteY28" fmla="*/ 4306120 h 4454665"/>
              <a:gd name="connsiteX29" fmla="*/ 10859922 w 12192000"/>
              <a:gd name="connsiteY29" fmla="*/ 4288410 h 4454665"/>
              <a:gd name="connsiteX30" fmla="*/ 10902089 w 12192000"/>
              <a:gd name="connsiteY30" fmla="*/ 4267157 h 4454665"/>
              <a:gd name="connsiteX31" fmla="*/ 11954881 w 12192000"/>
              <a:gd name="connsiteY31" fmla="*/ 4260086 h 4454665"/>
              <a:gd name="connsiteX32" fmla="*/ 11967558 w 12192000"/>
              <a:gd name="connsiteY32" fmla="*/ 4263430 h 4454665"/>
              <a:gd name="connsiteX33" fmla="*/ 11977220 w 12192000"/>
              <a:gd name="connsiteY33" fmla="*/ 4272989 h 4454665"/>
              <a:gd name="connsiteX34" fmla="*/ 11980687 w 12192000"/>
              <a:gd name="connsiteY34" fmla="*/ 4285933 h 4454665"/>
              <a:gd name="connsiteX35" fmla="*/ 11977282 w 12192000"/>
              <a:gd name="connsiteY35" fmla="*/ 4298754 h 4454665"/>
              <a:gd name="connsiteX36" fmla="*/ 11967722 w 12192000"/>
              <a:gd name="connsiteY36" fmla="*/ 4308314 h 4454665"/>
              <a:gd name="connsiteX37" fmla="*/ 11954881 w 12192000"/>
              <a:gd name="connsiteY37" fmla="*/ 4311740 h 4454665"/>
              <a:gd name="connsiteX38" fmla="*/ 11942039 w 12192000"/>
              <a:gd name="connsiteY38" fmla="*/ 4308314 h 4454665"/>
              <a:gd name="connsiteX39" fmla="*/ 11932459 w 12192000"/>
              <a:gd name="connsiteY39" fmla="*/ 4298754 h 4454665"/>
              <a:gd name="connsiteX40" fmla="*/ 11929033 w 12192000"/>
              <a:gd name="connsiteY40" fmla="*/ 4285933 h 4454665"/>
              <a:gd name="connsiteX41" fmla="*/ 11932521 w 12192000"/>
              <a:gd name="connsiteY41" fmla="*/ 4272989 h 4454665"/>
              <a:gd name="connsiteX42" fmla="*/ 11942183 w 12192000"/>
              <a:gd name="connsiteY42" fmla="*/ 4263430 h 4454665"/>
              <a:gd name="connsiteX43" fmla="*/ 11954881 w 12192000"/>
              <a:gd name="connsiteY43" fmla="*/ 4260086 h 4454665"/>
              <a:gd name="connsiteX44" fmla="*/ 11954881 w 12192000"/>
              <a:gd name="connsiteY44" fmla="*/ 4254958 h 4454665"/>
              <a:gd name="connsiteX45" fmla="*/ 11939660 w 12192000"/>
              <a:gd name="connsiteY45" fmla="*/ 4258958 h 4454665"/>
              <a:gd name="connsiteX46" fmla="*/ 11928069 w 12192000"/>
              <a:gd name="connsiteY46" fmla="*/ 4270405 h 4454665"/>
              <a:gd name="connsiteX47" fmla="*/ 11923904 w 12192000"/>
              <a:gd name="connsiteY47" fmla="*/ 4285933 h 4454665"/>
              <a:gd name="connsiteX48" fmla="*/ 11928007 w 12192000"/>
              <a:gd name="connsiteY48" fmla="*/ 4301319 h 4454665"/>
              <a:gd name="connsiteX49" fmla="*/ 11939474 w 12192000"/>
              <a:gd name="connsiteY49" fmla="*/ 4312786 h 4454665"/>
              <a:gd name="connsiteX50" fmla="*/ 11954881 w 12192000"/>
              <a:gd name="connsiteY50" fmla="*/ 4316868 h 4454665"/>
              <a:gd name="connsiteX51" fmla="*/ 11970287 w 12192000"/>
              <a:gd name="connsiteY51" fmla="*/ 4312786 h 4454665"/>
              <a:gd name="connsiteX52" fmla="*/ 11981733 w 12192000"/>
              <a:gd name="connsiteY52" fmla="*/ 4301319 h 4454665"/>
              <a:gd name="connsiteX53" fmla="*/ 11985815 w 12192000"/>
              <a:gd name="connsiteY53" fmla="*/ 4285933 h 4454665"/>
              <a:gd name="connsiteX54" fmla="*/ 11981671 w 12192000"/>
              <a:gd name="connsiteY54" fmla="*/ 4270405 h 4454665"/>
              <a:gd name="connsiteX55" fmla="*/ 11970101 w 12192000"/>
              <a:gd name="connsiteY55" fmla="*/ 4258958 h 4454665"/>
              <a:gd name="connsiteX56" fmla="*/ 11954881 w 12192000"/>
              <a:gd name="connsiteY56" fmla="*/ 4254958 h 4454665"/>
              <a:gd name="connsiteX57" fmla="*/ 11091685 w 12192000"/>
              <a:gd name="connsiteY57" fmla="*/ 4225506 h 4454665"/>
              <a:gd name="connsiteX58" fmla="*/ 11123259 w 12192000"/>
              <a:gd name="connsiteY58" fmla="*/ 4265813 h 4454665"/>
              <a:gd name="connsiteX59" fmla="*/ 11091685 w 12192000"/>
              <a:gd name="connsiteY59" fmla="*/ 4306119 h 4454665"/>
              <a:gd name="connsiteX60" fmla="*/ 11060111 w 12192000"/>
              <a:gd name="connsiteY60" fmla="*/ 4265813 h 4454665"/>
              <a:gd name="connsiteX61" fmla="*/ 11091685 w 12192000"/>
              <a:gd name="connsiteY61" fmla="*/ 4225506 h 4454665"/>
              <a:gd name="connsiteX62" fmla="*/ 10781998 w 12192000"/>
              <a:gd name="connsiteY62" fmla="*/ 4225506 h 4454665"/>
              <a:gd name="connsiteX63" fmla="*/ 10810212 w 12192000"/>
              <a:gd name="connsiteY63" fmla="*/ 4265813 h 4454665"/>
              <a:gd name="connsiteX64" fmla="*/ 10781998 w 12192000"/>
              <a:gd name="connsiteY64" fmla="*/ 4306119 h 4454665"/>
              <a:gd name="connsiteX65" fmla="*/ 10753783 w 12192000"/>
              <a:gd name="connsiteY65" fmla="*/ 4265813 h 4454665"/>
              <a:gd name="connsiteX66" fmla="*/ 10781998 w 12192000"/>
              <a:gd name="connsiteY66" fmla="*/ 4225506 h 4454665"/>
              <a:gd name="connsiteX67" fmla="*/ 10469622 w 12192000"/>
              <a:gd name="connsiteY67" fmla="*/ 4225506 h 4454665"/>
              <a:gd name="connsiteX68" fmla="*/ 10501196 w 12192000"/>
              <a:gd name="connsiteY68" fmla="*/ 4265813 h 4454665"/>
              <a:gd name="connsiteX69" fmla="*/ 10469622 w 12192000"/>
              <a:gd name="connsiteY69" fmla="*/ 4306119 h 4454665"/>
              <a:gd name="connsiteX70" fmla="*/ 10438048 w 12192000"/>
              <a:gd name="connsiteY70" fmla="*/ 4265813 h 4454665"/>
              <a:gd name="connsiteX71" fmla="*/ 10469622 w 12192000"/>
              <a:gd name="connsiteY71" fmla="*/ 4225506 h 4454665"/>
              <a:gd name="connsiteX72" fmla="*/ 11014562 w 12192000"/>
              <a:gd name="connsiteY72" fmla="*/ 4220259 h 4454665"/>
              <a:gd name="connsiteX73" fmla="*/ 11014562 w 12192000"/>
              <a:gd name="connsiteY73" fmla="*/ 4316219 h 4454665"/>
              <a:gd name="connsiteX74" fmla="*/ 11026851 w 12192000"/>
              <a:gd name="connsiteY74" fmla="*/ 4316219 h 4454665"/>
              <a:gd name="connsiteX75" fmla="*/ 11026851 w 12192000"/>
              <a:gd name="connsiteY75" fmla="*/ 4220259 h 4454665"/>
              <a:gd name="connsiteX76" fmla="*/ 11158189 w 12192000"/>
              <a:gd name="connsiteY76" fmla="*/ 4218789 h 4454665"/>
              <a:gd name="connsiteX77" fmla="*/ 11158189 w 12192000"/>
              <a:gd name="connsiteY77" fmla="*/ 4243172 h 4454665"/>
              <a:gd name="connsiteX78" fmla="*/ 11158189 w 12192000"/>
              <a:gd name="connsiteY78" fmla="*/ 4312837 h 4454665"/>
              <a:gd name="connsiteX79" fmla="*/ 11172009 w 12192000"/>
              <a:gd name="connsiteY79" fmla="*/ 4312837 h 4454665"/>
              <a:gd name="connsiteX80" fmla="*/ 11172009 w 12192000"/>
              <a:gd name="connsiteY80" fmla="*/ 4260588 h 4454665"/>
              <a:gd name="connsiteX81" fmla="*/ 11199648 w 12192000"/>
              <a:gd name="connsiteY81" fmla="*/ 4225755 h 4454665"/>
              <a:gd name="connsiteX82" fmla="*/ 11220377 w 12192000"/>
              <a:gd name="connsiteY82" fmla="*/ 4257105 h 4454665"/>
              <a:gd name="connsiteX83" fmla="*/ 11220377 w 12192000"/>
              <a:gd name="connsiteY83" fmla="*/ 4312837 h 4454665"/>
              <a:gd name="connsiteX84" fmla="*/ 11230741 w 12192000"/>
              <a:gd name="connsiteY84" fmla="*/ 4312837 h 4454665"/>
              <a:gd name="connsiteX85" fmla="*/ 11230741 w 12192000"/>
              <a:gd name="connsiteY85" fmla="*/ 4253621 h 4454665"/>
              <a:gd name="connsiteX86" fmla="*/ 11199648 w 12192000"/>
              <a:gd name="connsiteY86" fmla="*/ 4218789 h 4454665"/>
              <a:gd name="connsiteX87" fmla="*/ 11168554 w 12192000"/>
              <a:gd name="connsiteY87" fmla="*/ 4236205 h 4454665"/>
              <a:gd name="connsiteX88" fmla="*/ 11168554 w 12192000"/>
              <a:gd name="connsiteY88" fmla="*/ 4218789 h 4454665"/>
              <a:gd name="connsiteX89" fmla="*/ 11158189 w 12192000"/>
              <a:gd name="connsiteY89" fmla="*/ 4218789 h 4454665"/>
              <a:gd name="connsiteX90" fmla="*/ 11088997 w 12192000"/>
              <a:gd name="connsiteY90" fmla="*/ 4218789 h 4454665"/>
              <a:gd name="connsiteX91" fmla="*/ 11045332 w 12192000"/>
              <a:gd name="connsiteY91" fmla="*/ 4267829 h 4454665"/>
              <a:gd name="connsiteX92" fmla="*/ 11088997 w 12192000"/>
              <a:gd name="connsiteY92" fmla="*/ 4316868 h 4454665"/>
              <a:gd name="connsiteX93" fmla="*/ 11132662 w 12192000"/>
              <a:gd name="connsiteY93" fmla="*/ 4267829 h 4454665"/>
              <a:gd name="connsiteX94" fmla="*/ 11088997 w 12192000"/>
              <a:gd name="connsiteY94" fmla="*/ 4218789 h 4454665"/>
              <a:gd name="connsiteX95" fmla="*/ 10883851 w 12192000"/>
              <a:gd name="connsiteY95" fmla="*/ 4218789 h 4454665"/>
              <a:gd name="connsiteX96" fmla="*/ 10855700 w 12192000"/>
              <a:gd name="connsiteY96" fmla="*/ 4222292 h 4454665"/>
              <a:gd name="connsiteX97" fmla="*/ 10855700 w 12192000"/>
              <a:gd name="connsiteY97" fmla="*/ 4236303 h 4454665"/>
              <a:gd name="connsiteX98" fmla="*/ 10883851 w 12192000"/>
              <a:gd name="connsiteY98" fmla="*/ 4225795 h 4454665"/>
              <a:gd name="connsiteX99" fmla="*/ 10904964 w 12192000"/>
              <a:gd name="connsiteY99" fmla="*/ 4250315 h 4454665"/>
              <a:gd name="connsiteX100" fmla="*/ 10904964 w 12192000"/>
              <a:gd name="connsiteY100" fmla="*/ 4257320 h 4454665"/>
              <a:gd name="connsiteX101" fmla="*/ 10845144 w 12192000"/>
              <a:gd name="connsiteY101" fmla="*/ 4288845 h 4454665"/>
              <a:gd name="connsiteX102" fmla="*/ 10876813 w 12192000"/>
              <a:gd name="connsiteY102" fmla="*/ 4316868 h 4454665"/>
              <a:gd name="connsiteX103" fmla="*/ 10904964 w 12192000"/>
              <a:gd name="connsiteY103" fmla="*/ 4299354 h 4454665"/>
              <a:gd name="connsiteX104" fmla="*/ 10908483 w 12192000"/>
              <a:gd name="connsiteY104" fmla="*/ 4299354 h 4454665"/>
              <a:gd name="connsiteX105" fmla="*/ 10908483 w 12192000"/>
              <a:gd name="connsiteY105" fmla="*/ 4313365 h 4454665"/>
              <a:gd name="connsiteX106" fmla="*/ 10919039 w 12192000"/>
              <a:gd name="connsiteY106" fmla="*/ 4313365 h 4454665"/>
              <a:gd name="connsiteX107" fmla="*/ 10919039 w 12192000"/>
              <a:gd name="connsiteY107" fmla="*/ 4295851 h 4454665"/>
              <a:gd name="connsiteX108" fmla="*/ 10919039 w 12192000"/>
              <a:gd name="connsiteY108" fmla="*/ 4253818 h 4454665"/>
              <a:gd name="connsiteX109" fmla="*/ 10883851 w 12192000"/>
              <a:gd name="connsiteY109" fmla="*/ 4218789 h 4454665"/>
              <a:gd name="connsiteX110" fmla="*/ 10642268 w 12192000"/>
              <a:gd name="connsiteY110" fmla="*/ 4218789 h 4454665"/>
              <a:gd name="connsiteX111" fmla="*/ 10642268 w 12192000"/>
              <a:gd name="connsiteY111" fmla="*/ 4243172 h 4454665"/>
              <a:gd name="connsiteX112" fmla="*/ 10642268 w 12192000"/>
              <a:gd name="connsiteY112" fmla="*/ 4312837 h 4454665"/>
              <a:gd name="connsiteX113" fmla="*/ 10656343 w 12192000"/>
              <a:gd name="connsiteY113" fmla="*/ 4312837 h 4454665"/>
              <a:gd name="connsiteX114" fmla="*/ 10656343 w 12192000"/>
              <a:gd name="connsiteY114" fmla="*/ 4260588 h 4454665"/>
              <a:gd name="connsiteX115" fmla="*/ 10684494 w 12192000"/>
              <a:gd name="connsiteY115" fmla="*/ 4225755 h 4454665"/>
              <a:gd name="connsiteX116" fmla="*/ 10705607 w 12192000"/>
              <a:gd name="connsiteY116" fmla="*/ 4257105 h 4454665"/>
              <a:gd name="connsiteX117" fmla="*/ 10705607 w 12192000"/>
              <a:gd name="connsiteY117" fmla="*/ 4312837 h 4454665"/>
              <a:gd name="connsiteX118" fmla="*/ 10716163 w 12192000"/>
              <a:gd name="connsiteY118" fmla="*/ 4312837 h 4454665"/>
              <a:gd name="connsiteX119" fmla="*/ 10716163 w 12192000"/>
              <a:gd name="connsiteY119" fmla="*/ 4253621 h 4454665"/>
              <a:gd name="connsiteX120" fmla="*/ 10684494 w 12192000"/>
              <a:gd name="connsiteY120" fmla="*/ 4218789 h 4454665"/>
              <a:gd name="connsiteX121" fmla="*/ 10652824 w 12192000"/>
              <a:gd name="connsiteY121" fmla="*/ 4236205 h 4454665"/>
              <a:gd name="connsiteX122" fmla="*/ 10652824 w 12192000"/>
              <a:gd name="connsiteY122" fmla="*/ 4218789 h 4454665"/>
              <a:gd name="connsiteX123" fmla="*/ 10642268 w 12192000"/>
              <a:gd name="connsiteY123" fmla="*/ 4218789 h 4454665"/>
              <a:gd name="connsiteX124" fmla="*/ 10540159 w 12192000"/>
              <a:gd name="connsiteY124" fmla="*/ 4218789 h 4454665"/>
              <a:gd name="connsiteX125" fmla="*/ 10540159 w 12192000"/>
              <a:gd name="connsiteY125" fmla="*/ 4281839 h 4454665"/>
              <a:gd name="connsiteX126" fmla="*/ 10571828 w 12192000"/>
              <a:gd name="connsiteY126" fmla="*/ 4316868 h 4454665"/>
              <a:gd name="connsiteX127" fmla="*/ 10603498 w 12192000"/>
              <a:gd name="connsiteY127" fmla="*/ 4299354 h 4454665"/>
              <a:gd name="connsiteX128" fmla="*/ 10603498 w 12192000"/>
              <a:gd name="connsiteY128" fmla="*/ 4313365 h 4454665"/>
              <a:gd name="connsiteX129" fmla="*/ 10614054 w 12192000"/>
              <a:gd name="connsiteY129" fmla="*/ 4313365 h 4454665"/>
              <a:gd name="connsiteX130" fmla="*/ 10614054 w 12192000"/>
              <a:gd name="connsiteY130" fmla="*/ 4292348 h 4454665"/>
              <a:gd name="connsiteX131" fmla="*/ 10614054 w 12192000"/>
              <a:gd name="connsiteY131" fmla="*/ 4218789 h 4454665"/>
              <a:gd name="connsiteX132" fmla="*/ 10599979 w 12192000"/>
              <a:gd name="connsiteY132" fmla="*/ 4218789 h 4454665"/>
              <a:gd name="connsiteX133" fmla="*/ 10599979 w 12192000"/>
              <a:gd name="connsiteY133" fmla="*/ 4271331 h 4454665"/>
              <a:gd name="connsiteX134" fmla="*/ 10571828 w 12192000"/>
              <a:gd name="connsiteY134" fmla="*/ 4306359 h 4454665"/>
              <a:gd name="connsiteX135" fmla="*/ 10550715 w 12192000"/>
              <a:gd name="connsiteY135" fmla="*/ 4278337 h 4454665"/>
              <a:gd name="connsiteX136" fmla="*/ 10550715 w 12192000"/>
              <a:gd name="connsiteY136" fmla="*/ 4218789 h 4454665"/>
              <a:gd name="connsiteX137" fmla="*/ 10540159 w 12192000"/>
              <a:gd name="connsiteY137" fmla="*/ 4218789 h 4454665"/>
              <a:gd name="connsiteX138" fmla="*/ 10471637 w 12192000"/>
              <a:gd name="connsiteY138" fmla="*/ 4218789 h 4454665"/>
              <a:gd name="connsiteX139" fmla="*/ 10427300 w 12192000"/>
              <a:gd name="connsiteY139" fmla="*/ 4267829 h 4454665"/>
              <a:gd name="connsiteX140" fmla="*/ 10471637 w 12192000"/>
              <a:gd name="connsiteY140" fmla="*/ 4316868 h 4454665"/>
              <a:gd name="connsiteX141" fmla="*/ 10515975 w 12192000"/>
              <a:gd name="connsiteY141" fmla="*/ 4267829 h 4454665"/>
              <a:gd name="connsiteX142" fmla="*/ 10471637 w 12192000"/>
              <a:gd name="connsiteY142" fmla="*/ 4218789 h 4454665"/>
              <a:gd name="connsiteX143" fmla="*/ 11655303 w 12192000"/>
              <a:gd name="connsiteY143" fmla="*/ 4204010 h 4454665"/>
              <a:gd name="connsiteX144" fmla="*/ 11659333 w 12192000"/>
              <a:gd name="connsiteY144" fmla="*/ 4214759 h 4454665"/>
              <a:gd name="connsiteX145" fmla="*/ 11663364 w 12192000"/>
              <a:gd name="connsiteY145" fmla="*/ 4221477 h 4454665"/>
              <a:gd name="connsiteX146" fmla="*/ 11648585 w 12192000"/>
              <a:gd name="connsiteY146" fmla="*/ 4221477 h 4454665"/>
              <a:gd name="connsiteX147" fmla="*/ 11652616 w 12192000"/>
              <a:gd name="connsiteY147" fmla="*/ 4214759 h 4454665"/>
              <a:gd name="connsiteX148" fmla="*/ 11659446 w 12192000"/>
              <a:gd name="connsiteY148" fmla="*/ 4193262 h 4454665"/>
              <a:gd name="connsiteX149" fmla="*/ 11649032 w 12192000"/>
              <a:gd name="connsiteY149" fmla="*/ 4196776 h 4454665"/>
              <a:gd name="connsiteX150" fmla="*/ 11645562 w 12192000"/>
              <a:gd name="connsiteY150" fmla="*/ 4214346 h 4454665"/>
              <a:gd name="connsiteX151" fmla="*/ 11635149 w 12192000"/>
              <a:gd name="connsiteY151" fmla="*/ 4235428 h 4454665"/>
              <a:gd name="connsiteX152" fmla="*/ 11645562 w 12192000"/>
              <a:gd name="connsiteY152" fmla="*/ 4238942 h 4454665"/>
              <a:gd name="connsiteX153" fmla="*/ 11645562 w 12192000"/>
              <a:gd name="connsiteY153" fmla="*/ 4228401 h 4454665"/>
              <a:gd name="connsiteX154" fmla="*/ 11666387 w 12192000"/>
              <a:gd name="connsiteY154" fmla="*/ 4228401 h 4454665"/>
              <a:gd name="connsiteX155" fmla="*/ 11666387 w 12192000"/>
              <a:gd name="connsiteY155" fmla="*/ 4235428 h 4454665"/>
              <a:gd name="connsiteX156" fmla="*/ 11676800 w 12192000"/>
              <a:gd name="connsiteY156" fmla="*/ 4235428 h 4454665"/>
              <a:gd name="connsiteX157" fmla="*/ 11666387 w 12192000"/>
              <a:gd name="connsiteY157" fmla="*/ 4214346 h 4454665"/>
              <a:gd name="connsiteX158" fmla="*/ 11659446 w 12192000"/>
              <a:gd name="connsiteY158" fmla="*/ 4196776 h 4454665"/>
              <a:gd name="connsiteX159" fmla="*/ 11659446 w 12192000"/>
              <a:gd name="connsiteY159" fmla="*/ 4193262 h 4454665"/>
              <a:gd name="connsiteX160" fmla="*/ 10964451 w 12192000"/>
              <a:gd name="connsiteY160" fmla="*/ 4193261 h 4454665"/>
              <a:gd name="connsiteX161" fmla="*/ 10953971 w 12192000"/>
              <a:gd name="connsiteY161" fmla="*/ 4196793 h 4454665"/>
              <a:gd name="connsiteX162" fmla="*/ 10953971 w 12192000"/>
              <a:gd name="connsiteY162" fmla="*/ 4217982 h 4454665"/>
              <a:gd name="connsiteX163" fmla="*/ 10936505 w 12192000"/>
              <a:gd name="connsiteY163" fmla="*/ 4217982 h 4454665"/>
              <a:gd name="connsiteX164" fmla="*/ 10936505 w 12192000"/>
              <a:gd name="connsiteY164" fmla="*/ 4228577 h 4454665"/>
              <a:gd name="connsiteX165" fmla="*/ 10953971 w 12192000"/>
              <a:gd name="connsiteY165" fmla="*/ 4228577 h 4454665"/>
              <a:gd name="connsiteX166" fmla="*/ 10953971 w 12192000"/>
              <a:gd name="connsiteY166" fmla="*/ 4285083 h 4454665"/>
              <a:gd name="connsiteX167" fmla="*/ 10974931 w 12192000"/>
              <a:gd name="connsiteY167" fmla="*/ 4316867 h 4454665"/>
              <a:gd name="connsiteX168" fmla="*/ 10988904 w 12192000"/>
              <a:gd name="connsiteY168" fmla="*/ 4313336 h 4454665"/>
              <a:gd name="connsiteX169" fmla="*/ 10988904 w 12192000"/>
              <a:gd name="connsiteY169" fmla="*/ 4302741 h 4454665"/>
              <a:gd name="connsiteX170" fmla="*/ 10978424 w 12192000"/>
              <a:gd name="connsiteY170" fmla="*/ 4306272 h 4454665"/>
              <a:gd name="connsiteX171" fmla="*/ 10964451 w 12192000"/>
              <a:gd name="connsiteY171" fmla="*/ 4292146 h 4454665"/>
              <a:gd name="connsiteX172" fmla="*/ 10964451 w 12192000"/>
              <a:gd name="connsiteY172" fmla="*/ 4228577 h 4454665"/>
              <a:gd name="connsiteX173" fmla="*/ 10985410 w 12192000"/>
              <a:gd name="connsiteY173" fmla="*/ 4228577 h 4454665"/>
              <a:gd name="connsiteX174" fmla="*/ 10985410 w 12192000"/>
              <a:gd name="connsiteY174" fmla="*/ 4217982 h 4454665"/>
              <a:gd name="connsiteX175" fmla="*/ 10964451 w 12192000"/>
              <a:gd name="connsiteY175" fmla="*/ 4217982 h 4454665"/>
              <a:gd name="connsiteX176" fmla="*/ 10964451 w 12192000"/>
              <a:gd name="connsiteY176" fmla="*/ 4193261 h 4454665"/>
              <a:gd name="connsiteX177" fmla="*/ 11599881 w 12192000"/>
              <a:gd name="connsiteY177" fmla="*/ 4190575 h 4454665"/>
              <a:gd name="connsiteX178" fmla="*/ 11589469 w 12192000"/>
              <a:gd name="connsiteY178" fmla="*/ 4232741 h 4454665"/>
              <a:gd name="connsiteX179" fmla="*/ 11599881 w 12192000"/>
              <a:gd name="connsiteY179" fmla="*/ 4232741 h 4454665"/>
              <a:gd name="connsiteX180" fmla="*/ 11603352 w 12192000"/>
              <a:gd name="connsiteY180" fmla="*/ 4208145 h 4454665"/>
              <a:gd name="connsiteX181" fmla="*/ 11617236 w 12192000"/>
              <a:gd name="connsiteY181" fmla="*/ 4236255 h 4454665"/>
              <a:gd name="connsiteX182" fmla="*/ 11624178 w 12192000"/>
              <a:gd name="connsiteY182" fmla="*/ 4236255 h 4454665"/>
              <a:gd name="connsiteX183" fmla="*/ 11631119 w 12192000"/>
              <a:gd name="connsiteY183" fmla="*/ 4194089 h 4454665"/>
              <a:gd name="connsiteX184" fmla="*/ 11624178 w 12192000"/>
              <a:gd name="connsiteY184" fmla="*/ 4194089 h 4454665"/>
              <a:gd name="connsiteX185" fmla="*/ 11620707 w 12192000"/>
              <a:gd name="connsiteY185" fmla="*/ 4222200 h 4454665"/>
              <a:gd name="connsiteX186" fmla="*/ 11606824 w 12192000"/>
              <a:gd name="connsiteY186" fmla="*/ 4190575 h 4454665"/>
              <a:gd name="connsiteX187" fmla="*/ 11599881 w 12192000"/>
              <a:gd name="connsiteY187" fmla="*/ 4190575 h 4454665"/>
              <a:gd name="connsiteX188" fmla="*/ 11709044 w 12192000"/>
              <a:gd name="connsiteY188" fmla="*/ 4186545 h 4454665"/>
              <a:gd name="connsiteX189" fmla="*/ 11674112 w 12192000"/>
              <a:gd name="connsiteY189" fmla="*/ 4193646 h 4454665"/>
              <a:gd name="connsiteX190" fmla="*/ 11674112 w 12192000"/>
              <a:gd name="connsiteY190" fmla="*/ 4200748 h 4454665"/>
              <a:gd name="connsiteX191" fmla="*/ 11688084 w 12192000"/>
              <a:gd name="connsiteY191" fmla="*/ 4200748 h 4454665"/>
              <a:gd name="connsiteX192" fmla="*/ 11695071 w 12192000"/>
              <a:gd name="connsiteY192" fmla="*/ 4236256 h 4454665"/>
              <a:gd name="connsiteX193" fmla="*/ 11702057 w 12192000"/>
              <a:gd name="connsiteY193" fmla="*/ 4232705 h 4454665"/>
              <a:gd name="connsiteX194" fmla="*/ 11695071 w 12192000"/>
              <a:gd name="connsiteY194" fmla="*/ 4197197 h 4454665"/>
              <a:gd name="connsiteX195" fmla="*/ 11709044 w 12192000"/>
              <a:gd name="connsiteY195" fmla="*/ 4193646 h 4454665"/>
              <a:gd name="connsiteX196" fmla="*/ 11564748 w 12192000"/>
              <a:gd name="connsiteY196" fmla="*/ 4186545 h 4454665"/>
              <a:gd name="connsiteX197" fmla="*/ 11575228 w 12192000"/>
              <a:gd name="connsiteY197" fmla="*/ 4189904 h 4454665"/>
              <a:gd name="connsiteX198" fmla="*/ 11578720 w 12192000"/>
              <a:gd name="connsiteY198" fmla="*/ 4193263 h 4454665"/>
              <a:gd name="connsiteX199" fmla="*/ 11578720 w 12192000"/>
              <a:gd name="connsiteY199" fmla="*/ 4196621 h 4454665"/>
              <a:gd name="connsiteX200" fmla="*/ 11571734 w 12192000"/>
              <a:gd name="connsiteY200" fmla="*/ 4199980 h 4454665"/>
              <a:gd name="connsiteX201" fmla="*/ 11561254 w 12192000"/>
              <a:gd name="connsiteY201" fmla="*/ 4196621 h 4454665"/>
              <a:gd name="connsiteX202" fmla="*/ 11564748 w 12192000"/>
              <a:gd name="connsiteY202" fmla="*/ 4193263 h 4454665"/>
              <a:gd name="connsiteX203" fmla="*/ 11564748 w 12192000"/>
              <a:gd name="connsiteY203" fmla="*/ 4186545 h 4454665"/>
              <a:gd name="connsiteX204" fmla="*/ 11014562 w 12192000"/>
              <a:gd name="connsiteY204" fmla="*/ 4184659 h 4454665"/>
              <a:gd name="connsiteX205" fmla="*/ 11014562 w 12192000"/>
              <a:gd name="connsiteY205" fmla="*/ 4198353 h 4454665"/>
              <a:gd name="connsiteX206" fmla="*/ 11026851 w 12192000"/>
              <a:gd name="connsiteY206" fmla="*/ 4198353 h 4454665"/>
              <a:gd name="connsiteX207" fmla="*/ 11026851 w 12192000"/>
              <a:gd name="connsiteY207" fmla="*/ 4184659 h 4454665"/>
              <a:gd name="connsiteX208" fmla="*/ 11715762 w 12192000"/>
              <a:gd name="connsiteY208" fmla="*/ 4182513 h 4454665"/>
              <a:gd name="connsiteX209" fmla="*/ 11729582 w 12192000"/>
              <a:gd name="connsiteY209" fmla="*/ 4225507 h 4454665"/>
              <a:gd name="connsiteX210" fmla="*/ 11739946 w 12192000"/>
              <a:gd name="connsiteY210" fmla="*/ 4221924 h 4454665"/>
              <a:gd name="connsiteX211" fmla="*/ 11726127 w 12192000"/>
              <a:gd name="connsiteY211" fmla="*/ 4182513 h 4454665"/>
              <a:gd name="connsiteX212" fmla="*/ 11715762 w 12192000"/>
              <a:gd name="connsiteY212" fmla="*/ 4182513 h 4454665"/>
              <a:gd name="connsiteX213" fmla="*/ 10346688 w 12192000"/>
              <a:gd name="connsiteY213" fmla="*/ 4182513 h 4454665"/>
              <a:gd name="connsiteX214" fmla="*/ 10346688 w 12192000"/>
              <a:gd name="connsiteY214" fmla="*/ 4312837 h 4454665"/>
              <a:gd name="connsiteX215" fmla="*/ 10361467 w 12192000"/>
              <a:gd name="connsiteY215" fmla="*/ 4312837 h 4454665"/>
              <a:gd name="connsiteX216" fmla="*/ 10361467 w 12192000"/>
              <a:gd name="connsiteY216" fmla="*/ 4253721 h 4454665"/>
              <a:gd name="connsiteX217" fmla="*/ 10407148 w 12192000"/>
              <a:gd name="connsiteY217" fmla="*/ 4253721 h 4454665"/>
              <a:gd name="connsiteX218" fmla="*/ 10407148 w 12192000"/>
              <a:gd name="connsiteY218" fmla="*/ 4242973 h 4454665"/>
              <a:gd name="connsiteX219" fmla="*/ 10361467 w 12192000"/>
              <a:gd name="connsiteY219" fmla="*/ 4242973 h 4454665"/>
              <a:gd name="connsiteX220" fmla="*/ 10361467 w 12192000"/>
              <a:gd name="connsiteY220" fmla="*/ 4193261 h 4454665"/>
              <a:gd name="connsiteX221" fmla="*/ 10409835 w 12192000"/>
              <a:gd name="connsiteY221" fmla="*/ 4193261 h 4454665"/>
              <a:gd name="connsiteX222" fmla="*/ 10409835 w 12192000"/>
              <a:gd name="connsiteY222" fmla="*/ 4182513 h 4454665"/>
              <a:gd name="connsiteX223" fmla="*/ 11561143 w 12192000"/>
              <a:gd name="connsiteY223" fmla="*/ 4175796 h 4454665"/>
              <a:gd name="connsiteX224" fmla="*/ 11554200 w 12192000"/>
              <a:gd name="connsiteY224" fmla="*/ 4193263 h 4454665"/>
              <a:gd name="connsiteX225" fmla="*/ 11554200 w 12192000"/>
              <a:gd name="connsiteY225" fmla="*/ 4196755 h 4454665"/>
              <a:gd name="connsiteX226" fmla="*/ 11543788 w 12192000"/>
              <a:gd name="connsiteY226" fmla="*/ 4214222 h 4454665"/>
              <a:gd name="connsiteX227" fmla="*/ 11554200 w 12192000"/>
              <a:gd name="connsiteY227" fmla="*/ 4217715 h 4454665"/>
              <a:gd name="connsiteX228" fmla="*/ 11557671 w 12192000"/>
              <a:gd name="connsiteY228" fmla="*/ 4203742 h 4454665"/>
              <a:gd name="connsiteX229" fmla="*/ 11568084 w 12192000"/>
              <a:gd name="connsiteY229" fmla="*/ 4207236 h 4454665"/>
              <a:gd name="connsiteX230" fmla="*/ 11568084 w 12192000"/>
              <a:gd name="connsiteY230" fmla="*/ 4224701 h 4454665"/>
              <a:gd name="connsiteX231" fmla="*/ 11578497 w 12192000"/>
              <a:gd name="connsiteY231" fmla="*/ 4228195 h 4454665"/>
              <a:gd name="connsiteX232" fmla="*/ 11575026 w 12192000"/>
              <a:gd name="connsiteY232" fmla="*/ 4207236 h 4454665"/>
              <a:gd name="connsiteX233" fmla="*/ 11585438 w 12192000"/>
              <a:gd name="connsiteY233" fmla="*/ 4196755 h 4454665"/>
              <a:gd name="connsiteX234" fmla="*/ 11585438 w 12192000"/>
              <a:gd name="connsiteY234" fmla="*/ 4193263 h 4454665"/>
              <a:gd name="connsiteX235" fmla="*/ 11578497 w 12192000"/>
              <a:gd name="connsiteY235" fmla="*/ 4182783 h 4454665"/>
              <a:gd name="connsiteX236" fmla="*/ 11561143 w 12192000"/>
              <a:gd name="connsiteY236" fmla="*/ 4175796 h 4454665"/>
              <a:gd name="connsiteX237" fmla="*/ 11766241 w 12192000"/>
              <a:gd name="connsiteY237" fmla="*/ 4173089 h 4454665"/>
              <a:gd name="connsiteX238" fmla="*/ 11774878 w 12192000"/>
              <a:gd name="connsiteY238" fmla="*/ 4178820 h 4454665"/>
              <a:gd name="connsiteX239" fmla="*/ 11774878 w 12192000"/>
              <a:gd name="connsiteY239" fmla="*/ 4185873 h 4454665"/>
              <a:gd name="connsiteX240" fmla="*/ 11771423 w 12192000"/>
              <a:gd name="connsiteY240" fmla="*/ 4196454 h 4454665"/>
              <a:gd name="connsiteX241" fmla="*/ 11767968 w 12192000"/>
              <a:gd name="connsiteY241" fmla="*/ 4199981 h 4454665"/>
              <a:gd name="connsiteX242" fmla="*/ 11754149 w 12192000"/>
              <a:gd name="connsiteY242" fmla="*/ 4196454 h 4454665"/>
              <a:gd name="connsiteX243" fmla="*/ 11750694 w 12192000"/>
              <a:gd name="connsiteY243" fmla="*/ 4192928 h 4454665"/>
              <a:gd name="connsiteX244" fmla="*/ 11750694 w 12192000"/>
              <a:gd name="connsiteY244" fmla="*/ 4185873 h 4454665"/>
              <a:gd name="connsiteX245" fmla="*/ 11757604 w 12192000"/>
              <a:gd name="connsiteY245" fmla="*/ 4175293 h 4454665"/>
              <a:gd name="connsiteX246" fmla="*/ 11766241 w 12192000"/>
              <a:gd name="connsiteY246" fmla="*/ 4173089 h 4454665"/>
              <a:gd name="connsiteX247" fmla="*/ 10810738 w 12192000"/>
              <a:gd name="connsiteY247" fmla="*/ 4171764 h 4454665"/>
              <a:gd name="connsiteX248" fmla="*/ 10810738 w 12192000"/>
              <a:gd name="connsiteY248" fmla="*/ 4235468 h 4454665"/>
              <a:gd name="connsiteX249" fmla="*/ 10782231 w 12192000"/>
              <a:gd name="connsiteY249" fmla="*/ 4217772 h 4454665"/>
              <a:gd name="connsiteX250" fmla="*/ 10743034 w 12192000"/>
              <a:gd name="connsiteY250" fmla="*/ 4267320 h 4454665"/>
              <a:gd name="connsiteX251" fmla="*/ 10782231 w 12192000"/>
              <a:gd name="connsiteY251" fmla="*/ 4316867 h 4454665"/>
              <a:gd name="connsiteX252" fmla="*/ 10810738 w 12192000"/>
              <a:gd name="connsiteY252" fmla="*/ 4299171 h 4454665"/>
              <a:gd name="connsiteX253" fmla="*/ 10810738 w 12192000"/>
              <a:gd name="connsiteY253" fmla="*/ 4313328 h 4454665"/>
              <a:gd name="connsiteX254" fmla="*/ 10824991 w 12192000"/>
              <a:gd name="connsiteY254" fmla="*/ 4313328 h 4454665"/>
              <a:gd name="connsiteX255" fmla="*/ 10824991 w 12192000"/>
              <a:gd name="connsiteY255" fmla="*/ 4171764 h 4454665"/>
              <a:gd name="connsiteX256" fmla="*/ 10810738 w 12192000"/>
              <a:gd name="connsiteY256" fmla="*/ 4171764 h 4454665"/>
              <a:gd name="connsiteX257" fmla="*/ 11768161 w 12192000"/>
              <a:gd name="connsiteY257" fmla="*/ 4166248 h 4454665"/>
              <a:gd name="connsiteX258" fmla="*/ 11750694 w 12192000"/>
              <a:gd name="connsiteY258" fmla="*/ 4169271 h 4454665"/>
              <a:gd name="connsiteX259" fmla="*/ 11739946 w 12192000"/>
              <a:gd name="connsiteY259" fmla="*/ 4186545 h 4454665"/>
              <a:gd name="connsiteX260" fmla="*/ 11743528 w 12192000"/>
              <a:gd name="connsiteY260" fmla="*/ 4196910 h 4454665"/>
              <a:gd name="connsiteX261" fmla="*/ 11772191 w 12192000"/>
              <a:gd name="connsiteY261" fmla="*/ 4203820 h 4454665"/>
              <a:gd name="connsiteX262" fmla="*/ 11782939 w 12192000"/>
              <a:gd name="connsiteY262" fmla="*/ 4196910 h 4454665"/>
              <a:gd name="connsiteX263" fmla="*/ 11782939 w 12192000"/>
              <a:gd name="connsiteY263" fmla="*/ 4186545 h 4454665"/>
              <a:gd name="connsiteX264" fmla="*/ 11782939 w 12192000"/>
              <a:gd name="connsiteY264" fmla="*/ 4176181 h 4454665"/>
              <a:gd name="connsiteX265" fmla="*/ 11768161 w 12192000"/>
              <a:gd name="connsiteY265" fmla="*/ 4166248 h 4454665"/>
              <a:gd name="connsiteX266" fmla="*/ 11525909 w 12192000"/>
              <a:gd name="connsiteY266" fmla="*/ 4158330 h 4454665"/>
              <a:gd name="connsiteX267" fmla="*/ 11504825 w 12192000"/>
              <a:gd name="connsiteY267" fmla="*/ 4193262 h 4454665"/>
              <a:gd name="connsiteX268" fmla="*/ 11529423 w 12192000"/>
              <a:gd name="connsiteY268" fmla="*/ 4210728 h 4454665"/>
              <a:gd name="connsiteX269" fmla="*/ 11532937 w 12192000"/>
              <a:gd name="connsiteY269" fmla="*/ 4203742 h 4454665"/>
              <a:gd name="connsiteX270" fmla="*/ 11515367 w 12192000"/>
              <a:gd name="connsiteY270" fmla="*/ 4193262 h 4454665"/>
              <a:gd name="connsiteX271" fmla="*/ 11522395 w 12192000"/>
              <a:gd name="connsiteY271" fmla="*/ 4182783 h 4454665"/>
              <a:gd name="connsiteX272" fmla="*/ 11532937 w 12192000"/>
              <a:gd name="connsiteY272" fmla="*/ 4189769 h 4454665"/>
              <a:gd name="connsiteX273" fmla="*/ 11536450 w 12192000"/>
              <a:gd name="connsiteY273" fmla="*/ 4182783 h 4454665"/>
              <a:gd name="connsiteX274" fmla="*/ 11525909 w 12192000"/>
              <a:gd name="connsiteY274" fmla="*/ 4175796 h 4454665"/>
              <a:gd name="connsiteX275" fmla="*/ 11529423 w 12192000"/>
              <a:gd name="connsiteY275" fmla="*/ 4168810 h 4454665"/>
              <a:gd name="connsiteX276" fmla="*/ 11546992 w 12192000"/>
              <a:gd name="connsiteY276" fmla="*/ 4179289 h 4454665"/>
              <a:gd name="connsiteX277" fmla="*/ 11550506 w 12192000"/>
              <a:gd name="connsiteY277" fmla="*/ 4172302 h 4454665"/>
              <a:gd name="connsiteX278" fmla="*/ 11525909 w 12192000"/>
              <a:gd name="connsiteY278" fmla="*/ 4158330 h 4454665"/>
              <a:gd name="connsiteX279" fmla="*/ 11803361 w 12192000"/>
              <a:gd name="connsiteY279" fmla="*/ 4130116 h 4454665"/>
              <a:gd name="connsiteX280" fmla="*/ 11796375 w 12192000"/>
              <a:gd name="connsiteY280" fmla="*/ 4137169 h 4454665"/>
              <a:gd name="connsiteX281" fmla="*/ 11813840 w 12192000"/>
              <a:gd name="connsiteY281" fmla="*/ 4154803 h 4454665"/>
              <a:gd name="connsiteX282" fmla="*/ 11785895 w 12192000"/>
              <a:gd name="connsiteY282" fmla="*/ 4147750 h 4454665"/>
              <a:gd name="connsiteX283" fmla="*/ 11778908 w 12192000"/>
              <a:gd name="connsiteY283" fmla="*/ 4151276 h 4454665"/>
              <a:gd name="connsiteX284" fmla="*/ 11803361 w 12192000"/>
              <a:gd name="connsiteY284" fmla="*/ 4186545 h 4454665"/>
              <a:gd name="connsiteX285" fmla="*/ 11810348 w 12192000"/>
              <a:gd name="connsiteY285" fmla="*/ 4179491 h 4454665"/>
              <a:gd name="connsiteX286" fmla="*/ 11796375 w 12192000"/>
              <a:gd name="connsiteY286" fmla="*/ 4158330 h 4454665"/>
              <a:gd name="connsiteX287" fmla="*/ 11824320 w 12192000"/>
              <a:gd name="connsiteY287" fmla="*/ 4168910 h 4454665"/>
              <a:gd name="connsiteX288" fmla="*/ 11831307 w 12192000"/>
              <a:gd name="connsiteY288" fmla="*/ 4161857 h 4454665"/>
              <a:gd name="connsiteX289" fmla="*/ 11803361 w 12192000"/>
              <a:gd name="connsiteY289" fmla="*/ 4130116 h 4454665"/>
              <a:gd name="connsiteX290" fmla="*/ 11495008 w 12192000"/>
              <a:gd name="connsiteY290" fmla="*/ 4130116 h 4454665"/>
              <a:gd name="connsiteX291" fmla="*/ 11487980 w 12192000"/>
              <a:gd name="connsiteY291" fmla="*/ 4133629 h 4454665"/>
              <a:gd name="connsiteX292" fmla="*/ 11498522 w 12192000"/>
              <a:gd name="connsiteY292" fmla="*/ 4144171 h 4454665"/>
              <a:gd name="connsiteX293" fmla="*/ 11473924 w 12192000"/>
              <a:gd name="connsiteY293" fmla="*/ 4168768 h 4454665"/>
              <a:gd name="connsiteX294" fmla="*/ 11480952 w 12192000"/>
              <a:gd name="connsiteY294" fmla="*/ 4175796 h 4454665"/>
              <a:gd name="connsiteX295" fmla="*/ 11505548 w 12192000"/>
              <a:gd name="connsiteY295" fmla="*/ 4151199 h 4454665"/>
              <a:gd name="connsiteX296" fmla="*/ 11516090 w 12192000"/>
              <a:gd name="connsiteY296" fmla="*/ 4158226 h 4454665"/>
              <a:gd name="connsiteX297" fmla="*/ 11519604 w 12192000"/>
              <a:gd name="connsiteY297" fmla="*/ 4151199 h 4454665"/>
              <a:gd name="connsiteX298" fmla="*/ 11495008 w 12192000"/>
              <a:gd name="connsiteY298" fmla="*/ 4130116 h 4454665"/>
              <a:gd name="connsiteX299" fmla="*/ 11824589 w 12192000"/>
              <a:gd name="connsiteY299" fmla="*/ 4119367 h 4454665"/>
              <a:gd name="connsiteX300" fmla="*/ 11842055 w 12192000"/>
              <a:gd name="connsiteY300" fmla="*/ 4126085 h 4454665"/>
              <a:gd name="connsiteX301" fmla="*/ 11842055 w 12192000"/>
              <a:gd name="connsiteY301" fmla="*/ 4130116 h 4454665"/>
              <a:gd name="connsiteX302" fmla="*/ 11835337 w 12192000"/>
              <a:gd name="connsiteY302" fmla="*/ 4136834 h 4454665"/>
              <a:gd name="connsiteX303" fmla="*/ 11831307 w 12192000"/>
              <a:gd name="connsiteY303" fmla="*/ 4130116 h 4454665"/>
              <a:gd name="connsiteX304" fmla="*/ 11820942 w 12192000"/>
              <a:gd name="connsiteY304" fmla="*/ 4112649 h 4454665"/>
              <a:gd name="connsiteX305" fmla="*/ 11813840 w 12192000"/>
              <a:gd name="connsiteY305" fmla="*/ 4119591 h 4454665"/>
              <a:gd name="connsiteX306" fmla="*/ 11820942 w 12192000"/>
              <a:gd name="connsiteY306" fmla="*/ 4130003 h 4454665"/>
              <a:gd name="connsiteX307" fmla="*/ 11838696 w 12192000"/>
              <a:gd name="connsiteY307" fmla="*/ 4154299 h 4454665"/>
              <a:gd name="connsiteX308" fmla="*/ 11842247 w 12192000"/>
              <a:gd name="connsiteY308" fmla="*/ 4150829 h 4454665"/>
              <a:gd name="connsiteX309" fmla="*/ 11838696 w 12192000"/>
              <a:gd name="connsiteY309" fmla="*/ 4143887 h 4454665"/>
              <a:gd name="connsiteX310" fmla="*/ 11849349 w 12192000"/>
              <a:gd name="connsiteY310" fmla="*/ 4130003 h 4454665"/>
              <a:gd name="connsiteX311" fmla="*/ 11856450 w 12192000"/>
              <a:gd name="connsiteY311" fmla="*/ 4130003 h 4454665"/>
              <a:gd name="connsiteX312" fmla="*/ 11860002 w 12192000"/>
              <a:gd name="connsiteY312" fmla="*/ 4130003 h 4454665"/>
              <a:gd name="connsiteX313" fmla="*/ 11863552 w 12192000"/>
              <a:gd name="connsiteY313" fmla="*/ 4123061 h 4454665"/>
              <a:gd name="connsiteX314" fmla="*/ 11820942 w 12192000"/>
              <a:gd name="connsiteY314" fmla="*/ 4112649 h 4454665"/>
              <a:gd name="connsiteX315" fmla="*/ 11466198 w 12192000"/>
              <a:gd name="connsiteY315" fmla="*/ 4097870 h 4454665"/>
              <a:gd name="connsiteX316" fmla="*/ 11430930 w 12192000"/>
              <a:gd name="connsiteY316" fmla="*/ 4122950 h 4454665"/>
              <a:gd name="connsiteX317" fmla="*/ 11437984 w 12192000"/>
              <a:gd name="connsiteY317" fmla="*/ 4130116 h 4454665"/>
              <a:gd name="connsiteX318" fmla="*/ 11459145 w 12192000"/>
              <a:gd name="connsiteY318" fmla="*/ 4115785 h 4454665"/>
              <a:gd name="connsiteX319" fmla="*/ 11448564 w 12192000"/>
              <a:gd name="connsiteY319" fmla="*/ 4144446 h 4454665"/>
              <a:gd name="connsiteX320" fmla="*/ 11455618 w 12192000"/>
              <a:gd name="connsiteY320" fmla="*/ 4151612 h 4454665"/>
              <a:gd name="connsiteX321" fmla="*/ 11487359 w 12192000"/>
              <a:gd name="connsiteY321" fmla="*/ 4122950 h 4454665"/>
              <a:gd name="connsiteX322" fmla="*/ 11483833 w 12192000"/>
              <a:gd name="connsiteY322" fmla="*/ 4115785 h 4454665"/>
              <a:gd name="connsiteX323" fmla="*/ 11462672 w 12192000"/>
              <a:gd name="connsiteY323" fmla="*/ 4133698 h 4454665"/>
              <a:gd name="connsiteX324" fmla="*/ 11473252 w 12192000"/>
              <a:gd name="connsiteY324" fmla="*/ 4105036 h 4454665"/>
              <a:gd name="connsiteX325" fmla="*/ 11466198 w 12192000"/>
              <a:gd name="connsiteY325" fmla="*/ 4097870 h 4454665"/>
              <a:gd name="connsiteX326" fmla="*/ 11835338 w 12192000"/>
              <a:gd name="connsiteY326" fmla="*/ 4087122 h 4454665"/>
              <a:gd name="connsiteX327" fmla="*/ 11831307 w 12192000"/>
              <a:gd name="connsiteY327" fmla="*/ 4095183 h 4454665"/>
              <a:gd name="connsiteX328" fmla="*/ 11870270 w 12192000"/>
              <a:gd name="connsiteY328" fmla="*/ 4115337 h 4454665"/>
              <a:gd name="connsiteX329" fmla="*/ 11883706 w 12192000"/>
              <a:gd name="connsiteY329" fmla="*/ 4091153 h 4454665"/>
              <a:gd name="connsiteX330" fmla="*/ 11876988 w 12192000"/>
              <a:gd name="connsiteY330" fmla="*/ 4087122 h 4454665"/>
              <a:gd name="connsiteX331" fmla="*/ 11866239 w 12192000"/>
              <a:gd name="connsiteY331" fmla="*/ 4105932 h 4454665"/>
              <a:gd name="connsiteX332" fmla="*/ 11459634 w 12192000"/>
              <a:gd name="connsiteY332" fmla="*/ 4084435 h 4454665"/>
              <a:gd name="connsiteX333" fmla="*/ 11424212 w 12192000"/>
              <a:gd name="connsiteY333" fmla="*/ 4105597 h 4454665"/>
              <a:gd name="connsiteX334" fmla="*/ 11427754 w 12192000"/>
              <a:gd name="connsiteY334" fmla="*/ 4112650 h 4454665"/>
              <a:gd name="connsiteX335" fmla="*/ 11463176 w 12192000"/>
              <a:gd name="connsiteY335" fmla="*/ 4091489 h 4454665"/>
              <a:gd name="connsiteX336" fmla="*/ 11459634 w 12192000"/>
              <a:gd name="connsiteY336" fmla="*/ 4084435 h 4454665"/>
              <a:gd name="connsiteX337" fmla="*/ 11450927 w 12192000"/>
              <a:gd name="connsiteY337" fmla="*/ 4050825 h 4454665"/>
              <a:gd name="connsiteX338" fmla="*/ 11456192 w 12192000"/>
              <a:gd name="connsiteY338" fmla="*/ 4056556 h 4454665"/>
              <a:gd name="connsiteX339" fmla="*/ 11649257 w 12192000"/>
              <a:gd name="connsiteY339" fmla="*/ 4187049 h 4454665"/>
              <a:gd name="connsiteX340" fmla="*/ 11842320 w 12192000"/>
              <a:gd name="connsiteY340" fmla="*/ 4056556 h 4454665"/>
              <a:gd name="connsiteX341" fmla="*/ 11847586 w 12192000"/>
              <a:gd name="connsiteY341" fmla="*/ 4050825 h 4454665"/>
              <a:gd name="connsiteX342" fmla="*/ 11852851 w 12192000"/>
              <a:gd name="connsiteY342" fmla="*/ 4053029 h 4454665"/>
              <a:gd name="connsiteX343" fmla="*/ 11891464 w 12192000"/>
              <a:gd name="connsiteY343" fmla="*/ 4063610 h 4454665"/>
              <a:gd name="connsiteX344" fmla="*/ 11898484 w 12192000"/>
              <a:gd name="connsiteY344" fmla="*/ 4074190 h 4454665"/>
              <a:gd name="connsiteX345" fmla="*/ 11649257 w 12192000"/>
              <a:gd name="connsiteY345" fmla="*/ 4247005 h 4454665"/>
              <a:gd name="connsiteX346" fmla="*/ 11400028 w 12192000"/>
              <a:gd name="connsiteY346" fmla="*/ 4077718 h 4454665"/>
              <a:gd name="connsiteX347" fmla="*/ 11407049 w 12192000"/>
              <a:gd name="connsiteY347" fmla="*/ 4063610 h 4454665"/>
              <a:gd name="connsiteX348" fmla="*/ 11445662 w 12192000"/>
              <a:gd name="connsiteY348" fmla="*/ 4053029 h 4454665"/>
              <a:gd name="connsiteX349" fmla="*/ 11450927 w 12192000"/>
              <a:gd name="connsiteY349" fmla="*/ 4050825 h 4454665"/>
              <a:gd name="connsiteX350" fmla="*/ 11603442 w 12192000"/>
              <a:gd name="connsiteY350" fmla="*/ 4044987 h 4454665"/>
              <a:gd name="connsiteX351" fmla="*/ 11613922 w 12192000"/>
              <a:gd name="connsiteY351" fmla="*/ 4044987 h 4454665"/>
              <a:gd name="connsiteX352" fmla="*/ 11617414 w 12192000"/>
              <a:gd name="connsiteY352" fmla="*/ 4052078 h 4454665"/>
              <a:gd name="connsiteX353" fmla="*/ 11624401 w 12192000"/>
              <a:gd name="connsiteY353" fmla="*/ 4154897 h 4454665"/>
              <a:gd name="connsiteX354" fmla="*/ 11620908 w 12192000"/>
              <a:gd name="connsiteY354" fmla="*/ 4165534 h 4454665"/>
              <a:gd name="connsiteX355" fmla="*/ 11613922 w 12192000"/>
              <a:gd name="connsiteY355" fmla="*/ 4165534 h 4454665"/>
              <a:gd name="connsiteX356" fmla="*/ 11505632 w 12192000"/>
              <a:gd name="connsiteY356" fmla="*/ 4101714 h 4454665"/>
              <a:gd name="connsiteX357" fmla="*/ 11502138 w 12192000"/>
              <a:gd name="connsiteY357" fmla="*/ 4098169 h 4454665"/>
              <a:gd name="connsiteX358" fmla="*/ 11502138 w 12192000"/>
              <a:gd name="connsiteY358" fmla="*/ 4094624 h 4454665"/>
              <a:gd name="connsiteX359" fmla="*/ 11509124 w 12192000"/>
              <a:gd name="connsiteY359" fmla="*/ 4091079 h 4454665"/>
              <a:gd name="connsiteX360" fmla="*/ 11603442 w 12192000"/>
              <a:gd name="connsiteY360" fmla="*/ 4044987 h 4454665"/>
              <a:gd name="connsiteX361" fmla="*/ 11688084 w 12192000"/>
              <a:gd name="connsiteY361" fmla="*/ 4041441 h 4454665"/>
              <a:gd name="connsiteX362" fmla="*/ 11698565 w 12192000"/>
              <a:gd name="connsiteY362" fmla="*/ 4041441 h 4454665"/>
              <a:gd name="connsiteX363" fmla="*/ 11789388 w 12192000"/>
              <a:gd name="connsiteY363" fmla="*/ 4087352 h 4454665"/>
              <a:gd name="connsiteX364" fmla="*/ 11796375 w 12192000"/>
              <a:gd name="connsiteY364" fmla="*/ 4094416 h 4454665"/>
              <a:gd name="connsiteX365" fmla="*/ 11792882 w 12192000"/>
              <a:gd name="connsiteY365" fmla="*/ 4101479 h 4454665"/>
              <a:gd name="connsiteX366" fmla="*/ 11684592 w 12192000"/>
              <a:gd name="connsiteY366" fmla="*/ 4165048 h 4454665"/>
              <a:gd name="connsiteX367" fmla="*/ 11677605 w 12192000"/>
              <a:gd name="connsiteY367" fmla="*/ 4165048 h 4454665"/>
              <a:gd name="connsiteX368" fmla="*/ 11674112 w 12192000"/>
              <a:gd name="connsiteY368" fmla="*/ 4154453 h 4454665"/>
              <a:gd name="connsiteX369" fmla="*/ 11684592 w 12192000"/>
              <a:gd name="connsiteY369" fmla="*/ 4052037 h 4454665"/>
              <a:gd name="connsiteX370" fmla="*/ 11688084 w 12192000"/>
              <a:gd name="connsiteY370" fmla="*/ 4041441 h 4454665"/>
              <a:gd name="connsiteX371" fmla="*/ 10810283 w 12192000"/>
              <a:gd name="connsiteY371" fmla="*/ 4002477 h 4454665"/>
              <a:gd name="connsiteX372" fmla="*/ 10851862 w 12192000"/>
              <a:gd name="connsiteY372" fmla="*/ 4002477 h 4454665"/>
              <a:gd name="connsiteX373" fmla="*/ 10851862 w 12192000"/>
              <a:gd name="connsiteY373" fmla="*/ 4045087 h 4454665"/>
              <a:gd name="connsiteX374" fmla="*/ 10803353 w 12192000"/>
              <a:gd name="connsiteY374" fmla="*/ 4052189 h 4454665"/>
              <a:gd name="connsiteX375" fmla="*/ 10786028 w 12192000"/>
              <a:gd name="connsiteY375" fmla="*/ 4027333 h 4454665"/>
              <a:gd name="connsiteX376" fmla="*/ 10810283 w 12192000"/>
              <a:gd name="connsiteY376" fmla="*/ 4002477 h 4454665"/>
              <a:gd name="connsiteX377" fmla="*/ 10494479 w 12192000"/>
              <a:gd name="connsiteY377" fmla="*/ 3932612 h 4454665"/>
              <a:gd name="connsiteX378" fmla="*/ 10536128 w 12192000"/>
              <a:gd name="connsiteY378" fmla="*/ 3988884 h 4454665"/>
              <a:gd name="connsiteX379" fmla="*/ 10494479 w 12192000"/>
              <a:gd name="connsiteY379" fmla="*/ 4052188 h 4454665"/>
              <a:gd name="connsiteX380" fmla="*/ 10452829 w 12192000"/>
              <a:gd name="connsiteY380" fmla="*/ 3988884 h 4454665"/>
              <a:gd name="connsiteX381" fmla="*/ 10494479 w 12192000"/>
              <a:gd name="connsiteY381" fmla="*/ 3932612 h 4454665"/>
              <a:gd name="connsiteX382" fmla="*/ 11639005 w 12192000"/>
              <a:gd name="connsiteY382" fmla="*/ 3928583 h 4454665"/>
              <a:gd name="connsiteX383" fmla="*/ 11660034 w 12192000"/>
              <a:gd name="connsiteY383" fmla="*/ 3928583 h 4454665"/>
              <a:gd name="connsiteX384" fmla="*/ 11660034 w 12192000"/>
              <a:gd name="connsiteY384" fmla="*/ 3939223 h 4454665"/>
              <a:gd name="connsiteX385" fmla="*/ 11691578 w 12192000"/>
              <a:gd name="connsiteY385" fmla="*/ 3978240 h 4454665"/>
              <a:gd name="connsiteX386" fmla="*/ 11649519 w 12192000"/>
              <a:gd name="connsiteY386" fmla="*/ 4017257 h 4454665"/>
              <a:gd name="connsiteX387" fmla="*/ 11610966 w 12192000"/>
              <a:gd name="connsiteY387" fmla="*/ 3978240 h 4454665"/>
              <a:gd name="connsiteX388" fmla="*/ 11639005 w 12192000"/>
              <a:gd name="connsiteY388" fmla="*/ 3939223 h 4454665"/>
              <a:gd name="connsiteX389" fmla="*/ 11639005 w 12192000"/>
              <a:gd name="connsiteY389" fmla="*/ 3928583 h 4454665"/>
              <a:gd name="connsiteX390" fmla="*/ 11649257 w 12192000"/>
              <a:gd name="connsiteY390" fmla="*/ 3917834 h 4454665"/>
              <a:gd name="connsiteX391" fmla="*/ 11589469 w 12192000"/>
              <a:gd name="connsiteY391" fmla="*/ 3978294 h 4454665"/>
              <a:gd name="connsiteX392" fmla="*/ 11649257 w 12192000"/>
              <a:gd name="connsiteY392" fmla="*/ 4038754 h 4454665"/>
              <a:gd name="connsiteX393" fmla="*/ 11709045 w 12192000"/>
              <a:gd name="connsiteY393" fmla="*/ 3978294 h 4454665"/>
              <a:gd name="connsiteX394" fmla="*/ 11649257 w 12192000"/>
              <a:gd name="connsiteY394" fmla="*/ 3917834 h 4454665"/>
              <a:gd name="connsiteX395" fmla="*/ 11649257 w 12192000"/>
              <a:gd name="connsiteY395" fmla="*/ 3911117 h 4454665"/>
              <a:gd name="connsiteX396" fmla="*/ 11715763 w 12192000"/>
              <a:gd name="connsiteY396" fmla="*/ 3978294 h 4454665"/>
              <a:gd name="connsiteX397" fmla="*/ 11649257 w 12192000"/>
              <a:gd name="connsiteY397" fmla="*/ 4045472 h 4454665"/>
              <a:gd name="connsiteX398" fmla="*/ 11582751 w 12192000"/>
              <a:gd name="connsiteY398" fmla="*/ 3978294 h 4454665"/>
              <a:gd name="connsiteX399" fmla="*/ 11649257 w 12192000"/>
              <a:gd name="connsiteY399" fmla="*/ 3911117 h 4454665"/>
              <a:gd name="connsiteX400" fmla="*/ 11824549 w 12192000"/>
              <a:gd name="connsiteY400" fmla="*/ 3908430 h 4454665"/>
              <a:gd name="connsiteX401" fmla="*/ 11828050 w 12192000"/>
              <a:gd name="connsiteY401" fmla="*/ 3915483 h 4454665"/>
              <a:gd name="connsiteX402" fmla="*/ 11828050 w 12192000"/>
              <a:gd name="connsiteY402" fmla="*/ 4038922 h 4454665"/>
              <a:gd name="connsiteX403" fmla="*/ 11824549 w 12192000"/>
              <a:gd name="connsiteY403" fmla="*/ 4045976 h 4454665"/>
              <a:gd name="connsiteX404" fmla="*/ 11817546 w 12192000"/>
              <a:gd name="connsiteY404" fmla="*/ 4045976 h 4454665"/>
              <a:gd name="connsiteX405" fmla="*/ 11730012 w 12192000"/>
              <a:gd name="connsiteY405" fmla="*/ 3986020 h 4454665"/>
              <a:gd name="connsiteX406" fmla="*/ 11726510 w 12192000"/>
              <a:gd name="connsiteY406" fmla="*/ 3978966 h 4454665"/>
              <a:gd name="connsiteX407" fmla="*/ 11730012 w 12192000"/>
              <a:gd name="connsiteY407" fmla="*/ 3968385 h 4454665"/>
              <a:gd name="connsiteX408" fmla="*/ 11814044 w 12192000"/>
              <a:gd name="connsiteY408" fmla="*/ 3911956 h 4454665"/>
              <a:gd name="connsiteX409" fmla="*/ 11824549 w 12192000"/>
              <a:gd name="connsiteY409" fmla="*/ 3908430 h 4454665"/>
              <a:gd name="connsiteX410" fmla="*/ 11473964 w 12192000"/>
              <a:gd name="connsiteY410" fmla="*/ 3908430 h 4454665"/>
              <a:gd name="connsiteX411" fmla="*/ 11480967 w 12192000"/>
              <a:gd name="connsiteY411" fmla="*/ 3911956 h 4454665"/>
              <a:gd name="connsiteX412" fmla="*/ 11568501 w 12192000"/>
              <a:gd name="connsiteY412" fmla="*/ 3968385 h 4454665"/>
              <a:gd name="connsiteX413" fmla="*/ 11572002 w 12192000"/>
              <a:gd name="connsiteY413" fmla="*/ 3978966 h 4454665"/>
              <a:gd name="connsiteX414" fmla="*/ 11568501 w 12192000"/>
              <a:gd name="connsiteY414" fmla="*/ 3986020 h 4454665"/>
              <a:gd name="connsiteX415" fmla="*/ 11480967 w 12192000"/>
              <a:gd name="connsiteY415" fmla="*/ 4045976 h 4454665"/>
              <a:gd name="connsiteX416" fmla="*/ 11473964 w 12192000"/>
              <a:gd name="connsiteY416" fmla="*/ 4045976 h 4454665"/>
              <a:gd name="connsiteX417" fmla="*/ 11466961 w 12192000"/>
              <a:gd name="connsiteY417" fmla="*/ 4042449 h 4454665"/>
              <a:gd name="connsiteX418" fmla="*/ 11466961 w 12192000"/>
              <a:gd name="connsiteY418" fmla="*/ 3915483 h 4454665"/>
              <a:gd name="connsiteX419" fmla="*/ 11473964 w 12192000"/>
              <a:gd name="connsiteY419" fmla="*/ 3908430 h 4454665"/>
              <a:gd name="connsiteX420" fmla="*/ 11070316 w 12192000"/>
              <a:gd name="connsiteY420" fmla="*/ 3897681 h 4454665"/>
              <a:gd name="connsiteX421" fmla="*/ 11070316 w 12192000"/>
              <a:gd name="connsiteY421" fmla="*/ 3904734 h 4454665"/>
              <a:gd name="connsiteX422" fmla="*/ 11112166 w 12192000"/>
              <a:gd name="connsiteY422" fmla="*/ 4066968 h 4454665"/>
              <a:gd name="connsiteX423" fmla="*/ 11133091 w 12192000"/>
              <a:gd name="connsiteY423" fmla="*/ 4088129 h 4454665"/>
              <a:gd name="connsiteX424" fmla="*/ 11143554 w 12192000"/>
              <a:gd name="connsiteY424" fmla="*/ 4088129 h 4454665"/>
              <a:gd name="connsiteX425" fmla="*/ 11140066 w 12192000"/>
              <a:gd name="connsiteY425" fmla="*/ 4095182 h 4454665"/>
              <a:gd name="connsiteX426" fmla="*/ 11112166 w 12192000"/>
              <a:gd name="connsiteY426" fmla="*/ 4116343 h 4454665"/>
              <a:gd name="connsiteX427" fmla="*/ 11077291 w 12192000"/>
              <a:gd name="connsiteY427" fmla="*/ 4112817 h 4454665"/>
              <a:gd name="connsiteX428" fmla="*/ 11073804 w 12192000"/>
              <a:gd name="connsiteY428" fmla="*/ 4116343 h 4454665"/>
              <a:gd name="connsiteX429" fmla="*/ 11070316 w 12192000"/>
              <a:gd name="connsiteY429" fmla="*/ 4119870 h 4454665"/>
              <a:gd name="connsiteX430" fmla="*/ 11070316 w 12192000"/>
              <a:gd name="connsiteY430" fmla="*/ 4141031 h 4454665"/>
              <a:gd name="connsiteX431" fmla="*/ 11077291 w 12192000"/>
              <a:gd name="connsiteY431" fmla="*/ 4148085 h 4454665"/>
              <a:gd name="connsiteX432" fmla="*/ 11122628 w 12192000"/>
              <a:gd name="connsiteY432" fmla="*/ 4151611 h 4454665"/>
              <a:gd name="connsiteX433" fmla="*/ 11126116 w 12192000"/>
              <a:gd name="connsiteY433" fmla="*/ 4151611 h 4454665"/>
              <a:gd name="connsiteX434" fmla="*/ 11181916 w 12192000"/>
              <a:gd name="connsiteY434" fmla="*/ 4098709 h 4454665"/>
              <a:gd name="connsiteX435" fmla="*/ 11213303 w 12192000"/>
              <a:gd name="connsiteY435" fmla="*/ 3968217 h 4454665"/>
              <a:gd name="connsiteX436" fmla="*/ 11227253 w 12192000"/>
              <a:gd name="connsiteY436" fmla="*/ 3925895 h 4454665"/>
              <a:gd name="connsiteX437" fmla="*/ 11230741 w 12192000"/>
              <a:gd name="connsiteY437" fmla="*/ 3904734 h 4454665"/>
              <a:gd name="connsiteX438" fmla="*/ 11230741 w 12192000"/>
              <a:gd name="connsiteY438" fmla="*/ 3897681 h 4454665"/>
              <a:gd name="connsiteX439" fmla="*/ 11223766 w 12192000"/>
              <a:gd name="connsiteY439" fmla="*/ 3897681 h 4454665"/>
              <a:gd name="connsiteX440" fmla="*/ 11195866 w 12192000"/>
              <a:gd name="connsiteY440" fmla="*/ 3897681 h 4454665"/>
              <a:gd name="connsiteX441" fmla="*/ 11188891 w 12192000"/>
              <a:gd name="connsiteY441" fmla="*/ 3901207 h 4454665"/>
              <a:gd name="connsiteX442" fmla="*/ 11150528 w 12192000"/>
              <a:gd name="connsiteY442" fmla="*/ 4045807 h 4454665"/>
              <a:gd name="connsiteX443" fmla="*/ 11147041 w 12192000"/>
              <a:gd name="connsiteY443" fmla="*/ 4045807 h 4454665"/>
              <a:gd name="connsiteX444" fmla="*/ 11112166 w 12192000"/>
              <a:gd name="connsiteY444" fmla="*/ 3901207 h 4454665"/>
              <a:gd name="connsiteX445" fmla="*/ 11105191 w 12192000"/>
              <a:gd name="connsiteY445" fmla="*/ 3897681 h 4454665"/>
              <a:gd name="connsiteX446" fmla="*/ 11077291 w 12192000"/>
              <a:gd name="connsiteY446" fmla="*/ 3897681 h 4454665"/>
              <a:gd name="connsiteX447" fmla="*/ 11070316 w 12192000"/>
              <a:gd name="connsiteY447" fmla="*/ 3897681 h 4454665"/>
              <a:gd name="connsiteX448" fmla="*/ 11038289 w 12192000"/>
              <a:gd name="connsiteY448" fmla="*/ 3893650 h 4454665"/>
              <a:gd name="connsiteX449" fmla="*/ 10985474 w 12192000"/>
              <a:gd name="connsiteY449" fmla="*/ 3914756 h 4454665"/>
              <a:gd name="connsiteX450" fmla="*/ 10985474 w 12192000"/>
              <a:gd name="connsiteY450" fmla="*/ 3904203 h 4454665"/>
              <a:gd name="connsiteX451" fmla="*/ 10978433 w 12192000"/>
              <a:gd name="connsiteY451" fmla="*/ 3897168 h 4454665"/>
              <a:gd name="connsiteX452" fmla="*/ 10950264 w 12192000"/>
              <a:gd name="connsiteY452" fmla="*/ 3897168 h 4454665"/>
              <a:gd name="connsiteX453" fmla="*/ 10943222 w 12192000"/>
              <a:gd name="connsiteY453" fmla="*/ 3904203 h 4454665"/>
              <a:gd name="connsiteX454" fmla="*/ 10943222 w 12192000"/>
              <a:gd name="connsiteY454" fmla="*/ 4080086 h 4454665"/>
              <a:gd name="connsiteX455" fmla="*/ 10950264 w 12192000"/>
              <a:gd name="connsiteY455" fmla="*/ 4087121 h 4454665"/>
              <a:gd name="connsiteX456" fmla="*/ 10978433 w 12192000"/>
              <a:gd name="connsiteY456" fmla="*/ 4087121 h 4454665"/>
              <a:gd name="connsiteX457" fmla="*/ 10985474 w 12192000"/>
              <a:gd name="connsiteY457" fmla="*/ 4080086 h 4454665"/>
              <a:gd name="connsiteX458" fmla="*/ 10985474 w 12192000"/>
              <a:gd name="connsiteY458" fmla="*/ 3956968 h 4454665"/>
              <a:gd name="connsiteX459" fmla="*/ 11038289 w 12192000"/>
              <a:gd name="connsiteY459" fmla="*/ 3935862 h 4454665"/>
              <a:gd name="connsiteX460" fmla="*/ 11045332 w 12192000"/>
              <a:gd name="connsiteY460" fmla="*/ 3928827 h 4454665"/>
              <a:gd name="connsiteX461" fmla="*/ 11045332 w 12192000"/>
              <a:gd name="connsiteY461" fmla="*/ 3900686 h 4454665"/>
              <a:gd name="connsiteX462" fmla="*/ 11041811 w 12192000"/>
              <a:gd name="connsiteY462" fmla="*/ 3897168 h 4454665"/>
              <a:gd name="connsiteX463" fmla="*/ 11038289 w 12192000"/>
              <a:gd name="connsiteY463" fmla="*/ 3893650 h 4454665"/>
              <a:gd name="connsiteX464" fmla="*/ 10831647 w 12192000"/>
              <a:gd name="connsiteY464" fmla="*/ 3889619 h 4454665"/>
              <a:gd name="connsiteX465" fmla="*/ 10761417 w 12192000"/>
              <a:gd name="connsiteY465" fmla="*/ 3896690 h 4454665"/>
              <a:gd name="connsiteX466" fmla="*/ 10754394 w 12192000"/>
              <a:gd name="connsiteY466" fmla="*/ 3903762 h 4454665"/>
              <a:gd name="connsiteX467" fmla="*/ 10754394 w 12192000"/>
              <a:gd name="connsiteY467" fmla="*/ 3928511 h 4454665"/>
              <a:gd name="connsiteX468" fmla="*/ 10757905 w 12192000"/>
              <a:gd name="connsiteY468" fmla="*/ 3935583 h 4454665"/>
              <a:gd name="connsiteX469" fmla="*/ 10761417 w 12192000"/>
              <a:gd name="connsiteY469" fmla="*/ 3935583 h 4454665"/>
              <a:gd name="connsiteX470" fmla="*/ 10828136 w 12192000"/>
              <a:gd name="connsiteY470" fmla="*/ 3932047 h 4454665"/>
              <a:gd name="connsiteX471" fmla="*/ 10852717 w 12192000"/>
              <a:gd name="connsiteY471" fmla="*/ 3956797 h 4454665"/>
              <a:gd name="connsiteX472" fmla="*/ 10852717 w 12192000"/>
              <a:gd name="connsiteY472" fmla="*/ 3967404 h 4454665"/>
              <a:gd name="connsiteX473" fmla="*/ 10803555 w 12192000"/>
              <a:gd name="connsiteY473" fmla="*/ 3970940 h 4454665"/>
              <a:gd name="connsiteX474" fmla="*/ 10740347 w 12192000"/>
              <a:gd name="connsiteY474" fmla="*/ 4031045 h 4454665"/>
              <a:gd name="connsiteX475" fmla="*/ 10796532 w 12192000"/>
              <a:gd name="connsiteY475" fmla="*/ 4091151 h 4454665"/>
              <a:gd name="connsiteX476" fmla="*/ 10859740 w 12192000"/>
              <a:gd name="connsiteY476" fmla="*/ 4077008 h 4454665"/>
              <a:gd name="connsiteX477" fmla="*/ 10887833 w 12192000"/>
              <a:gd name="connsiteY477" fmla="*/ 4091151 h 4454665"/>
              <a:gd name="connsiteX478" fmla="*/ 10894855 w 12192000"/>
              <a:gd name="connsiteY478" fmla="*/ 4087615 h 4454665"/>
              <a:gd name="connsiteX479" fmla="*/ 10894855 w 12192000"/>
              <a:gd name="connsiteY479" fmla="*/ 4084080 h 4454665"/>
              <a:gd name="connsiteX480" fmla="*/ 10894855 w 12192000"/>
              <a:gd name="connsiteY480" fmla="*/ 3956797 h 4454665"/>
              <a:gd name="connsiteX481" fmla="*/ 10831647 w 12192000"/>
              <a:gd name="connsiteY481" fmla="*/ 3889619 h 4454665"/>
              <a:gd name="connsiteX482" fmla="*/ 10495822 w 12192000"/>
              <a:gd name="connsiteY482" fmla="*/ 3889618 h 4454665"/>
              <a:gd name="connsiteX483" fmla="*/ 10409835 w 12192000"/>
              <a:gd name="connsiteY483" fmla="*/ 3990385 h 4454665"/>
              <a:gd name="connsiteX484" fmla="*/ 10495822 w 12192000"/>
              <a:gd name="connsiteY484" fmla="*/ 4091151 h 4454665"/>
              <a:gd name="connsiteX485" fmla="*/ 10581809 w 12192000"/>
              <a:gd name="connsiteY485" fmla="*/ 3990385 h 4454665"/>
              <a:gd name="connsiteX486" fmla="*/ 10495822 w 12192000"/>
              <a:gd name="connsiteY486" fmla="*/ 3889618 h 4454665"/>
              <a:gd name="connsiteX487" fmla="*/ 10241892 w 12192000"/>
              <a:gd name="connsiteY487" fmla="*/ 3865435 h 4454665"/>
              <a:gd name="connsiteX488" fmla="*/ 10273241 w 12192000"/>
              <a:gd name="connsiteY488" fmla="*/ 3865435 h 4454665"/>
              <a:gd name="connsiteX489" fmla="*/ 10290657 w 12192000"/>
              <a:gd name="connsiteY489" fmla="*/ 3865435 h 4454665"/>
              <a:gd name="connsiteX490" fmla="*/ 10335940 w 12192000"/>
              <a:gd name="connsiteY490" fmla="*/ 3904399 h 4454665"/>
              <a:gd name="connsiteX491" fmla="*/ 10287174 w 12192000"/>
              <a:gd name="connsiteY491" fmla="*/ 3943361 h 4454665"/>
              <a:gd name="connsiteX492" fmla="*/ 10241892 w 12192000"/>
              <a:gd name="connsiteY492" fmla="*/ 3943361 h 4454665"/>
              <a:gd name="connsiteX493" fmla="*/ 10241892 w 12192000"/>
              <a:gd name="connsiteY493" fmla="*/ 3865435 h 4454665"/>
              <a:gd name="connsiteX494" fmla="*/ 10659063 w 12192000"/>
              <a:gd name="connsiteY494" fmla="*/ 3852000 h 4454665"/>
              <a:gd name="connsiteX495" fmla="*/ 10627410 w 12192000"/>
              <a:gd name="connsiteY495" fmla="*/ 3859034 h 4454665"/>
              <a:gd name="connsiteX496" fmla="*/ 10623893 w 12192000"/>
              <a:gd name="connsiteY496" fmla="*/ 3866068 h 4454665"/>
              <a:gd name="connsiteX497" fmla="*/ 10623893 w 12192000"/>
              <a:gd name="connsiteY497" fmla="*/ 3897720 h 4454665"/>
              <a:gd name="connsiteX498" fmla="*/ 10606308 w 12192000"/>
              <a:gd name="connsiteY498" fmla="*/ 3897720 h 4454665"/>
              <a:gd name="connsiteX499" fmla="*/ 10599275 w 12192000"/>
              <a:gd name="connsiteY499" fmla="*/ 3904754 h 4454665"/>
              <a:gd name="connsiteX500" fmla="*/ 10599275 w 12192000"/>
              <a:gd name="connsiteY500" fmla="*/ 3929372 h 4454665"/>
              <a:gd name="connsiteX501" fmla="*/ 10606308 w 12192000"/>
              <a:gd name="connsiteY501" fmla="*/ 3936406 h 4454665"/>
              <a:gd name="connsiteX502" fmla="*/ 10623893 w 12192000"/>
              <a:gd name="connsiteY502" fmla="*/ 3936406 h 4454665"/>
              <a:gd name="connsiteX503" fmla="*/ 10623893 w 12192000"/>
              <a:gd name="connsiteY503" fmla="*/ 4020813 h 4454665"/>
              <a:gd name="connsiteX504" fmla="*/ 10680164 w 12192000"/>
              <a:gd name="connsiteY504" fmla="*/ 4091151 h 4454665"/>
              <a:gd name="connsiteX505" fmla="*/ 10711817 w 12192000"/>
              <a:gd name="connsiteY505" fmla="*/ 4087635 h 4454665"/>
              <a:gd name="connsiteX506" fmla="*/ 10718851 w 12192000"/>
              <a:gd name="connsiteY506" fmla="*/ 4080600 h 4454665"/>
              <a:gd name="connsiteX507" fmla="*/ 10718851 w 12192000"/>
              <a:gd name="connsiteY507" fmla="*/ 4055982 h 4454665"/>
              <a:gd name="connsiteX508" fmla="*/ 10711817 w 12192000"/>
              <a:gd name="connsiteY508" fmla="*/ 4048948 h 4454665"/>
              <a:gd name="connsiteX509" fmla="*/ 10687198 w 12192000"/>
              <a:gd name="connsiteY509" fmla="*/ 4048948 h 4454665"/>
              <a:gd name="connsiteX510" fmla="*/ 10666096 w 12192000"/>
              <a:gd name="connsiteY510" fmla="*/ 4013779 h 4454665"/>
              <a:gd name="connsiteX511" fmla="*/ 10666096 w 12192000"/>
              <a:gd name="connsiteY511" fmla="*/ 3936406 h 4454665"/>
              <a:gd name="connsiteX512" fmla="*/ 10711817 w 12192000"/>
              <a:gd name="connsiteY512" fmla="*/ 3936406 h 4454665"/>
              <a:gd name="connsiteX513" fmla="*/ 10718851 w 12192000"/>
              <a:gd name="connsiteY513" fmla="*/ 3929372 h 4454665"/>
              <a:gd name="connsiteX514" fmla="*/ 10718851 w 12192000"/>
              <a:gd name="connsiteY514" fmla="*/ 3904754 h 4454665"/>
              <a:gd name="connsiteX515" fmla="*/ 10711817 w 12192000"/>
              <a:gd name="connsiteY515" fmla="*/ 3897720 h 4454665"/>
              <a:gd name="connsiteX516" fmla="*/ 10666096 w 12192000"/>
              <a:gd name="connsiteY516" fmla="*/ 3897720 h 4454665"/>
              <a:gd name="connsiteX517" fmla="*/ 10666096 w 12192000"/>
              <a:gd name="connsiteY517" fmla="*/ 3859034 h 4454665"/>
              <a:gd name="connsiteX518" fmla="*/ 10662580 w 12192000"/>
              <a:gd name="connsiteY518" fmla="*/ 3852000 h 4454665"/>
              <a:gd name="connsiteX519" fmla="*/ 10659063 w 12192000"/>
              <a:gd name="connsiteY519" fmla="*/ 3852000 h 4454665"/>
              <a:gd name="connsiteX520" fmla="*/ 10283668 w 12192000"/>
              <a:gd name="connsiteY520" fmla="*/ 3823786 h 4454665"/>
              <a:gd name="connsiteX521" fmla="*/ 10203208 w 12192000"/>
              <a:gd name="connsiteY521" fmla="*/ 3827297 h 4454665"/>
              <a:gd name="connsiteX522" fmla="*/ 10196211 w 12192000"/>
              <a:gd name="connsiteY522" fmla="*/ 3834319 h 4454665"/>
              <a:gd name="connsiteX523" fmla="*/ 10196211 w 12192000"/>
              <a:gd name="connsiteY523" fmla="*/ 4080099 h 4454665"/>
              <a:gd name="connsiteX524" fmla="*/ 10203208 w 12192000"/>
              <a:gd name="connsiteY524" fmla="*/ 4087121 h 4454665"/>
              <a:gd name="connsiteX525" fmla="*/ 10234693 w 12192000"/>
              <a:gd name="connsiteY525" fmla="*/ 4087121 h 4454665"/>
              <a:gd name="connsiteX526" fmla="*/ 10241689 w 12192000"/>
              <a:gd name="connsiteY526" fmla="*/ 4080099 h 4454665"/>
              <a:gd name="connsiteX527" fmla="*/ 10241689 w 12192000"/>
              <a:gd name="connsiteY527" fmla="*/ 3981787 h 4454665"/>
              <a:gd name="connsiteX528" fmla="*/ 10290665 w 12192000"/>
              <a:gd name="connsiteY528" fmla="*/ 3985298 h 4454665"/>
              <a:gd name="connsiteX529" fmla="*/ 10336143 w 12192000"/>
              <a:gd name="connsiteY529" fmla="*/ 4083610 h 4454665"/>
              <a:gd name="connsiteX530" fmla="*/ 10343139 w 12192000"/>
              <a:gd name="connsiteY530" fmla="*/ 4087121 h 4454665"/>
              <a:gd name="connsiteX531" fmla="*/ 10374624 w 12192000"/>
              <a:gd name="connsiteY531" fmla="*/ 4087121 h 4454665"/>
              <a:gd name="connsiteX532" fmla="*/ 10381620 w 12192000"/>
              <a:gd name="connsiteY532" fmla="*/ 4083610 h 4454665"/>
              <a:gd name="connsiteX533" fmla="*/ 10381620 w 12192000"/>
              <a:gd name="connsiteY533" fmla="*/ 4076588 h 4454665"/>
              <a:gd name="connsiteX534" fmla="*/ 10336143 w 12192000"/>
              <a:gd name="connsiteY534" fmla="*/ 3971254 h 4454665"/>
              <a:gd name="connsiteX535" fmla="*/ 10381620 w 12192000"/>
              <a:gd name="connsiteY535" fmla="*/ 3904542 h 4454665"/>
              <a:gd name="connsiteX536" fmla="*/ 10290665 w 12192000"/>
              <a:gd name="connsiteY536" fmla="*/ 3823786 h 4454665"/>
              <a:gd name="connsiteX537" fmla="*/ 10283668 w 12192000"/>
              <a:gd name="connsiteY537" fmla="*/ 3823786 h 4454665"/>
              <a:gd name="connsiteX538" fmla="*/ 11839186 w 12192000"/>
              <a:gd name="connsiteY538" fmla="*/ 3792864 h 4454665"/>
              <a:gd name="connsiteX539" fmla="*/ 11845722 w 12192000"/>
              <a:gd name="connsiteY539" fmla="*/ 3798595 h 4454665"/>
              <a:gd name="connsiteX540" fmla="*/ 11908470 w 12192000"/>
              <a:gd name="connsiteY540" fmla="*/ 4038419 h 4454665"/>
              <a:gd name="connsiteX541" fmla="*/ 11898012 w 12192000"/>
              <a:gd name="connsiteY541" fmla="*/ 4041946 h 4454665"/>
              <a:gd name="connsiteX542" fmla="*/ 11859666 w 12192000"/>
              <a:gd name="connsiteY542" fmla="*/ 4031365 h 4454665"/>
              <a:gd name="connsiteX543" fmla="*/ 11852694 w 12192000"/>
              <a:gd name="connsiteY543" fmla="*/ 4020785 h 4454665"/>
              <a:gd name="connsiteX544" fmla="*/ 11807377 w 12192000"/>
              <a:gd name="connsiteY544" fmla="*/ 3840917 h 4454665"/>
              <a:gd name="connsiteX545" fmla="*/ 11807377 w 12192000"/>
              <a:gd name="connsiteY545" fmla="*/ 3826810 h 4454665"/>
              <a:gd name="connsiteX546" fmla="*/ 11835264 w 12192000"/>
              <a:gd name="connsiteY546" fmla="*/ 3795068 h 4454665"/>
              <a:gd name="connsiteX547" fmla="*/ 11839186 w 12192000"/>
              <a:gd name="connsiteY547" fmla="*/ 3792864 h 4454665"/>
              <a:gd name="connsiteX548" fmla="*/ 11458923 w 12192000"/>
              <a:gd name="connsiteY548" fmla="*/ 3792864 h 4454665"/>
              <a:gd name="connsiteX549" fmla="*/ 11462885 w 12192000"/>
              <a:gd name="connsiteY549" fmla="*/ 3795068 h 4454665"/>
              <a:gd name="connsiteX550" fmla="*/ 11494585 w 12192000"/>
              <a:gd name="connsiteY550" fmla="*/ 3826810 h 4454665"/>
              <a:gd name="connsiteX551" fmla="*/ 11491063 w 12192000"/>
              <a:gd name="connsiteY551" fmla="*/ 3840917 h 4454665"/>
              <a:gd name="connsiteX552" fmla="*/ 11445274 w 12192000"/>
              <a:gd name="connsiteY552" fmla="*/ 4020785 h 4454665"/>
              <a:gd name="connsiteX553" fmla="*/ 11438229 w 12192000"/>
              <a:gd name="connsiteY553" fmla="*/ 4031365 h 4454665"/>
              <a:gd name="connsiteX554" fmla="*/ 11399484 w 12192000"/>
              <a:gd name="connsiteY554" fmla="*/ 4041946 h 4454665"/>
              <a:gd name="connsiteX555" fmla="*/ 11388917 w 12192000"/>
              <a:gd name="connsiteY555" fmla="*/ 4038419 h 4454665"/>
              <a:gd name="connsiteX556" fmla="*/ 11452318 w 12192000"/>
              <a:gd name="connsiteY556" fmla="*/ 3798595 h 4454665"/>
              <a:gd name="connsiteX557" fmla="*/ 11458923 w 12192000"/>
              <a:gd name="connsiteY557" fmla="*/ 3792864 h 4454665"/>
              <a:gd name="connsiteX558" fmla="*/ 11677605 w 12192000"/>
              <a:gd name="connsiteY558" fmla="*/ 3787510 h 4454665"/>
              <a:gd name="connsiteX559" fmla="*/ 11684592 w 12192000"/>
              <a:gd name="connsiteY559" fmla="*/ 3787510 h 4454665"/>
              <a:gd name="connsiteX560" fmla="*/ 11792882 w 12192000"/>
              <a:gd name="connsiteY560" fmla="*/ 3851079 h 4454665"/>
              <a:gd name="connsiteX561" fmla="*/ 11796375 w 12192000"/>
              <a:gd name="connsiteY561" fmla="*/ 3858143 h 4454665"/>
              <a:gd name="connsiteX562" fmla="*/ 11789388 w 12192000"/>
              <a:gd name="connsiteY562" fmla="*/ 3865206 h 4454665"/>
              <a:gd name="connsiteX563" fmla="*/ 11698565 w 12192000"/>
              <a:gd name="connsiteY563" fmla="*/ 3911117 h 4454665"/>
              <a:gd name="connsiteX564" fmla="*/ 11688084 w 12192000"/>
              <a:gd name="connsiteY564" fmla="*/ 3911117 h 4454665"/>
              <a:gd name="connsiteX565" fmla="*/ 11681098 w 12192000"/>
              <a:gd name="connsiteY565" fmla="*/ 3900522 h 4454665"/>
              <a:gd name="connsiteX566" fmla="*/ 11674112 w 12192000"/>
              <a:gd name="connsiteY566" fmla="*/ 3798106 h 4454665"/>
              <a:gd name="connsiteX567" fmla="*/ 11677605 w 12192000"/>
              <a:gd name="connsiteY567" fmla="*/ 3787510 h 4454665"/>
              <a:gd name="connsiteX568" fmla="*/ 11613922 w 12192000"/>
              <a:gd name="connsiteY568" fmla="*/ 3787510 h 4454665"/>
              <a:gd name="connsiteX569" fmla="*/ 11620908 w 12192000"/>
              <a:gd name="connsiteY569" fmla="*/ 3787510 h 4454665"/>
              <a:gd name="connsiteX570" fmla="*/ 11624401 w 12192000"/>
              <a:gd name="connsiteY570" fmla="*/ 3798106 h 4454665"/>
              <a:gd name="connsiteX571" fmla="*/ 11613922 w 12192000"/>
              <a:gd name="connsiteY571" fmla="*/ 3904053 h 4454665"/>
              <a:gd name="connsiteX572" fmla="*/ 11610428 w 12192000"/>
              <a:gd name="connsiteY572" fmla="*/ 3911117 h 4454665"/>
              <a:gd name="connsiteX573" fmla="*/ 11599949 w 12192000"/>
              <a:gd name="connsiteY573" fmla="*/ 3911117 h 4454665"/>
              <a:gd name="connsiteX574" fmla="*/ 11509124 w 12192000"/>
              <a:gd name="connsiteY574" fmla="*/ 3865206 h 4454665"/>
              <a:gd name="connsiteX575" fmla="*/ 11502138 w 12192000"/>
              <a:gd name="connsiteY575" fmla="*/ 3858143 h 4454665"/>
              <a:gd name="connsiteX576" fmla="*/ 11505632 w 12192000"/>
              <a:gd name="connsiteY576" fmla="*/ 3851079 h 4454665"/>
              <a:gd name="connsiteX577" fmla="*/ 11613922 w 12192000"/>
              <a:gd name="connsiteY577" fmla="*/ 3787510 h 4454665"/>
              <a:gd name="connsiteX578" fmla="*/ 11532772 w 12192000"/>
              <a:gd name="connsiteY578" fmla="*/ 3752578 h 4454665"/>
              <a:gd name="connsiteX579" fmla="*/ 11539758 w 12192000"/>
              <a:gd name="connsiteY579" fmla="*/ 3759968 h 4454665"/>
              <a:gd name="connsiteX580" fmla="*/ 11536265 w 12192000"/>
              <a:gd name="connsiteY580" fmla="*/ 3763663 h 4454665"/>
              <a:gd name="connsiteX581" fmla="*/ 11529278 w 12192000"/>
              <a:gd name="connsiteY581" fmla="*/ 3767358 h 4454665"/>
              <a:gd name="connsiteX582" fmla="*/ 11525785 w 12192000"/>
              <a:gd name="connsiteY582" fmla="*/ 3759968 h 4454665"/>
              <a:gd name="connsiteX583" fmla="*/ 11522292 w 12192000"/>
              <a:gd name="connsiteY583" fmla="*/ 3759968 h 4454665"/>
              <a:gd name="connsiteX584" fmla="*/ 11532772 w 12192000"/>
              <a:gd name="connsiteY584" fmla="*/ 3752578 h 4454665"/>
              <a:gd name="connsiteX585" fmla="*/ 11529297 w 12192000"/>
              <a:gd name="connsiteY585" fmla="*/ 3745381 h 4454665"/>
              <a:gd name="connsiteX586" fmla="*/ 11511543 w 12192000"/>
              <a:gd name="connsiteY586" fmla="*/ 3756033 h 4454665"/>
              <a:gd name="connsiteX587" fmla="*/ 11515094 w 12192000"/>
              <a:gd name="connsiteY587" fmla="*/ 3759584 h 4454665"/>
              <a:gd name="connsiteX588" fmla="*/ 11532848 w 12192000"/>
              <a:gd name="connsiteY588" fmla="*/ 3791542 h 4454665"/>
              <a:gd name="connsiteX589" fmla="*/ 11539950 w 12192000"/>
              <a:gd name="connsiteY589" fmla="*/ 3787990 h 4454665"/>
              <a:gd name="connsiteX590" fmla="*/ 11532848 w 12192000"/>
              <a:gd name="connsiteY590" fmla="*/ 3773787 h 4454665"/>
              <a:gd name="connsiteX591" fmla="*/ 11539950 w 12192000"/>
              <a:gd name="connsiteY591" fmla="*/ 3770237 h 4454665"/>
              <a:gd name="connsiteX592" fmla="*/ 11554153 w 12192000"/>
              <a:gd name="connsiteY592" fmla="*/ 3780889 h 4454665"/>
              <a:gd name="connsiteX593" fmla="*/ 11561255 w 12192000"/>
              <a:gd name="connsiteY593" fmla="*/ 3777338 h 4454665"/>
              <a:gd name="connsiteX594" fmla="*/ 11547052 w 12192000"/>
              <a:gd name="connsiteY594" fmla="*/ 3763135 h 4454665"/>
              <a:gd name="connsiteX595" fmla="*/ 11547052 w 12192000"/>
              <a:gd name="connsiteY595" fmla="*/ 3759584 h 4454665"/>
              <a:gd name="connsiteX596" fmla="*/ 11529297 w 12192000"/>
              <a:gd name="connsiteY596" fmla="*/ 3745381 h 4454665"/>
              <a:gd name="connsiteX597" fmla="*/ 11750205 w 12192000"/>
              <a:gd name="connsiteY597" fmla="*/ 3739143 h 4454665"/>
              <a:gd name="connsiteX598" fmla="*/ 11753748 w 12192000"/>
              <a:gd name="connsiteY598" fmla="*/ 3763327 h 4454665"/>
              <a:gd name="connsiteX599" fmla="*/ 11746663 w 12192000"/>
              <a:gd name="connsiteY599" fmla="*/ 3780601 h 4454665"/>
              <a:gd name="connsiteX600" fmla="*/ 11753748 w 12192000"/>
              <a:gd name="connsiteY600" fmla="*/ 3787510 h 4454665"/>
              <a:gd name="connsiteX601" fmla="*/ 11760832 w 12192000"/>
              <a:gd name="connsiteY601" fmla="*/ 3770236 h 4454665"/>
              <a:gd name="connsiteX602" fmla="*/ 11785626 w 12192000"/>
              <a:gd name="connsiteY602" fmla="*/ 3756417 h 4454665"/>
              <a:gd name="connsiteX603" fmla="*/ 11778543 w 12192000"/>
              <a:gd name="connsiteY603" fmla="*/ 3752962 h 4454665"/>
              <a:gd name="connsiteX604" fmla="*/ 11760832 w 12192000"/>
              <a:gd name="connsiteY604" fmla="*/ 3759872 h 4454665"/>
              <a:gd name="connsiteX605" fmla="*/ 11757290 w 12192000"/>
              <a:gd name="connsiteY605" fmla="*/ 3742597 h 4454665"/>
              <a:gd name="connsiteX606" fmla="*/ 11750205 w 12192000"/>
              <a:gd name="connsiteY606" fmla="*/ 3739143 h 4454665"/>
              <a:gd name="connsiteX607" fmla="*/ 11715224 w 12192000"/>
              <a:gd name="connsiteY607" fmla="*/ 3735113 h 4454665"/>
              <a:gd name="connsiteX608" fmla="*/ 11725705 w 12192000"/>
              <a:gd name="connsiteY608" fmla="*/ 3738472 h 4454665"/>
              <a:gd name="connsiteX609" fmla="*/ 11729197 w 12192000"/>
              <a:gd name="connsiteY609" fmla="*/ 3741831 h 4454665"/>
              <a:gd name="connsiteX610" fmla="*/ 11722211 w 12192000"/>
              <a:gd name="connsiteY610" fmla="*/ 3748548 h 4454665"/>
              <a:gd name="connsiteX611" fmla="*/ 11711731 w 12192000"/>
              <a:gd name="connsiteY611" fmla="*/ 3745189 h 4454665"/>
              <a:gd name="connsiteX612" fmla="*/ 11711731 w 12192000"/>
              <a:gd name="connsiteY612" fmla="*/ 3741831 h 4454665"/>
              <a:gd name="connsiteX613" fmla="*/ 11715224 w 12192000"/>
              <a:gd name="connsiteY613" fmla="*/ 3735113 h 4454665"/>
              <a:gd name="connsiteX614" fmla="*/ 11582079 w 12192000"/>
              <a:gd name="connsiteY614" fmla="*/ 3734608 h 4454665"/>
              <a:gd name="connsiteX615" fmla="*/ 11596187 w 12192000"/>
              <a:gd name="connsiteY615" fmla="*/ 3745189 h 4454665"/>
              <a:gd name="connsiteX616" fmla="*/ 11582079 w 12192000"/>
              <a:gd name="connsiteY616" fmla="*/ 3759296 h 4454665"/>
              <a:gd name="connsiteX617" fmla="*/ 11567972 w 12192000"/>
              <a:gd name="connsiteY617" fmla="*/ 3748716 h 4454665"/>
              <a:gd name="connsiteX618" fmla="*/ 11567972 w 12192000"/>
              <a:gd name="connsiteY618" fmla="*/ 3745189 h 4454665"/>
              <a:gd name="connsiteX619" fmla="*/ 11582079 w 12192000"/>
              <a:gd name="connsiteY619" fmla="*/ 3734608 h 4454665"/>
              <a:gd name="connsiteX620" fmla="*/ 11670081 w 12192000"/>
              <a:gd name="connsiteY620" fmla="*/ 3728394 h 4454665"/>
              <a:gd name="connsiteX621" fmla="*/ 11673440 w 12192000"/>
              <a:gd name="connsiteY621" fmla="*/ 3738874 h 4454665"/>
              <a:gd name="connsiteX622" fmla="*/ 11676799 w 12192000"/>
              <a:gd name="connsiteY622" fmla="*/ 3745861 h 4454665"/>
              <a:gd name="connsiteX623" fmla="*/ 11663363 w 12192000"/>
              <a:gd name="connsiteY623" fmla="*/ 3745861 h 4454665"/>
              <a:gd name="connsiteX624" fmla="*/ 11666722 w 12192000"/>
              <a:gd name="connsiteY624" fmla="*/ 3738874 h 4454665"/>
              <a:gd name="connsiteX625" fmla="*/ 11670081 w 12192000"/>
              <a:gd name="connsiteY625" fmla="*/ 3728394 h 4454665"/>
              <a:gd name="connsiteX626" fmla="*/ 11578609 w 12192000"/>
              <a:gd name="connsiteY626" fmla="*/ 3727878 h 4454665"/>
              <a:gd name="connsiteX627" fmla="*/ 11561254 w 12192000"/>
              <a:gd name="connsiteY627" fmla="*/ 3745448 h 4454665"/>
              <a:gd name="connsiteX628" fmla="*/ 11561254 w 12192000"/>
              <a:gd name="connsiteY628" fmla="*/ 3748961 h 4454665"/>
              <a:gd name="connsiteX629" fmla="*/ 11582079 w 12192000"/>
              <a:gd name="connsiteY629" fmla="*/ 3766531 h 4454665"/>
              <a:gd name="connsiteX630" fmla="*/ 11602904 w 12192000"/>
              <a:gd name="connsiteY630" fmla="*/ 3745448 h 4454665"/>
              <a:gd name="connsiteX631" fmla="*/ 11578609 w 12192000"/>
              <a:gd name="connsiteY631" fmla="*/ 3727878 h 4454665"/>
              <a:gd name="connsiteX632" fmla="*/ 11708922 w 12192000"/>
              <a:gd name="connsiteY632" fmla="*/ 3724364 h 4454665"/>
              <a:gd name="connsiteX633" fmla="*/ 11705380 w 12192000"/>
              <a:gd name="connsiteY633" fmla="*/ 3742118 h 4454665"/>
              <a:gd name="connsiteX634" fmla="*/ 11698296 w 12192000"/>
              <a:gd name="connsiteY634" fmla="*/ 3763423 h 4454665"/>
              <a:gd name="connsiteX635" fmla="*/ 11708922 w 12192000"/>
              <a:gd name="connsiteY635" fmla="*/ 3766974 h 4454665"/>
              <a:gd name="connsiteX636" fmla="*/ 11712464 w 12192000"/>
              <a:gd name="connsiteY636" fmla="*/ 3752771 h 4454665"/>
              <a:gd name="connsiteX637" fmla="*/ 11719548 w 12192000"/>
              <a:gd name="connsiteY637" fmla="*/ 3752771 h 4454665"/>
              <a:gd name="connsiteX638" fmla="*/ 11723090 w 12192000"/>
              <a:gd name="connsiteY638" fmla="*/ 3770525 h 4454665"/>
              <a:gd name="connsiteX639" fmla="*/ 11730175 w 12192000"/>
              <a:gd name="connsiteY639" fmla="*/ 3774076 h 4454665"/>
              <a:gd name="connsiteX640" fmla="*/ 11726632 w 12192000"/>
              <a:gd name="connsiteY640" fmla="*/ 3756322 h 4454665"/>
              <a:gd name="connsiteX641" fmla="*/ 11737259 w 12192000"/>
              <a:gd name="connsiteY641" fmla="*/ 3742118 h 4454665"/>
              <a:gd name="connsiteX642" fmla="*/ 11730175 w 12192000"/>
              <a:gd name="connsiteY642" fmla="*/ 3731466 h 4454665"/>
              <a:gd name="connsiteX643" fmla="*/ 11708922 w 12192000"/>
              <a:gd name="connsiteY643" fmla="*/ 3724364 h 4454665"/>
              <a:gd name="connsiteX644" fmla="*/ 11666295 w 12192000"/>
              <a:gd name="connsiteY644" fmla="*/ 3717646 h 4454665"/>
              <a:gd name="connsiteX645" fmla="*/ 11659211 w 12192000"/>
              <a:gd name="connsiteY645" fmla="*/ 3738730 h 4454665"/>
              <a:gd name="connsiteX646" fmla="*/ 11648585 w 12192000"/>
              <a:gd name="connsiteY646" fmla="*/ 3759813 h 4454665"/>
              <a:gd name="connsiteX647" fmla="*/ 11655669 w 12192000"/>
              <a:gd name="connsiteY647" fmla="*/ 3759813 h 4454665"/>
              <a:gd name="connsiteX648" fmla="*/ 11659211 w 12192000"/>
              <a:gd name="connsiteY648" fmla="*/ 3752785 h 4454665"/>
              <a:gd name="connsiteX649" fmla="*/ 11676922 w 12192000"/>
              <a:gd name="connsiteY649" fmla="*/ 3752785 h 4454665"/>
              <a:gd name="connsiteX650" fmla="*/ 11680464 w 12192000"/>
              <a:gd name="connsiteY650" fmla="*/ 3759813 h 4454665"/>
              <a:gd name="connsiteX651" fmla="*/ 11687548 w 12192000"/>
              <a:gd name="connsiteY651" fmla="*/ 3763327 h 4454665"/>
              <a:gd name="connsiteX652" fmla="*/ 11680464 w 12192000"/>
              <a:gd name="connsiteY652" fmla="*/ 3738730 h 4454665"/>
              <a:gd name="connsiteX653" fmla="*/ 11676922 w 12192000"/>
              <a:gd name="connsiteY653" fmla="*/ 3717646 h 4454665"/>
              <a:gd name="connsiteX654" fmla="*/ 11666295 w 12192000"/>
              <a:gd name="connsiteY654" fmla="*/ 3717646 h 4454665"/>
              <a:gd name="connsiteX655" fmla="*/ 11645898 w 12192000"/>
              <a:gd name="connsiteY655" fmla="*/ 3717646 h 4454665"/>
              <a:gd name="connsiteX656" fmla="*/ 11606934 w 12192000"/>
              <a:gd name="connsiteY656" fmla="*/ 3721117 h 4454665"/>
              <a:gd name="connsiteX657" fmla="*/ 11606934 w 12192000"/>
              <a:gd name="connsiteY657" fmla="*/ 3728058 h 4454665"/>
              <a:gd name="connsiteX658" fmla="*/ 11621103 w 12192000"/>
              <a:gd name="connsiteY658" fmla="*/ 3724588 h 4454665"/>
              <a:gd name="connsiteX659" fmla="*/ 11624645 w 12192000"/>
              <a:gd name="connsiteY659" fmla="*/ 3759296 h 4454665"/>
              <a:gd name="connsiteX660" fmla="*/ 11635271 w 12192000"/>
              <a:gd name="connsiteY660" fmla="*/ 3759296 h 4454665"/>
              <a:gd name="connsiteX661" fmla="*/ 11631729 w 12192000"/>
              <a:gd name="connsiteY661" fmla="*/ 3724588 h 4454665"/>
              <a:gd name="connsiteX662" fmla="*/ 11645898 w 12192000"/>
              <a:gd name="connsiteY662" fmla="*/ 3724588 h 4454665"/>
              <a:gd name="connsiteX663" fmla="*/ 11645898 w 12192000"/>
              <a:gd name="connsiteY663" fmla="*/ 3717646 h 4454665"/>
              <a:gd name="connsiteX664" fmla="*/ 11196257 w 12192000"/>
              <a:gd name="connsiteY664" fmla="*/ 3717645 h 4454665"/>
              <a:gd name="connsiteX665" fmla="*/ 11221336 w 12192000"/>
              <a:gd name="connsiteY665" fmla="*/ 3752577 h 4454665"/>
              <a:gd name="connsiteX666" fmla="*/ 11167595 w 12192000"/>
              <a:gd name="connsiteY666" fmla="*/ 3752577 h 4454665"/>
              <a:gd name="connsiteX667" fmla="*/ 11196257 w 12192000"/>
              <a:gd name="connsiteY667" fmla="*/ 3717645 h 4454665"/>
              <a:gd name="connsiteX668" fmla="*/ 11648585 w 12192000"/>
              <a:gd name="connsiteY668" fmla="*/ 3710929 h 4454665"/>
              <a:gd name="connsiteX669" fmla="*/ 11813539 w 12192000"/>
              <a:gd name="connsiteY669" fmla="*/ 3766820 h 4454665"/>
              <a:gd name="connsiteX670" fmla="*/ 11817049 w 12192000"/>
              <a:gd name="connsiteY670" fmla="*/ 3780793 h 4454665"/>
              <a:gd name="connsiteX671" fmla="*/ 11788972 w 12192000"/>
              <a:gd name="connsiteY671" fmla="*/ 3812233 h 4454665"/>
              <a:gd name="connsiteX672" fmla="*/ 11774933 w 12192000"/>
              <a:gd name="connsiteY672" fmla="*/ 3812233 h 4454665"/>
              <a:gd name="connsiteX673" fmla="*/ 11648585 w 12192000"/>
              <a:gd name="connsiteY673" fmla="*/ 3766820 h 4454665"/>
              <a:gd name="connsiteX674" fmla="*/ 11522236 w 12192000"/>
              <a:gd name="connsiteY674" fmla="*/ 3812233 h 4454665"/>
              <a:gd name="connsiteX675" fmla="*/ 11508198 w 12192000"/>
              <a:gd name="connsiteY675" fmla="*/ 3812233 h 4454665"/>
              <a:gd name="connsiteX676" fmla="*/ 11480121 w 12192000"/>
              <a:gd name="connsiteY676" fmla="*/ 3780793 h 4454665"/>
              <a:gd name="connsiteX677" fmla="*/ 11483630 w 12192000"/>
              <a:gd name="connsiteY677" fmla="*/ 3766820 h 4454665"/>
              <a:gd name="connsiteX678" fmla="*/ 11648585 w 12192000"/>
              <a:gd name="connsiteY678" fmla="*/ 3710929 h 4454665"/>
              <a:gd name="connsiteX679" fmla="*/ 11196481 w 12192000"/>
              <a:gd name="connsiteY679" fmla="*/ 3710928 h 4454665"/>
              <a:gd name="connsiteX680" fmla="*/ 11158189 w 12192000"/>
              <a:gd name="connsiteY680" fmla="*/ 3759968 h 4454665"/>
              <a:gd name="connsiteX681" fmla="*/ 11199962 w 12192000"/>
              <a:gd name="connsiteY681" fmla="*/ 3809007 h 4454665"/>
              <a:gd name="connsiteX682" fmla="*/ 11227810 w 12192000"/>
              <a:gd name="connsiteY682" fmla="*/ 3802001 h 4454665"/>
              <a:gd name="connsiteX683" fmla="*/ 11227810 w 12192000"/>
              <a:gd name="connsiteY683" fmla="*/ 3791493 h 4454665"/>
              <a:gd name="connsiteX684" fmla="*/ 11199962 w 12192000"/>
              <a:gd name="connsiteY684" fmla="*/ 3798498 h 4454665"/>
              <a:gd name="connsiteX685" fmla="*/ 11168632 w 12192000"/>
              <a:gd name="connsiteY685" fmla="*/ 3763471 h 4454665"/>
              <a:gd name="connsiteX686" fmla="*/ 11234772 w 12192000"/>
              <a:gd name="connsiteY686" fmla="*/ 3763471 h 4454665"/>
              <a:gd name="connsiteX687" fmla="*/ 11234772 w 12192000"/>
              <a:gd name="connsiteY687" fmla="*/ 3756465 h 4454665"/>
              <a:gd name="connsiteX688" fmla="*/ 11196481 w 12192000"/>
              <a:gd name="connsiteY688" fmla="*/ 3710928 h 4454665"/>
              <a:gd name="connsiteX689" fmla="*/ 10947253 w 12192000"/>
              <a:gd name="connsiteY689" fmla="*/ 3674652 h 4454665"/>
              <a:gd name="connsiteX690" fmla="*/ 10947253 w 12192000"/>
              <a:gd name="connsiteY690" fmla="*/ 3685400 h 4454665"/>
              <a:gd name="connsiteX691" fmla="*/ 10986216 w 12192000"/>
              <a:gd name="connsiteY691" fmla="*/ 3685400 h 4454665"/>
              <a:gd name="connsiteX692" fmla="*/ 10986216 w 12192000"/>
              <a:gd name="connsiteY692" fmla="*/ 3804976 h 4454665"/>
              <a:gd name="connsiteX693" fmla="*/ 10999652 w 12192000"/>
              <a:gd name="connsiteY693" fmla="*/ 3804976 h 4454665"/>
              <a:gd name="connsiteX694" fmla="*/ 10999652 w 12192000"/>
              <a:gd name="connsiteY694" fmla="*/ 3685400 h 4454665"/>
              <a:gd name="connsiteX695" fmla="*/ 11038614 w 12192000"/>
              <a:gd name="connsiteY695" fmla="*/ 3685400 h 4454665"/>
              <a:gd name="connsiteX696" fmla="*/ 11038614 w 12192000"/>
              <a:gd name="connsiteY696" fmla="*/ 3674652 h 4454665"/>
              <a:gd name="connsiteX697" fmla="*/ 11060111 w 12192000"/>
              <a:gd name="connsiteY697" fmla="*/ 3663903 h 4454665"/>
              <a:gd name="connsiteX698" fmla="*/ 11060111 w 12192000"/>
              <a:gd name="connsiteY698" fmla="*/ 3804976 h 4454665"/>
              <a:gd name="connsiteX699" fmla="*/ 11070476 w 12192000"/>
              <a:gd name="connsiteY699" fmla="*/ 3804976 h 4454665"/>
              <a:gd name="connsiteX700" fmla="*/ 11070476 w 12192000"/>
              <a:gd name="connsiteY700" fmla="*/ 3755600 h 4454665"/>
              <a:gd name="connsiteX701" fmla="*/ 11098115 w 12192000"/>
              <a:gd name="connsiteY701" fmla="*/ 3716806 h 4454665"/>
              <a:gd name="connsiteX702" fmla="*/ 11118844 w 12192000"/>
              <a:gd name="connsiteY702" fmla="*/ 3748547 h 4454665"/>
              <a:gd name="connsiteX703" fmla="*/ 11118844 w 12192000"/>
              <a:gd name="connsiteY703" fmla="*/ 3804976 h 4454665"/>
              <a:gd name="connsiteX704" fmla="*/ 11132662 w 12192000"/>
              <a:gd name="connsiteY704" fmla="*/ 3804976 h 4454665"/>
              <a:gd name="connsiteX705" fmla="*/ 11132662 w 12192000"/>
              <a:gd name="connsiteY705" fmla="*/ 3748547 h 4454665"/>
              <a:gd name="connsiteX706" fmla="*/ 11101569 w 12192000"/>
              <a:gd name="connsiteY706" fmla="*/ 3709752 h 4454665"/>
              <a:gd name="connsiteX707" fmla="*/ 11070476 w 12192000"/>
              <a:gd name="connsiteY707" fmla="*/ 3727386 h 4454665"/>
              <a:gd name="connsiteX708" fmla="*/ 11070476 w 12192000"/>
              <a:gd name="connsiteY708" fmla="*/ 3663903 h 4454665"/>
              <a:gd name="connsiteX709" fmla="*/ 11060111 w 12192000"/>
              <a:gd name="connsiteY709" fmla="*/ 3663903 h 4454665"/>
              <a:gd name="connsiteX710" fmla="*/ 11638739 w 12192000"/>
              <a:gd name="connsiteY710" fmla="*/ 3639720 h 4454665"/>
              <a:gd name="connsiteX711" fmla="*/ 11624716 w 12192000"/>
              <a:gd name="connsiteY711" fmla="*/ 3692583 h 4454665"/>
              <a:gd name="connsiteX712" fmla="*/ 11600176 w 12192000"/>
              <a:gd name="connsiteY712" fmla="*/ 3696107 h 4454665"/>
              <a:gd name="connsiteX713" fmla="*/ 11575635 w 12192000"/>
              <a:gd name="connsiteY713" fmla="*/ 3650293 h 4454665"/>
              <a:gd name="connsiteX714" fmla="*/ 11572129 w 12192000"/>
              <a:gd name="connsiteY714" fmla="*/ 3650293 h 4454665"/>
              <a:gd name="connsiteX715" fmla="*/ 11551094 w 12192000"/>
              <a:gd name="connsiteY715" fmla="*/ 3653817 h 4454665"/>
              <a:gd name="connsiteX716" fmla="*/ 11551094 w 12192000"/>
              <a:gd name="connsiteY716" fmla="*/ 3657341 h 4454665"/>
              <a:gd name="connsiteX717" fmla="*/ 11547588 w 12192000"/>
              <a:gd name="connsiteY717" fmla="*/ 3682010 h 4454665"/>
              <a:gd name="connsiteX718" fmla="*/ 11551094 w 12192000"/>
              <a:gd name="connsiteY718" fmla="*/ 3710204 h 4454665"/>
              <a:gd name="connsiteX719" fmla="*/ 11530059 w 12192000"/>
              <a:gd name="connsiteY719" fmla="*/ 3717252 h 4454665"/>
              <a:gd name="connsiteX720" fmla="*/ 11491495 w 12192000"/>
              <a:gd name="connsiteY720" fmla="*/ 3682010 h 4454665"/>
              <a:gd name="connsiteX721" fmla="*/ 11470460 w 12192000"/>
              <a:gd name="connsiteY721" fmla="*/ 3692583 h 4454665"/>
              <a:gd name="connsiteX722" fmla="*/ 11484484 w 12192000"/>
              <a:gd name="connsiteY722" fmla="*/ 3745445 h 4454665"/>
              <a:gd name="connsiteX723" fmla="*/ 11466954 w 12192000"/>
              <a:gd name="connsiteY723" fmla="*/ 3756018 h 4454665"/>
              <a:gd name="connsiteX724" fmla="*/ 11421379 w 12192000"/>
              <a:gd name="connsiteY724" fmla="*/ 3731349 h 4454665"/>
              <a:gd name="connsiteX725" fmla="*/ 11403850 w 12192000"/>
              <a:gd name="connsiteY725" fmla="*/ 3745445 h 4454665"/>
              <a:gd name="connsiteX726" fmla="*/ 11403850 w 12192000"/>
              <a:gd name="connsiteY726" fmla="*/ 3748969 h 4454665"/>
              <a:gd name="connsiteX727" fmla="*/ 11431896 w 12192000"/>
              <a:gd name="connsiteY727" fmla="*/ 3794784 h 4454665"/>
              <a:gd name="connsiteX728" fmla="*/ 11417873 w 12192000"/>
              <a:gd name="connsiteY728" fmla="*/ 3812405 h 4454665"/>
              <a:gd name="connsiteX729" fmla="*/ 11365286 w 12192000"/>
              <a:gd name="connsiteY729" fmla="*/ 3798308 h 4454665"/>
              <a:gd name="connsiteX730" fmla="*/ 11354768 w 12192000"/>
              <a:gd name="connsiteY730" fmla="*/ 3819453 h 4454665"/>
              <a:gd name="connsiteX731" fmla="*/ 11389827 w 12192000"/>
              <a:gd name="connsiteY731" fmla="*/ 3858220 h 4454665"/>
              <a:gd name="connsiteX732" fmla="*/ 11382815 w 12192000"/>
              <a:gd name="connsiteY732" fmla="*/ 3879364 h 4454665"/>
              <a:gd name="connsiteX733" fmla="*/ 11330228 w 12192000"/>
              <a:gd name="connsiteY733" fmla="*/ 3879364 h 4454665"/>
              <a:gd name="connsiteX734" fmla="*/ 11323216 w 12192000"/>
              <a:gd name="connsiteY734" fmla="*/ 3900509 h 4454665"/>
              <a:gd name="connsiteX735" fmla="*/ 11368791 w 12192000"/>
              <a:gd name="connsiteY735" fmla="*/ 3928703 h 4454665"/>
              <a:gd name="connsiteX736" fmla="*/ 11365286 w 12192000"/>
              <a:gd name="connsiteY736" fmla="*/ 3949847 h 4454665"/>
              <a:gd name="connsiteX737" fmla="*/ 11316205 w 12192000"/>
              <a:gd name="connsiteY737" fmla="*/ 3963945 h 4454665"/>
              <a:gd name="connsiteX738" fmla="*/ 11312698 w 12192000"/>
              <a:gd name="connsiteY738" fmla="*/ 3963945 h 4454665"/>
              <a:gd name="connsiteX739" fmla="*/ 11312698 w 12192000"/>
              <a:gd name="connsiteY739" fmla="*/ 3978041 h 4454665"/>
              <a:gd name="connsiteX740" fmla="*/ 11312698 w 12192000"/>
              <a:gd name="connsiteY740" fmla="*/ 3988614 h 4454665"/>
              <a:gd name="connsiteX741" fmla="*/ 11316205 w 12192000"/>
              <a:gd name="connsiteY741" fmla="*/ 3988614 h 4454665"/>
              <a:gd name="connsiteX742" fmla="*/ 11365286 w 12192000"/>
              <a:gd name="connsiteY742" fmla="*/ 4002711 h 4454665"/>
              <a:gd name="connsiteX743" fmla="*/ 11368791 w 12192000"/>
              <a:gd name="connsiteY743" fmla="*/ 4023856 h 4454665"/>
              <a:gd name="connsiteX744" fmla="*/ 11323216 w 12192000"/>
              <a:gd name="connsiteY744" fmla="*/ 4052049 h 4454665"/>
              <a:gd name="connsiteX745" fmla="*/ 11323216 w 12192000"/>
              <a:gd name="connsiteY745" fmla="*/ 4055573 h 4454665"/>
              <a:gd name="connsiteX746" fmla="*/ 11330228 w 12192000"/>
              <a:gd name="connsiteY746" fmla="*/ 4076718 h 4454665"/>
              <a:gd name="connsiteX747" fmla="*/ 11382815 w 12192000"/>
              <a:gd name="connsiteY747" fmla="*/ 4076718 h 4454665"/>
              <a:gd name="connsiteX748" fmla="*/ 11393332 w 12192000"/>
              <a:gd name="connsiteY748" fmla="*/ 4097864 h 4454665"/>
              <a:gd name="connsiteX749" fmla="*/ 11354768 w 12192000"/>
              <a:gd name="connsiteY749" fmla="*/ 4133105 h 4454665"/>
              <a:gd name="connsiteX750" fmla="*/ 11354768 w 12192000"/>
              <a:gd name="connsiteY750" fmla="*/ 4136629 h 4454665"/>
              <a:gd name="connsiteX751" fmla="*/ 11365286 w 12192000"/>
              <a:gd name="connsiteY751" fmla="*/ 4154250 h 4454665"/>
              <a:gd name="connsiteX752" fmla="*/ 11417873 w 12192000"/>
              <a:gd name="connsiteY752" fmla="*/ 4140153 h 4454665"/>
              <a:gd name="connsiteX753" fmla="*/ 11431896 w 12192000"/>
              <a:gd name="connsiteY753" fmla="*/ 4161299 h 4454665"/>
              <a:gd name="connsiteX754" fmla="*/ 11403850 w 12192000"/>
              <a:gd name="connsiteY754" fmla="*/ 4207113 h 4454665"/>
              <a:gd name="connsiteX755" fmla="*/ 11421379 w 12192000"/>
              <a:gd name="connsiteY755" fmla="*/ 4221209 h 4454665"/>
              <a:gd name="connsiteX756" fmla="*/ 11466954 w 12192000"/>
              <a:gd name="connsiteY756" fmla="*/ 4196541 h 4454665"/>
              <a:gd name="connsiteX757" fmla="*/ 11484484 w 12192000"/>
              <a:gd name="connsiteY757" fmla="*/ 4210637 h 4454665"/>
              <a:gd name="connsiteX758" fmla="*/ 11473966 w 12192000"/>
              <a:gd name="connsiteY758" fmla="*/ 4259975 h 4454665"/>
              <a:gd name="connsiteX759" fmla="*/ 11473966 w 12192000"/>
              <a:gd name="connsiteY759" fmla="*/ 4263500 h 4454665"/>
              <a:gd name="connsiteX760" fmla="*/ 11491495 w 12192000"/>
              <a:gd name="connsiteY760" fmla="*/ 4274072 h 4454665"/>
              <a:gd name="connsiteX761" fmla="*/ 11495001 w 12192000"/>
              <a:gd name="connsiteY761" fmla="*/ 4274072 h 4454665"/>
              <a:gd name="connsiteX762" fmla="*/ 11530059 w 12192000"/>
              <a:gd name="connsiteY762" fmla="*/ 4235306 h 4454665"/>
              <a:gd name="connsiteX763" fmla="*/ 11551094 w 12192000"/>
              <a:gd name="connsiteY763" fmla="*/ 4245879 h 4454665"/>
              <a:gd name="connsiteX764" fmla="*/ 11547588 w 12192000"/>
              <a:gd name="connsiteY764" fmla="*/ 4270548 h 4454665"/>
              <a:gd name="connsiteX765" fmla="*/ 11551094 w 12192000"/>
              <a:gd name="connsiteY765" fmla="*/ 4298742 h 4454665"/>
              <a:gd name="connsiteX766" fmla="*/ 11572129 w 12192000"/>
              <a:gd name="connsiteY766" fmla="*/ 4305790 h 4454665"/>
              <a:gd name="connsiteX767" fmla="*/ 11575635 w 12192000"/>
              <a:gd name="connsiteY767" fmla="*/ 4305790 h 4454665"/>
              <a:gd name="connsiteX768" fmla="*/ 11600176 w 12192000"/>
              <a:gd name="connsiteY768" fmla="*/ 4259975 h 4454665"/>
              <a:gd name="connsiteX769" fmla="*/ 11624716 w 12192000"/>
              <a:gd name="connsiteY769" fmla="*/ 4259975 h 4454665"/>
              <a:gd name="connsiteX770" fmla="*/ 11638739 w 12192000"/>
              <a:gd name="connsiteY770" fmla="*/ 4312838 h 4454665"/>
              <a:gd name="connsiteX771" fmla="*/ 11659774 w 12192000"/>
              <a:gd name="connsiteY771" fmla="*/ 4312838 h 4454665"/>
              <a:gd name="connsiteX772" fmla="*/ 11663280 w 12192000"/>
              <a:gd name="connsiteY772" fmla="*/ 4312838 h 4454665"/>
              <a:gd name="connsiteX773" fmla="*/ 11677303 w 12192000"/>
              <a:gd name="connsiteY773" fmla="*/ 4259975 h 4454665"/>
              <a:gd name="connsiteX774" fmla="*/ 11698339 w 12192000"/>
              <a:gd name="connsiteY774" fmla="*/ 4259975 h 4454665"/>
              <a:gd name="connsiteX775" fmla="*/ 11722879 w 12192000"/>
              <a:gd name="connsiteY775" fmla="*/ 4305790 h 4454665"/>
              <a:gd name="connsiteX776" fmla="*/ 11726385 w 12192000"/>
              <a:gd name="connsiteY776" fmla="*/ 4305790 h 4454665"/>
              <a:gd name="connsiteX777" fmla="*/ 11747420 w 12192000"/>
              <a:gd name="connsiteY777" fmla="*/ 4298742 h 4454665"/>
              <a:gd name="connsiteX778" fmla="*/ 11750925 w 12192000"/>
              <a:gd name="connsiteY778" fmla="*/ 4270548 h 4454665"/>
              <a:gd name="connsiteX779" fmla="*/ 11747420 w 12192000"/>
              <a:gd name="connsiteY779" fmla="*/ 4245879 h 4454665"/>
              <a:gd name="connsiteX780" fmla="*/ 11768454 w 12192000"/>
              <a:gd name="connsiteY780" fmla="*/ 4235306 h 4454665"/>
              <a:gd name="connsiteX781" fmla="*/ 11807019 w 12192000"/>
              <a:gd name="connsiteY781" fmla="*/ 4274072 h 4454665"/>
              <a:gd name="connsiteX782" fmla="*/ 11824547 w 12192000"/>
              <a:gd name="connsiteY782" fmla="*/ 4263500 h 4454665"/>
              <a:gd name="connsiteX783" fmla="*/ 11828054 w 12192000"/>
              <a:gd name="connsiteY783" fmla="*/ 4263500 h 4454665"/>
              <a:gd name="connsiteX784" fmla="*/ 11828054 w 12192000"/>
              <a:gd name="connsiteY784" fmla="*/ 4259975 h 4454665"/>
              <a:gd name="connsiteX785" fmla="*/ 11814030 w 12192000"/>
              <a:gd name="connsiteY785" fmla="*/ 4210637 h 4454665"/>
              <a:gd name="connsiteX786" fmla="*/ 11831559 w 12192000"/>
              <a:gd name="connsiteY786" fmla="*/ 4196541 h 4454665"/>
              <a:gd name="connsiteX787" fmla="*/ 11877135 w 12192000"/>
              <a:gd name="connsiteY787" fmla="*/ 4221209 h 4454665"/>
              <a:gd name="connsiteX788" fmla="*/ 11894664 w 12192000"/>
              <a:gd name="connsiteY788" fmla="*/ 4207113 h 4454665"/>
              <a:gd name="connsiteX789" fmla="*/ 11894664 w 12192000"/>
              <a:gd name="connsiteY789" fmla="*/ 4203589 h 4454665"/>
              <a:gd name="connsiteX790" fmla="*/ 11866617 w 12192000"/>
              <a:gd name="connsiteY790" fmla="*/ 4157774 h 4454665"/>
              <a:gd name="connsiteX791" fmla="*/ 11880641 w 12192000"/>
              <a:gd name="connsiteY791" fmla="*/ 4140153 h 4454665"/>
              <a:gd name="connsiteX792" fmla="*/ 11933228 w 12192000"/>
              <a:gd name="connsiteY792" fmla="*/ 4154250 h 4454665"/>
              <a:gd name="connsiteX793" fmla="*/ 11943746 w 12192000"/>
              <a:gd name="connsiteY793" fmla="*/ 4136629 h 4454665"/>
              <a:gd name="connsiteX794" fmla="*/ 11943746 w 12192000"/>
              <a:gd name="connsiteY794" fmla="*/ 4133105 h 4454665"/>
              <a:gd name="connsiteX795" fmla="*/ 11908688 w 12192000"/>
              <a:gd name="connsiteY795" fmla="*/ 4094339 h 4454665"/>
              <a:gd name="connsiteX796" fmla="*/ 11915699 w 12192000"/>
              <a:gd name="connsiteY796" fmla="*/ 4076718 h 4454665"/>
              <a:gd name="connsiteX797" fmla="*/ 11968286 w 12192000"/>
              <a:gd name="connsiteY797" fmla="*/ 4076718 h 4454665"/>
              <a:gd name="connsiteX798" fmla="*/ 11968286 w 12192000"/>
              <a:gd name="connsiteY798" fmla="*/ 4073194 h 4454665"/>
              <a:gd name="connsiteX799" fmla="*/ 11975298 w 12192000"/>
              <a:gd name="connsiteY799" fmla="*/ 4052049 h 4454665"/>
              <a:gd name="connsiteX800" fmla="*/ 11929722 w 12192000"/>
              <a:gd name="connsiteY800" fmla="*/ 4023856 h 4454665"/>
              <a:gd name="connsiteX801" fmla="*/ 11933228 w 12192000"/>
              <a:gd name="connsiteY801" fmla="*/ 4002711 h 4454665"/>
              <a:gd name="connsiteX802" fmla="*/ 11982310 w 12192000"/>
              <a:gd name="connsiteY802" fmla="*/ 3988614 h 4454665"/>
              <a:gd name="connsiteX803" fmla="*/ 11985815 w 12192000"/>
              <a:gd name="connsiteY803" fmla="*/ 3978041 h 4454665"/>
              <a:gd name="connsiteX804" fmla="*/ 11982310 w 12192000"/>
              <a:gd name="connsiteY804" fmla="*/ 3967469 h 4454665"/>
              <a:gd name="connsiteX805" fmla="*/ 11982310 w 12192000"/>
              <a:gd name="connsiteY805" fmla="*/ 3963945 h 4454665"/>
              <a:gd name="connsiteX806" fmla="*/ 11933228 w 12192000"/>
              <a:gd name="connsiteY806" fmla="*/ 3949847 h 4454665"/>
              <a:gd name="connsiteX807" fmla="*/ 11929722 w 12192000"/>
              <a:gd name="connsiteY807" fmla="*/ 3928703 h 4454665"/>
              <a:gd name="connsiteX808" fmla="*/ 11975298 w 12192000"/>
              <a:gd name="connsiteY808" fmla="*/ 3904034 h 4454665"/>
              <a:gd name="connsiteX809" fmla="*/ 11975298 w 12192000"/>
              <a:gd name="connsiteY809" fmla="*/ 3900509 h 4454665"/>
              <a:gd name="connsiteX810" fmla="*/ 11968286 w 12192000"/>
              <a:gd name="connsiteY810" fmla="*/ 3879364 h 4454665"/>
              <a:gd name="connsiteX811" fmla="*/ 11915699 w 12192000"/>
              <a:gd name="connsiteY811" fmla="*/ 3879364 h 4454665"/>
              <a:gd name="connsiteX812" fmla="*/ 11908688 w 12192000"/>
              <a:gd name="connsiteY812" fmla="*/ 3858220 h 4454665"/>
              <a:gd name="connsiteX813" fmla="*/ 11943746 w 12192000"/>
              <a:gd name="connsiteY813" fmla="*/ 3819453 h 4454665"/>
              <a:gd name="connsiteX814" fmla="*/ 11933228 w 12192000"/>
              <a:gd name="connsiteY814" fmla="*/ 3801832 h 4454665"/>
              <a:gd name="connsiteX815" fmla="*/ 11933228 w 12192000"/>
              <a:gd name="connsiteY815" fmla="*/ 3798308 h 4454665"/>
              <a:gd name="connsiteX816" fmla="*/ 11880641 w 12192000"/>
              <a:gd name="connsiteY816" fmla="*/ 3812405 h 4454665"/>
              <a:gd name="connsiteX817" fmla="*/ 11866617 w 12192000"/>
              <a:gd name="connsiteY817" fmla="*/ 3794784 h 4454665"/>
              <a:gd name="connsiteX818" fmla="*/ 11894664 w 12192000"/>
              <a:gd name="connsiteY818" fmla="*/ 3748969 h 4454665"/>
              <a:gd name="connsiteX819" fmla="*/ 11877135 w 12192000"/>
              <a:gd name="connsiteY819" fmla="*/ 3731349 h 4454665"/>
              <a:gd name="connsiteX820" fmla="*/ 11831559 w 12192000"/>
              <a:gd name="connsiteY820" fmla="*/ 3759543 h 4454665"/>
              <a:gd name="connsiteX821" fmla="*/ 11814030 w 12192000"/>
              <a:gd name="connsiteY821" fmla="*/ 3745445 h 4454665"/>
              <a:gd name="connsiteX822" fmla="*/ 11828054 w 12192000"/>
              <a:gd name="connsiteY822" fmla="*/ 3692583 h 4454665"/>
              <a:gd name="connsiteX823" fmla="*/ 11807019 w 12192000"/>
              <a:gd name="connsiteY823" fmla="*/ 3682010 h 4454665"/>
              <a:gd name="connsiteX824" fmla="*/ 11768454 w 12192000"/>
              <a:gd name="connsiteY824" fmla="*/ 3717252 h 4454665"/>
              <a:gd name="connsiteX825" fmla="*/ 11747420 w 12192000"/>
              <a:gd name="connsiteY825" fmla="*/ 3710204 h 4454665"/>
              <a:gd name="connsiteX826" fmla="*/ 11750925 w 12192000"/>
              <a:gd name="connsiteY826" fmla="*/ 3682010 h 4454665"/>
              <a:gd name="connsiteX827" fmla="*/ 11747420 w 12192000"/>
              <a:gd name="connsiteY827" fmla="*/ 3657341 h 4454665"/>
              <a:gd name="connsiteX828" fmla="*/ 11747420 w 12192000"/>
              <a:gd name="connsiteY828" fmla="*/ 3653817 h 4454665"/>
              <a:gd name="connsiteX829" fmla="*/ 11726385 w 12192000"/>
              <a:gd name="connsiteY829" fmla="*/ 3650293 h 4454665"/>
              <a:gd name="connsiteX830" fmla="*/ 11722879 w 12192000"/>
              <a:gd name="connsiteY830" fmla="*/ 3650293 h 4454665"/>
              <a:gd name="connsiteX831" fmla="*/ 11698339 w 12192000"/>
              <a:gd name="connsiteY831" fmla="*/ 3696107 h 4454665"/>
              <a:gd name="connsiteX832" fmla="*/ 11673798 w 12192000"/>
              <a:gd name="connsiteY832" fmla="*/ 3692583 h 4454665"/>
              <a:gd name="connsiteX833" fmla="*/ 11659774 w 12192000"/>
              <a:gd name="connsiteY833" fmla="*/ 3639720 h 4454665"/>
              <a:gd name="connsiteX834" fmla="*/ 11638739 w 12192000"/>
              <a:gd name="connsiteY834" fmla="*/ 3639720 h 4454665"/>
              <a:gd name="connsiteX835" fmla="*/ 0 w 12192000"/>
              <a:gd name="connsiteY835" fmla="*/ 0 h 4454665"/>
              <a:gd name="connsiteX836" fmla="*/ 12192000 w 12192000"/>
              <a:gd name="connsiteY836" fmla="*/ 0 h 4454665"/>
              <a:gd name="connsiteX837" fmla="*/ 12192000 w 12192000"/>
              <a:gd name="connsiteY837" fmla="*/ 4454665 h 4454665"/>
              <a:gd name="connsiteX838" fmla="*/ 0 w 12192000"/>
              <a:gd name="connsiteY838" fmla="*/ 4454665 h 44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4454665">
                <a:moveTo>
                  <a:pt x="11946675" y="4274240"/>
                </a:moveTo>
                <a:lnTo>
                  <a:pt x="11952788" y="4274240"/>
                </a:lnTo>
                <a:cubicBezTo>
                  <a:pt x="11955414" y="4274240"/>
                  <a:pt x="11957212" y="4274432"/>
                  <a:pt x="11958183" y="4274815"/>
                </a:cubicBezTo>
                <a:cubicBezTo>
                  <a:pt x="11959154" y="4275198"/>
                  <a:pt x="11959913" y="4275779"/>
                  <a:pt x="11960461" y="4276558"/>
                </a:cubicBezTo>
                <a:cubicBezTo>
                  <a:pt x="11961008" y="4277338"/>
                  <a:pt x="11961281" y="4278221"/>
                  <a:pt x="11961281" y="4279205"/>
                </a:cubicBezTo>
                <a:cubicBezTo>
                  <a:pt x="11961281" y="4280737"/>
                  <a:pt x="11960713" y="4281967"/>
                  <a:pt x="11959578" y="4282897"/>
                </a:cubicBezTo>
                <a:cubicBezTo>
                  <a:pt x="11958443" y="4283828"/>
                  <a:pt x="11956316" y="4284292"/>
                  <a:pt x="11953198" y="4284292"/>
                </a:cubicBezTo>
                <a:lnTo>
                  <a:pt x="11946675" y="4284292"/>
                </a:lnTo>
                <a:close/>
                <a:moveTo>
                  <a:pt x="11941300" y="4269728"/>
                </a:moveTo>
                <a:lnTo>
                  <a:pt x="11941300" y="4303042"/>
                </a:lnTo>
                <a:lnTo>
                  <a:pt x="11946675" y="4303042"/>
                </a:lnTo>
                <a:lnTo>
                  <a:pt x="11946675" y="4288888"/>
                </a:lnTo>
                <a:lnTo>
                  <a:pt x="11949834" y="4288888"/>
                </a:lnTo>
                <a:cubicBezTo>
                  <a:pt x="11951722" y="4288888"/>
                  <a:pt x="11953158" y="4289270"/>
                  <a:pt x="11954142" y="4290036"/>
                </a:cubicBezTo>
                <a:cubicBezTo>
                  <a:pt x="11955564" y="4291075"/>
                  <a:pt x="11957438" y="4293660"/>
                  <a:pt x="11959762" y="4297790"/>
                </a:cubicBezTo>
                <a:lnTo>
                  <a:pt x="11962717" y="4303042"/>
                </a:lnTo>
                <a:lnTo>
                  <a:pt x="11969281" y="4303042"/>
                </a:lnTo>
                <a:lnTo>
                  <a:pt x="11965220" y="4296518"/>
                </a:lnTo>
                <a:cubicBezTo>
                  <a:pt x="11963277" y="4293427"/>
                  <a:pt x="11961636" y="4291226"/>
                  <a:pt x="11960296" y="4289913"/>
                </a:cubicBezTo>
                <a:cubicBezTo>
                  <a:pt x="11959585" y="4289230"/>
                  <a:pt x="11958641" y="4288641"/>
                  <a:pt x="11957466" y="4288149"/>
                </a:cubicBezTo>
                <a:cubicBezTo>
                  <a:pt x="11960337" y="4287930"/>
                  <a:pt x="11962642" y="4286918"/>
                  <a:pt x="11964378" y="4285113"/>
                </a:cubicBezTo>
                <a:cubicBezTo>
                  <a:pt x="11966115" y="4283308"/>
                  <a:pt x="11966983" y="4281188"/>
                  <a:pt x="11966983" y="4278754"/>
                </a:cubicBezTo>
                <a:cubicBezTo>
                  <a:pt x="11966983" y="4277031"/>
                  <a:pt x="11966464" y="4275403"/>
                  <a:pt x="11965424" y="4273871"/>
                </a:cubicBezTo>
                <a:cubicBezTo>
                  <a:pt x="11964385" y="4272339"/>
                  <a:pt x="11962990" y="4271266"/>
                  <a:pt x="11961239" y="4270651"/>
                </a:cubicBezTo>
                <a:cubicBezTo>
                  <a:pt x="11959489" y="4270035"/>
                  <a:pt x="11956658" y="4269728"/>
                  <a:pt x="11952747" y="4269728"/>
                </a:cubicBezTo>
                <a:close/>
                <a:moveTo>
                  <a:pt x="10902089" y="4267157"/>
                </a:moveTo>
                <a:cubicBezTo>
                  <a:pt x="10902089" y="4267157"/>
                  <a:pt x="10902089" y="4267157"/>
                  <a:pt x="10905603" y="4267157"/>
                </a:cubicBezTo>
                <a:lnTo>
                  <a:pt x="10905603" y="4270698"/>
                </a:lnTo>
                <a:cubicBezTo>
                  <a:pt x="10905603" y="4281325"/>
                  <a:pt x="10905603" y="4306120"/>
                  <a:pt x="10877492" y="4306120"/>
                </a:cubicBezTo>
                <a:cubicBezTo>
                  <a:pt x="10866950" y="4306120"/>
                  <a:pt x="10859922" y="4302578"/>
                  <a:pt x="10859922" y="4288410"/>
                </a:cubicBezTo>
                <a:cubicBezTo>
                  <a:pt x="10859922" y="4267157"/>
                  <a:pt x="10884520" y="4267157"/>
                  <a:pt x="10902089" y="4267157"/>
                </a:cubicBezTo>
                <a:close/>
                <a:moveTo>
                  <a:pt x="11954881" y="4260086"/>
                </a:moveTo>
                <a:cubicBezTo>
                  <a:pt x="11959202" y="4260086"/>
                  <a:pt x="11963428" y="4261201"/>
                  <a:pt x="11967558" y="4263430"/>
                </a:cubicBezTo>
                <a:cubicBezTo>
                  <a:pt x="11971688" y="4265659"/>
                  <a:pt x="11974909" y="4268846"/>
                  <a:pt x="11977220" y="4272989"/>
                </a:cubicBezTo>
                <a:cubicBezTo>
                  <a:pt x="11979531" y="4277133"/>
                  <a:pt x="11980687" y="4281448"/>
                  <a:pt x="11980687" y="4285933"/>
                </a:cubicBezTo>
                <a:cubicBezTo>
                  <a:pt x="11980687" y="4290392"/>
                  <a:pt x="11979552" y="4294666"/>
                  <a:pt x="11977282" y="4298754"/>
                </a:cubicBezTo>
                <a:cubicBezTo>
                  <a:pt x="11975012" y="4302844"/>
                  <a:pt x="11971825" y="4306030"/>
                  <a:pt x="11967722" y="4308314"/>
                </a:cubicBezTo>
                <a:cubicBezTo>
                  <a:pt x="11963619" y="4310598"/>
                  <a:pt x="11959339" y="4311740"/>
                  <a:pt x="11954881" y="4311740"/>
                </a:cubicBezTo>
                <a:cubicBezTo>
                  <a:pt x="11950422" y="4311740"/>
                  <a:pt x="11946142" y="4310598"/>
                  <a:pt x="11942039" y="4308314"/>
                </a:cubicBezTo>
                <a:cubicBezTo>
                  <a:pt x="11937936" y="4306030"/>
                  <a:pt x="11934742" y="4302844"/>
                  <a:pt x="11932459" y="4298754"/>
                </a:cubicBezTo>
                <a:cubicBezTo>
                  <a:pt x="11930175" y="4294666"/>
                  <a:pt x="11929033" y="4290392"/>
                  <a:pt x="11929033" y="4285933"/>
                </a:cubicBezTo>
                <a:cubicBezTo>
                  <a:pt x="11929033" y="4281448"/>
                  <a:pt x="11930195" y="4277133"/>
                  <a:pt x="11932521" y="4272989"/>
                </a:cubicBezTo>
                <a:cubicBezTo>
                  <a:pt x="11934846" y="4268846"/>
                  <a:pt x="11938066" y="4265659"/>
                  <a:pt x="11942183" y="4263430"/>
                </a:cubicBezTo>
                <a:cubicBezTo>
                  <a:pt x="11946299" y="4261201"/>
                  <a:pt x="11950532" y="4260086"/>
                  <a:pt x="11954881" y="4260086"/>
                </a:cubicBezTo>
                <a:close/>
                <a:moveTo>
                  <a:pt x="11954881" y="4254958"/>
                </a:moveTo>
                <a:cubicBezTo>
                  <a:pt x="11949684" y="4254958"/>
                  <a:pt x="11944610" y="4256291"/>
                  <a:pt x="11939660" y="4258958"/>
                </a:cubicBezTo>
                <a:cubicBezTo>
                  <a:pt x="11934709" y="4261624"/>
                  <a:pt x="11930845" y="4265440"/>
                  <a:pt x="11928069" y="4270405"/>
                </a:cubicBezTo>
                <a:cubicBezTo>
                  <a:pt x="11925293" y="4275368"/>
                  <a:pt x="11923904" y="4280545"/>
                  <a:pt x="11923904" y="4285933"/>
                </a:cubicBezTo>
                <a:cubicBezTo>
                  <a:pt x="11923904" y="4291267"/>
                  <a:pt x="11925272" y="4296396"/>
                  <a:pt x="11928007" y="4301319"/>
                </a:cubicBezTo>
                <a:cubicBezTo>
                  <a:pt x="11930743" y="4306242"/>
                  <a:pt x="11934565" y="4310065"/>
                  <a:pt x="11939474" y="4312786"/>
                </a:cubicBezTo>
                <a:cubicBezTo>
                  <a:pt x="11944385" y="4315507"/>
                  <a:pt x="11949519" y="4316868"/>
                  <a:pt x="11954881" y="4316868"/>
                </a:cubicBezTo>
                <a:cubicBezTo>
                  <a:pt x="11960242" y="4316868"/>
                  <a:pt x="11965376" y="4315507"/>
                  <a:pt x="11970287" y="4312786"/>
                </a:cubicBezTo>
                <a:cubicBezTo>
                  <a:pt x="11975196" y="4310065"/>
                  <a:pt x="11979011" y="4306242"/>
                  <a:pt x="11981733" y="4301319"/>
                </a:cubicBezTo>
                <a:cubicBezTo>
                  <a:pt x="11984454" y="4296396"/>
                  <a:pt x="11985815" y="4291267"/>
                  <a:pt x="11985815" y="4285933"/>
                </a:cubicBezTo>
                <a:cubicBezTo>
                  <a:pt x="11985815" y="4280545"/>
                  <a:pt x="11984434" y="4275368"/>
                  <a:pt x="11981671" y="4270405"/>
                </a:cubicBezTo>
                <a:cubicBezTo>
                  <a:pt x="11978909" y="4265440"/>
                  <a:pt x="11975052" y="4261624"/>
                  <a:pt x="11970101" y="4258958"/>
                </a:cubicBezTo>
                <a:cubicBezTo>
                  <a:pt x="11965151" y="4256291"/>
                  <a:pt x="11960077" y="4254958"/>
                  <a:pt x="11954881" y="4254958"/>
                </a:cubicBezTo>
                <a:close/>
                <a:moveTo>
                  <a:pt x="11091685" y="4225506"/>
                </a:moveTo>
                <a:cubicBezTo>
                  <a:pt x="11109123" y="4225506"/>
                  <a:pt x="11123259" y="4243552"/>
                  <a:pt x="11123259" y="4265813"/>
                </a:cubicBezTo>
                <a:cubicBezTo>
                  <a:pt x="11123259" y="4288074"/>
                  <a:pt x="11109123" y="4306119"/>
                  <a:pt x="11091685" y="4306119"/>
                </a:cubicBezTo>
                <a:cubicBezTo>
                  <a:pt x="11074247" y="4306119"/>
                  <a:pt x="11060111" y="4288074"/>
                  <a:pt x="11060111" y="4265813"/>
                </a:cubicBezTo>
                <a:cubicBezTo>
                  <a:pt x="11060111" y="4243552"/>
                  <a:pt x="11074247" y="4225506"/>
                  <a:pt x="11091685" y="4225506"/>
                </a:cubicBezTo>
                <a:close/>
                <a:moveTo>
                  <a:pt x="10781998" y="4225506"/>
                </a:moveTo>
                <a:cubicBezTo>
                  <a:pt x="10797580" y="4225506"/>
                  <a:pt x="10810212" y="4243552"/>
                  <a:pt x="10810212" y="4265813"/>
                </a:cubicBezTo>
                <a:cubicBezTo>
                  <a:pt x="10810212" y="4288074"/>
                  <a:pt x="10797580" y="4306119"/>
                  <a:pt x="10781998" y="4306119"/>
                </a:cubicBezTo>
                <a:cubicBezTo>
                  <a:pt x="10766415" y="4306119"/>
                  <a:pt x="10753783" y="4288074"/>
                  <a:pt x="10753783" y="4265813"/>
                </a:cubicBezTo>
                <a:cubicBezTo>
                  <a:pt x="10753783" y="4243552"/>
                  <a:pt x="10766415" y="4225506"/>
                  <a:pt x="10781998" y="4225506"/>
                </a:cubicBezTo>
                <a:close/>
                <a:moveTo>
                  <a:pt x="10469622" y="4225506"/>
                </a:moveTo>
                <a:cubicBezTo>
                  <a:pt x="10487060" y="4225506"/>
                  <a:pt x="10501196" y="4243552"/>
                  <a:pt x="10501196" y="4265813"/>
                </a:cubicBezTo>
                <a:cubicBezTo>
                  <a:pt x="10501196" y="4288074"/>
                  <a:pt x="10487060" y="4306119"/>
                  <a:pt x="10469622" y="4306119"/>
                </a:cubicBezTo>
                <a:cubicBezTo>
                  <a:pt x="10452185" y="4306119"/>
                  <a:pt x="10438048" y="4288074"/>
                  <a:pt x="10438048" y="4265813"/>
                </a:cubicBezTo>
                <a:cubicBezTo>
                  <a:pt x="10438048" y="4243552"/>
                  <a:pt x="10452185" y="4225506"/>
                  <a:pt x="10469622" y="4225506"/>
                </a:cubicBezTo>
                <a:close/>
                <a:moveTo>
                  <a:pt x="11014562" y="4220259"/>
                </a:moveTo>
                <a:lnTo>
                  <a:pt x="11014562" y="4316219"/>
                </a:lnTo>
                <a:lnTo>
                  <a:pt x="11026851" y="4316219"/>
                </a:lnTo>
                <a:lnTo>
                  <a:pt x="11026851" y="4220259"/>
                </a:lnTo>
                <a:close/>
                <a:moveTo>
                  <a:pt x="11158189" y="4218789"/>
                </a:moveTo>
                <a:cubicBezTo>
                  <a:pt x="11158189" y="4225755"/>
                  <a:pt x="11158189" y="4236205"/>
                  <a:pt x="11158189" y="4243172"/>
                </a:cubicBezTo>
                <a:lnTo>
                  <a:pt x="11158189" y="4312837"/>
                </a:lnTo>
                <a:cubicBezTo>
                  <a:pt x="11158189" y="4312837"/>
                  <a:pt x="11158189" y="4312837"/>
                  <a:pt x="11172009" y="4312837"/>
                </a:cubicBezTo>
                <a:cubicBezTo>
                  <a:pt x="11172009" y="4312837"/>
                  <a:pt x="11172009" y="4312837"/>
                  <a:pt x="11172009" y="4260588"/>
                </a:cubicBezTo>
                <a:cubicBezTo>
                  <a:pt x="11172009" y="4246655"/>
                  <a:pt x="11178918" y="4225755"/>
                  <a:pt x="11199648" y="4225755"/>
                </a:cubicBezTo>
                <a:cubicBezTo>
                  <a:pt x="11213466" y="4225755"/>
                  <a:pt x="11220377" y="4239688"/>
                  <a:pt x="11220377" y="4257105"/>
                </a:cubicBezTo>
                <a:cubicBezTo>
                  <a:pt x="11220377" y="4257105"/>
                  <a:pt x="11220377" y="4257105"/>
                  <a:pt x="11220377" y="4312837"/>
                </a:cubicBezTo>
                <a:cubicBezTo>
                  <a:pt x="11220377" y="4312837"/>
                  <a:pt x="11220377" y="4312837"/>
                  <a:pt x="11230741" y="4312837"/>
                </a:cubicBezTo>
                <a:cubicBezTo>
                  <a:pt x="11230741" y="4312837"/>
                  <a:pt x="11230741" y="4312837"/>
                  <a:pt x="11230741" y="4253621"/>
                </a:cubicBezTo>
                <a:cubicBezTo>
                  <a:pt x="11230741" y="4232722"/>
                  <a:pt x="11223831" y="4218789"/>
                  <a:pt x="11199648" y="4218789"/>
                </a:cubicBezTo>
                <a:cubicBezTo>
                  <a:pt x="11182373" y="4218789"/>
                  <a:pt x="11175464" y="4229238"/>
                  <a:pt x="11168554" y="4236205"/>
                </a:cubicBezTo>
                <a:cubicBezTo>
                  <a:pt x="11168554" y="4236205"/>
                  <a:pt x="11168554" y="4236205"/>
                  <a:pt x="11168554" y="4218789"/>
                </a:cubicBezTo>
                <a:cubicBezTo>
                  <a:pt x="11168554" y="4218789"/>
                  <a:pt x="11168554" y="4218789"/>
                  <a:pt x="11158189" y="4218789"/>
                </a:cubicBezTo>
                <a:close/>
                <a:moveTo>
                  <a:pt x="11088997" y="4218789"/>
                </a:moveTo>
                <a:cubicBezTo>
                  <a:pt x="11064881" y="4218789"/>
                  <a:pt x="11045332" y="4240744"/>
                  <a:pt x="11045332" y="4267829"/>
                </a:cubicBezTo>
                <a:cubicBezTo>
                  <a:pt x="11045332" y="4294913"/>
                  <a:pt x="11064881" y="4316868"/>
                  <a:pt x="11088997" y="4316868"/>
                </a:cubicBezTo>
                <a:cubicBezTo>
                  <a:pt x="11113113" y="4316868"/>
                  <a:pt x="11132662" y="4294913"/>
                  <a:pt x="11132662" y="4267829"/>
                </a:cubicBezTo>
                <a:cubicBezTo>
                  <a:pt x="11132662" y="4240744"/>
                  <a:pt x="11113113" y="4218789"/>
                  <a:pt x="11088997" y="4218789"/>
                </a:cubicBezTo>
                <a:close/>
                <a:moveTo>
                  <a:pt x="10883851" y="4218789"/>
                </a:moveTo>
                <a:cubicBezTo>
                  <a:pt x="10876813" y="4218789"/>
                  <a:pt x="10862738" y="4218789"/>
                  <a:pt x="10855700" y="4222292"/>
                </a:cubicBezTo>
                <a:cubicBezTo>
                  <a:pt x="10855700" y="4222292"/>
                  <a:pt x="10855700" y="4222292"/>
                  <a:pt x="10855700" y="4236303"/>
                </a:cubicBezTo>
                <a:cubicBezTo>
                  <a:pt x="10866257" y="4229298"/>
                  <a:pt x="10873294" y="4225795"/>
                  <a:pt x="10883851" y="4225795"/>
                </a:cubicBezTo>
                <a:cubicBezTo>
                  <a:pt x="10901445" y="4225795"/>
                  <a:pt x="10904964" y="4236303"/>
                  <a:pt x="10904964" y="4250315"/>
                </a:cubicBezTo>
                <a:cubicBezTo>
                  <a:pt x="10904964" y="4250315"/>
                  <a:pt x="10904964" y="4250315"/>
                  <a:pt x="10904964" y="4257320"/>
                </a:cubicBezTo>
                <a:cubicBezTo>
                  <a:pt x="10880332" y="4257320"/>
                  <a:pt x="10845144" y="4257320"/>
                  <a:pt x="10845144" y="4288845"/>
                </a:cubicBezTo>
                <a:cubicBezTo>
                  <a:pt x="10845144" y="4299354"/>
                  <a:pt x="10848663" y="4316868"/>
                  <a:pt x="10876813" y="4316868"/>
                </a:cubicBezTo>
                <a:cubicBezTo>
                  <a:pt x="10887370" y="4316868"/>
                  <a:pt x="10901445" y="4309862"/>
                  <a:pt x="10904964" y="4299354"/>
                </a:cubicBezTo>
                <a:cubicBezTo>
                  <a:pt x="10904964" y="4299354"/>
                  <a:pt x="10904964" y="4299354"/>
                  <a:pt x="10908483" y="4299354"/>
                </a:cubicBezTo>
                <a:lnTo>
                  <a:pt x="10908483" y="4313365"/>
                </a:lnTo>
                <a:cubicBezTo>
                  <a:pt x="10908483" y="4313365"/>
                  <a:pt x="10908483" y="4313365"/>
                  <a:pt x="10919039" y="4313365"/>
                </a:cubicBezTo>
                <a:cubicBezTo>
                  <a:pt x="10919039" y="4309862"/>
                  <a:pt x="10919039" y="4302857"/>
                  <a:pt x="10919039" y="4295851"/>
                </a:cubicBezTo>
                <a:cubicBezTo>
                  <a:pt x="10919039" y="4295851"/>
                  <a:pt x="10919039" y="4295851"/>
                  <a:pt x="10919039" y="4253818"/>
                </a:cubicBezTo>
                <a:cubicBezTo>
                  <a:pt x="10919039" y="4229298"/>
                  <a:pt x="10908483" y="4218789"/>
                  <a:pt x="10883851" y="4218789"/>
                </a:cubicBezTo>
                <a:close/>
                <a:moveTo>
                  <a:pt x="10642268" y="4218789"/>
                </a:moveTo>
                <a:cubicBezTo>
                  <a:pt x="10642268" y="4225755"/>
                  <a:pt x="10642268" y="4236205"/>
                  <a:pt x="10642268" y="4243172"/>
                </a:cubicBezTo>
                <a:lnTo>
                  <a:pt x="10642268" y="4312837"/>
                </a:lnTo>
                <a:cubicBezTo>
                  <a:pt x="10642268" y="4312837"/>
                  <a:pt x="10642268" y="4312837"/>
                  <a:pt x="10656343" y="4312837"/>
                </a:cubicBezTo>
                <a:cubicBezTo>
                  <a:pt x="10656343" y="4312837"/>
                  <a:pt x="10656343" y="4312837"/>
                  <a:pt x="10656343" y="4260588"/>
                </a:cubicBezTo>
                <a:cubicBezTo>
                  <a:pt x="10656343" y="4246655"/>
                  <a:pt x="10663381" y="4225755"/>
                  <a:pt x="10684494" y="4225755"/>
                </a:cubicBezTo>
                <a:cubicBezTo>
                  <a:pt x="10698569" y="4225755"/>
                  <a:pt x="10705607" y="4239688"/>
                  <a:pt x="10705607" y="4257105"/>
                </a:cubicBezTo>
                <a:cubicBezTo>
                  <a:pt x="10705607" y="4257105"/>
                  <a:pt x="10705607" y="4257105"/>
                  <a:pt x="10705607" y="4312837"/>
                </a:cubicBezTo>
                <a:cubicBezTo>
                  <a:pt x="10705607" y="4312837"/>
                  <a:pt x="10705607" y="4312837"/>
                  <a:pt x="10716163" y="4312837"/>
                </a:cubicBezTo>
                <a:cubicBezTo>
                  <a:pt x="10716163" y="4312837"/>
                  <a:pt x="10716163" y="4312837"/>
                  <a:pt x="10716163" y="4253621"/>
                </a:cubicBezTo>
                <a:cubicBezTo>
                  <a:pt x="10716163" y="4232722"/>
                  <a:pt x="10709125" y="4218789"/>
                  <a:pt x="10684494" y="4218789"/>
                </a:cubicBezTo>
                <a:cubicBezTo>
                  <a:pt x="10666900" y="4218789"/>
                  <a:pt x="10659862" y="4229238"/>
                  <a:pt x="10652824" y="4236205"/>
                </a:cubicBezTo>
                <a:cubicBezTo>
                  <a:pt x="10652824" y="4236205"/>
                  <a:pt x="10652824" y="4236205"/>
                  <a:pt x="10652824" y="4218789"/>
                </a:cubicBezTo>
                <a:cubicBezTo>
                  <a:pt x="10652824" y="4218789"/>
                  <a:pt x="10652824" y="4218789"/>
                  <a:pt x="10642268" y="4218789"/>
                </a:cubicBezTo>
                <a:close/>
                <a:moveTo>
                  <a:pt x="10540159" y="4218789"/>
                </a:moveTo>
                <a:cubicBezTo>
                  <a:pt x="10540159" y="4218789"/>
                  <a:pt x="10540159" y="4218789"/>
                  <a:pt x="10540159" y="4281839"/>
                </a:cubicBezTo>
                <a:cubicBezTo>
                  <a:pt x="10540159" y="4302857"/>
                  <a:pt x="10547196" y="4316868"/>
                  <a:pt x="10571828" y="4316868"/>
                </a:cubicBezTo>
                <a:cubicBezTo>
                  <a:pt x="10589422" y="4316868"/>
                  <a:pt x="10596460" y="4306359"/>
                  <a:pt x="10603498" y="4299354"/>
                </a:cubicBezTo>
                <a:cubicBezTo>
                  <a:pt x="10603498" y="4299354"/>
                  <a:pt x="10603498" y="4299354"/>
                  <a:pt x="10603498" y="4313365"/>
                </a:cubicBezTo>
                <a:cubicBezTo>
                  <a:pt x="10603498" y="4313365"/>
                  <a:pt x="10603498" y="4313365"/>
                  <a:pt x="10614054" y="4313365"/>
                </a:cubicBezTo>
                <a:cubicBezTo>
                  <a:pt x="10614054" y="4306359"/>
                  <a:pt x="10614054" y="4299354"/>
                  <a:pt x="10614054" y="4292348"/>
                </a:cubicBezTo>
                <a:lnTo>
                  <a:pt x="10614054" y="4218789"/>
                </a:lnTo>
                <a:cubicBezTo>
                  <a:pt x="10614054" y="4218789"/>
                  <a:pt x="10614054" y="4218789"/>
                  <a:pt x="10599979" y="4218789"/>
                </a:cubicBezTo>
                <a:cubicBezTo>
                  <a:pt x="10599979" y="4218789"/>
                  <a:pt x="10599979" y="4218789"/>
                  <a:pt x="10599979" y="4271331"/>
                </a:cubicBezTo>
                <a:cubicBezTo>
                  <a:pt x="10599979" y="4288845"/>
                  <a:pt x="10592941" y="4306359"/>
                  <a:pt x="10571828" y="4306359"/>
                </a:cubicBezTo>
                <a:cubicBezTo>
                  <a:pt x="10557753" y="4306359"/>
                  <a:pt x="10550715" y="4295851"/>
                  <a:pt x="10550715" y="4278337"/>
                </a:cubicBezTo>
                <a:cubicBezTo>
                  <a:pt x="10550715" y="4278337"/>
                  <a:pt x="10550715" y="4278337"/>
                  <a:pt x="10550715" y="4218789"/>
                </a:cubicBezTo>
                <a:cubicBezTo>
                  <a:pt x="10550715" y="4218789"/>
                  <a:pt x="10550715" y="4218789"/>
                  <a:pt x="10540159" y="4218789"/>
                </a:cubicBezTo>
                <a:close/>
                <a:moveTo>
                  <a:pt x="10471637" y="4218789"/>
                </a:moveTo>
                <a:cubicBezTo>
                  <a:pt x="10447151" y="4218789"/>
                  <a:pt x="10427300" y="4240744"/>
                  <a:pt x="10427300" y="4267829"/>
                </a:cubicBezTo>
                <a:cubicBezTo>
                  <a:pt x="10427300" y="4294913"/>
                  <a:pt x="10447151" y="4316868"/>
                  <a:pt x="10471637" y="4316868"/>
                </a:cubicBezTo>
                <a:cubicBezTo>
                  <a:pt x="10496124" y="4316868"/>
                  <a:pt x="10515975" y="4294913"/>
                  <a:pt x="10515975" y="4267829"/>
                </a:cubicBezTo>
                <a:cubicBezTo>
                  <a:pt x="10515975" y="4240744"/>
                  <a:pt x="10496124" y="4218789"/>
                  <a:pt x="10471637" y="4218789"/>
                </a:cubicBezTo>
                <a:close/>
                <a:moveTo>
                  <a:pt x="11655303" y="4204010"/>
                </a:moveTo>
                <a:lnTo>
                  <a:pt x="11659333" y="4214759"/>
                </a:lnTo>
                <a:lnTo>
                  <a:pt x="11663364" y="4221477"/>
                </a:lnTo>
                <a:lnTo>
                  <a:pt x="11648585" y="4221477"/>
                </a:lnTo>
                <a:lnTo>
                  <a:pt x="11652616" y="4214759"/>
                </a:lnTo>
                <a:close/>
                <a:moveTo>
                  <a:pt x="11659446" y="4193262"/>
                </a:moveTo>
                <a:cubicBezTo>
                  <a:pt x="11659446" y="4193262"/>
                  <a:pt x="11659446" y="4193262"/>
                  <a:pt x="11649032" y="4196776"/>
                </a:cubicBezTo>
                <a:cubicBezTo>
                  <a:pt x="11649032" y="4196776"/>
                  <a:pt x="11649032" y="4196776"/>
                  <a:pt x="11645562" y="4214346"/>
                </a:cubicBezTo>
                <a:cubicBezTo>
                  <a:pt x="11645562" y="4214346"/>
                  <a:pt x="11645562" y="4214346"/>
                  <a:pt x="11635149" y="4235428"/>
                </a:cubicBezTo>
                <a:cubicBezTo>
                  <a:pt x="11638620" y="4235428"/>
                  <a:pt x="11642091" y="4235428"/>
                  <a:pt x="11645562" y="4238942"/>
                </a:cubicBezTo>
                <a:cubicBezTo>
                  <a:pt x="11645562" y="4238942"/>
                  <a:pt x="11645562" y="4238942"/>
                  <a:pt x="11645562" y="4228401"/>
                </a:cubicBezTo>
                <a:cubicBezTo>
                  <a:pt x="11645562" y="4228401"/>
                  <a:pt x="11645562" y="4228401"/>
                  <a:pt x="11666387" y="4228401"/>
                </a:cubicBezTo>
                <a:cubicBezTo>
                  <a:pt x="11666387" y="4228401"/>
                  <a:pt x="11666387" y="4228401"/>
                  <a:pt x="11666387" y="4235428"/>
                </a:cubicBezTo>
                <a:cubicBezTo>
                  <a:pt x="11669858" y="4235428"/>
                  <a:pt x="11673329" y="4235428"/>
                  <a:pt x="11676800" y="4235428"/>
                </a:cubicBezTo>
                <a:cubicBezTo>
                  <a:pt x="11676800" y="4235428"/>
                  <a:pt x="11676800" y="4235428"/>
                  <a:pt x="11666387" y="4214346"/>
                </a:cubicBezTo>
                <a:lnTo>
                  <a:pt x="11659446" y="4196776"/>
                </a:lnTo>
                <a:cubicBezTo>
                  <a:pt x="11659446" y="4196776"/>
                  <a:pt x="11659446" y="4196776"/>
                  <a:pt x="11659446" y="4193262"/>
                </a:cubicBezTo>
                <a:close/>
                <a:moveTo>
                  <a:pt x="10964451" y="4193261"/>
                </a:moveTo>
                <a:cubicBezTo>
                  <a:pt x="10964451" y="4193261"/>
                  <a:pt x="10964451" y="4193261"/>
                  <a:pt x="10953971" y="4196793"/>
                </a:cubicBezTo>
                <a:cubicBezTo>
                  <a:pt x="10953971" y="4196793"/>
                  <a:pt x="10953971" y="4196793"/>
                  <a:pt x="10953971" y="4217982"/>
                </a:cubicBezTo>
                <a:cubicBezTo>
                  <a:pt x="10953971" y="4217982"/>
                  <a:pt x="10953971" y="4217982"/>
                  <a:pt x="10936505" y="4217982"/>
                </a:cubicBezTo>
                <a:cubicBezTo>
                  <a:pt x="10936505" y="4217982"/>
                  <a:pt x="10936505" y="4217982"/>
                  <a:pt x="10936505" y="4228577"/>
                </a:cubicBezTo>
                <a:cubicBezTo>
                  <a:pt x="10936505" y="4228577"/>
                  <a:pt x="10936505" y="4228577"/>
                  <a:pt x="10953971" y="4228577"/>
                </a:cubicBezTo>
                <a:cubicBezTo>
                  <a:pt x="10953971" y="4228577"/>
                  <a:pt x="10953971" y="4228577"/>
                  <a:pt x="10953971" y="4285083"/>
                </a:cubicBezTo>
                <a:cubicBezTo>
                  <a:pt x="10953971" y="4302741"/>
                  <a:pt x="10953971" y="4316867"/>
                  <a:pt x="10974931" y="4316867"/>
                </a:cubicBezTo>
                <a:cubicBezTo>
                  <a:pt x="10981917" y="4316867"/>
                  <a:pt x="10985410" y="4316867"/>
                  <a:pt x="10988904" y="4313336"/>
                </a:cubicBezTo>
                <a:cubicBezTo>
                  <a:pt x="10988904" y="4313336"/>
                  <a:pt x="10988904" y="4313336"/>
                  <a:pt x="10988904" y="4302741"/>
                </a:cubicBezTo>
                <a:cubicBezTo>
                  <a:pt x="10985410" y="4306272"/>
                  <a:pt x="10981917" y="4306272"/>
                  <a:pt x="10978424" y="4306272"/>
                </a:cubicBezTo>
                <a:cubicBezTo>
                  <a:pt x="10967944" y="4306272"/>
                  <a:pt x="10964451" y="4299210"/>
                  <a:pt x="10964451" y="4292146"/>
                </a:cubicBezTo>
                <a:cubicBezTo>
                  <a:pt x="10964451" y="4292146"/>
                  <a:pt x="10964451" y="4292146"/>
                  <a:pt x="10964451" y="4228577"/>
                </a:cubicBezTo>
                <a:cubicBezTo>
                  <a:pt x="10964451" y="4228577"/>
                  <a:pt x="10964451" y="4228577"/>
                  <a:pt x="10985410" y="4228577"/>
                </a:cubicBezTo>
                <a:lnTo>
                  <a:pt x="10985410" y="4217982"/>
                </a:lnTo>
                <a:cubicBezTo>
                  <a:pt x="10985410" y="4217982"/>
                  <a:pt x="10985410" y="4217982"/>
                  <a:pt x="10964451" y="4217982"/>
                </a:cubicBezTo>
                <a:cubicBezTo>
                  <a:pt x="10964451" y="4217982"/>
                  <a:pt x="10964451" y="4217982"/>
                  <a:pt x="10964451" y="4193261"/>
                </a:cubicBezTo>
                <a:close/>
                <a:moveTo>
                  <a:pt x="11599881" y="4190575"/>
                </a:moveTo>
                <a:cubicBezTo>
                  <a:pt x="11589469" y="4232741"/>
                  <a:pt x="11589469" y="4232741"/>
                  <a:pt x="11589469" y="4232741"/>
                </a:cubicBezTo>
                <a:cubicBezTo>
                  <a:pt x="11592940" y="4232741"/>
                  <a:pt x="11596410" y="4232741"/>
                  <a:pt x="11599881" y="4232741"/>
                </a:cubicBezTo>
                <a:cubicBezTo>
                  <a:pt x="11603352" y="4208145"/>
                  <a:pt x="11603352" y="4208145"/>
                  <a:pt x="11603352" y="4208145"/>
                </a:cubicBezTo>
                <a:cubicBezTo>
                  <a:pt x="11617236" y="4236255"/>
                  <a:pt x="11617236" y="4236255"/>
                  <a:pt x="11617236" y="4236255"/>
                </a:cubicBezTo>
                <a:cubicBezTo>
                  <a:pt x="11620707" y="4236255"/>
                  <a:pt x="11624178" y="4236255"/>
                  <a:pt x="11624178" y="4236255"/>
                </a:cubicBezTo>
                <a:cubicBezTo>
                  <a:pt x="11631119" y="4194089"/>
                  <a:pt x="11631119" y="4194089"/>
                  <a:pt x="11631119" y="4194089"/>
                </a:cubicBezTo>
                <a:cubicBezTo>
                  <a:pt x="11627648" y="4194089"/>
                  <a:pt x="11624178" y="4194089"/>
                  <a:pt x="11624178" y="4194089"/>
                </a:cubicBezTo>
                <a:cubicBezTo>
                  <a:pt x="11620707" y="4222200"/>
                  <a:pt x="11620707" y="4222200"/>
                  <a:pt x="11620707" y="4222200"/>
                </a:cubicBezTo>
                <a:cubicBezTo>
                  <a:pt x="11606824" y="4190575"/>
                  <a:pt x="11606824" y="4190575"/>
                  <a:pt x="11606824" y="4190575"/>
                </a:cubicBezTo>
                <a:cubicBezTo>
                  <a:pt x="11603352" y="4190575"/>
                  <a:pt x="11603352" y="4190575"/>
                  <a:pt x="11599881" y="4190575"/>
                </a:cubicBezTo>
                <a:close/>
                <a:moveTo>
                  <a:pt x="11709044" y="4186545"/>
                </a:moveTo>
                <a:cubicBezTo>
                  <a:pt x="11695071" y="4190096"/>
                  <a:pt x="11684592" y="4193646"/>
                  <a:pt x="11674112" y="4193646"/>
                </a:cubicBezTo>
                <a:cubicBezTo>
                  <a:pt x="11674112" y="4200748"/>
                  <a:pt x="11674112" y="4200748"/>
                  <a:pt x="11674112" y="4200748"/>
                </a:cubicBezTo>
                <a:cubicBezTo>
                  <a:pt x="11681098" y="4200748"/>
                  <a:pt x="11684592" y="4200748"/>
                  <a:pt x="11688084" y="4200748"/>
                </a:cubicBezTo>
                <a:cubicBezTo>
                  <a:pt x="11695071" y="4236256"/>
                  <a:pt x="11695071" y="4236256"/>
                  <a:pt x="11695071" y="4236256"/>
                </a:cubicBezTo>
                <a:cubicBezTo>
                  <a:pt x="11702057" y="4232705"/>
                  <a:pt x="11702057" y="4232705"/>
                  <a:pt x="11702057" y="4232705"/>
                </a:cubicBezTo>
                <a:cubicBezTo>
                  <a:pt x="11695071" y="4197197"/>
                  <a:pt x="11695071" y="4197197"/>
                  <a:pt x="11695071" y="4197197"/>
                </a:cubicBezTo>
                <a:cubicBezTo>
                  <a:pt x="11702057" y="4197197"/>
                  <a:pt x="11705551" y="4197197"/>
                  <a:pt x="11709044" y="4193646"/>
                </a:cubicBezTo>
                <a:close/>
                <a:moveTo>
                  <a:pt x="11564748" y="4186545"/>
                </a:moveTo>
                <a:cubicBezTo>
                  <a:pt x="11564748" y="4186545"/>
                  <a:pt x="11564748" y="4186545"/>
                  <a:pt x="11575228" y="4189904"/>
                </a:cubicBezTo>
                <a:cubicBezTo>
                  <a:pt x="11578720" y="4189904"/>
                  <a:pt x="11578720" y="4193263"/>
                  <a:pt x="11578720" y="4193263"/>
                </a:cubicBezTo>
                <a:cubicBezTo>
                  <a:pt x="11578720" y="4193263"/>
                  <a:pt x="11578720" y="4196621"/>
                  <a:pt x="11578720" y="4196621"/>
                </a:cubicBezTo>
                <a:cubicBezTo>
                  <a:pt x="11578720" y="4196621"/>
                  <a:pt x="11575228" y="4199980"/>
                  <a:pt x="11571734" y="4199980"/>
                </a:cubicBezTo>
                <a:cubicBezTo>
                  <a:pt x="11571734" y="4199980"/>
                  <a:pt x="11571734" y="4199980"/>
                  <a:pt x="11561254" y="4196621"/>
                </a:cubicBezTo>
                <a:cubicBezTo>
                  <a:pt x="11561254" y="4196621"/>
                  <a:pt x="11561254" y="4196621"/>
                  <a:pt x="11564748" y="4193263"/>
                </a:cubicBezTo>
                <a:cubicBezTo>
                  <a:pt x="11564748" y="4193263"/>
                  <a:pt x="11564748" y="4193263"/>
                  <a:pt x="11564748" y="4186545"/>
                </a:cubicBezTo>
                <a:close/>
                <a:moveTo>
                  <a:pt x="11014562" y="4184659"/>
                </a:moveTo>
                <a:lnTo>
                  <a:pt x="11014562" y="4198353"/>
                </a:lnTo>
                <a:lnTo>
                  <a:pt x="11026851" y="4198353"/>
                </a:lnTo>
                <a:lnTo>
                  <a:pt x="11026851" y="4184659"/>
                </a:lnTo>
                <a:close/>
                <a:moveTo>
                  <a:pt x="11715762" y="4182513"/>
                </a:moveTo>
                <a:cubicBezTo>
                  <a:pt x="11729582" y="4225507"/>
                  <a:pt x="11729582" y="4225507"/>
                  <a:pt x="11729582" y="4225507"/>
                </a:cubicBezTo>
                <a:cubicBezTo>
                  <a:pt x="11733036" y="4221924"/>
                  <a:pt x="11736491" y="4221924"/>
                  <a:pt x="11739946" y="4221924"/>
                </a:cubicBezTo>
                <a:cubicBezTo>
                  <a:pt x="11726127" y="4182513"/>
                  <a:pt x="11726127" y="4182513"/>
                  <a:pt x="11726127" y="4182513"/>
                </a:cubicBezTo>
                <a:cubicBezTo>
                  <a:pt x="11722671" y="4182513"/>
                  <a:pt x="11719217" y="4182513"/>
                  <a:pt x="11715762" y="4182513"/>
                </a:cubicBezTo>
                <a:close/>
                <a:moveTo>
                  <a:pt x="10346688" y="4182513"/>
                </a:moveTo>
                <a:lnTo>
                  <a:pt x="10346688" y="4312837"/>
                </a:lnTo>
                <a:lnTo>
                  <a:pt x="10361467" y="4312837"/>
                </a:lnTo>
                <a:lnTo>
                  <a:pt x="10361467" y="4253721"/>
                </a:lnTo>
                <a:lnTo>
                  <a:pt x="10407148" y="4253721"/>
                </a:lnTo>
                <a:lnTo>
                  <a:pt x="10407148" y="4242973"/>
                </a:lnTo>
                <a:lnTo>
                  <a:pt x="10361467" y="4242973"/>
                </a:lnTo>
                <a:lnTo>
                  <a:pt x="10361467" y="4193261"/>
                </a:lnTo>
                <a:lnTo>
                  <a:pt x="10409835" y="4193261"/>
                </a:lnTo>
                <a:lnTo>
                  <a:pt x="10409835" y="4182513"/>
                </a:lnTo>
                <a:close/>
                <a:moveTo>
                  <a:pt x="11561143" y="4175796"/>
                </a:moveTo>
                <a:cubicBezTo>
                  <a:pt x="11561143" y="4175796"/>
                  <a:pt x="11561143" y="4175796"/>
                  <a:pt x="11554200" y="4193263"/>
                </a:cubicBezTo>
                <a:cubicBezTo>
                  <a:pt x="11554200" y="4193263"/>
                  <a:pt x="11554200" y="4193263"/>
                  <a:pt x="11554200" y="4196755"/>
                </a:cubicBezTo>
                <a:cubicBezTo>
                  <a:pt x="11554200" y="4196755"/>
                  <a:pt x="11554200" y="4196755"/>
                  <a:pt x="11543788" y="4214222"/>
                </a:cubicBezTo>
                <a:cubicBezTo>
                  <a:pt x="11547259" y="4217715"/>
                  <a:pt x="11550730" y="4217715"/>
                  <a:pt x="11554200" y="4217715"/>
                </a:cubicBezTo>
                <a:cubicBezTo>
                  <a:pt x="11554200" y="4217715"/>
                  <a:pt x="11554200" y="4217715"/>
                  <a:pt x="11557671" y="4203742"/>
                </a:cubicBezTo>
                <a:cubicBezTo>
                  <a:pt x="11557671" y="4203742"/>
                  <a:pt x="11557671" y="4203742"/>
                  <a:pt x="11568084" y="4207236"/>
                </a:cubicBezTo>
                <a:cubicBezTo>
                  <a:pt x="11568084" y="4207236"/>
                  <a:pt x="11568084" y="4207236"/>
                  <a:pt x="11568084" y="4224701"/>
                </a:cubicBezTo>
                <a:cubicBezTo>
                  <a:pt x="11571555" y="4224701"/>
                  <a:pt x="11575026" y="4228195"/>
                  <a:pt x="11578497" y="4228195"/>
                </a:cubicBezTo>
                <a:cubicBezTo>
                  <a:pt x="11578497" y="4228195"/>
                  <a:pt x="11578497" y="4228195"/>
                  <a:pt x="11575026" y="4207236"/>
                </a:cubicBezTo>
                <a:cubicBezTo>
                  <a:pt x="11581968" y="4207236"/>
                  <a:pt x="11585438" y="4200249"/>
                  <a:pt x="11585438" y="4196755"/>
                </a:cubicBezTo>
                <a:cubicBezTo>
                  <a:pt x="11585438" y="4196755"/>
                  <a:pt x="11585438" y="4193263"/>
                  <a:pt x="11585438" y="4193263"/>
                </a:cubicBezTo>
                <a:cubicBezTo>
                  <a:pt x="11585438" y="4189769"/>
                  <a:pt x="11585438" y="4186276"/>
                  <a:pt x="11578497" y="4182783"/>
                </a:cubicBezTo>
                <a:cubicBezTo>
                  <a:pt x="11578497" y="4182783"/>
                  <a:pt x="11578497" y="4182783"/>
                  <a:pt x="11561143" y="4175796"/>
                </a:cubicBezTo>
                <a:close/>
                <a:moveTo>
                  <a:pt x="11766241" y="4173089"/>
                </a:moveTo>
                <a:cubicBezTo>
                  <a:pt x="11769696" y="4173530"/>
                  <a:pt x="11773151" y="4175293"/>
                  <a:pt x="11774878" y="4178820"/>
                </a:cubicBezTo>
                <a:cubicBezTo>
                  <a:pt x="11774878" y="4182347"/>
                  <a:pt x="11774878" y="4185873"/>
                  <a:pt x="11774878" y="4185873"/>
                </a:cubicBezTo>
                <a:cubicBezTo>
                  <a:pt x="11774878" y="4189400"/>
                  <a:pt x="11774878" y="4192928"/>
                  <a:pt x="11771423" y="4196454"/>
                </a:cubicBezTo>
                <a:cubicBezTo>
                  <a:pt x="11771423" y="4196454"/>
                  <a:pt x="11771423" y="4196454"/>
                  <a:pt x="11767968" y="4199981"/>
                </a:cubicBezTo>
                <a:cubicBezTo>
                  <a:pt x="11764514" y="4199981"/>
                  <a:pt x="11757604" y="4199981"/>
                  <a:pt x="11754149" y="4196454"/>
                </a:cubicBezTo>
                <a:cubicBezTo>
                  <a:pt x="11750694" y="4196454"/>
                  <a:pt x="11750694" y="4192928"/>
                  <a:pt x="11750694" y="4192928"/>
                </a:cubicBezTo>
                <a:cubicBezTo>
                  <a:pt x="11750694" y="4192928"/>
                  <a:pt x="11750694" y="4189400"/>
                  <a:pt x="11750694" y="4185873"/>
                </a:cubicBezTo>
                <a:cubicBezTo>
                  <a:pt x="11750694" y="4182347"/>
                  <a:pt x="11750694" y="4178820"/>
                  <a:pt x="11757604" y="4175293"/>
                </a:cubicBezTo>
                <a:cubicBezTo>
                  <a:pt x="11759332" y="4173530"/>
                  <a:pt x="11762786" y="4172648"/>
                  <a:pt x="11766241" y="4173089"/>
                </a:cubicBezTo>
                <a:close/>
                <a:moveTo>
                  <a:pt x="10810738" y="4171764"/>
                </a:moveTo>
                <a:cubicBezTo>
                  <a:pt x="10810738" y="4171764"/>
                  <a:pt x="10810738" y="4171764"/>
                  <a:pt x="10810738" y="4235468"/>
                </a:cubicBezTo>
                <a:cubicBezTo>
                  <a:pt x="10810738" y="4228390"/>
                  <a:pt x="10800048" y="4217772"/>
                  <a:pt x="10782231" y="4217772"/>
                </a:cubicBezTo>
                <a:cubicBezTo>
                  <a:pt x="10753724" y="4217772"/>
                  <a:pt x="10743034" y="4239007"/>
                  <a:pt x="10743034" y="4267320"/>
                </a:cubicBezTo>
                <a:cubicBezTo>
                  <a:pt x="10743034" y="4295633"/>
                  <a:pt x="10753724" y="4316867"/>
                  <a:pt x="10782231" y="4316867"/>
                </a:cubicBezTo>
                <a:cubicBezTo>
                  <a:pt x="10796484" y="4316867"/>
                  <a:pt x="10803611" y="4313328"/>
                  <a:pt x="10810738" y="4299171"/>
                </a:cubicBezTo>
                <a:cubicBezTo>
                  <a:pt x="10810738" y="4299171"/>
                  <a:pt x="10810738" y="4299171"/>
                  <a:pt x="10810738" y="4313328"/>
                </a:cubicBezTo>
                <a:cubicBezTo>
                  <a:pt x="10810738" y="4313328"/>
                  <a:pt x="10810738" y="4313328"/>
                  <a:pt x="10824991" y="4313328"/>
                </a:cubicBezTo>
                <a:lnTo>
                  <a:pt x="10824991" y="4171764"/>
                </a:lnTo>
                <a:cubicBezTo>
                  <a:pt x="10824991" y="4171764"/>
                  <a:pt x="10824991" y="4171764"/>
                  <a:pt x="10810738" y="4171764"/>
                </a:cubicBezTo>
                <a:close/>
                <a:moveTo>
                  <a:pt x="11768161" y="4166248"/>
                </a:moveTo>
                <a:cubicBezTo>
                  <a:pt x="11762338" y="4164953"/>
                  <a:pt x="11756068" y="4165816"/>
                  <a:pt x="11750694" y="4169271"/>
                </a:cubicBezTo>
                <a:cubicBezTo>
                  <a:pt x="11743528" y="4172726"/>
                  <a:pt x="11739946" y="4179636"/>
                  <a:pt x="11739946" y="4186545"/>
                </a:cubicBezTo>
                <a:cubicBezTo>
                  <a:pt x="11739946" y="4190000"/>
                  <a:pt x="11743528" y="4193455"/>
                  <a:pt x="11743528" y="4196910"/>
                </a:cubicBezTo>
                <a:cubicBezTo>
                  <a:pt x="11750694" y="4207275"/>
                  <a:pt x="11765025" y="4210729"/>
                  <a:pt x="11772191" y="4203820"/>
                </a:cubicBezTo>
                <a:cubicBezTo>
                  <a:pt x="11779357" y="4203820"/>
                  <a:pt x="11779357" y="4200365"/>
                  <a:pt x="11782939" y="4196910"/>
                </a:cubicBezTo>
                <a:cubicBezTo>
                  <a:pt x="11782939" y="4193455"/>
                  <a:pt x="11782939" y="4190000"/>
                  <a:pt x="11782939" y="4186545"/>
                </a:cubicBezTo>
                <a:cubicBezTo>
                  <a:pt x="11782939" y="4183091"/>
                  <a:pt x="11782939" y="4179636"/>
                  <a:pt x="11782939" y="4176181"/>
                </a:cubicBezTo>
                <a:cubicBezTo>
                  <a:pt x="11779357" y="4170998"/>
                  <a:pt x="11773982" y="4167544"/>
                  <a:pt x="11768161" y="4166248"/>
                </a:cubicBezTo>
                <a:close/>
                <a:moveTo>
                  <a:pt x="11525909" y="4158330"/>
                </a:moveTo>
                <a:cubicBezTo>
                  <a:pt x="11504825" y="4193262"/>
                  <a:pt x="11504825" y="4193262"/>
                  <a:pt x="11504825" y="4193262"/>
                </a:cubicBezTo>
                <a:cubicBezTo>
                  <a:pt x="11511853" y="4200248"/>
                  <a:pt x="11518881" y="4203742"/>
                  <a:pt x="11529423" y="4210728"/>
                </a:cubicBezTo>
                <a:cubicBezTo>
                  <a:pt x="11532937" y="4203742"/>
                  <a:pt x="11532937" y="4203742"/>
                  <a:pt x="11532937" y="4203742"/>
                </a:cubicBezTo>
                <a:cubicBezTo>
                  <a:pt x="11515367" y="4193262"/>
                  <a:pt x="11515367" y="4193262"/>
                  <a:pt x="11515367" y="4193262"/>
                </a:cubicBezTo>
                <a:cubicBezTo>
                  <a:pt x="11522395" y="4182783"/>
                  <a:pt x="11522395" y="4182783"/>
                  <a:pt x="11522395" y="4182783"/>
                </a:cubicBezTo>
                <a:cubicBezTo>
                  <a:pt x="11532937" y="4189769"/>
                  <a:pt x="11532937" y="4189769"/>
                  <a:pt x="11532937" y="4189769"/>
                </a:cubicBezTo>
                <a:cubicBezTo>
                  <a:pt x="11536450" y="4182783"/>
                  <a:pt x="11536450" y="4182783"/>
                  <a:pt x="11536450" y="4182783"/>
                </a:cubicBezTo>
                <a:cubicBezTo>
                  <a:pt x="11532937" y="4182783"/>
                  <a:pt x="11529423" y="4179289"/>
                  <a:pt x="11525909" y="4175796"/>
                </a:cubicBezTo>
                <a:lnTo>
                  <a:pt x="11529423" y="4168810"/>
                </a:lnTo>
                <a:cubicBezTo>
                  <a:pt x="11536450" y="4172302"/>
                  <a:pt x="11539964" y="4175796"/>
                  <a:pt x="11546992" y="4179289"/>
                </a:cubicBezTo>
                <a:cubicBezTo>
                  <a:pt x="11550506" y="4172302"/>
                  <a:pt x="11550506" y="4172302"/>
                  <a:pt x="11550506" y="4172302"/>
                </a:cubicBezTo>
                <a:cubicBezTo>
                  <a:pt x="11543478" y="4168810"/>
                  <a:pt x="11532937" y="4161823"/>
                  <a:pt x="11525909" y="4158330"/>
                </a:cubicBezTo>
                <a:close/>
                <a:moveTo>
                  <a:pt x="11803361" y="4130116"/>
                </a:moveTo>
                <a:cubicBezTo>
                  <a:pt x="11799868" y="4133642"/>
                  <a:pt x="11799868" y="4133642"/>
                  <a:pt x="11796375" y="4137169"/>
                </a:cubicBezTo>
                <a:cubicBezTo>
                  <a:pt x="11813840" y="4154803"/>
                  <a:pt x="11813840" y="4154803"/>
                  <a:pt x="11813840" y="4154803"/>
                </a:cubicBezTo>
                <a:cubicBezTo>
                  <a:pt x="11785895" y="4147750"/>
                  <a:pt x="11785895" y="4147750"/>
                  <a:pt x="11785895" y="4147750"/>
                </a:cubicBezTo>
                <a:cubicBezTo>
                  <a:pt x="11782402" y="4147750"/>
                  <a:pt x="11782402" y="4151276"/>
                  <a:pt x="11778908" y="4151276"/>
                </a:cubicBezTo>
                <a:cubicBezTo>
                  <a:pt x="11803361" y="4186545"/>
                  <a:pt x="11803361" y="4186545"/>
                  <a:pt x="11803361" y="4186545"/>
                </a:cubicBezTo>
                <a:cubicBezTo>
                  <a:pt x="11806854" y="4183018"/>
                  <a:pt x="11806854" y="4183018"/>
                  <a:pt x="11810348" y="4179491"/>
                </a:cubicBezTo>
                <a:cubicBezTo>
                  <a:pt x="11796375" y="4158330"/>
                  <a:pt x="11796375" y="4158330"/>
                  <a:pt x="11796375" y="4158330"/>
                </a:cubicBezTo>
                <a:cubicBezTo>
                  <a:pt x="11824320" y="4168910"/>
                  <a:pt x="11824320" y="4168910"/>
                  <a:pt x="11824320" y="4168910"/>
                </a:cubicBezTo>
                <a:cubicBezTo>
                  <a:pt x="11827814" y="4165384"/>
                  <a:pt x="11827814" y="4165384"/>
                  <a:pt x="11831307" y="4161857"/>
                </a:cubicBezTo>
                <a:cubicBezTo>
                  <a:pt x="11803361" y="4130116"/>
                  <a:pt x="11803361" y="4130116"/>
                  <a:pt x="11803361" y="4130116"/>
                </a:cubicBezTo>
                <a:close/>
                <a:moveTo>
                  <a:pt x="11495008" y="4130116"/>
                </a:moveTo>
                <a:cubicBezTo>
                  <a:pt x="11495008" y="4130116"/>
                  <a:pt x="11495008" y="4130116"/>
                  <a:pt x="11487980" y="4133629"/>
                </a:cubicBezTo>
                <a:cubicBezTo>
                  <a:pt x="11491494" y="4137143"/>
                  <a:pt x="11495008" y="4140657"/>
                  <a:pt x="11498522" y="4144171"/>
                </a:cubicBezTo>
                <a:cubicBezTo>
                  <a:pt x="11498522" y="4144171"/>
                  <a:pt x="11498522" y="4144171"/>
                  <a:pt x="11473924" y="4168768"/>
                </a:cubicBezTo>
                <a:cubicBezTo>
                  <a:pt x="11473924" y="4168768"/>
                  <a:pt x="11473924" y="4168768"/>
                  <a:pt x="11480952" y="4175796"/>
                </a:cubicBezTo>
                <a:cubicBezTo>
                  <a:pt x="11480952" y="4175796"/>
                  <a:pt x="11480952" y="4175796"/>
                  <a:pt x="11505548" y="4151199"/>
                </a:cubicBezTo>
                <a:cubicBezTo>
                  <a:pt x="11509062" y="4151199"/>
                  <a:pt x="11512576" y="4154712"/>
                  <a:pt x="11516090" y="4158226"/>
                </a:cubicBezTo>
                <a:cubicBezTo>
                  <a:pt x="11516090" y="4158226"/>
                  <a:pt x="11516090" y="4158226"/>
                  <a:pt x="11519604" y="4151199"/>
                </a:cubicBezTo>
                <a:cubicBezTo>
                  <a:pt x="11509062" y="4144171"/>
                  <a:pt x="11502036" y="4137143"/>
                  <a:pt x="11495008" y="4130116"/>
                </a:cubicBezTo>
                <a:close/>
                <a:moveTo>
                  <a:pt x="11824589" y="4119367"/>
                </a:moveTo>
                <a:lnTo>
                  <a:pt x="11842055" y="4126085"/>
                </a:lnTo>
                <a:lnTo>
                  <a:pt x="11842055" y="4130116"/>
                </a:lnTo>
                <a:lnTo>
                  <a:pt x="11835337" y="4136834"/>
                </a:lnTo>
                <a:lnTo>
                  <a:pt x="11831307" y="4130116"/>
                </a:lnTo>
                <a:close/>
                <a:moveTo>
                  <a:pt x="11820942" y="4112649"/>
                </a:moveTo>
                <a:lnTo>
                  <a:pt x="11813840" y="4119591"/>
                </a:lnTo>
                <a:cubicBezTo>
                  <a:pt x="11813840" y="4119591"/>
                  <a:pt x="11813840" y="4119591"/>
                  <a:pt x="11820942" y="4130003"/>
                </a:cubicBezTo>
                <a:cubicBezTo>
                  <a:pt x="11820942" y="4130003"/>
                  <a:pt x="11820942" y="4130003"/>
                  <a:pt x="11838696" y="4154299"/>
                </a:cubicBezTo>
                <a:cubicBezTo>
                  <a:pt x="11838696" y="4154299"/>
                  <a:pt x="11842247" y="4150829"/>
                  <a:pt x="11842247" y="4150829"/>
                </a:cubicBezTo>
                <a:cubicBezTo>
                  <a:pt x="11842247" y="4150829"/>
                  <a:pt x="11842247" y="4150829"/>
                  <a:pt x="11838696" y="4143887"/>
                </a:cubicBezTo>
                <a:cubicBezTo>
                  <a:pt x="11838696" y="4143887"/>
                  <a:pt x="11838696" y="4143887"/>
                  <a:pt x="11849349" y="4130003"/>
                </a:cubicBezTo>
                <a:cubicBezTo>
                  <a:pt x="11849349" y="4130003"/>
                  <a:pt x="11849349" y="4130003"/>
                  <a:pt x="11856450" y="4130003"/>
                </a:cubicBezTo>
                <a:cubicBezTo>
                  <a:pt x="11860002" y="4130003"/>
                  <a:pt x="11860002" y="4130003"/>
                  <a:pt x="11860002" y="4130003"/>
                </a:cubicBezTo>
                <a:cubicBezTo>
                  <a:pt x="11860002" y="4126532"/>
                  <a:pt x="11863552" y="4126532"/>
                  <a:pt x="11863552" y="4123061"/>
                </a:cubicBezTo>
                <a:cubicBezTo>
                  <a:pt x="11863552" y="4123061"/>
                  <a:pt x="11863552" y="4123061"/>
                  <a:pt x="11820942" y="4112649"/>
                </a:cubicBezTo>
                <a:close/>
                <a:moveTo>
                  <a:pt x="11466198" y="4097870"/>
                </a:moveTo>
                <a:cubicBezTo>
                  <a:pt x="11430930" y="4122950"/>
                  <a:pt x="11430930" y="4122950"/>
                  <a:pt x="11430930" y="4122950"/>
                </a:cubicBezTo>
                <a:cubicBezTo>
                  <a:pt x="11434457" y="4126533"/>
                  <a:pt x="11434457" y="4126533"/>
                  <a:pt x="11437984" y="4130116"/>
                </a:cubicBezTo>
                <a:cubicBezTo>
                  <a:pt x="11459145" y="4115785"/>
                  <a:pt x="11459145" y="4115785"/>
                  <a:pt x="11459145" y="4115785"/>
                </a:cubicBezTo>
                <a:cubicBezTo>
                  <a:pt x="11448564" y="4144446"/>
                  <a:pt x="11448564" y="4144446"/>
                  <a:pt x="11448564" y="4144446"/>
                </a:cubicBezTo>
                <a:cubicBezTo>
                  <a:pt x="11452091" y="4148030"/>
                  <a:pt x="11452091" y="4148030"/>
                  <a:pt x="11455618" y="4151612"/>
                </a:cubicBezTo>
                <a:cubicBezTo>
                  <a:pt x="11487359" y="4122950"/>
                  <a:pt x="11487359" y="4122950"/>
                  <a:pt x="11487359" y="4122950"/>
                </a:cubicBezTo>
                <a:cubicBezTo>
                  <a:pt x="11487359" y="4119367"/>
                  <a:pt x="11483833" y="4119367"/>
                  <a:pt x="11483833" y="4115785"/>
                </a:cubicBezTo>
                <a:cubicBezTo>
                  <a:pt x="11462672" y="4133698"/>
                  <a:pt x="11462672" y="4133698"/>
                  <a:pt x="11462672" y="4133698"/>
                </a:cubicBezTo>
                <a:cubicBezTo>
                  <a:pt x="11473252" y="4105036"/>
                  <a:pt x="11473252" y="4105036"/>
                  <a:pt x="11473252" y="4105036"/>
                </a:cubicBezTo>
                <a:cubicBezTo>
                  <a:pt x="11469725" y="4101453"/>
                  <a:pt x="11469725" y="4101453"/>
                  <a:pt x="11466198" y="4097870"/>
                </a:cubicBezTo>
                <a:close/>
                <a:moveTo>
                  <a:pt x="11835338" y="4087122"/>
                </a:moveTo>
                <a:lnTo>
                  <a:pt x="11831307" y="4095183"/>
                </a:lnTo>
                <a:lnTo>
                  <a:pt x="11870270" y="4115337"/>
                </a:lnTo>
                <a:lnTo>
                  <a:pt x="11883706" y="4091153"/>
                </a:lnTo>
                <a:lnTo>
                  <a:pt x="11876988" y="4087122"/>
                </a:lnTo>
                <a:lnTo>
                  <a:pt x="11866239" y="4105932"/>
                </a:lnTo>
                <a:close/>
                <a:moveTo>
                  <a:pt x="11459634" y="4084435"/>
                </a:moveTo>
                <a:cubicBezTo>
                  <a:pt x="11424212" y="4105597"/>
                  <a:pt x="11424212" y="4105597"/>
                  <a:pt x="11424212" y="4105597"/>
                </a:cubicBezTo>
                <a:cubicBezTo>
                  <a:pt x="11424212" y="4105597"/>
                  <a:pt x="11424212" y="4109123"/>
                  <a:pt x="11427754" y="4112650"/>
                </a:cubicBezTo>
                <a:cubicBezTo>
                  <a:pt x="11463176" y="4091489"/>
                  <a:pt x="11463176" y="4091489"/>
                  <a:pt x="11463176" y="4091489"/>
                </a:cubicBezTo>
                <a:cubicBezTo>
                  <a:pt x="11463176" y="4087962"/>
                  <a:pt x="11459634" y="4087962"/>
                  <a:pt x="11459634" y="4084435"/>
                </a:cubicBezTo>
                <a:close/>
                <a:moveTo>
                  <a:pt x="11450927" y="4050825"/>
                </a:moveTo>
                <a:cubicBezTo>
                  <a:pt x="11452683" y="4051266"/>
                  <a:pt x="11454437" y="4053029"/>
                  <a:pt x="11456192" y="4056556"/>
                </a:cubicBezTo>
                <a:cubicBezTo>
                  <a:pt x="11487785" y="4134147"/>
                  <a:pt x="11561500" y="4187049"/>
                  <a:pt x="11649257" y="4187049"/>
                </a:cubicBezTo>
                <a:cubicBezTo>
                  <a:pt x="11737012" y="4187049"/>
                  <a:pt x="11810728" y="4134147"/>
                  <a:pt x="11842320" y="4056556"/>
                </a:cubicBezTo>
                <a:cubicBezTo>
                  <a:pt x="11844075" y="4053029"/>
                  <a:pt x="11845831" y="4051266"/>
                  <a:pt x="11847586" y="4050825"/>
                </a:cubicBezTo>
                <a:cubicBezTo>
                  <a:pt x="11849340" y="4050385"/>
                  <a:pt x="11851096" y="4051266"/>
                  <a:pt x="11852851" y="4053029"/>
                </a:cubicBezTo>
                <a:cubicBezTo>
                  <a:pt x="11852851" y="4053029"/>
                  <a:pt x="11852851" y="4053029"/>
                  <a:pt x="11891464" y="4063610"/>
                </a:cubicBezTo>
                <a:cubicBezTo>
                  <a:pt x="11894974" y="4067137"/>
                  <a:pt x="11898484" y="4070663"/>
                  <a:pt x="11898484" y="4074190"/>
                </a:cubicBezTo>
                <a:cubicBezTo>
                  <a:pt x="11859871" y="4176468"/>
                  <a:pt x="11761585" y="4247005"/>
                  <a:pt x="11649257" y="4247005"/>
                </a:cubicBezTo>
                <a:cubicBezTo>
                  <a:pt x="11536929" y="4247005"/>
                  <a:pt x="11438641" y="4176468"/>
                  <a:pt x="11400028" y="4077718"/>
                </a:cubicBezTo>
                <a:cubicBezTo>
                  <a:pt x="11400028" y="4070663"/>
                  <a:pt x="11400028" y="4067137"/>
                  <a:pt x="11407049" y="4063610"/>
                </a:cubicBezTo>
                <a:cubicBezTo>
                  <a:pt x="11407049" y="4063610"/>
                  <a:pt x="11407049" y="4063610"/>
                  <a:pt x="11445662" y="4053029"/>
                </a:cubicBezTo>
                <a:cubicBezTo>
                  <a:pt x="11447417" y="4051266"/>
                  <a:pt x="11449172" y="4050385"/>
                  <a:pt x="11450927" y="4050825"/>
                </a:cubicBezTo>
                <a:close/>
                <a:moveTo>
                  <a:pt x="11603442" y="4044987"/>
                </a:moveTo>
                <a:cubicBezTo>
                  <a:pt x="11606935" y="4041441"/>
                  <a:pt x="11610428" y="4041441"/>
                  <a:pt x="11613922" y="4044987"/>
                </a:cubicBezTo>
                <a:cubicBezTo>
                  <a:pt x="11613922" y="4044987"/>
                  <a:pt x="11617414" y="4048533"/>
                  <a:pt x="11617414" y="4052078"/>
                </a:cubicBezTo>
                <a:cubicBezTo>
                  <a:pt x="11617414" y="4052078"/>
                  <a:pt x="11624401" y="4154897"/>
                  <a:pt x="11624401" y="4154897"/>
                </a:cubicBezTo>
                <a:cubicBezTo>
                  <a:pt x="11624401" y="4161988"/>
                  <a:pt x="11624401" y="4165534"/>
                  <a:pt x="11620908" y="4165534"/>
                </a:cubicBezTo>
                <a:cubicBezTo>
                  <a:pt x="11620908" y="4169079"/>
                  <a:pt x="11617414" y="4169079"/>
                  <a:pt x="11613922" y="4165534"/>
                </a:cubicBezTo>
                <a:cubicBezTo>
                  <a:pt x="11568509" y="4154897"/>
                  <a:pt x="11537070" y="4137170"/>
                  <a:pt x="11505632" y="4101714"/>
                </a:cubicBezTo>
                <a:cubicBezTo>
                  <a:pt x="11502138" y="4101714"/>
                  <a:pt x="11502138" y="4098169"/>
                  <a:pt x="11502138" y="4098169"/>
                </a:cubicBezTo>
                <a:cubicBezTo>
                  <a:pt x="11502138" y="4094624"/>
                  <a:pt x="11502138" y="4094624"/>
                  <a:pt x="11502138" y="4094624"/>
                </a:cubicBezTo>
                <a:cubicBezTo>
                  <a:pt x="11502138" y="4091079"/>
                  <a:pt x="11505632" y="4091079"/>
                  <a:pt x="11509124" y="4091079"/>
                </a:cubicBezTo>
                <a:cubicBezTo>
                  <a:pt x="11509124" y="4091079"/>
                  <a:pt x="11509124" y="4091079"/>
                  <a:pt x="11603442" y="4044987"/>
                </a:cubicBezTo>
                <a:close/>
                <a:moveTo>
                  <a:pt x="11688084" y="4041441"/>
                </a:moveTo>
                <a:cubicBezTo>
                  <a:pt x="11691578" y="4041441"/>
                  <a:pt x="11695071" y="4041441"/>
                  <a:pt x="11698565" y="4041441"/>
                </a:cubicBezTo>
                <a:cubicBezTo>
                  <a:pt x="11698565" y="4041441"/>
                  <a:pt x="11698565" y="4041441"/>
                  <a:pt x="11789388" y="4087352"/>
                </a:cubicBezTo>
                <a:cubicBezTo>
                  <a:pt x="11792882" y="4090884"/>
                  <a:pt x="11796375" y="4090884"/>
                  <a:pt x="11796375" y="4094416"/>
                </a:cubicBezTo>
                <a:cubicBezTo>
                  <a:pt x="11796375" y="4097947"/>
                  <a:pt x="11796375" y="4097947"/>
                  <a:pt x="11792882" y="4101479"/>
                </a:cubicBezTo>
                <a:cubicBezTo>
                  <a:pt x="11761442" y="4136795"/>
                  <a:pt x="11730003" y="4154453"/>
                  <a:pt x="11684592" y="4165048"/>
                </a:cubicBezTo>
                <a:cubicBezTo>
                  <a:pt x="11681098" y="4165048"/>
                  <a:pt x="11677605" y="4165048"/>
                  <a:pt x="11677605" y="4165048"/>
                </a:cubicBezTo>
                <a:cubicBezTo>
                  <a:pt x="11674112" y="4161516"/>
                  <a:pt x="11674112" y="4157984"/>
                  <a:pt x="11674112" y="4154453"/>
                </a:cubicBezTo>
                <a:cubicBezTo>
                  <a:pt x="11674112" y="4154453"/>
                  <a:pt x="11674112" y="4154453"/>
                  <a:pt x="11684592" y="4052037"/>
                </a:cubicBezTo>
                <a:cubicBezTo>
                  <a:pt x="11684592" y="4048505"/>
                  <a:pt x="11684592" y="4044973"/>
                  <a:pt x="11688084" y="4041441"/>
                </a:cubicBezTo>
                <a:close/>
                <a:moveTo>
                  <a:pt x="10810283" y="4002477"/>
                </a:moveTo>
                <a:lnTo>
                  <a:pt x="10851862" y="4002477"/>
                </a:lnTo>
                <a:cubicBezTo>
                  <a:pt x="10851862" y="4002477"/>
                  <a:pt x="10851862" y="4002477"/>
                  <a:pt x="10851862" y="4045087"/>
                </a:cubicBezTo>
                <a:cubicBezTo>
                  <a:pt x="10851862" y="4045087"/>
                  <a:pt x="10824142" y="4052189"/>
                  <a:pt x="10803353" y="4052189"/>
                </a:cubicBezTo>
                <a:cubicBezTo>
                  <a:pt x="10786028" y="4052189"/>
                  <a:pt x="10786028" y="4037986"/>
                  <a:pt x="10786028" y="4027333"/>
                </a:cubicBezTo>
                <a:cubicBezTo>
                  <a:pt x="10786028" y="4013130"/>
                  <a:pt x="10792958" y="4006028"/>
                  <a:pt x="10810283" y="4002477"/>
                </a:cubicBezTo>
                <a:close/>
                <a:moveTo>
                  <a:pt x="10494479" y="3932612"/>
                </a:moveTo>
                <a:cubicBezTo>
                  <a:pt x="10525716" y="3932612"/>
                  <a:pt x="10536128" y="3946680"/>
                  <a:pt x="10536128" y="3988884"/>
                </a:cubicBezTo>
                <a:cubicBezTo>
                  <a:pt x="10536128" y="4027569"/>
                  <a:pt x="10529187" y="4052188"/>
                  <a:pt x="10494479" y="4052188"/>
                </a:cubicBezTo>
                <a:cubicBezTo>
                  <a:pt x="10459770" y="4052188"/>
                  <a:pt x="10452829" y="4031087"/>
                  <a:pt x="10452829" y="3988884"/>
                </a:cubicBezTo>
                <a:cubicBezTo>
                  <a:pt x="10452829" y="3946680"/>
                  <a:pt x="10463241" y="3932612"/>
                  <a:pt x="10494479" y="3932612"/>
                </a:cubicBezTo>
                <a:close/>
                <a:moveTo>
                  <a:pt x="11639005" y="3928583"/>
                </a:moveTo>
                <a:cubicBezTo>
                  <a:pt x="11639005" y="3928583"/>
                  <a:pt x="11639005" y="3928583"/>
                  <a:pt x="11660034" y="3928583"/>
                </a:cubicBezTo>
                <a:cubicBezTo>
                  <a:pt x="11660034" y="3928583"/>
                  <a:pt x="11660034" y="3935676"/>
                  <a:pt x="11660034" y="3939223"/>
                </a:cubicBezTo>
                <a:cubicBezTo>
                  <a:pt x="11677559" y="3942770"/>
                  <a:pt x="11691578" y="3960505"/>
                  <a:pt x="11691578" y="3978240"/>
                </a:cubicBezTo>
                <a:cubicBezTo>
                  <a:pt x="11691578" y="3999522"/>
                  <a:pt x="11670549" y="4017257"/>
                  <a:pt x="11649519" y="4017257"/>
                </a:cubicBezTo>
                <a:cubicBezTo>
                  <a:pt x="11628490" y="4017257"/>
                  <a:pt x="11610966" y="3999522"/>
                  <a:pt x="11610966" y="3978240"/>
                </a:cubicBezTo>
                <a:cubicBezTo>
                  <a:pt x="11610966" y="3960505"/>
                  <a:pt x="11621480" y="3942770"/>
                  <a:pt x="11639005" y="3939223"/>
                </a:cubicBezTo>
                <a:cubicBezTo>
                  <a:pt x="11639005" y="3939223"/>
                  <a:pt x="11639005" y="3928583"/>
                  <a:pt x="11639005" y="3928583"/>
                </a:cubicBezTo>
                <a:close/>
                <a:moveTo>
                  <a:pt x="11649257" y="3917834"/>
                </a:moveTo>
                <a:cubicBezTo>
                  <a:pt x="11616236" y="3917834"/>
                  <a:pt x="11589469" y="3944903"/>
                  <a:pt x="11589469" y="3978294"/>
                </a:cubicBezTo>
                <a:cubicBezTo>
                  <a:pt x="11589469" y="4011685"/>
                  <a:pt x="11616236" y="4038754"/>
                  <a:pt x="11649257" y="4038754"/>
                </a:cubicBezTo>
                <a:cubicBezTo>
                  <a:pt x="11682277" y="4038754"/>
                  <a:pt x="11709045" y="4011685"/>
                  <a:pt x="11709045" y="3978294"/>
                </a:cubicBezTo>
                <a:cubicBezTo>
                  <a:pt x="11709045" y="3944903"/>
                  <a:pt x="11682277" y="3917834"/>
                  <a:pt x="11649257" y="3917834"/>
                </a:cubicBezTo>
                <a:close/>
                <a:moveTo>
                  <a:pt x="11649257" y="3911117"/>
                </a:moveTo>
                <a:cubicBezTo>
                  <a:pt x="11685987" y="3911117"/>
                  <a:pt x="11715763" y="3941193"/>
                  <a:pt x="11715763" y="3978294"/>
                </a:cubicBezTo>
                <a:cubicBezTo>
                  <a:pt x="11715763" y="4015396"/>
                  <a:pt x="11685987" y="4045472"/>
                  <a:pt x="11649257" y="4045472"/>
                </a:cubicBezTo>
                <a:cubicBezTo>
                  <a:pt x="11612526" y="4045472"/>
                  <a:pt x="11582751" y="4015396"/>
                  <a:pt x="11582751" y="3978294"/>
                </a:cubicBezTo>
                <a:cubicBezTo>
                  <a:pt x="11582751" y="3941193"/>
                  <a:pt x="11612526" y="3911117"/>
                  <a:pt x="11649257" y="3911117"/>
                </a:cubicBezTo>
                <a:close/>
                <a:moveTo>
                  <a:pt x="11824549" y="3908430"/>
                </a:moveTo>
                <a:cubicBezTo>
                  <a:pt x="11828050" y="3908430"/>
                  <a:pt x="11828050" y="3911956"/>
                  <a:pt x="11828050" y="3915483"/>
                </a:cubicBezTo>
                <a:cubicBezTo>
                  <a:pt x="11842055" y="3957805"/>
                  <a:pt x="11842055" y="3996600"/>
                  <a:pt x="11828050" y="4038922"/>
                </a:cubicBezTo>
                <a:cubicBezTo>
                  <a:pt x="11828050" y="4045976"/>
                  <a:pt x="11828050" y="4045976"/>
                  <a:pt x="11824549" y="4045976"/>
                </a:cubicBezTo>
                <a:cubicBezTo>
                  <a:pt x="11821047" y="4049503"/>
                  <a:pt x="11817546" y="4045976"/>
                  <a:pt x="11817546" y="4045976"/>
                </a:cubicBezTo>
                <a:lnTo>
                  <a:pt x="11730012" y="3986020"/>
                </a:lnTo>
                <a:cubicBezTo>
                  <a:pt x="11726510" y="3982493"/>
                  <a:pt x="11726510" y="3978966"/>
                  <a:pt x="11726510" y="3978966"/>
                </a:cubicBezTo>
                <a:cubicBezTo>
                  <a:pt x="11726510" y="3975440"/>
                  <a:pt x="11726510" y="3971913"/>
                  <a:pt x="11730012" y="3968385"/>
                </a:cubicBezTo>
                <a:cubicBezTo>
                  <a:pt x="11730012" y="3968385"/>
                  <a:pt x="11730012" y="3968385"/>
                  <a:pt x="11814044" y="3911956"/>
                </a:cubicBezTo>
                <a:cubicBezTo>
                  <a:pt x="11821047" y="3908430"/>
                  <a:pt x="11824549" y="3908430"/>
                  <a:pt x="11824549" y="3908430"/>
                </a:cubicBezTo>
                <a:close/>
                <a:moveTo>
                  <a:pt x="11473964" y="3908430"/>
                </a:moveTo>
                <a:cubicBezTo>
                  <a:pt x="11477466" y="3908430"/>
                  <a:pt x="11480967" y="3908430"/>
                  <a:pt x="11480967" y="3911956"/>
                </a:cubicBezTo>
                <a:lnTo>
                  <a:pt x="11568501" y="3968385"/>
                </a:lnTo>
                <a:cubicBezTo>
                  <a:pt x="11572002" y="3971913"/>
                  <a:pt x="11572002" y="3975440"/>
                  <a:pt x="11572002" y="3978966"/>
                </a:cubicBezTo>
                <a:cubicBezTo>
                  <a:pt x="11572002" y="3982493"/>
                  <a:pt x="11572002" y="3986020"/>
                  <a:pt x="11568501" y="3986020"/>
                </a:cubicBezTo>
                <a:cubicBezTo>
                  <a:pt x="11568501" y="3986020"/>
                  <a:pt x="11568501" y="3986020"/>
                  <a:pt x="11480967" y="4045976"/>
                </a:cubicBezTo>
                <a:cubicBezTo>
                  <a:pt x="11477466" y="4045976"/>
                  <a:pt x="11473964" y="4049503"/>
                  <a:pt x="11473964" y="4045976"/>
                </a:cubicBezTo>
                <a:cubicBezTo>
                  <a:pt x="11470463" y="4045976"/>
                  <a:pt x="11470463" y="4042449"/>
                  <a:pt x="11466961" y="4042449"/>
                </a:cubicBezTo>
                <a:cubicBezTo>
                  <a:pt x="11456457" y="3996600"/>
                  <a:pt x="11456457" y="3957805"/>
                  <a:pt x="11466961" y="3915483"/>
                </a:cubicBezTo>
                <a:cubicBezTo>
                  <a:pt x="11470463" y="3911956"/>
                  <a:pt x="11470463" y="3908430"/>
                  <a:pt x="11473964" y="3908430"/>
                </a:cubicBezTo>
                <a:close/>
                <a:moveTo>
                  <a:pt x="11070316" y="3897681"/>
                </a:moveTo>
                <a:cubicBezTo>
                  <a:pt x="11070316" y="3901207"/>
                  <a:pt x="11066828" y="3901207"/>
                  <a:pt x="11070316" y="3904734"/>
                </a:cubicBezTo>
                <a:cubicBezTo>
                  <a:pt x="11112166" y="4066968"/>
                  <a:pt x="11112166" y="4066968"/>
                  <a:pt x="11112166" y="4066968"/>
                </a:cubicBezTo>
                <a:cubicBezTo>
                  <a:pt x="11112166" y="4074022"/>
                  <a:pt x="11119141" y="4088129"/>
                  <a:pt x="11133091" y="4088129"/>
                </a:cubicBezTo>
                <a:cubicBezTo>
                  <a:pt x="11143554" y="4088129"/>
                  <a:pt x="11143554" y="4088129"/>
                  <a:pt x="11143554" y="4088129"/>
                </a:cubicBezTo>
                <a:cubicBezTo>
                  <a:pt x="11140066" y="4091656"/>
                  <a:pt x="11140066" y="4091656"/>
                  <a:pt x="11140066" y="4095182"/>
                </a:cubicBezTo>
                <a:cubicBezTo>
                  <a:pt x="11136578" y="4105762"/>
                  <a:pt x="11133091" y="4116343"/>
                  <a:pt x="11112166" y="4116343"/>
                </a:cubicBezTo>
                <a:cubicBezTo>
                  <a:pt x="11077291" y="4112817"/>
                  <a:pt x="11077291" y="4112817"/>
                  <a:pt x="11077291" y="4112817"/>
                </a:cubicBezTo>
                <a:cubicBezTo>
                  <a:pt x="11077291" y="4112817"/>
                  <a:pt x="11073804" y="4112817"/>
                  <a:pt x="11073804" y="4116343"/>
                </a:cubicBezTo>
                <a:cubicBezTo>
                  <a:pt x="11070316" y="4116343"/>
                  <a:pt x="11070316" y="4119870"/>
                  <a:pt x="11070316" y="4119870"/>
                </a:cubicBezTo>
                <a:cubicBezTo>
                  <a:pt x="11070316" y="4141031"/>
                  <a:pt x="11070316" y="4141031"/>
                  <a:pt x="11070316" y="4141031"/>
                </a:cubicBezTo>
                <a:cubicBezTo>
                  <a:pt x="11070316" y="4144558"/>
                  <a:pt x="11073804" y="4144558"/>
                  <a:pt x="11077291" y="4148085"/>
                </a:cubicBezTo>
                <a:cubicBezTo>
                  <a:pt x="11087754" y="4148085"/>
                  <a:pt x="11108678" y="4151611"/>
                  <a:pt x="11122628" y="4151611"/>
                </a:cubicBezTo>
                <a:cubicBezTo>
                  <a:pt x="11126116" y="4151611"/>
                  <a:pt x="11126116" y="4151611"/>
                  <a:pt x="11126116" y="4151611"/>
                </a:cubicBezTo>
                <a:cubicBezTo>
                  <a:pt x="11154016" y="4151611"/>
                  <a:pt x="11171453" y="4133977"/>
                  <a:pt x="11181916" y="4098709"/>
                </a:cubicBezTo>
                <a:cubicBezTo>
                  <a:pt x="11192378" y="4059914"/>
                  <a:pt x="11206329" y="4007012"/>
                  <a:pt x="11213303" y="3968217"/>
                </a:cubicBezTo>
                <a:cubicBezTo>
                  <a:pt x="11220279" y="3950583"/>
                  <a:pt x="11223766" y="3936475"/>
                  <a:pt x="11227253" y="3925895"/>
                </a:cubicBezTo>
                <a:cubicBezTo>
                  <a:pt x="11230741" y="3904734"/>
                  <a:pt x="11230741" y="3904734"/>
                  <a:pt x="11230741" y="3904734"/>
                </a:cubicBezTo>
                <a:cubicBezTo>
                  <a:pt x="11230741" y="3901207"/>
                  <a:pt x="11230741" y="3901207"/>
                  <a:pt x="11230741" y="3897681"/>
                </a:cubicBezTo>
                <a:cubicBezTo>
                  <a:pt x="11227253" y="3897681"/>
                  <a:pt x="11227253" y="3897681"/>
                  <a:pt x="11223766" y="3897681"/>
                </a:cubicBezTo>
                <a:cubicBezTo>
                  <a:pt x="11195866" y="3897681"/>
                  <a:pt x="11195866" y="3897681"/>
                  <a:pt x="11195866" y="3897681"/>
                </a:cubicBezTo>
                <a:cubicBezTo>
                  <a:pt x="11192378" y="3897681"/>
                  <a:pt x="11188891" y="3897681"/>
                  <a:pt x="11188891" y="3901207"/>
                </a:cubicBezTo>
                <a:cubicBezTo>
                  <a:pt x="11150528" y="4045807"/>
                  <a:pt x="11150528" y="4045807"/>
                  <a:pt x="11150528" y="4045807"/>
                </a:cubicBezTo>
                <a:cubicBezTo>
                  <a:pt x="11147041" y="4045807"/>
                  <a:pt x="11147041" y="4045807"/>
                  <a:pt x="11147041" y="4045807"/>
                </a:cubicBezTo>
                <a:cubicBezTo>
                  <a:pt x="11112166" y="3901207"/>
                  <a:pt x="11112166" y="3901207"/>
                  <a:pt x="11112166" y="3901207"/>
                </a:cubicBezTo>
                <a:cubicBezTo>
                  <a:pt x="11108678" y="3897681"/>
                  <a:pt x="11108678" y="3897681"/>
                  <a:pt x="11105191" y="3897681"/>
                </a:cubicBezTo>
                <a:cubicBezTo>
                  <a:pt x="11077291" y="3897681"/>
                  <a:pt x="11077291" y="3897681"/>
                  <a:pt x="11077291" y="3897681"/>
                </a:cubicBezTo>
                <a:cubicBezTo>
                  <a:pt x="11073804" y="3897681"/>
                  <a:pt x="11070316" y="3897681"/>
                  <a:pt x="11070316" y="3897681"/>
                </a:cubicBezTo>
                <a:close/>
                <a:moveTo>
                  <a:pt x="11038289" y="3893650"/>
                </a:moveTo>
                <a:cubicBezTo>
                  <a:pt x="11017163" y="3893650"/>
                  <a:pt x="10999559" y="3907721"/>
                  <a:pt x="10985474" y="3914756"/>
                </a:cubicBezTo>
                <a:cubicBezTo>
                  <a:pt x="10985474" y="3904203"/>
                  <a:pt x="10985474" y="3904203"/>
                  <a:pt x="10985474" y="3904203"/>
                </a:cubicBezTo>
                <a:cubicBezTo>
                  <a:pt x="10985474" y="3897168"/>
                  <a:pt x="10981954" y="3897168"/>
                  <a:pt x="10978433" y="3897168"/>
                </a:cubicBezTo>
                <a:cubicBezTo>
                  <a:pt x="10950264" y="3897168"/>
                  <a:pt x="10950264" y="3897168"/>
                  <a:pt x="10950264" y="3897168"/>
                </a:cubicBezTo>
                <a:cubicBezTo>
                  <a:pt x="10946743" y="3897168"/>
                  <a:pt x="10943222" y="3897168"/>
                  <a:pt x="10943222" y="3904203"/>
                </a:cubicBezTo>
                <a:cubicBezTo>
                  <a:pt x="10943222" y="4080086"/>
                  <a:pt x="10943222" y="4080086"/>
                  <a:pt x="10943222" y="4080086"/>
                </a:cubicBezTo>
                <a:cubicBezTo>
                  <a:pt x="10943222" y="4083604"/>
                  <a:pt x="10946743" y="4087121"/>
                  <a:pt x="10950264" y="4087121"/>
                </a:cubicBezTo>
                <a:cubicBezTo>
                  <a:pt x="10978433" y="4087121"/>
                  <a:pt x="10978433" y="4087121"/>
                  <a:pt x="10978433" y="4087121"/>
                </a:cubicBezTo>
                <a:cubicBezTo>
                  <a:pt x="10981954" y="4087121"/>
                  <a:pt x="10985474" y="4083604"/>
                  <a:pt x="10985474" y="4080086"/>
                </a:cubicBezTo>
                <a:cubicBezTo>
                  <a:pt x="10985474" y="3956968"/>
                  <a:pt x="10985474" y="3956968"/>
                  <a:pt x="10985474" y="3956968"/>
                </a:cubicBezTo>
                <a:cubicBezTo>
                  <a:pt x="10992517" y="3953450"/>
                  <a:pt x="11013643" y="3935862"/>
                  <a:pt x="11038289" y="3935862"/>
                </a:cubicBezTo>
                <a:cubicBezTo>
                  <a:pt x="11041811" y="3932344"/>
                  <a:pt x="11045332" y="3932344"/>
                  <a:pt x="11045332" y="3928827"/>
                </a:cubicBezTo>
                <a:cubicBezTo>
                  <a:pt x="11045332" y="3900686"/>
                  <a:pt x="11045332" y="3900686"/>
                  <a:pt x="11045332" y="3900686"/>
                </a:cubicBezTo>
                <a:cubicBezTo>
                  <a:pt x="11045332" y="3900686"/>
                  <a:pt x="11045332" y="3897168"/>
                  <a:pt x="11041811" y="3897168"/>
                </a:cubicBezTo>
                <a:cubicBezTo>
                  <a:pt x="11041811" y="3893650"/>
                  <a:pt x="11038289" y="3893650"/>
                  <a:pt x="11038289" y="3893650"/>
                </a:cubicBezTo>
                <a:close/>
                <a:moveTo>
                  <a:pt x="10831647" y="3889619"/>
                </a:moveTo>
                <a:cubicBezTo>
                  <a:pt x="10810578" y="3889619"/>
                  <a:pt x="10775463" y="3896690"/>
                  <a:pt x="10761417" y="3896690"/>
                </a:cubicBezTo>
                <a:cubicBezTo>
                  <a:pt x="10757905" y="3896690"/>
                  <a:pt x="10754394" y="3900226"/>
                  <a:pt x="10754394" y="3903762"/>
                </a:cubicBezTo>
                <a:cubicBezTo>
                  <a:pt x="10754394" y="3903762"/>
                  <a:pt x="10754394" y="3903762"/>
                  <a:pt x="10754394" y="3928511"/>
                </a:cubicBezTo>
                <a:cubicBezTo>
                  <a:pt x="10754394" y="3932047"/>
                  <a:pt x="10754394" y="3932047"/>
                  <a:pt x="10757905" y="3935583"/>
                </a:cubicBezTo>
                <a:cubicBezTo>
                  <a:pt x="10757905" y="3935583"/>
                  <a:pt x="10761417" y="3935583"/>
                  <a:pt x="10761417" y="3935583"/>
                </a:cubicBezTo>
                <a:cubicBezTo>
                  <a:pt x="10778974" y="3935583"/>
                  <a:pt x="10807067" y="3932047"/>
                  <a:pt x="10828136" y="3932047"/>
                </a:cubicBezTo>
                <a:cubicBezTo>
                  <a:pt x="10842182" y="3932047"/>
                  <a:pt x="10852717" y="3942654"/>
                  <a:pt x="10852717" y="3956797"/>
                </a:cubicBezTo>
                <a:cubicBezTo>
                  <a:pt x="10852717" y="3956797"/>
                  <a:pt x="10852717" y="3956797"/>
                  <a:pt x="10852717" y="3967404"/>
                </a:cubicBezTo>
                <a:cubicBezTo>
                  <a:pt x="10852717" y="3967404"/>
                  <a:pt x="10852717" y="3967404"/>
                  <a:pt x="10803555" y="3970940"/>
                </a:cubicBezTo>
                <a:cubicBezTo>
                  <a:pt x="10761417" y="3974475"/>
                  <a:pt x="10740347" y="3992153"/>
                  <a:pt x="10740347" y="4031045"/>
                </a:cubicBezTo>
                <a:cubicBezTo>
                  <a:pt x="10740347" y="4069937"/>
                  <a:pt x="10761417" y="4091151"/>
                  <a:pt x="10796532" y="4091151"/>
                </a:cubicBezTo>
                <a:cubicBezTo>
                  <a:pt x="10824625" y="4091151"/>
                  <a:pt x="10859740" y="4077008"/>
                  <a:pt x="10859740" y="4077008"/>
                </a:cubicBezTo>
                <a:cubicBezTo>
                  <a:pt x="10866763" y="4084080"/>
                  <a:pt x="10873786" y="4087615"/>
                  <a:pt x="10887833" y="4091151"/>
                </a:cubicBezTo>
                <a:cubicBezTo>
                  <a:pt x="10891344" y="4091151"/>
                  <a:pt x="10891344" y="4091151"/>
                  <a:pt x="10894855" y="4087615"/>
                </a:cubicBezTo>
                <a:cubicBezTo>
                  <a:pt x="10894855" y="4087615"/>
                  <a:pt x="10894855" y="4084080"/>
                  <a:pt x="10894855" y="4084080"/>
                </a:cubicBezTo>
                <a:cubicBezTo>
                  <a:pt x="10894855" y="4084080"/>
                  <a:pt x="10894855" y="4084080"/>
                  <a:pt x="10894855" y="3956797"/>
                </a:cubicBezTo>
                <a:cubicBezTo>
                  <a:pt x="10894855" y="3910833"/>
                  <a:pt x="10873786" y="3889619"/>
                  <a:pt x="10831647" y="3889619"/>
                </a:cubicBezTo>
                <a:close/>
                <a:moveTo>
                  <a:pt x="10495822" y="3889618"/>
                </a:moveTo>
                <a:cubicBezTo>
                  <a:pt x="10448333" y="3889618"/>
                  <a:pt x="10409835" y="3934733"/>
                  <a:pt x="10409835" y="3990385"/>
                </a:cubicBezTo>
                <a:cubicBezTo>
                  <a:pt x="10409835" y="4046037"/>
                  <a:pt x="10448333" y="4091151"/>
                  <a:pt x="10495822" y="4091151"/>
                </a:cubicBezTo>
                <a:cubicBezTo>
                  <a:pt x="10543311" y="4091151"/>
                  <a:pt x="10581809" y="4046037"/>
                  <a:pt x="10581809" y="3990385"/>
                </a:cubicBezTo>
                <a:cubicBezTo>
                  <a:pt x="10581809" y="3934733"/>
                  <a:pt x="10543311" y="3889618"/>
                  <a:pt x="10495822" y="3889618"/>
                </a:cubicBezTo>
                <a:close/>
                <a:moveTo>
                  <a:pt x="10241892" y="3865435"/>
                </a:moveTo>
                <a:cubicBezTo>
                  <a:pt x="10248859" y="3865435"/>
                  <a:pt x="10255825" y="3865435"/>
                  <a:pt x="10273241" y="3865435"/>
                </a:cubicBezTo>
                <a:cubicBezTo>
                  <a:pt x="10273241" y="3865435"/>
                  <a:pt x="10273241" y="3865435"/>
                  <a:pt x="10290657" y="3865435"/>
                </a:cubicBezTo>
                <a:cubicBezTo>
                  <a:pt x="10322007" y="3865435"/>
                  <a:pt x="10335940" y="3886688"/>
                  <a:pt x="10335940" y="3904399"/>
                </a:cubicBezTo>
                <a:cubicBezTo>
                  <a:pt x="10335940" y="3929193"/>
                  <a:pt x="10318523" y="3943361"/>
                  <a:pt x="10287174" y="3943361"/>
                </a:cubicBezTo>
                <a:cubicBezTo>
                  <a:pt x="10266274" y="3943361"/>
                  <a:pt x="10248859" y="3943361"/>
                  <a:pt x="10241892" y="3943361"/>
                </a:cubicBezTo>
                <a:cubicBezTo>
                  <a:pt x="10241892" y="3943361"/>
                  <a:pt x="10241892" y="3943361"/>
                  <a:pt x="10241892" y="3865435"/>
                </a:cubicBezTo>
                <a:close/>
                <a:moveTo>
                  <a:pt x="10659063" y="3852000"/>
                </a:moveTo>
                <a:cubicBezTo>
                  <a:pt x="10659063" y="3852000"/>
                  <a:pt x="10659063" y="3852000"/>
                  <a:pt x="10627410" y="3859034"/>
                </a:cubicBezTo>
                <a:cubicBezTo>
                  <a:pt x="10623893" y="3859034"/>
                  <a:pt x="10623893" y="3862551"/>
                  <a:pt x="10623893" y="3866068"/>
                </a:cubicBezTo>
                <a:cubicBezTo>
                  <a:pt x="10623893" y="3866068"/>
                  <a:pt x="10623893" y="3866068"/>
                  <a:pt x="10623893" y="3897720"/>
                </a:cubicBezTo>
                <a:cubicBezTo>
                  <a:pt x="10623893" y="3897720"/>
                  <a:pt x="10623893" y="3897720"/>
                  <a:pt x="10606308" y="3897720"/>
                </a:cubicBezTo>
                <a:cubicBezTo>
                  <a:pt x="10602792" y="3897720"/>
                  <a:pt x="10599275" y="3897720"/>
                  <a:pt x="10599275" y="3904754"/>
                </a:cubicBezTo>
                <a:cubicBezTo>
                  <a:pt x="10599275" y="3904754"/>
                  <a:pt x="10599275" y="3904754"/>
                  <a:pt x="10599275" y="3929372"/>
                </a:cubicBezTo>
                <a:cubicBezTo>
                  <a:pt x="10599275" y="3932890"/>
                  <a:pt x="10602792" y="3936406"/>
                  <a:pt x="10606308" y="3936406"/>
                </a:cubicBezTo>
                <a:cubicBezTo>
                  <a:pt x="10606308" y="3936406"/>
                  <a:pt x="10606308" y="3936406"/>
                  <a:pt x="10623893" y="3936406"/>
                </a:cubicBezTo>
                <a:cubicBezTo>
                  <a:pt x="10623893" y="3936406"/>
                  <a:pt x="10623893" y="3936406"/>
                  <a:pt x="10623893" y="4020813"/>
                </a:cubicBezTo>
                <a:cubicBezTo>
                  <a:pt x="10623893" y="4073566"/>
                  <a:pt x="10637961" y="4091151"/>
                  <a:pt x="10680164" y="4091151"/>
                </a:cubicBezTo>
                <a:cubicBezTo>
                  <a:pt x="10690715" y="4091151"/>
                  <a:pt x="10701266" y="4087635"/>
                  <a:pt x="10711817" y="4087635"/>
                </a:cubicBezTo>
                <a:cubicBezTo>
                  <a:pt x="10715334" y="4087635"/>
                  <a:pt x="10718851" y="4084118"/>
                  <a:pt x="10718851" y="4080600"/>
                </a:cubicBezTo>
                <a:cubicBezTo>
                  <a:pt x="10718851" y="4080600"/>
                  <a:pt x="10718851" y="4080600"/>
                  <a:pt x="10718851" y="4055982"/>
                </a:cubicBezTo>
                <a:cubicBezTo>
                  <a:pt x="10718851" y="4052465"/>
                  <a:pt x="10715334" y="4048948"/>
                  <a:pt x="10711817" y="4048948"/>
                </a:cubicBezTo>
                <a:cubicBezTo>
                  <a:pt x="10704783" y="4048948"/>
                  <a:pt x="10694232" y="4048948"/>
                  <a:pt x="10687198" y="4048948"/>
                </a:cubicBezTo>
                <a:cubicBezTo>
                  <a:pt x="10666096" y="4048948"/>
                  <a:pt x="10666096" y="4041914"/>
                  <a:pt x="10666096" y="4013779"/>
                </a:cubicBezTo>
                <a:cubicBezTo>
                  <a:pt x="10666096" y="4013779"/>
                  <a:pt x="10666096" y="4013779"/>
                  <a:pt x="10666096" y="3936406"/>
                </a:cubicBezTo>
                <a:cubicBezTo>
                  <a:pt x="10666096" y="3936406"/>
                  <a:pt x="10666096" y="3936406"/>
                  <a:pt x="10711817" y="3936406"/>
                </a:cubicBezTo>
                <a:cubicBezTo>
                  <a:pt x="10715334" y="3936406"/>
                  <a:pt x="10718851" y="3932890"/>
                  <a:pt x="10718851" y="3929372"/>
                </a:cubicBezTo>
                <a:cubicBezTo>
                  <a:pt x="10718851" y="3929372"/>
                  <a:pt x="10718851" y="3929372"/>
                  <a:pt x="10718851" y="3904754"/>
                </a:cubicBezTo>
                <a:cubicBezTo>
                  <a:pt x="10718851" y="3897720"/>
                  <a:pt x="10715334" y="3897720"/>
                  <a:pt x="10711817" y="3897720"/>
                </a:cubicBezTo>
                <a:cubicBezTo>
                  <a:pt x="10711817" y="3897720"/>
                  <a:pt x="10711817" y="3897720"/>
                  <a:pt x="10666096" y="3897720"/>
                </a:cubicBezTo>
                <a:cubicBezTo>
                  <a:pt x="10666096" y="3897720"/>
                  <a:pt x="10666096" y="3897720"/>
                  <a:pt x="10666096" y="3859034"/>
                </a:cubicBezTo>
                <a:cubicBezTo>
                  <a:pt x="10666096" y="3855517"/>
                  <a:pt x="10666096" y="3855517"/>
                  <a:pt x="10662580" y="3852000"/>
                </a:cubicBezTo>
                <a:cubicBezTo>
                  <a:pt x="10662580" y="3852000"/>
                  <a:pt x="10659063" y="3852000"/>
                  <a:pt x="10659063" y="3852000"/>
                </a:cubicBezTo>
                <a:close/>
                <a:moveTo>
                  <a:pt x="10283668" y="3823786"/>
                </a:moveTo>
                <a:cubicBezTo>
                  <a:pt x="10273174" y="3823786"/>
                  <a:pt x="10241689" y="3823786"/>
                  <a:pt x="10203208" y="3827297"/>
                </a:cubicBezTo>
                <a:cubicBezTo>
                  <a:pt x="10199710" y="3827297"/>
                  <a:pt x="10196211" y="3830808"/>
                  <a:pt x="10196211" y="3834319"/>
                </a:cubicBezTo>
                <a:cubicBezTo>
                  <a:pt x="10196211" y="3834319"/>
                  <a:pt x="10196211" y="3834319"/>
                  <a:pt x="10196211" y="4080099"/>
                </a:cubicBezTo>
                <a:cubicBezTo>
                  <a:pt x="10196211" y="4083610"/>
                  <a:pt x="10199710" y="4087121"/>
                  <a:pt x="10203208" y="4087121"/>
                </a:cubicBezTo>
                <a:cubicBezTo>
                  <a:pt x="10203208" y="4087121"/>
                  <a:pt x="10203208" y="4087121"/>
                  <a:pt x="10234693" y="4087121"/>
                </a:cubicBezTo>
                <a:cubicBezTo>
                  <a:pt x="10238191" y="4087121"/>
                  <a:pt x="10241689" y="4083610"/>
                  <a:pt x="10241689" y="4080099"/>
                </a:cubicBezTo>
                <a:cubicBezTo>
                  <a:pt x="10241689" y="4080099"/>
                  <a:pt x="10241689" y="4080099"/>
                  <a:pt x="10241689" y="3981787"/>
                </a:cubicBezTo>
                <a:cubicBezTo>
                  <a:pt x="10252184" y="3985298"/>
                  <a:pt x="10269675" y="3985298"/>
                  <a:pt x="10290665" y="3985298"/>
                </a:cubicBezTo>
                <a:cubicBezTo>
                  <a:pt x="10290665" y="3985298"/>
                  <a:pt x="10290665" y="3985298"/>
                  <a:pt x="10336143" y="4083610"/>
                </a:cubicBezTo>
                <a:cubicBezTo>
                  <a:pt x="10336143" y="4083610"/>
                  <a:pt x="10339641" y="4087121"/>
                  <a:pt x="10343139" y="4087121"/>
                </a:cubicBezTo>
                <a:cubicBezTo>
                  <a:pt x="10343139" y="4087121"/>
                  <a:pt x="10343139" y="4087121"/>
                  <a:pt x="10374624" y="4087121"/>
                </a:cubicBezTo>
                <a:cubicBezTo>
                  <a:pt x="10378122" y="4087121"/>
                  <a:pt x="10381620" y="4083610"/>
                  <a:pt x="10381620" y="4083610"/>
                </a:cubicBezTo>
                <a:cubicBezTo>
                  <a:pt x="10381620" y="4080099"/>
                  <a:pt x="10381620" y="4080099"/>
                  <a:pt x="10381620" y="4076588"/>
                </a:cubicBezTo>
                <a:lnTo>
                  <a:pt x="10336143" y="3971254"/>
                </a:lnTo>
                <a:cubicBezTo>
                  <a:pt x="10367627" y="3957209"/>
                  <a:pt x="10381620" y="3936142"/>
                  <a:pt x="10381620" y="3904542"/>
                </a:cubicBezTo>
                <a:cubicBezTo>
                  <a:pt x="10381620" y="3865919"/>
                  <a:pt x="10364129" y="3823786"/>
                  <a:pt x="10290665" y="3823786"/>
                </a:cubicBezTo>
                <a:cubicBezTo>
                  <a:pt x="10290665" y="3823786"/>
                  <a:pt x="10287167" y="3823786"/>
                  <a:pt x="10283668" y="3823786"/>
                </a:cubicBezTo>
                <a:close/>
                <a:moveTo>
                  <a:pt x="11839186" y="3792864"/>
                </a:moveTo>
                <a:cubicBezTo>
                  <a:pt x="11841365" y="3793305"/>
                  <a:pt x="11843980" y="3795068"/>
                  <a:pt x="11845722" y="3798595"/>
                </a:cubicBezTo>
                <a:cubicBezTo>
                  <a:pt x="11901498" y="3855025"/>
                  <a:pt x="11929385" y="3946722"/>
                  <a:pt x="11908470" y="4038419"/>
                </a:cubicBezTo>
                <a:cubicBezTo>
                  <a:pt x="11908470" y="4041946"/>
                  <a:pt x="11904984" y="4045472"/>
                  <a:pt x="11898012" y="4041946"/>
                </a:cubicBezTo>
                <a:cubicBezTo>
                  <a:pt x="11898012" y="4041946"/>
                  <a:pt x="11898012" y="4041946"/>
                  <a:pt x="11859666" y="4031365"/>
                </a:cubicBezTo>
                <a:cubicBezTo>
                  <a:pt x="11856180" y="4031365"/>
                  <a:pt x="11852694" y="4027838"/>
                  <a:pt x="11852694" y="4020785"/>
                </a:cubicBezTo>
                <a:cubicBezTo>
                  <a:pt x="11866638" y="3946722"/>
                  <a:pt x="11849208" y="3886765"/>
                  <a:pt x="11807377" y="3840917"/>
                </a:cubicBezTo>
                <a:cubicBezTo>
                  <a:pt x="11800405" y="3837391"/>
                  <a:pt x="11800405" y="3830336"/>
                  <a:pt x="11807377" y="3826810"/>
                </a:cubicBezTo>
                <a:cubicBezTo>
                  <a:pt x="11807377" y="3826810"/>
                  <a:pt x="11807377" y="3826810"/>
                  <a:pt x="11835264" y="3795068"/>
                </a:cubicBezTo>
                <a:cubicBezTo>
                  <a:pt x="11835264" y="3793305"/>
                  <a:pt x="11837008" y="3792423"/>
                  <a:pt x="11839186" y="3792864"/>
                </a:cubicBezTo>
                <a:close/>
                <a:moveTo>
                  <a:pt x="11458923" y="3792864"/>
                </a:moveTo>
                <a:cubicBezTo>
                  <a:pt x="11461124" y="3792423"/>
                  <a:pt x="11462885" y="3793305"/>
                  <a:pt x="11462885" y="3795068"/>
                </a:cubicBezTo>
                <a:cubicBezTo>
                  <a:pt x="11462885" y="3795068"/>
                  <a:pt x="11462885" y="3795068"/>
                  <a:pt x="11494585" y="3826810"/>
                </a:cubicBezTo>
                <a:cubicBezTo>
                  <a:pt x="11498108" y="3830336"/>
                  <a:pt x="11498108" y="3837391"/>
                  <a:pt x="11491063" y="3840917"/>
                </a:cubicBezTo>
                <a:cubicBezTo>
                  <a:pt x="11448796" y="3886765"/>
                  <a:pt x="11431184" y="3946722"/>
                  <a:pt x="11445274" y="4020785"/>
                </a:cubicBezTo>
                <a:cubicBezTo>
                  <a:pt x="11445274" y="4027838"/>
                  <a:pt x="11441752" y="4031365"/>
                  <a:pt x="11438229" y="4031365"/>
                </a:cubicBezTo>
                <a:cubicBezTo>
                  <a:pt x="11438229" y="4031365"/>
                  <a:pt x="11438229" y="4031365"/>
                  <a:pt x="11399484" y="4041946"/>
                </a:cubicBezTo>
                <a:cubicBezTo>
                  <a:pt x="11392439" y="4045472"/>
                  <a:pt x="11388917" y="4041946"/>
                  <a:pt x="11388917" y="4038419"/>
                </a:cubicBezTo>
                <a:cubicBezTo>
                  <a:pt x="11367783" y="3946722"/>
                  <a:pt x="11395962" y="3855025"/>
                  <a:pt x="11452318" y="3798595"/>
                </a:cubicBezTo>
                <a:cubicBezTo>
                  <a:pt x="11454079" y="3795068"/>
                  <a:pt x="11456721" y="3793305"/>
                  <a:pt x="11458923" y="3792864"/>
                </a:cubicBezTo>
                <a:close/>
                <a:moveTo>
                  <a:pt x="11677605" y="3787510"/>
                </a:moveTo>
                <a:cubicBezTo>
                  <a:pt x="11681098" y="3787510"/>
                  <a:pt x="11681098" y="3787510"/>
                  <a:pt x="11684592" y="3787510"/>
                </a:cubicBezTo>
                <a:cubicBezTo>
                  <a:pt x="11730003" y="3798106"/>
                  <a:pt x="11761442" y="3815763"/>
                  <a:pt x="11792882" y="3851079"/>
                </a:cubicBezTo>
                <a:cubicBezTo>
                  <a:pt x="11796375" y="3854611"/>
                  <a:pt x="11796375" y="3854611"/>
                  <a:pt x="11796375" y="3858143"/>
                </a:cubicBezTo>
                <a:cubicBezTo>
                  <a:pt x="11796375" y="3861674"/>
                  <a:pt x="11792882" y="3861674"/>
                  <a:pt x="11789388" y="3865206"/>
                </a:cubicBezTo>
                <a:cubicBezTo>
                  <a:pt x="11789388" y="3865206"/>
                  <a:pt x="11789388" y="3865206"/>
                  <a:pt x="11698565" y="3911117"/>
                </a:cubicBezTo>
                <a:cubicBezTo>
                  <a:pt x="11695071" y="3911117"/>
                  <a:pt x="11691578" y="3911117"/>
                  <a:pt x="11688084" y="3911117"/>
                </a:cubicBezTo>
                <a:cubicBezTo>
                  <a:pt x="11684592" y="3907585"/>
                  <a:pt x="11684592" y="3904053"/>
                  <a:pt x="11681098" y="3900522"/>
                </a:cubicBezTo>
                <a:cubicBezTo>
                  <a:pt x="11681098" y="3900522"/>
                  <a:pt x="11681098" y="3900522"/>
                  <a:pt x="11674112" y="3798106"/>
                </a:cubicBezTo>
                <a:cubicBezTo>
                  <a:pt x="11674112" y="3794574"/>
                  <a:pt x="11674112" y="3791042"/>
                  <a:pt x="11677605" y="3787510"/>
                </a:cubicBezTo>
                <a:close/>
                <a:moveTo>
                  <a:pt x="11613922" y="3787510"/>
                </a:moveTo>
                <a:cubicBezTo>
                  <a:pt x="11617414" y="3787510"/>
                  <a:pt x="11617414" y="3787510"/>
                  <a:pt x="11620908" y="3787510"/>
                </a:cubicBezTo>
                <a:cubicBezTo>
                  <a:pt x="11620908" y="3791042"/>
                  <a:pt x="11624401" y="3794574"/>
                  <a:pt x="11624401" y="3798106"/>
                </a:cubicBezTo>
                <a:cubicBezTo>
                  <a:pt x="11624401" y="3798106"/>
                  <a:pt x="11624401" y="3798106"/>
                  <a:pt x="11613922" y="3904053"/>
                </a:cubicBezTo>
                <a:cubicBezTo>
                  <a:pt x="11613922" y="3907585"/>
                  <a:pt x="11613922" y="3911117"/>
                  <a:pt x="11610428" y="3911117"/>
                </a:cubicBezTo>
                <a:cubicBezTo>
                  <a:pt x="11606935" y="3911117"/>
                  <a:pt x="11603442" y="3911117"/>
                  <a:pt x="11599949" y="3911117"/>
                </a:cubicBezTo>
                <a:cubicBezTo>
                  <a:pt x="11599949" y="3911117"/>
                  <a:pt x="11599949" y="3911117"/>
                  <a:pt x="11509124" y="3865206"/>
                </a:cubicBezTo>
                <a:cubicBezTo>
                  <a:pt x="11505632" y="3865206"/>
                  <a:pt x="11502138" y="3861674"/>
                  <a:pt x="11502138" y="3858143"/>
                </a:cubicBezTo>
                <a:cubicBezTo>
                  <a:pt x="11502138" y="3858143"/>
                  <a:pt x="11502138" y="3854611"/>
                  <a:pt x="11505632" y="3851079"/>
                </a:cubicBezTo>
                <a:cubicBezTo>
                  <a:pt x="11537070" y="3819295"/>
                  <a:pt x="11568509" y="3798106"/>
                  <a:pt x="11613922" y="3787510"/>
                </a:cubicBezTo>
                <a:close/>
                <a:moveTo>
                  <a:pt x="11532772" y="3752578"/>
                </a:moveTo>
                <a:cubicBezTo>
                  <a:pt x="11536265" y="3752578"/>
                  <a:pt x="11539758" y="3756273"/>
                  <a:pt x="11539758" y="3759968"/>
                </a:cubicBezTo>
                <a:cubicBezTo>
                  <a:pt x="11539758" y="3763663"/>
                  <a:pt x="11539758" y="3763663"/>
                  <a:pt x="11536265" y="3763663"/>
                </a:cubicBezTo>
                <a:cubicBezTo>
                  <a:pt x="11536265" y="3763663"/>
                  <a:pt x="11536265" y="3763663"/>
                  <a:pt x="11529278" y="3767358"/>
                </a:cubicBezTo>
                <a:cubicBezTo>
                  <a:pt x="11529278" y="3767358"/>
                  <a:pt x="11529278" y="3767358"/>
                  <a:pt x="11525785" y="3759968"/>
                </a:cubicBezTo>
                <a:cubicBezTo>
                  <a:pt x="11525785" y="3759968"/>
                  <a:pt x="11525785" y="3759968"/>
                  <a:pt x="11522292" y="3759968"/>
                </a:cubicBezTo>
                <a:cubicBezTo>
                  <a:pt x="11525785" y="3756273"/>
                  <a:pt x="11529278" y="3756273"/>
                  <a:pt x="11532772" y="3752578"/>
                </a:cubicBezTo>
                <a:close/>
                <a:moveTo>
                  <a:pt x="11529297" y="3745381"/>
                </a:moveTo>
                <a:cubicBezTo>
                  <a:pt x="11525746" y="3748931"/>
                  <a:pt x="11518645" y="3752483"/>
                  <a:pt x="11511543" y="3756033"/>
                </a:cubicBezTo>
                <a:cubicBezTo>
                  <a:pt x="11511543" y="3756033"/>
                  <a:pt x="11511543" y="3756033"/>
                  <a:pt x="11515094" y="3759584"/>
                </a:cubicBezTo>
                <a:lnTo>
                  <a:pt x="11532848" y="3791542"/>
                </a:lnTo>
                <a:cubicBezTo>
                  <a:pt x="11536399" y="3791542"/>
                  <a:pt x="11536399" y="3787990"/>
                  <a:pt x="11539950" y="3787990"/>
                </a:cubicBezTo>
                <a:cubicBezTo>
                  <a:pt x="11539950" y="3787990"/>
                  <a:pt x="11539950" y="3787990"/>
                  <a:pt x="11532848" y="3773787"/>
                </a:cubicBezTo>
                <a:cubicBezTo>
                  <a:pt x="11532848" y="3773787"/>
                  <a:pt x="11532848" y="3773787"/>
                  <a:pt x="11539950" y="3770237"/>
                </a:cubicBezTo>
                <a:cubicBezTo>
                  <a:pt x="11539950" y="3770237"/>
                  <a:pt x="11539950" y="3770237"/>
                  <a:pt x="11554153" y="3780889"/>
                </a:cubicBezTo>
                <a:cubicBezTo>
                  <a:pt x="11557704" y="3777338"/>
                  <a:pt x="11557704" y="3777338"/>
                  <a:pt x="11561255" y="3777338"/>
                </a:cubicBezTo>
                <a:cubicBezTo>
                  <a:pt x="11561255" y="3777338"/>
                  <a:pt x="11561255" y="3777338"/>
                  <a:pt x="11547052" y="3763135"/>
                </a:cubicBezTo>
                <a:cubicBezTo>
                  <a:pt x="11547052" y="3763135"/>
                  <a:pt x="11547052" y="3763135"/>
                  <a:pt x="11547052" y="3759584"/>
                </a:cubicBezTo>
                <a:cubicBezTo>
                  <a:pt x="11550602" y="3752483"/>
                  <a:pt x="11539950" y="3741830"/>
                  <a:pt x="11529297" y="3745381"/>
                </a:cubicBezTo>
                <a:close/>
                <a:moveTo>
                  <a:pt x="11750205" y="3739143"/>
                </a:moveTo>
                <a:cubicBezTo>
                  <a:pt x="11753748" y="3763327"/>
                  <a:pt x="11753748" y="3763327"/>
                  <a:pt x="11753748" y="3763327"/>
                </a:cubicBezTo>
                <a:cubicBezTo>
                  <a:pt x="11746663" y="3780601"/>
                  <a:pt x="11746663" y="3780601"/>
                  <a:pt x="11746663" y="3780601"/>
                </a:cubicBezTo>
                <a:lnTo>
                  <a:pt x="11753748" y="3787510"/>
                </a:lnTo>
                <a:cubicBezTo>
                  <a:pt x="11760832" y="3770236"/>
                  <a:pt x="11760832" y="3770236"/>
                  <a:pt x="11760832" y="3770236"/>
                </a:cubicBezTo>
                <a:cubicBezTo>
                  <a:pt x="11785626" y="3756417"/>
                  <a:pt x="11785626" y="3756417"/>
                  <a:pt x="11785626" y="3756417"/>
                </a:cubicBezTo>
                <a:cubicBezTo>
                  <a:pt x="11785626" y="3756417"/>
                  <a:pt x="11782084" y="3752962"/>
                  <a:pt x="11778543" y="3752962"/>
                </a:cubicBezTo>
                <a:cubicBezTo>
                  <a:pt x="11760832" y="3759872"/>
                  <a:pt x="11760832" y="3759872"/>
                  <a:pt x="11760832" y="3759872"/>
                </a:cubicBezTo>
                <a:cubicBezTo>
                  <a:pt x="11757290" y="3742597"/>
                  <a:pt x="11757290" y="3742597"/>
                  <a:pt x="11757290" y="3742597"/>
                </a:cubicBezTo>
                <a:cubicBezTo>
                  <a:pt x="11753748" y="3739143"/>
                  <a:pt x="11753748" y="3739143"/>
                  <a:pt x="11750205" y="3739143"/>
                </a:cubicBezTo>
                <a:close/>
                <a:moveTo>
                  <a:pt x="11715224" y="3735113"/>
                </a:moveTo>
                <a:cubicBezTo>
                  <a:pt x="11718717" y="3735113"/>
                  <a:pt x="11722211" y="3735113"/>
                  <a:pt x="11725705" y="3738472"/>
                </a:cubicBezTo>
                <a:cubicBezTo>
                  <a:pt x="11725705" y="3738472"/>
                  <a:pt x="11729197" y="3738472"/>
                  <a:pt x="11729197" y="3741831"/>
                </a:cubicBezTo>
                <a:cubicBezTo>
                  <a:pt x="11729197" y="3745189"/>
                  <a:pt x="11725705" y="3748548"/>
                  <a:pt x="11722211" y="3748548"/>
                </a:cubicBezTo>
                <a:cubicBezTo>
                  <a:pt x="11722211" y="3748548"/>
                  <a:pt x="11722211" y="3748548"/>
                  <a:pt x="11711731" y="3745189"/>
                </a:cubicBezTo>
                <a:lnTo>
                  <a:pt x="11711731" y="3741831"/>
                </a:lnTo>
                <a:cubicBezTo>
                  <a:pt x="11711731" y="3741831"/>
                  <a:pt x="11711731" y="3741831"/>
                  <a:pt x="11715224" y="3735113"/>
                </a:cubicBezTo>
                <a:close/>
                <a:moveTo>
                  <a:pt x="11582079" y="3734608"/>
                </a:moveTo>
                <a:cubicBezTo>
                  <a:pt x="11589134" y="3731081"/>
                  <a:pt x="11596187" y="3738136"/>
                  <a:pt x="11596187" y="3745189"/>
                </a:cubicBezTo>
                <a:cubicBezTo>
                  <a:pt x="11596187" y="3752243"/>
                  <a:pt x="11589134" y="3759296"/>
                  <a:pt x="11582079" y="3759296"/>
                </a:cubicBezTo>
                <a:cubicBezTo>
                  <a:pt x="11575026" y="3759296"/>
                  <a:pt x="11567972" y="3755770"/>
                  <a:pt x="11567972" y="3748716"/>
                </a:cubicBezTo>
                <a:cubicBezTo>
                  <a:pt x="11567972" y="3748716"/>
                  <a:pt x="11567972" y="3748716"/>
                  <a:pt x="11567972" y="3745189"/>
                </a:cubicBezTo>
                <a:cubicBezTo>
                  <a:pt x="11567972" y="3738136"/>
                  <a:pt x="11575026" y="3734608"/>
                  <a:pt x="11582079" y="3734608"/>
                </a:cubicBezTo>
                <a:close/>
                <a:moveTo>
                  <a:pt x="11670081" y="3728394"/>
                </a:moveTo>
                <a:cubicBezTo>
                  <a:pt x="11670081" y="3728394"/>
                  <a:pt x="11670081" y="3728394"/>
                  <a:pt x="11673440" y="3738874"/>
                </a:cubicBezTo>
                <a:cubicBezTo>
                  <a:pt x="11673440" y="3738874"/>
                  <a:pt x="11673440" y="3738874"/>
                  <a:pt x="11676799" y="3745861"/>
                </a:cubicBezTo>
                <a:cubicBezTo>
                  <a:pt x="11673440" y="3745861"/>
                  <a:pt x="11666722" y="3745861"/>
                  <a:pt x="11663363" y="3745861"/>
                </a:cubicBezTo>
                <a:lnTo>
                  <a:pt x="11666722" y="3738874"/>
                </a:lnTo>
                <a:cubicBezTo>
                  <a:pt x="11666722" y="3738874"/>
                  <a:pt x="11666722" y="3738874"/>
                  <a:pt x="11670081" y="3728394"/>
                </a:cubicBezTo>
                <a:close/>
                <a:moveTo>
                  <a:pt x="11578609" y="3727878"/>
                </a:moveTo>
                <a:cubicBezTo>
                  <a:pt x="11568195" y="3727878"/>
                  <a:pt x="11561254" y="3734906"/>
                  <a:pt x="11561254" y="3745448"/>
                </a:cubicBezTo>
                <a:cubicBezTo>
                  <a:pt x="11561254" y="3748961"/>
                  <a:pt x="11561254" y="3748961"/>
                  <a:pt x="11561254" y="3748961"/>
                </a:cubicBezTo>
                <a:cubicBezTo>
                  <a:pt x="11561254" y="3759503"/>
                  <a:pt x="11571666" y="3770045"/>
                  <a:pt x="11582079" y="3766531"/>
                </a:cubicBezTo>
                <a:cubicBezTo>
                  <a:pt x="11595963" y="3766531"/>
                  <a:pt x="11602904" y="3759503"/>
                  <a:pt x="11602904" y="3745448"/>
                </a:cubicBezTo>
                <a:cubicBezTo>
                  <a:pt x="11602904" y="3734906"/>
                  <a:pt x="11592492" y="3724364"/>
                  <a:pt x="11578609" y="3727878"/>
                </a:cubicBezTo>
                <a:close/>
                <a:moveTo>
                  <a:pt x="11708922" y="3724364"/>
                </a:moveTo>
                <a:cubicBezTo>
                  <a:pt x="11708922" y="3724364"/>
                  <a:pt x="11708922" y="3724364"/>
                  <a:pt x="11705380" y="3742118"/>
                </a:cubicBezTo>
                <a:cubicBezTo>
                  <a:pt x="11705380" y="3742118"/>
                  <a:pt x="11705380" y="3742118"/>
                  <a:pt x="11698296" y="3763423"/>
                </a:cubicBezTo>
                <a:cubicBezTo>
                  <a:pt x="11701837" y="3766974"/>
                  <a:pt x="11705380" y="3766974"/>
                  <a:pt x="11708922" y="3766974"/>
                </a:cubicBezTo>
                <a:lnTo>
                  <a:pt x="11712464" y="3752771"/>
                </a:lnTo>
                <a:cubicBezTo>
                  <a:pt x="11712464" y="3752771"/>
                  <a:pt x="11712464" y="3752771"/>
                  <a:pt x="11719548" y="3752771"/>
                </a:cubicBezTo>
                <a:cubicBezTo>
                  <a:pt x="11719548" y="3752771"/>
                  <a:pt x="11719548" y="3752771"/>
                  <a:pt x="11723090" y="3770525"/>
                </a:cubicBezTo>
                <a:cubicBezTo>
                  <a:pt x="11726632" y="3774076"/>
                  <a:pt x="11726632" y="3774076"/>
                  <a:pt x="11730175" y="3774076"/>
                </a:cubicBezTo>
                <a:cubicBezTo>
                  <a:pt x="11730175" y="3774076"/>
                  <a:pt x="11730175" y="3774076"/>
                  <a:pt x="11726632" y="3756322"/>
                </a:cubicBezTo>
                <a:cubicBezTo>
                  <a:pt x="11733717" y="3752771"/>
                  <a:pt x="11737259" y="3745669"/>
                  <a:pt x="11737259" y="3742118"/>
                </a:cubicBezTo>
                <a:cubicBezTo>
                  <a:pt x="11737259" y="3735017"/>
                  <a:pt x="11733717" y="3731466"/>
                  <a:pt x="11730175" y="3731466"/>
                </a:cubicBezTo>
                <a:cubicBezTo>
                  <a:pt x="11723090" y="3727915"/>
                  <a:pt x="11716006" y="3724364"/>
                  <a:pt x="11708922" y="3724364"/>
                </a:cubicBezTo>
                <a:close/>
                <a:moveTo>
                  <a:pt x="11666295" y="3717646"/>
                </a:moveTo>
                <a:cubicBezTo>
                  <a:pt x="11666295" y="3717646"/>
                  <a:pt x="11666295" y="3717646"/>
                  <a:pt x="11659211" y="3738730"/>
                </a:cubicBezTo>
                <a:cubicBezTo>
                  <a:pt x="11659211" y="3738730"/>
                  <a:pt x="11659211" y="3738730"/>
                  <a:pt x="11648585" y="3759813"/>
                </a:cubicBezTo>
                <a:cubicBezTo>
                  <a:pt x="11652127" y="3759813"/>
                  <a:pt x="11652127" y="3759813"/>
                  <a:pt x="11655669" y="3759813"/>
                </a:cubicBezTo>
                <a:lnTo>
                  <a:pt x="11659211" y="3752785"/>
                </a:lnTo>
                <a:cubicBezTo>
                  <a:pt x="11666295" y="3752785"/>
                  <a:pt x="11669838" y="3752785"/>
                  <a:pt x="11676922" y="3752785"/>
                </a:cubicBezTo>
                <a:cubicBezTo>
                  <a:pt x="11676922" y="3752785"/>
                  <a:pt x="11676922" y="3752785"/>
                  <a:pt x="11680464" y="3759813"/>
                </a:cubicBezTo>
                <a:cubicBezTo>
                  <a:pt x="11684006" y="3759813"/>
                  <a:pt x="11684006" y="3763327"/>
                  <a:pt x="11687548" y="3763327"/>
                </a:cubicBezTo>
                <a:cubicBezTo>
                  <a:pt x="11687548" y="3763327"/>
                  <a:pt x="11687548" y="3763327"/>
                  <a:pt x="11680464" y="3738730"/>
                </a:cubicBezTo>
                <a:cubicBezTo>
                  <a:pt x="11680464" y="3738730"/>
                  <a:pt x="11680464" y="3738730"/>
                  <a:pt x="11676922" y="3717646"/>
                </a:cubicBezTo>
                <a:cubicBezTo>
                  <a:pt x="11676922" y="3717646"/>
                  <a:pt x="11676922" y="3717646"/>
                  <a:pt x="11666295" y="3717646"/>
                </a:cubicBezTo>
                <a:close/>
                <a:moveTo>
                  <a:pt x="11645898" y="3717646"/>
                </a:moveTo>
                <a:cubicBezTo>
                  <a:pt x="11628187" y="3717646"/>
                  <a:pt x="11621103" y="3717646"/>
                  <a:pt x="11606934" y="3721117"/>
                </a:cubicBezTo>
                <a:cubicBezTo>
                  <a:pt x="11606934" y="3728058"/>
                  <a:pt x="11606934" y="3728058"/>
                  <a:pt x="11606934" y="3728058"/>
                </a:cubicBezTo>
                <a:lnTo>
                  <a:pt x="11621103" y="3724588"/>
                </a:lnTo>
                <a:cubicBezTo>
                  <a:pt x="11624645" y="3759296"/>
                  <a:pt x="11624645" y="3759296"/>
                  <a:pt x="11624645" y="3759296"/>
                </a:cubicBezTo>
                <a:cubicBezTo>
                  <a:pt x="11635271" y="3759296"/>
                  <a:pt x="11635271" y="3759296"/>
                  <a:pt x="11635271" y="3759296"/>
                </a:cubicBezTo>
                <a:cubicBezTo>
                  <a:pt x="11631729" y="3724588"/>
                  <a:pt x="11631729" y="3724588"/>
                  <a:pt x="11631729" y="3724588"/>
                </a:cubicBezTo>
                <a:cubicBezTo>
                  <a:pt x="11645898" y="3724588"/>
                  <a:pt x="11645898" y="3724588"/>
                  <a:pt x="11645898" y="3724588"/>
                </a:cubicBezTo>
                <a:cubicBezTo>
                  <a:pt x="11645898" y="3717646"/>
                  <a:pt x="11645898" y="3717646"/>
                  <a:pt x="11645898" y="3717646"/>
                </a:cubicBezTo>
                <a:close/>
                <a:moveTo>
                  <a:pt x="11196257" y="3717645"/>
                </a:moveTo>
                <a:cubicBezTo>
                  <a:pt x="11214171" y="3717645"/>
                  <a:pt x="11221336" y="3735112"/>
                  <a:pt x="11221336" y="3752577"/>
                </a:cubicBezTo>
                <a:lnTo>
                  <a:pt x="11167595" y="3752577"/>
                </a:lnTo>
                <a:cubicBezTo>
                  <a:pt x="11167595" y="3735112"/>
                  <a:pt x="11178343" y="3717645"/>
                  <a:pt x="11196257" y="3717645"/>
                </a:cubicBezTo>
                <a:close/>
                <a:moveTo>
                  <a:pt x="11648585" y="3710929"/>
                </a:moveTo>
                <a:cubicBezTo>
                  <a:pt x="11711759" y="3710929"/>
                  <a:pt x="11767914" y="3731888"/>
                  <a:pt x="11813539" y="3766820"/>
                </a:cubicBezTo>
                <a:cubicBezTo>
                  <a:pt x="11820558" y="3773807"/>
                  <a:pt x="11820558" y="3777300"/>
                  <a:pt x="11817049" y="3780793"/>
                </a:cubicBezTo>
                <a:cubicBezTo>
                  <a:pt x="11817049" y="3780793"/>
                  <a:pt x="11817049" y="3780793"/>
                  <a:pt x="11788972" y="3812233"/>
                </a:cubicBezTo>
                <a:cubicBezTo>
                  <a:pt x="11785462" y="3815725"/>
                  <a:pt x="11781952" y="3815725"/>
                  <a:pt x="11774933" y="3812233"/>
                </a:cubicBezTo>
                <a:cubicBezTo>
                  <a:pt x="11739837" y="3784287"/>
                  <a:pt x="11694210" y="3766820"/>
                  <a:pt x="11648585" y="3766820"/>
                </a:cubicBezTo>
                <a:cubicBezTo>
                  <a:pt x="11599450" y="3766820"/>
                  <a:pt x="11557334" y="3784287"/>
                  <a:pt x="11522236" y="3812233"/>
                </a:cubicBezTo>
                <a:cubicBezTo>
                  <a:pt x="11515217" y="3815725"/>
                  <a:pt x="11511708" y="3815725"/>
                  <a:pt x="11508198" y="3812233"/>
                </a:cubicBezTo>
                <a:cubicBezTo>
                  <a:pt x="11508198" y="3812233"/>
                  <a:pt x="11508198" y="3812233"/>
                  <a:pt x="11480121" y="3780793"/>
                </a:cubicBezTo>
                <a:cubicBezTo>
                  <a:pt x="11476611" y="3777300"/>
                  <a:pt x="11476611" y="3773807"/>
                  <a:pt x="11483630" y="3766820"/>
                </a:cubicBezTo>
                <a:cubicBezTo>
                  <a:pt x="11529256" y="3731888"/>
                  <a:pt x="11585411" y="3710929"/>
                  <a:pt x="11648585" y="3710929"/>
                </a:cubicBezTo>
                <a:close/>
                <a:moveTo>
                  <a:pt x="11196481" y="3710928"/>
                </a:moveTo>
                <a:cubicBezTo>
                  <a:pt x="11172113" y="3710928"/>
                  <a:pt x="11158189" y="3728442"/>
                  <a:pt x="11158189" y="3759968"/>
                </a:cubicBezTo>
                <a:cubicBezTo>
                  <a:pt x="11158189" y="3787990"/>
                  <a:pt x="11168632" y="3809007"/>
                  <a:pt x="11199962" y="3809007"/>
                </a:cubicBezTo>
                <a:cubicBezTo>
                  <a:pt x="11206924" y="3809007"/>
                  <a:pt x="11220848" y="3805504"/>
                  <a:pt x="11227810" y="3802001"/>
                </a:cubicBezTo>
                <a:lnTo>
                  <a:pt x="11227810" y="3791493"/>
                </a:lnTo>
                <a:cubicBezTo>
                  <a:pt x="11220848" y="3794996"/>
                  <a:pt x="11210404" y="3798498"/>
                  <a:pt x="11199962" y="3798498"/>
                </a:cubicBezTo>
                <a:cubicBezTo>
                  <a:pt x="11179076" y="3798498"/>
                  <a:pt x="11168632" y="3780984"/>
                  <a:pt x="11168632" y="3763471"/>
                </a:cubicBezTo>
                <a:cubicBezTo>
                  <a:pt x="11168632" y="3763471"/>
                  <a:pt x="11168632" y="3763471"/>
                  <a:pt x="11234772" y="3763471"/>
                </a:cubicBezTo>
                <a:cubicBezTo>
                  <a:pt x="11234772" y="3763471"/>
                  <a:pt x="11234772" y="3763471"/>
                  <a:pt x="11234772" y="3756465"/>
                </a:cubicBezTo>
                <a:cubicBezTo>
                  <a:pt x="11234772" y="3731945"/>
                  <a:pt x="11224329" y="3710928"/>
                  <a:pt x="11196481" y="3710928"/>
                </a:cubicBezTo>
                <a:close/>
                <a:moveTo>
                  <a:pt x="10947253" y="3674652"/>
                </a:moveTo>
                <a:lnTo>
                  <a:pt x="10947253" y="3685400"/>
                </a:lnTo>
                <a:lnTo>
                  <a:pt x="10986216" y="3685400"/>
                </a:lnTo>
                <a:lnTo>
                  <a:pt x="10986216" y="3804976"/>
                </a:lnTo>
                <a:lnTo>
                  <a:pt x="10999652" y="3804976"/>
                </a:lnTo>
                <a:lnTo>
                  <a:pt x="10999652" y="3685400"/>
                </a:lnTo>
                <a:lnTo>
                  <a:pt x="11038614" y="3685400"/>
                </a:lnTo>
                <a:lnTo>
                  <a:pt x="11038614" y="3674652"/>
                </a:lnTo>
                <a:close/>
                <a:moveTo>
                  <a:pt x="11060111" y="3663903"/>
                </a:moveTo>
                <a:lnTo>
                  <a:pt x="11060111" y="3804976"/>
                </a:lnTo>
                <a:cubicBezTo>
                  <a:pt x="11060111" y="3804976"/>
                  <a:pt x="11060111" y="3804976"/>
                  <a:pt x="11070476" y="3804976"/>
                </a:cubicBezTo>
                <a:cubicBezTo>
                  <a:pt x="11070476" y="3804976"/>
                  <a:pt x="11070476" y="3804976"/>
                  <a:pt x="11070476" y="3755600"/>
                </a:cubicBezTo>
                <a:cubicBezTo>
                  <a:pt x="11070476" y="3737966"/>
                  <a:pt x="11077385" y="3716806"/>
                  <a:pt x="11098115" y="3716806"/>
                </a:cubicBezTo>
                <a:cubicBezTo>
                  <a:pt x="11118844" y="3716806"/>
                  <a:pt x="11118844" y="3730913"/>
                  <a:pt x="11118844" y="3748547"/>
                </a:cubicBezTo>
                <a:cubicBezTo>
                  <a:pt x="11118844" y="3748547"/>
                  <a:pt x="11118844" y="3748547"/>
                  <a:pt x="11118844" y="3804976"/>
                </a:cubicBezTo>
                <a:cubicBezTo>
                  <a:pt x="11118844" y="3804976"/>
                  <a:pt x="11118844" y="3804976"/>
                  <a:pt x="11132662" y="3804976"/>
                </a:cubicBezTo>
                <a:cubicBezTo>
                  <a:pt x="11132662" y="3804976"/>
                  <a:pt x="11132662" y="3804976"/>
                  <a:pt x="11132662" y="3748547"/>
                </a:cubicBezTo>
                <a:cubicBezTo>
                  <a:pt x="11132662" y="3723859"/>
                  <a:pt x="11125753" y="3709752"/>
                  <a:pt x="11101569" y="3709752"/>
                </a:cubicBezTo>
                <a:cubicBezTo>
                  <a:pt x="11087750" y="3709752"/>
                  <a:pt x="11077385" y="3716806"/>
                  <a:pt x="11070476" y="3727386"/>
                </a:cubicBezTo>
                <a:cubicBezTo>
                  <a:pt x="11070476" y="3727386"/>
                  <a:pt x="11070476" y="3727386"/>
                  <a:pt x="11070476" y="3663903"/>
                </a:cubicBezTo>
                <a:cubicBezTo>
                  <a:pt x="11070476" y="3663903"/>
                  <a:pt x="11070476" y="3663903"/>
                  <a:pt x="11060111" y="3663903"/>
                </a:cubicBezTo>
                <a:close/>
                <a:moveTo>
                  <a:pt x="11638739" y="3639720"/>
                </a:moveTo>
                <a:cubicBezTo>
                  <a:pt x="11628222" y="3657341"/>
                  <a:pt x="11624716" y="3674962"/>
                  <a:pt x="11624716" y="3692583"/>
                </a:cubicBezTo>
                <a:cubicBezTo>
                  <a:pt x="11621210" y="3692583"/>
                  <a:pt x="11603681" y="3696107"/>
                  <a:pt x="11600176" y="3696107"/>
                </a:cubicBezTo>
                <a:cubicBezTo>
                  <a:pt x="11596669" y="3678486"/>
                  <a:pt x="11586152" y="3660865"/>
                  <a:pt x="11575635" y="3650293"/>
                </a:cubicBezTo>
                <a:cubicBezTo>
                  <a:pt x="11575635" y="3650293"/>
                  <a:pt x="11575635" y="3650293"/>
                  <a:pt x="11572129" y="3650293"/>
                </a:cubicBezTo>
                <a:cubicBezTo>
                  <a:pt x="11565117" y="3650293"/>
                  <a:pt x="11558106" y="3653817"/>
                  <a:pt x="11551094" y="3653817"/>
                </a:cubicBezTo>
                <a:cubicBezTo>
                  <a:pt x="11551094" y="3653817"/>
                  <a:pt x="11551094" y="3653817"/>
                  <a:pt x="11551094" y="3657341"/>
                </a:cubicBezTo>
                <a:cubicBezTo>
                  <a:pt x="11547588" y="3664390"/>
                  <a:pt x="11547588" y="3671438"/>
                  <a:pt x="11547588" y="3682010"/>
                </a:cubicBezTo>
                <a:cubicBezTo>
                  <a:pt x="11547588" y="3692583"/>
                  <a:pt x="11547588" y="3699631"/>
                  <a:pt x="11551094" y="3710204"/>
                </a:cubicBezTo>
                <a:cubicBezTo>
                  <a:pt x="11547588" y="3710204"/>
                  <a:pt x="11530059" y="3717252"/>
                  <a:pt x="11530059" y="3717252"/>
                </a:cubicBezTo>
                <a:cubicBezTo>
                  <a:pt x="11519542" y="3703155"/>
                  <a:pt x="11505518" y="3689059"/>
                  <a:pt x="11491495" y="3682010"/>
                </a:cubicBezTo>
                <a:cubicBezTo>
                  <a:pt x="11484484" y="3682010"/>
                  <a:pt x="11477472" y="3689059"/>
                  <a:pt x="11470460" y="3692583"/>
                </a:cubicBezTo>
                <a:cubicBezTo>
                  <a:pt x="11470460" y="3710204"/>
                  <a:pt x="11473966" y="3727825"/>
                  <a:pt x="11484484" y="3745445"/>
                </a:cubicBezTo>
                <a:cubicBezTo>
                  <a:pt x="11480978" y="3745445"/>
                  <a:pt x="11470460" y="3756018"/>
                  <a:pt x="11466954" y="3756018"/>
                </a:cubicBezTo>
                <a:cubicBezTo>
                  <a:pt x="11456437" y="3745445"/>
                  <a:pt x="11438908" y="3734873"/>
                  <a:pt x="11421379" y="3731349"/>
                </a:cubicBezTo>
                <a:cubicBezTo>
                  <a:pt x="11414367" y="3734873"/>
                  <a:pt x="11407356" y="3741921"/>
                  <a:pt x="11403850" y="3745445"/>
                </a:cubicBezTo>
                <a:cubicBezTo>
                  <a:pt x="11403850" y="3745445"/>
                  <a:pt x="11403850" y="3745445"/>
                  <a:pt x="11403850" y="3748969"/>
                </a:cubicBezTo>
                <a:cubicBezTo>
                  <a:pt x="11407356" y="3763067"/>
                  <a:pt x="11417873" y="3780687"/>
                  <a:pt x="11431896" y="3794784"/>
                </a:cubicBezTo>
                <a:cubicBezTo>
                  <a:pt x="11428390" y="3794784"/>
                  <a:pt x="11417873" y="3812405"/>
                  <a:pt x="11417873" y="3812405"/>
                </a:cubicBezTo>
                <a:cubicBezTo>
                  <a:pt x="11400344" y="3805356"/>
                  <a:pt x="11382815" y="3798308"/>
                  <a:pt x="11365286" y="3798308"/>
                </a:cubicBezTo>
                <a:cubicBezTo>
                  <a:pt x="11361780" y="3805356"/>
                  <a:pt x="11354768" y="3812405"/>
                  <a:pt x="11354768" y="3819453"/>
                </a:cubicBezTo>
                <a:cubicBezTo>
                  <a:pt x="11361780" y="3833550"/>
                  <a:pt x="11375803" y="3847646"/>
                  <a:pt x="11389827" y="3858220"/>
                </a:cubicBezTo>
                <a:cubicBezTo>
                  <a:pt x="11389827" y="3861744"/>
                  <a:pt x="11382815" y="3875840"/>
                  <a:pt x="11382815" y="3879364"/>
                </a:cubicBezTo>
                <a:cubicBezTo>
                  <a:pt x="11365286" y="3872316"/>
                  <a:pt x="11344251" y="3872316"/>
                  <a:pt x="11330228" y="3879364"/>
                </a:cubicBezTo>
                <a:cubicBezTo>
                  <a:pt x="11326722" y="3886413"/>
                  <a:pt x="11323216" y="3893461"/>
                  <a:pt x="11323216" y="3900509"/>
                </a:cubicBezTo>
                <a:cubicBezTo>
                  <a:pt x="11333733" y="3914606"/>
                  <a:pt x="11351262" y="3921654"/>
                  <a:pt x="11368791" y="3928703"/>
                </a:cubicBezTo>
                <a:cubicBezTo>
                  <a:pt x="11368791" y="3932227"/>
                  <a:pt x="11365286" y="3946323"/>
                  <a:pt x="11365286" y="3949847"/>
                </a:cubicBezTo>
                <a:cubicBezTo>
                  <a:pt x="11347757" y="3949847"/>
                  <a:pt x="11330228" y="3956896"/>
                  <a:pt x="11316205" y="3963945"/>
                </a:cubicBezTo>
                <a:cubicBezTo>
                  <a:pt x="11316205" y="3963945"/>
                  <a:pt x="11316205" y="3963945"/>
                  <a:pt x="11312698" y="3963945"/>
                </a:cubicBezTo>
                <a:cubicBezTo>
                  <a:pt x="11312698" y="3967469"/>
                  <a:pt x="11312698" y="3970993"/>
                  <a:pt x="11312698" y="3978041"/>
                </a:cubicBezTo>
                <a:cubicBezTo>
                  <a:pt x="11312698" y="3981565"/>
                  <a:pt x="11312698" y="3985089"/>
                  <a:pt x="11312698" y="3988614"/>
                </a:cubicBezTo>
                <a:cubicBezTo>
                  <a:pt x="11312698" y="3988614"/>
                  <a:pt x="11312698" y="3988614"/>
                  <a:pt x="11316205" y="3988614"/>
                </a:cubicBezTo>
                <a:cubicBezTo>
                  <a:pt x="11330228" y="3999187"/>
                  <a:pt x="11347757" y="4002711"/>
                  <a:pt x="11365286" y="4002711"/>
                </a:cubicBezTo>
                <a:cubicBezTo>
                  <a:pt x="11365286" y="4006235"/>
                  <a:pt x="11368791" y="4023856"/>
                  <a:pt x="11368791" y="4023856"/>
                </a:cubicBezTo>
                <a:cubicBezTo>
                  <a:pt x="11351262" y="4030904"/>
                  <a:pt x="11333733" y="4041476"/>
                  <a:pt x="11323216" y="4052049"/>
                </a:cubicBezTo>
                <a:cubicBezTo>
                  <a:pt x="11323216" y="4052049"/>
                  <a:pt x="11323216" y="4052049"/>
                  <a:pt x="11323216" y="4055573"/>
                </a:cubicBezTo>
                <a:cubicBezTo>
                  <a:pt x="11323216" y="4059098"/>
                  <a:pt x="11326722" y="4069670"/>
                  <a:pt x="11330228" y="4076718"/>
                </a:cubicBezTo>
                <a:cubicBezTo>
                  <a:pt x="11347757" y="4080242"/>
                  <a:pt x="11365286" y="4080242"/>
                  <a:pt x="11382815" y="4076718"/>
                </a:cubicBezTo>
                <a:cubicBezTo>
                  <a:pt x="11382815" y="4076718"/>
                  <a:pt x="11389827" y="4094339"/>
                  <a:pt x="11393332" y="4097864"/>
                </a:cubicBezTo>
                <a:cubicBezTo>
                  <a:pt x="11375803" y="4104912"/>
                  <a:pt x="11361780" y="4119008"/>
                  <a:pt x="11354768" y="4133105"/>
                </a:cubicBezTo>
                <a:cubicBezTo>
                  <a:pt x="11354768" y="4133105"/>
                  <a:pt x="11354768" y="4133105"/>
                  <a:pt x="11354768" y="4136629"/>
                </a:cubicBezTo>
                <a:cubicBezTo>
                  <a:pt x="11358274" y="4140153"/>
                  <a:pt x="11361780" y="4150726"/>
                  <a:pt x="11365286" y="4154250"/>
                </a:cubicBezTo>
                <a:cubicBezTo>
                  <a:pt x="11382815" y="4154250"/>
                  <a:pt x="11400344" y="4150726"/>
                  <a:pt x="11417873" y="4140153"/>
                </a:cubicBezTo>
                <a:cubicBezTo>
                  <a:pt x="11417873" y="4143678"/>
                  <a:pt x="11428390" y="4157774"/>
                  <a:pt x="11431896" y="4161299"/>
                </a:cubicBezTo>
                <a:cubicBezTo>
                  <a:pt x="11417873" y="4171871"/>
                  <a:pt x="11410861" y="4189491"/>
                  <a:pt x="11403850" y="4207113"/>
                </a:cubicBezTo>
                <a:cubicBezTo>
                  <a:pt x="11410861" y="4210637"/>
                  <a:pt x="11414367" y="4217685"/>
                  <a:pt x="11421379" y="4221209"/>
                </a:cubicBezTo>
                <a:cubicBezTo>
                  <a:pt x="11438908" y="4217685"/>
                  <a:pt x="11456437" y="4210637"/>
                  <a:pt x="11466954" y="4196541"/>
                </a:cubicBezTo>
                <a:cubicBezTo>
                  <a:pt x="11470460" y="4196541"/>
                  <a:pt x="11484484" y="4210637"/>
                  <a:pt x="11484484" y="4210637"/>
                </a:cubicBezTo>
                <a:cubicBezTo>
                  <a:pt x="11477472" y="4224733"/>
                  <a:pt x="11473966" y="4245879"/>
                  <a:pt x="11473966" y="4259975"/>
                </a:cubicBezTo>
                <a:cubicBezTo>
                  <a:pt x="11473966" y="4259975"/>
                  <a:pt x="11473966" y="4263500"/>
                  <a:pt x="11473966" y="4263500"/>
                </a:cubicBezTo>
                <a:cubicBezTo>
                  <a:pt x="11477472" y="4267024"/>
                  <a:pt x="11484484" y="4270548"/>
                  <a:pt x="11491495" y="4274072"/>
                </a:cubicBezTo>
                <a:cubicBezTo>
                  <a:pt x="11491495" y="4274072"/>
                  <a:pt x="11491495" y="4274072"/>
                  <a:pt x="11495001" y="4274072"/>
                </a:cubicBezTo>
                <a:cubicBezTo>
                  <a:pt x="11509024" y="4267024"/>
                  <a:pt x="11523047" y="4252927"/>
                  <a:pt x="11530059" y="4235306"/>
                </a:cubicBezTo>
                <a:cubicBezTo>
                  <a:pt x="11533564" y="4238830"/>
                  <a:pt x="11547588" y="4242355"/>
                  <a:pt x="11551094" y="4245879"/>
                </a:cubicBezTo>
                <a:cubicBezTo>
                  <a:pt x="11547588" y="4252927"/>
                  <a:pt x="11547588" y="4263500"/>
                  <a:pt x="11547588" y="4270548"/>
                </a:cubicBezTo>
                <a:cubicBezTo>
                  <a:pt x="11547588" y="4281120"/>
                  <a:pt x="11547588" y="4288169"/>
                  <a:pt x="11551094" y="4298742"/>
                </a:cubicBezTo>
                <a:cubicBezTo>
                  <a:pt x="11558106" y="4302266"/>
                  <a:pt x="11565117" y="4302266"/>
                  <a:pt x="11572129" y="4305790"/>
                </a:cubicBezTo>
                <a:cubicBezTo>
                  <a:pt x="11572129" y="4305790"/>
                  <a:pt x="11572129" y="4305790"/>
                  <a:pt x="11575635" y="4305790"/>
                </a:cubicBezTo>
                <a:cubicBezTo>
                  <a:pt x="11586152" y="4291693"/>
                  <a:pt x="11596669" y="4274072"/>
                  <a:pt x="11600176" y="4259975"/>
                </a:cubicBezTo>
                <a:cubicBezTo>
                  <a:pt x="11603681" y="4259975"/>
                  <a:pt x="11621210" y="4259975"/>
                  <a:pt x="11624716" y="4259975"/>
                </a:cubicBezTo>
                <a:cubicBezTo>
                  <a:pt x="11624716" y="4281120"/>
                  <a:pt x="11628222" y="4298742"/>
                  <a:pt x="11638739" y="4312838"/>
                </a:cubicBezTo>
                <a:cubicBezTo>
                  <a:pt x="11645751" y="4312838"/>
                  <a:pt x="11656268" y="4312838"/>
                  <a:pt x="11659774" y="4312838"/>
                </a:cubicBezTo>
                <a:cubicBezTo>
                  <a:pt x="11659774" y="4312838"/>
                  <a:pt x="11659774" y="4312838"/>
                  <a:pt x="11663280" y="4312838"/>
                </a:cubicBezTo>
                <a:cubicBezTo>
                  <a:pt x="11670291" y="4298742"/>
                  <a:pt x="11677303" y="4281120"/>
                  <a:pt x="11677303" y="4259975"/>
                </a:cubicBezTo>
                <a:cubicBezTo>
                  <a:pt x="11677303" y="4259975"/>
                  <a:pt x="11694832" y="4259975"/>
                  <a:pt x="11698339" y="4259975"/>
                </a:cubicBezTo>
                <a:cubicBezTo>
                  <a:pt x="11701844" y="4274072"/>
                  <a:pt x="11712361" y="4291693"/>
                  <a:pt x="11722879" y="4305790"/>
                </a:cubicBezTo>
                <a:cubicBezTo>
                  <a:pt x="11722879" y="4305790"/>
                  <a:pt x="11722879" y="4305790"/>
                  <a:pt x="11726385" y="4305790"/>
                </a:cubicBezTo>
                <a:cubicBezTo>
                  <a:pt x="11733396" y="4302266"/>
                  <a:pt x="11740408" y="4302266"/>
                  <a:pt x="11747420" y="4298742"/>
                </a:cubicBezTo>
                <a:cubicBezTo>
                  <a:pt x="11750925" y="4288169"/>
                  <a:pt x="11750925" y="4281120"/>
                  <a:pt x="11750925" y="4270548"/>
                </a:cubicBezTo>
                <a:cubicBezTo>
                  <a:pt x="11750925" y="4263500"/>
                  <a:pt x="11750925" y="4252927"/>
                  <a:pt x="11747420" y="4245879"/>
                </a:cubicBezTo>
                <a:cubicBezTo>
                  <a:pt x="11750925" y="4242355"/>
                  <a:pt x="11764949" y="4235306"/>
                  <a:pt x="11768454" y="4235306"/>
                </a:cubicBezTo>
                <a:cubicBezTo>
                  <a:pt x="11778972" y="4252927"/>
                  <a:pt x="11789490" y="4263500"/>
                  <a:pt x="11807019" y="4274072"/>
                </a:cubicBezTo>
                <a:cubicBezTo>
                  <a:pt x="11814030" y="4270548"/>
                  <a:pt x="11821042" y="4267024"/>
                  <a:pt x="11824547" y="4263500"/>
                </a:cubicBezTo>
                <a:cubicBezTo>
                  <a:pt x="11824547" y="4263500"/>
                  <a:pt x="11824547" y="4263500"/>
                  <a:pt x="11828054" y="4263500"/>
                </a:cubicBezTo>
                <a:cubicBezTo>
                  <a:pt x="11828054" y="4263500"/>
                  <a:pt x="11828054" y="4259975"/>
                  <a:pt x="11828054" y="4259975"/>
                </a:cubicBezTo>
                <a:cubicBezTo>
                  <a:pt x="11828054" y="4242355"/>
                  <a:pt x="11821042" y="4224733"/>
                  <a:pt x="11814030" y="4210637"/>
                </a:cubicBezTo>
                <a:cubicBezTo>
                  <a:pt x="11814030" y="4207113"/>
                  <a:pt x="11828054" y="4196541"/>
                  <a:pt x="11831559" y="4196541"/>
                </a:cubicBezTo>
                <a:cubicBezTo>
                  <a:pt x="11842076" y="4207113"/>
                  <a:pt x="11859606" y="4217685"/>
                  <a:pt x="11877135" y="4221209"/>
                </a:cubicBezTo>
                <a:cubicBezTo>
                  <a:pt x="11884146" y="4217685"/>
                  <a:pt x="11891158" y="4210637"/>
                  <a:pt x="11894664" y="4207113"/>
                </a:cubicBezTo>
                <a:cubicBezTo>
                  <a:pt x="11894664" y="4207113"/>
                  <a:pt x="11894664" y="4207113"/>
                  <a:pt x="11894664" y="4203589"/>
                </a:cubicBezTo>
                <a:cubicBezTo>
                  <a:pt x="11891158" y="4189491"/>
                  <a:pt x="11880641" y="4171871"/>
                  <a:pt x="11866617" y="4157774"/>
                </a:cubicBezTo>
                <a:cubicBezTo>
                  <a:pt x="11870123" y="4157774"/>
                  <a:pt x="11880641" y="4143678"/>
                  <a:pt x="11880641" y="4140153"/>
                </a:cubicBezTo>
                <a:cubicBezTo>
                  <a:pt x="11898170" y="4150726"/>
                  <a:pt x="11915699" y="4154250"/>
                  <a:pt x="11933228" y="4154250"/>
                </a:cubicBezTo>
                <a:cubicBezTo>
                  <a:pt x="11936734" y="4147202"/>
                  <a:pt x="11940239" y="4140153"/>
                  <a:pt x="11943746" y="4136629"/>
                </a:cubicBezTo>
                <a:cubicBezTo>
                  <a:pt x="11943746" y="4136629"/>
                  <a:pt x="11943746" y="4136629"/>
                  <a:pt x="11943746" y="4133105"/>
                </a:cubicBezTo>
                <a:cubicBezTo>
                  <a:pt x="11936734" y="4119008"/>
                  <a:pt x="11922710" y="4104912"/>
                  <a:pt x="11908688" y="4094339"/>
                </a:cubicBezTo>
                <a:cubicBezTo>
                  <a:pt x="11908688" y="4094339"/>
                  <a:pt x="11915699" y="4076718"/>
                  <a:pt x="11915699" y="4076718"/>
                </a:cubicBezTo>
                <a:cubicBezTo>
                  <a:pt x="11933228" y="4080242"/>
                  <a:pt x="11950757" y="4080242"/>
                  <a:pt x="11968286" y="4076718"/>
                </a:cubicBezTo>
                <a:cubicBezTo>
                  <a:pt x="11968286" y="4076718"/>
                  <a:pt x="11968286" y="4076718"/>
                  <a:pt x="11968286" y="4073194"/>
                </a:cubicBezTo>
                <a:cubicBezTo>
                  <a:pt x="11971792" y="4069670"/>
                  <a:pt x="11975298" y="4059098"/>
                  <a:pt x="11975298" y="4052049"/>
                </a:cubicBezTo>
                <a:cubicBezTo>
                  <a:pt x="11961275" y="4037952"/>
                  <a:pt x="11947251" y="4030904"/>
                  <a:pt x="11929722" y="4023856"/>
                </a:cubicBezTo>
                <a:cubicBezTo>
                  <a:pt x="11929722" y="4023856"/>
                  <a:pt x="11929722" y="4006235"/>
                  <a:pt x="11933228" y="4002711"/>
                </a:cubicBezTo>
                <a:cubicBezTo>
                  <a:pt x="11950757" y="4002711"/>
                  <a:pt x="11968286" y="3999187"/>
                  <a:pt x="11982310" y="3988614"/>
                </a:cubicBezTo>
                <a:cubicBezTo>
                  <a:pt x="11985815" y="3985089"/>
                  <a:pt x="11985815" y="3981565"/>
                  <a:pt x="11985815" y="3978041"/>
                </a:cubicBezTo>
                <a:cubicBezTo>
                  <a:pt x="11985815" y="3974517"/>
                  <a:pt x="11985815" y="3970993"/>
                  <a:pt x="11982310" y="3967469"/>
                </a:cubicBezTo>
                <a:cubicBezTo>
                  <a:pt x="11982310" y="3967469"/>
                  <a:pt x="11982310" y="3967469"/>
                  <a:pt x="11982310" y="3963945"/>
                </a:cubicBezTo>
                <a:cubicBezTo>
                  <a:pt x="11968286" y="3956896"/>
                  <a:pt x="11950757" y="3949847"/>
                  <a:pt x="11933228" y="3949847"/>
                </a:cubicBezTo>
                <a:cubicBezTo>
                  <a:pt x="11933228" y="3949847"/>
                  <a:pt x="11929722" y="3932227"/>
                  <a:pt x="11929722" y="3928703"/>
                </a:cubicBezTo>
                <a:cubicBezTo>
                  <a:pt x="11947251" y="3925179"/>
                  <a:pt x="11964780" y="3914606"/>
                  <a:pt x="11975298" y="3904034"/>
                </a:cubicBezTo>
                <a:cubicBezTo>
                  <a:pt x="11975298" y="3904034"/>
                  <a:pt x="11975298" y="3904034"/>
                  <a:pt x="11975298" y="3900509"/>
                </a:cubicBezTo>
                <a:cubicBezTo>
                  <a:pt x="11975298" y="3893461"/>
                  <a:pt x="11971792" y="3886413"/>
                  <a:pt x="11968286" y="3879364"/>
                </a:cubicBezTo>
                <a:cubicBezTo>
                  <a:pt x="11950757" y="3875840"/>
                  <a:pt x="11933228" y="3875840"/>
                  <a:pt x="11915699" y="3879364"/>
                </a:cubicBezTo>
                <a:cubicBezTo>
                  <a:pt x="11915699" y="3875840"/>
                  <a:pt x="11908688" y="3861744"/>
                  <a:pt x="11908688" y="3858220"/>
                </a:cubicBezTo>
                <a:cubicBezTo>
                  <a:pt x="11922710" y="3847646"/>
                  <a:pt x="11936734" y="3837074"/>
                  <a:pt x="11943746" y="3819453"/>
                </a:cubicBezTo>
                <a:cubicBezTo>
                  <a:pt x="11943746" y="3812405"/>
                  <a:pt x="11936734" y="3805356"/>
                  <a:pt x="11933228" y="3801832"/>
                </a:cubicBezTo>
                <a:cubicBezTo>
                  <a:pt x="11933228" y="3801832"/>
                  <a:pt x="11933228" y="3801832"/>
                  <a:pt x="11933228" y="3798308"/>
                </a:cubicBezTo>
                <a:cubicBezTo>
                  <a:pt x="11915699" y="3798308"/>
                  <a:pt x="11898170" y="3805356"/>
                  <a:pt x="11880641" y="3812405"/>
                </a:cubicBezTo>
                <a:cubicBezTo>
                  <a:pt x="11880641" y="3812405"/>
                  <a:pt x="11870123" y="3798308"/>
                  <a:pt x="11866617" y="3794784"/>
                </a:cubicBezTo>
                <a:cubicBezTo>
                  <a:pt x="11880641" y="3780687"/>
                  <a:pt x="11891158" y="3766591"/>
                  <a:pt x="11894664" y="3748969"/>
                </a:cubicBezTo>
                <a:cubicBezTo>
                  <a:pt x="11891158" y="3741921"/>
                  <a:pt x="11884146" y="3734873"/>
                  <a:pt x="11877135" y="3731349"/>
                </a:cubicBezTo>
                <a:cubicBezTo>
                  <a:pt x="11859606" y="3734873"/>
                  <a:pt x="11845583" y="3745445"/>
                  <a:pt x="11831559" y="3759543"/>
                </a:cubicBezTo>
                <a:cubicBezTo>
                  <a:pt x="11828054" y="3756018"/>
                  <a:pt x="11814030" y="3745445"/>
                  <a:pt x="11814030" y="3745445"/>
                </a:cubicBezTo>
                <a:cubicBezTo>
                  <a:pt x="11821042" y="3727825"/>
                  <a:pt x="11828054" y="3710204"/>
                  <a:pt x="11828054" y="3692583"/>
                </a:cubicBezTo>
                <a:cubicBezTo>
                  <a:pt x="11821042" y="3689059"/>
                  <a:pt x="11814030" y="3682010"/>
                  <a:pt x="11807019" y="3682010"/>
                </a:cubicBezTo>
                <a:cubicBezTo>
                  <a:pt x="11792995" y="3689059"/>
                  <a:pt x="11778972" y="3703155"/>
                  <a:pt x="11768454" y="3717252"/>
                </a:cubicBezTo>
                <a:cubicBezTo>
                  <a:pt x="11764949" y="3717252"/>
                  <a:pt x="11750925" y="3710204"/>
                  <a:pt x="11747420" y="3710204"/>
                </a:cubicBezTo>
                <a:cubicBezTo>
                  <a:pt x="11750925" y="3699631"/>
                  <a:pt x="11750925" y="3692583"/>
                  <a:pt x="11750925" y="3682010"/>
                </a:cubicBezTo>
                <a:cubicBezTo>
                  <a:pt x="11750925" y="3671438"/>
                  <a:pt x="11750925" y="3664390"/>
                  <a:pt x="11747420" y="3657341"/>
                </a:cubicBezTo>
                <a:cubicBezTo>
                  <a:pt x="11747420" y="3657341"/>
                  <a:pt x="11747420" y="3657341"/>
                  <a:pt x="11747420" y="3653817"/>
                </a:cubicBezTo>
                <a:cubicBezTo>
                  <a:pt x="11740408" y="3653817"/>
                  <a:pt x="11733396" y="3650293"/>
                  <a:pt x="11726385" y="3650293"/>
                </a:cubicBezTo>
                <a:cubicBezTo>
                  <a:pt x="11726385" y="3650293"/>
                  <a:pt x="11726385" y="3650293"/>
                  <a:pt x="11722879" y="3650293"/>
                </a:cubicBezTo>
                <a:cubicBezTo>
                  <a:pt x="11712361" y="3660865"/>
                  <a:pt x="11701844" y="3678486"/>
                  <a:pt x="11698339" y="3696107"/>
                </a:cubicBezTo>
                <a:cubicBezTo>
                  <a:pt x="11694832" y="3696107"/>
                  <a:pt x="11677303" y="3692583"/>
                  <a:pt x="11673798" y="3692583"/>
                </a:cubicBezTo>
                <a:cubicBezTo>
                  <a:pt x="11673798" y="3674962"/>
                  <a:pt x="11670291" y="3657341"/>
                  <a:pt x="11659774" y="3639720"/>
                </a:cubicBezTo>
                <a:cubicBezTo>
                  <a:pt x="11652763" y="3639720"/>
                  <a:pt x="11645751" y="3639720"/>
                  <a:pt x="11638739" y="3639720"/>
                </a:cubicBezTo>
                <a:close/>
                <a:moveTo>
                  <a:pt x="0" y="0"/>
                </a:moveTo>
                <a:lnTo>
                  <a:pt x="12192000" y="0"/>
                </a:lnTo>
                <a:lnTo>
                  <a:pt x="12192000" y="4454665"/>
                </a:lnTo>
                <a:lnTo>
                  <a:pt x="0" y="4454665"/>
                </a:lnTo>
                <a:close/>
              </a:path>
            </a:pathLst>
          </a:custGeom>
        </p:spPr>
        <p:txBody>
          <a:bodyPr wrap="square">
            <a:noAutofit/>
          </a:bodyPr>
          <a:lstStyle/>
          <a:p>
            <a:endParaRPr lang="en-US" dirty="0"/>
          </a:p>
        </p:txBody>
      </p:sp>
      <p:sp>
        <p:nvSpPr>
          <p:cNvPr id="10" name="Freeform: Shape 9">
            <a:extLst>
              <a:ext uri="{FF2B5EF4-FFF2-40B4-BE49-F238E27FC236}">
                <a16:creationId xmlns:a16="http://schemas.microsoft.com/office/drawing/2014/main" id="{04E1962D-A3FF-4961-B681-98DBE7AF6994}"/>
              </a:ext>
            </a:extLst>
          </p:cNvPr>
          <p:cNvSpPr/>
          <p:nvPr userDrawn="1"/>
        </p:nvSpPr>
        <p:spPr>
          <a:xfrm>
            <a:off x="36252" y="1589905"/>
            <a:ext cx="12192000" cy="5268097"/>
          </a:xfrm>
          <a:custGeom>
            <a:avLst/>
            <a:gdLst>
              <a:gd name="connsiteX0" fmla="*/ 11946675 w 12192000"/>
              <a:gd name="connsiteY0" fmla="*/ 4274241 h 4454665"/>
              <a:gd name="connsiteX1" fmla="*/ 11952788 w 12192000"/>
              <a:gd name="connsiteY1" fmla="*/ 4274241 h 4454665"/>
              <a:gd name="connsiteX2" fmla="*/ 11958183 w 12192000"/>
              <a:gd name="connsiteY2" fmla="*/ 4274816 h 4454665"/>
              <a:gd name="connsiteX3" fmla="*/ 11960461 w 12192000"/>
              <a:gd name="connsiteY3" fmla="*/ 4276559 h 4454665"/>
              <a:gd name="connsiteX4" fmla="*/ 11961281 w 12192000"/>
              <a:gd name="connsiteY4" fmla="*/ 4279206 h 4454665"/>
              <a:gd name="connsiteX5" fmla="*/ 11959578 w 12192000"/>
              <a:gd name="connsiteY5" fmla="*/ 4282898 h 4454665"/>
              <a:gd name="connsiteX6" fmla="*/ 11953198 w 12192000"/>
              <a:gd name="connsiteY6" fmla="*/ 4284293 h 4454665"/>
              <a:gd name="connsiteX7" fmla="*/ 11946675 w 12192000"/>
              <a:gd name="connsiteY7" fmla="*/ 4284293 h 4454665"/>
              <a:gd name="connsiteX8" fmla="*/ 11941300 w 12192000"/>
              <a:gd name="connsiteY8" fmla="*/ 4269729 h 4454665"/>
              <a:gd name="connsiteX9" fmla="*/ 11941300 w 12192000"/>
              <a:gd name="connsiteY9" fmla="*/ 4303043 h 4454665"/>
              <a:gd name="connsiteX10" fmla="*/ 11946675 w 12192000"/>
              <a:gd name="connsiteY10" fmla="*/ 4303043 h 4454665"/>
              <a:gd name="connsiteX11" fmla="*/ 11946675 w 12192000"/>
              <a:gd name="connsiteY11" fmla="*/ 4288889 h 4454665"/>
              <a:gd name="connsiteX12" fmla="*/ 11949834 w 12192000"/>
              <a:gd name="connsiteY12" fmla="*/ 4288889 h 4454665"/>
              <a:gd name="connsiteX13" fmla="*/ 11954142 w 12192000"/>
              <a:gd name="connsiteY13" fmla="*/ 4290037 h 4454665"/>
              <a:gd name="connsiteX14" fmla="*/ 11959762 w 12192000"/>
              <a:gd name="connsiteY14" fmla="*/ 4297791 h 4454665"/>
              <a:gd name="connsiteX15" fmla="*/ 11962717 w 12192000"/>
              <a:gd name="connsiteY15" fmla="*/ 4303043 h 4454665"/>
              <a:gd name="connsiteX16" fmla="*/ 11969281 w 12192000"/>
              <a:gd name="connsiteY16" fmla="*/ 4303043 h 4454665"/>
              <a:gd name="connsiteX17" fmla="*/ 11965220 w 12192000"/>
              <a:gd name="connsiteY17" fmla="*/ 4296519 h 4454665"/>
              <a:gd name="connsiteX18" fmla="*/ 11960296 w 12192000"/>
              <a:gd name="connsiteY18" fmla="*/ 4289914 h 4454665"/>
              <a:gd name="connsiteX19" fmla="*/ 11957466 w 12192000"/>
              <a:gd name="connsiteY19" fmla="*/ 4288150 h 4454665"/>
              <a:gd name="connsiteX20" fmla="*/ 11964378 w 12192000"/>
              <a:gd name="connsiteY20" fmla="*/ 4285114 h 4454665"/>
              <a:gd name="connsiteX21" fmla="*/ 11966983 w 12192000"/>
              <a:gd name="connsiteY21" fmla="*/ 4278755 h 4454665"/>
              <a:gd name="connsiteX22" fmla="*/ 11965424 w 12192000"/>
              <a:gd name="connsiteY22" fmla="*/ 4273872 h 4454665"/>
              <a:gd name="connsiteX23" fmla="*/ 11961239 w 12192000"/>
              <a:gd name="connsiteY23" fmla="*/ 4270652 h 4454665"/>
              <a:gd name="connsiteX24" fmla="*/ 11952747 w 12192000"/>
              <a:gd name="connsiteY24" fmla="*/ 4269729 h 4454665"/>
              <a:gd name="connsiteX25" fmla="*/ 10902089 w 12192000"/>
              <a:gd name="connsiteY25" fmla="*/ 4267158 h 4454665"/>
              <a:gd name="connsiteX26" fmla="*/ 10905603 w 12192000"/>
              <a:gd name="connsiteY26" fmla="*/ 4267158 h 4454665"/>
              <a:gd name="connsiteX27" fmla="*/ 10905603 w 12192000"/>
              <a:gd name="connsiteY27" fmla="*/ 4270699 h 4454665"/>
              <a:gd name="connsiteX28" fmla="*/ 10877492 w 12192000"/>
              <a:gd name="connsiteY28" fmla="*/ 4306121 h 4454665"/>
              <a:gd name="connsiteX29" fmla="*/ 10859922 w 12192000"/>
              <a:gd name="connsiteY29" fmla="*/ 4288411 h 4454665"/>
              <a:gd name="connsiteX30" fmla="*/ 10902089 w 12192000"/>
              <a:gd name="connsiteY30" fmla="*/ 4267158 h 4454665"/>
              <a:gd name="connsiteX31" fmla="*/ 11954881 w 12192000"/>
              <a:gd name="connsiteY31" fmla="*/ 4260087 h 4454665"/>
              <a:gd name="connsiteX32" fmla="*/ 11967558 w 12192000"/>
              <a:gd name="connsiteY32" fmla="*/ 4263431 h 4454665"/>
              <a:gd name="connsiteX33" fmla="*/ 11977220 w 12192000"/>
              <a:gd name="connsiteY33" fmla="*/ 4272990 h 4454665"/>
              <a:gd name="connsiteX34" fmla="*/ 11980687 w 12192000"/>
              <a:gd name="connsiteY34" fmla="*/ 4285934 h 4454665"/>
              <a:gd name="connsiteX35" fmla="*/ 11977282 w 12192000"/>
              <a:gd name="connsiteY35" fmla="*/ 4298755 h 4454665"/>
              <a:gd name="connsiteX36" fmla="*/ 11967722 w 12192000"/>
              <a:gd name="connsiteY36" fmla="*/ 4308315 h 4454665"/>
              <a:gd name="connsiteX37" fmla="*/ 11954881 w 12192000"/>
              <a:gd name="connsiteY37" fmla="*/ 4311741 h 4454665"/>
              <a:gd name="connsiteX38" fmla="*/ 11942039 w 12192000"/>
              <a:gd name="connsiteY38" fmla="*/ 4308315 h 4454665"/>
              <a:gd name="connsiteX39" fmla="*/ 11932459 w 12192000"/>
              <a:gd name="connsiteY39" fmla="*/ 4298755 h 4454665"/>
              <a:gd name="connsiteX40" fmla="*/ 11929033 w 12192000"/>
              <a:gd name="connsiteY40" fmla="*/ 4285934 h 4454665"/>
              <a:gd name="connsiteX41" fmla="*/ 11932521 w 12192000"/>
              <a:gd name="connsiteY41" fmla="*/ 4272990 h 4454665"/>
              <a:gd name="connsiteX42" fmla="*/ 11942183 w 12192000"/>
              <a:gd name="connsiteY42" fmla="*/ 4263431 h 4454665"/>
              <a:gd name="connsiteX43" fmla="*/ 11954881 w 12192000"/>
              <a:gd name="connsiteY43" fmla="*/ 4260087 h 4454665"/>
              <a:gd name="connsiteX44" fmla="*/ 11954881 w 12192000"/>
              <a:gd name="connsiteY44" fmla="*/ 4254959 h 4454665"/>
              <a:gd name="connsiteX45" fmla="*/ 11939660 w 12192000"/>
              <a:gd name="connsiteY45" fmla="*/ 4258959 h 4454665"/>
              <a:gd name="connsiteX46" fmla="*/ 11928069 w 12192000"/>
              <a:gd name="connsiteY46" fmla="*/ 4270406 h 4454665"/>
              <a:gd name="connsiteX47" fmla="*/ 11923904 w 12192000"/>
              <a:gd name="connsiteY47" fmla="*/ 4285934 h 4454665"/>
              <a:gd name="connsiteX48" fmla="*/ 11928007 w 12192000"/>
              <a:gd name="connsiteY48" fmla="*/ 4301320 h 4454665"/>
              <a:gd name="connsiteX49" fmla="*/ 11939474 w 12192000"/>
              <a:gd name="connsiteY49" fmla="*/ 4312787 h 4454665"/>
              <a:gd name="connsiteX50" fmla="*/ 11954881 w 12192000"/>
              <a:gd name="connsiteY50" fmla="*/ 4316869 h 4454665"/>
              <a:gd name="connsiteX51" fmla="*/ 11970287 w 12192000"/>
              <a:gd name="connsiteY51" fmla="*/ 4312787 h 4454665"/>
              <a:gd name="connsiteX52" fmla="*/ 11981733 w 12192000"/>
              <a:gd name="connsiteY52" fmla="*/ 4301320 h 4454665"/>
              <a:gd name="connsiteX53" fmla="*/ 11985815 w 12192000"/>
              <a:gd name="connsiteY53" fmla="*/ 4285934 h 4454665"/>
              <a:gd name="connsiteX54" fmla="*/ 11981671 w 12192000"/>
              <a:gd name="connsiteY54" fmla="*/ 4270406 h 4454665"/>
              <a:gd name="connsiteX55" fmla="*/ 11970101 w 12192000"/>
              <a:gd name="connsiteY55" fmla="*/ 4258959 h 4454665"/>
              <a:gd name="connsiteX56" fmla="*/ 11954881 w 12192000"/>
              <a:gd name="connsiteY56" fmla="*/ 4254959 h 4454665"/>
              <a:gd name="connsiteX57" fmla="*/ 11091685 w 12192000"/>
              <a:gd name="connsiteY57" fmla="*/ 4225507 h 4454665"/>
              <a:gd name="connsiteX58" fmla="*/ 11123259 w 12192000"/>
              <a:gd name="connsiteY58" fmla="*/ 4265814 h 4454665"/>
              <a:gd name="connsiteX59" fmla="*/ 11091685 w 12192000"/>
              <a:gd name="connsiteY59" fmla="*/ 4306120 h 4454665"/>
              <a:gd name="connsiteX60" fmla="*/ 11060111 w 12192000"/>
              <a:gd name="connsiteY60" fmla="*/ 4265814 h 4454665"/>
              <a:gd name="connsiteX61" fmla="*/ 11091685 w 12192000"/>
              <a:gd name="connsiteY61" fmla="*/ 4225507 h 4454665"/>
              <a:gd name="connsiteX62" fmla="*/ 10781998 w 12192000"/>
              <a:gd name="connsiteY62" fmla="*/ 4225507 h 4454665"/>
              <a:gd name="connsiteX63" fmla="*/ 10810212 w 12192000"/>
              <a:gd name="connsiteY63" fmla="*/ 4265814 h 4454665"/>
              <a:gd name="connsiteX64" fmla="*/ 10781998 w 12192000"/>
              <a:gd name="connsiteY64" fmla="*/ 4306120 h 4454665"/>
              <a:gd name="connsiteX65" fmla="*/ 10753783 w 12192000"/>
              <a:gd name="connsiteY65" fmla="*/ 4265814 h 4454665"/>
              <a:gd name="connsiteX66" fmla="*/ 10781998 w 12192000"/>
              <a:gd name="connsiteY66" fmla="*/ 4225507 h 4454665"/>
              <a:gd name="connsiteX67" fmla="*/ 10469622 w 12192000"/>
              <a:gd name="connsiteY67" fmla="*/ 4225507 h 4454665"/>
              <a:gd name="connsiteX68" fmla="*/ 10501196 w 12192000"/>
              <a:gd name="connsiteY68" fmla="*/ 4265814 h 4454665"/>
              <a:gd name="connsiteX69" fmla="*/ 10469622 w 12192000"/>
              <a:gd name="connsiteY69" fmla="*/ 4306120 h 4454665"/>
              <a:gd name="connsiteX70" fmla="*/ 10438048 w 12192000"/>
              <a:gd name="connsiteY70" fmla="*/ 4265814 h 4454665"/>
              <a:gd name="connsiteX71" fmla="*/ 10469622 w 12192000"/>
              <a:gd name="connsiteY71" fmla="*/ 4225507 h 4454665"/>
              <a:gd name="connsiteX72" fmla="*/ 11014562 w 12192000"/>
              <a:gd name="connsiteY72" fmla="*/ 4220260 h 4454665"/>
              <a:gd name="connsiteX73" fmla="*/ 11014562 w 12192000"/>
              <a:gd name="connsiteY73" fmla="*/ 4316220 h 4454665"/>
              <a:gd name="connsiteX74" fmla="*/ 11026851 w 12192000"/>
              <a:gd name="connsiteY74" fmla="*/ 4316220 h 4454665"/>
              <a:gd name="connsiteX75" fmla="*/ 11026851 w 12192000"/>
              <a:gd name="connsiteY75" fmla="*/ 4220260 h 4454665"/>
              <a:gd name="connsiteX76" fmla="*/ 11158189 w 12192000"/>
              <a:gd name="connsiteY76" fmla="*/ 4218790 h 4454665"/>
              <a:gd name="connsiteX77" fmla="*/ 11158189 w 12192000"/>
              <a:gd name="connsiteY77" fmla="*/ 4243173 h 4454665"/>
              <a:gd name="connsiteX78" fmla="*/ 11158189 w 12192000"/>
              <a:gd name="connsiteY78" fmla="*/ 4312838 h 4454665"/>
              <a:gd name="connsiteX79" fmla="*/ 11172009 w 12192000"/>
              <a:gd name="connsiteY79" fmla="*/ 4312838 h 4454665"/>
              <a:gd name="connsiteX80" fmla="*/ 11172009 w 12192000"/>
              <a:gd name="connsiteY80" fmla="*/ 4260589 h 4454665"/>
              <a:gd name="connsiteX81" fmla="*/ 11199648 w 12192000"/>
              <a:gd name="connsiteY81" fmla="*/ 4225756 h 4454665"/>
              <a:gd name="connsiteX82" fmla="*/ 11220377 w 12192000"/>
              <a:gd name="connsiteY82" fmla="*/ 4257106 h 4454665"/>
              <a:gd name="connsiteX83" fmla="*/ 11220377 w 12192000"/>
              <a:gd name="connsiteY83" fmla="*/ 4312838 h 4454665"/>
              <a:gd name="connsiteX84" fmla="*/ 11230741 w 12192000"/>
              <a:gd name="connsiteY84" fmla="*/ 4312838 h 4454665"/>
              <a:gd name="connsiteX85" fmla="*/ 11230741 w 12192000"/>
              <a:gd name="connsiteY85" fmla="*/ 4253622 h 4454665"/>
              <a:gd name="connsiteX86" fmla="*/ 11199648 w 12192000"/>
              <a:gd name="connsiteY86" fmla="*/ 4218790 h 4454665"/>
              <a:gd name="connsiteX87" fmla="*/ 11168554 w 12192000"/>
              <a:gd name="connsiteY87" fmla="*/ 4236206 h 4454665"/>
              <a:gd name="connsiteX88" fmla="*/ 11168554 w 12192000"/>
              <a:gd name="connsiteY88" fmla="*/ 4218790 h 4454665"/>
              <a:gd name="connsiteX89" fmla="*/ 11158189 w 12192000"/>
              <a:gd name="connsiteY89" fmla="*/ 4218790 h 4454665"/>
              <a:gd name="connsiteX90" fmla="*/ 11088997 w 12192000"/>
              <a:gd name="connsiteY90" fmla="*/ 4218790 h 4454665"/>
              <a:gd name="connsiteX91" fmla="*/ 11045332 w 12192000"/>
              <a:gd name="connsiteY91" fmla="*/ 4267830 h 4454665"/>
              <a:gd name="connsiteX92" fmla="*/ 11088997 w 12192000"/>
              <a:gd name="connsiteY92" fmla="*/ 4316869 h 4454665"/>
              <a:gd name="connsiteX93" fmla="*/ 11132662 w 12192000"/>
              <a:gd name="connsiteY93" fmla="*/ 4267830 h 4454665"/>
              <a:gd name="connsiteX94" fmla="*/ 11088997 w 12192000"/>
              <a:gd name="connsiteY94" fmla="*/ 4218790 h 4454665"/>
              <a:gd name="connsiteX95" fmla="*/ 10883851 w 12192000"/>
              <a:gd name="connsiteY95" fmla="*/ 4218790 h 4454665"/>
              <a:gd name="connsiteX96" fmla="*/ 10855700 w 12192000"/>
              <a:gd name="connsiteY96" fmla="*/ 4222293 h 4454665"/>
              <a:gd name="connsiteX97" fmla="*/ 10855700 w 12192000"/>
              <a:gd name="connsiteY97" fmla="*/ 4236304 h 4454665"/>
              <a:gd name="connsiteX98" fmla="*/ 10883851 w 12192000"/>
              <a:gd name="connsiteY98" fmla="*/ 4225796 h 4454665"/>
              <a:gd name="connsiteX99" fmla="*/ 10904964 w 12192000"/>
              <a:gd name="connsiteY99" fmla="*/ 4250316 h 4454665"/>
              <a:gd name="connsiteX100" fmla="*/ 10904964 w 12192000"/>
              <a:gd name="connsiteY100" fmla="*/ 4257321 h 4454665"/>
              <a:gd name="connsiteX101" fmla="*/ 10845144 w 12192000"/>
              <a:gd name="connsiteY101" fmla="*/ 4288846 h 4454665"/>
              <a:gd name="connsiteX102" fmla="*/ 10876813 w 12192000"/>
              <a:gd name="connsiteY102" fmla="*/ 4316869 h 4454665"/>
              <a:gd name="connsiteX103" fmla="*/ 10904964 w 12192000"/>
              <a:gd name="connsiteY103" fmla="*/ 4299355 h 4454665"/>
              <a:gd name="connsiteX104" fmla="*/ 10908483 w 12192000"/>
              <a:gd name="connsiteY104" fmla="*/ 4299355 h 4454665"/>
              <a:gd name="connsiteX105" fmla="*/ 10908483 w 12192000"/>
              <a:gd name="connsiteY105" fmla="*/ 4313366 h 4454665"/>
              <a:gd name="connsiteX106" fmla="*/ 10919039 w 12192000"/>
              <a:gd name="connsiteY106" fmla="*/ 4313366 h 4454665"/>
              <a:gd name="connsiteX107" fmla="*/ 10919039 w 12192000"/>
              <a:gd name="connsiteY107" fmla="*/ 4295852 h 4454665"/>
              <a:gd name="connsiteX108" fmla="*/ 10919039 w 12192000"/>
              <a:gd name="connsiteY108" fmla="*/ 4253819 h 4454665"/>
              <a:gd name="connsiteX109" fmla="*/ 10883851 w 12192000"/>
              <a:gd name="connsiteY109" fmla="*/ 4218790 h 4454665"/>
              <a:gd name="connsiteX110" fmla="*/ 10642268 w 12192000"/>
              <a:gd name="connsiteY110" fmla="*/ 4218790 h 4454665"/>
              <a:gd name="connsiteX111" fmla="*/ 10642268 w 12192000"/>
              <a:gd name="connsiteY111" fmla="*/ 4243173 h 4454665"/>
              <a:gd name="connsiteX112" fmla="*/ 10642268 w 12192000"/>
              <a:gd name="connsiteY112" fmla="*/ 4312838 h 4454665"/>
              <a:gd name="connsiteX113" fmla="*/ 10656343 w 12192000"/>
              <a:gd name="connsiteY113" fmla="*/ 4312838 h 4454665"/>
              <a:gd name="connsiteX114" fmla="*/ 10656343 w 12192000"/>
              <a:gd name="connsiteY114" fmla="*/ 4260589 h 4454665"/>
              <a:gd name="connsiteX115" fmla="*/ 10684494 w 12192000"/>
              <a:gd name="connsiteY115" fmla="*/ 4225756 h 4454665"/>
              <a:gd name="connsiteX116" fmla="*/ 10705607 w 12192000"/>
              <a:gd name="connsiteY116" fmla="*/ 4257106 h 4454665"/>
              <a:gd name="connsiteX117" fmla="*/ 10705607 w 12192000"/>
              <a:gd name="connsiteY117" fmla="*/ 4312838 h 4454665"/>
              <a:gd name="connsiteX118" fmla="*/ 10716163 w 12192000"/>
              <a:gd name="connsiteY118" fmla="*/ 4312838 h 4454665"/>
              <a:gd name="connsiteX119" fmla="*/ 10716163 w 12192000"/>
              <a:gd name="connsiteY119" fmla="*/ 4253622 h 4454665"/>
              <a:gd name="connsiteX120" fmla="*/ 10684494 w 12192000"/>
              <a:gd name="connsiteY120" fmla="*/ 4218790 h 4454665"/>
              <a:gd name="connsiteX121" fmla="*/ 10652824 w 12192000"/>
              <a:gd name="connsiteY121" fmla="*/ 4236206 h 4454665"/>
              <a:gd name="connsiteX122" fmla="*/ 10652824 w 12192000"/>
              <a:gd name="connsiteY122" fmla="*/ 4218790 h 4454665"/>
              <a:gd name="connsiteX123" fmla="*/ 10642268 w 12192000"/>
              <a:gd name="connsiteY123" fmla="*/ 4218790 h 4454665"/>
              <a:gd name="connsiteX124" fmla="*/ 10540159 w 12192000"/>
              <a:gd name="connsiteY124" fmla="*/ 4218790 h 4454665"/>
              <a:gd name="connsiteX125" fmla="*/ 10540159 w 12192000"/>
              <a:gd name="connsiteY125" fmla="*/ 4281840 h 4454665"/>
              <a:gd name="connsiteX126" fmla="*/ 10571828 w 12192000"/>
              <a:gd name="connsiteY126" fmla="*/ 4316869 h 4454665"/>
              <a:gd name="connsiteX127" fmla="*/ 10603498 w 12192000"/>
              <a:gd name="connsiteY127" fmla="*/ 4299355 h 4454665"/>
              <a:gd name="connsiteX128" fmla="*/ 10603498 w 12192000"/>
              <a:gd name="connsiteY128" fmla="*/ 4313366 h 4454665"/>
              <a:gd name="connsiteX129" fmla="*/ 10614054 w 12192000"/>
              <a:gd name="connsiteY129" fmla="*/ 4313366 h 4454665"/>
              <a:gd name="connsiteX130" fmla="*/ 10614054 w 12192000"/>
              <a:gd name="connsiteY130" fmla="*/ 4292349 h 4454665"/>
              <a:gd name="connsiteX131" fmla="*/ 10614054 w 12192000"/>
              <a:gd name="connsiteY131" fmla="*/ 4218790 h 4454665"/>
              <a:gd name="connsiteX132" fmla="*/ 10599979 w 12192000"/>
              <a:gd name="connsiteY132" fmla="*/ 4218790 h 4454665"/>
              <a:gd name="connsiteX133" fmla="*/ 10599979 w 12192000"/>
              <a:gd name="connsiteY133" fmla="*/ 4271332 h 4454665"/>
              <a:gd name="connsiteX134" fmla="*/ 10571828 w 12192000"/>
              <a:gd name="connsiteY134" fmla="*/ 4306360 h 4454665"/>
              <a:gd name="connsiteX135" fmla="*/ 10550715 w 12192000"/>
              <a:gd name="connsiteY135" fmla="*/ 4278338 h 4454665"/>
              <a:gd name="connsiteX136" fmla="*/ 10550715 w 12192000"/>
              <a:gd name="connsiteY136" fmla="*/ 4218790 h 4454665"/>
              <a:gd name="connsiteX137" fmla="*/ 10540159 w 12192000"/>
              <a:gd name="connsiteY137" fmla="*/ 4218790 h 4454665"/>
              <a:gd name="connsiteX138" fmla="*/ 10471637 w 12192000"/>
              <a:gd name="connsiteY138" fmla="*/ 4218790 h 4454665"/>
              <a:gd name="connsiteX139" fmla="*/ 10427300 w 12192000"/>
              <a:gd name="connsiteY139" fmla="*/ 4267830 h 4454665"/>
              <a:gd name="connsiteX140" fmla="*/ 10471637 w 12192000"/>
              <a:gd name="connsiteY140" fmla="*/ 4316869 h 4454665"/>
              <a:gd name="connsiteX141" fmla="*/ 10515975 w 12192000"/>
              <a:gd name="connsiteY141" fmla="*/ 4267830 h 4454665"/>
              <a:gd name="connsiteX142" fmla="*/ 10471637 w 12192000"/>
              <a:gd name="connsiteY142" fmla="*/ 4218790 h 4454665"/>
              <a:gd name="connsiteX143" fmla="*/ 11655303 w 12192000"/>
              <a:gd name="connsiteY143" fmla="*/ 4204011 h 4454665"/>
              <a:gd name="connsiteX144" fmla="*/ 11659333 w 12192000"/>
              <a:gd name="connsiteY144" fmla="*/ 4214760 h 4454665"/>
              <a:gd name="connsiteX145" fmla="*/ 11663364 w 12192000"/>
              <a:gd name="connsiteY145" fmla="*/ 4221478 h 4454665"/>
              <a:gd name="connsiteX146" fmla="*/ 11648585 w 12192000"/>
              <a:gd name="connsiteY146" fmla="*/ 4221478 h 4454665"/>
              <a:gd name="connsiteX147" fmla="*/ 11652616 w 12192000"/>
              <a:gd name="connsiteY147" fmla="*/ 4214760 h 4454665"/>
              <a:gd name="connsiteX148" fmla="*/ 11659446 w 12192000"/>
              <a:gd name="connsiteY148" fmla="*/ 4193263 h 4454665"/>
              <a:gd name="connsiteX149" fmla="*/ 11649032 w 12192000"/>
              <a:gd name="connsiteY149" fmla="*/ 4196777 h 4454665"/>
              <a:gd name="connsiteX150" fmla="*/ 11645562 w 12192000"/>
              <a:gd name="connsiteY150" fmla="*/ 4214347 h 4454665"/>
              <a:gd name="connsiteX151" fmla="*/ 11635149 w 12192000"/>
              <a:gd name="connsiteY151" fmla="*/ 4235429 h 4454665"/>
              <a:gd name="connsiteX152" fmla="*/ 11645562 w 12192000"/>
              <a:gd name="connsiteY152" fmla="*/ 4238943 h 4454665"/>
              <a:gd name="connsiteX153" fmla="*/ 11645562 w 12192000"/>
              <a:gd name="connsiteY153" fmla="*/ 4228402 h 4454665"/>
              <a:gd name="connsiteX154" fmla="*/ 11666387 w 12192000"/>
              <a:gd name="connsiteY154" fmla="*/ 4228402 h 4454665"/>
              <a:gd name="connsiteX155" fmla="*/ 11666387 w 12192000"/>
              <a:gd name="connsiteY155" fmla="*/ 4235429 h 4454665"/>
              <a:gd name="connsiteX156" fmla="*/ 11676800 w 12192000"/>
              <a:gd name="connsiteY156" fmla="*/ 4235429 h 4454665"/>
              <a:gd name="connsiteX157" fmla="*/ 11666387 w 12192000"/>
              <a:gd name="connsiteY157" fmla="*/ 4214347 h 4454665"/>
              <a:gd name="connsiteX158" fmla="*/ 11659446 w 12192000"/>
              <a:gd name="connsiteY158" fmla="*/ 4196777 h 4454665"/>
              <a:gd name="connsiteX159" fmla="*/ 11659446 w 12192000"/>
              <a:gd name="connsiteY159" fmla="*/ 4193263 h 4454665"/>
              <a:gd name="connsiteX160" fmla="*/ 10964451 w 12192000"/>
              <a:gd name="connsiteY160" fmla="*/ 4193262 h 4454665"/>
              <a:gd name="connsiteX161" fmla="*/ 10953971 w 12192000"/>
              <a:gd name="connsiteY161" fmla="*/ 4196794 h 4454665"/>
              <a:gd name="connsiteX162" fmla="*/ 10953971 w 12192000"/>
              <a:gd name="connsiteY162" fmla="*/ 4217983 h 4454665"/>
              <a:gd name="connsiteX163" fmla="*/ 10936505 w 12192000"/>
              <a:gd name="connsiteY163" fmla="*/ 4217983 h 4454665"/>
              <a:gd name="connsiteX164" fmla="*/ 10936505 w 12192000"/>
              <a:gd name="connsiteY164" fmla="*/ 4228578 h 4454665"/>
              <a:gd name="connsiteX165" fmla="*/ 10953971 w 12192000"/>
              <a:gd name="connsiteY165" fmla="*/ 4228578 h 4454665"/>
              <a:gd name="connsiteX166" fmla="*/ 10953971 w 12192000"/>
              <a:gd name="connsiteY166" fmla="*/ 4285084 h 4454665"/>
              <a:gd name="connsiteX167" fmla="*/ 10974931 w 12192000"/>
              <a:gd name="connsiteY167" fmla="*/ 4316868 h 4454665"/>
              <a:gd name="connsiteX168" fmla="*/ 10988904 w 12192000"/>
              <a:gd name="connsiteY168" fmla="*/ 4313337 h 4454665"/>
              <a:gd name="connsiteX169" fmla="*/ 10988904 w 12192000"/>
              <a:gd name="connsiteY169" fmla="*/ 4302742 h 4454665"/>
              <a:gd name="connsiteX170" fmla="*/ 10978424 w 12192000"/>
              <a:gd name="connsiteY170" fmla="*/ 4306273 h 4454665"/>
              <a:gd name="connsiteX171" fmla="*/ 10964451 w 12192000"/>
              <a:gd name="connsiteY171" fmla="*/ 4292147 h 4454665"/>
              <a:gd name="connsiteX172" fmla="*/ 10964451 w 12192000"/>
              <a:gd name="connsiteY172" fmla="*/ 4228578 h 4454665"/>
              <a:gd name="connsiteX173" fmla="*/ 10985410 w 12192000"/>
              <a:gd name="connsiteY173" fmla="*/ 4228578 h 4454665"/>
              <a:gd name="connsiteX174" fmla="*/ 10985410 w 12192000"/>
              <a:gd name="connsiteY174" fmla="*/ 4217983 h 4454665"/>
              <a:gd name="connsiteX175" fmla="*/ 10964451 w 12192000"/>
              <a:gd name="connsiteY175" fmla="*/ 4217983 h 4454665"/>
              <a:gd name="connsiteX176" fmla="*/ 10964451 w 12192000"/>
              <a:gd name="connsiteY176" fmla="*/ 4193262 h 4454665"/>
              <a:gd name="connsiteX177" fmla="*/ 11599881 w 12192000"/>
              <a:gd name="connsiteY177" fmla="*/ 4190576 h 4454665"/>
              <a:gd name="connsiteX178" fmla="*/ 11589469 w 12192000"/>
              <a:gd name="connsiteY178" fmla="*/ 4232742 h 4454665"/>
              <a:gd name="connsiteX179" fmla="*/ 11599881 w 12192000"/>
              <a:gd name="connsiteY179" fmla="*/ 4232742 h 4454665"/>
              <a:gd name="connsiteX180" fmla="*/ 11603352 w 12192000"/>
              <a:gd name="connsiteY180" fmla="*/ 4208146 h 4454665"/>
              <a:gd name="connsiteX181" fmla="*/ 11617236 w 12192000"/>
              <a:gd name="connsiteY181" fmla="*/ 4236256 h 4454665"/>
              <a:gd name="connsiteX182" fmla="*/ 11624178 w 12192000"/>
              <a:gd name="connsiteY182" fmla="*/ 4236256 h 4454665"/>
              <a:gd name="connsiteX183" fmla="*/ 11631119 w 12192000"/>
              <a:gd name="connsiteY183" fmla="*/ 4194090 h 4454665"/>
              <a:gd name="connsiteX184" fmla="*/ 11624178 w 12192000"/>
              <a:gd name="connsiteY184" fmla="*/ 4194090 h 4454665"/>
              <a:gd name="connsiteX185" fmla="*/ 11620707 w 12192000"/>
              <a:gd name="connsiteY185" fmla="*/ 4222201 h 4454665"/>
              <a:gd name="connsiteX186" fmla="*/ 11606824 w 12192000"/>
              <a:gd name="connsiteY186" fmla="*/ 4190576 h 4454665"/>
              <a:gd name="connsiteX187" fmla="*/ 11599881 w 12192000"/>
              <a:gd name="connsiteY187" fmla="*/ 4190576 h 4454665"/>
              <a:gd name="connsiteX188" fmla="*/ 11709044 w 12192000"/>
              <a:gd name="connsiteY188" fmla="*/ 4186546 h 4454665"/>
              <a:gd name="connsiteX189" fmla="*/ 11674112 w 12192000"/>
              <a:gd name="connsiteY189" fmla="*/ 4193647 h 4454665"/>
              <a:gd name="connsiteX190" fmla="*/ 11674112 w 12192000"/>
              <a:gd name="connsiteY190" fmla="*/ 4200749 h 4454665"/>
              <a:gd name="connsiteX191" fmla="*/ 11688084 w 12192000"/>
              <a:gd name="connsiteY191" fmla="*/ 4200749 h 4454665"/>
              <a:gd name="connsiteX192" fmla="*/ 11695071 w 12192000"/>
              <a:gd name="connsiteY192" fmla="*/ 4236257 h 4454665"/>
              <a:gd name="connsiteX193" fmla="*/ 11702057 w 12192000"/>
              <a:gd name="connsiteY193" fmla="*/ 4232706 h 4454665"/>
              <a:gd name="connsiteX194" fmla="*/ 11695071 w 12192000"/>
              <a:gd name="connsiteY194" fmla="*/ 4197198 h 4454665"/>
              <a:gd name="connsiteX195" fmla="*/ 11709044 w 12192000"/>
              <a:gd name="connsiteY195" fmla="*/ 4193647 h 4454665"/>
              <a:gd name="connsiteX196" fmla="*/ 11564748 w 12192000"/>
              <a:gd name="connsiteY196" fmla="*/ 4186546 h 4454665"/>
              <a:gd name="connsiteX197" fmla="*/ 11575228 w 12192000"/>
              <a:gd name="connsiteY197" fmla="*/ 4189905 h 4454665"/>
              <a:gd name="connsiteX198" fmla="*/ 11578720 w 12192000"/>
              <a:gd name="connsiteY198" fmla="*/ 4193264 h 4454665"/>
              <a:gd name="connsiteX199" fmla="*/ 11578720 w 12192000"/>
              <a:gd name="connsiteY199" fmla="*/ 4196622 h 4454665"/>
              <a:gd name="connsiteX200" fmla="*/ 11571734 w 12192000"/>
              <a:gd name="connsiteY200" fmla="*/ 4199981 h 4454665"/>
              <a:gd name="connsiteX201" fmla="*/ 11561254 w 12192000"/>
              <a:gd name="connsiteY201" fmla="*/ 4196622 h 4454665"/>
              <a:gd name="connsiteX202" fmla="*/ 11564748 w 12192000"/>
              <a:gd name="connsiteY202" fmla="*/ 4193264 h 4454665"/>
              <a:gd name="connsiteX203" fmla="*/ 11564748 w 12192000"/>
              <a:gd name="connsiteY203" fmla="*/ 4186546 h 4454665"/>
              <a:gd name="connsiteX204" fmla="*/ 11014562 w 12192000"/>
              <a:gd name="connsiteY204" fmla="*/ 4184660 h 4454665"/>
              <a:gd name="connsiteX205" fmla="*/ 11014562 w 12192000"/>
              <a:gd name="connsiteY205" fmla="*/ 4198354 h 4454665"/>
              <a:gd name="connsiteX206" fmla="*/ 11026851 w 12192000"/>
              <a:gd name="connsiteY206" fmla="*/ 4198354 h 4454665"/>
              <a:gd name="connsiteX207" fmla="*/ 11026851 w 12192000"/>
              <a:gd name="connsiteY207" fmla="*/ 4184660 h 4454665"/>
              <a:gd name="connsiteX208" fmla="*/ 11715762 w 12192000"/>
              <a:gd name="connsiteY208" fmla="*/ 4182514 h 4454665"/>
              <a:gd name="connsiteX209" fmla="*/ 11729582 w 12192000"/>
              <a:gd name="connsiteY209" fmla="*/ 4225508 h 4454665"/>
              <a:gd name="connsiteX210" fmla="*/ 11739946 w 12192000"/>
              <a:gd name="connsiteY210" fmla="*/ 4221925 h 4454665"/>
              <a:gd name="connsiteX211" fmla="*/ 11726127 w 12192000"/>
              <a:gd name="connsiteY211" fmla="*/ 4182514 h 4454665"/>
              <a:gd name="connsiteX212" fmla="*/ 11715762 w 12192000"/>
              <a:gd name="connsiteY212" fmla="*/ 4182514 h 4454665"/>
              <a:gd name="connsiteX213" fmla="*/ 10346688 w 12192000"/>
              <a:gd name="connsiteY213" fmla="*/ 4182514 h 4454665"/>
              <a:gd name="connsiteX214" fmla="*/ 10346688 w 12192000"/>
              <a:gd name="connsiteY214" fmla="*/ 4312838 h 4454665"/>
              <a:gd name="connsiteX215" fmla="*/ 10361467 w 12192000"/>
              <a:gd name="connsiteY215" fmla="*/ 4312838 h 4454665"/>
              <a:gd name="connsiteX216" fmla="*/ 10361467 w 12192000"/>
              <a:gd name="connsiteY216" fmla="*/ 4253722 h 4454665"/>
              <a:gd name="connsiteX217" fmla="*/ 10407148 w 12192000"/>
              <a:gd name="connsiteY217" fmla="*/ 4253722 h 4454665"/>
              <a:gd name="connsiteX218" fmla="*/ 10407148 w 12192000"/>
              <a:gd name="connsiteY218" fmla="*/ 4242974 h 4454665"/>
              <a:gd name="connsiteX219" fmla="*/ 10361467 w 12192000"/>
              <a:gd name="connsiteY219" fmla="*/ 4242974 h 4454665"/>
              <a:gd name="connsiteX220" fmla="*/ 10361467 w 12192000"/>
              <a:gd name="connsiteY220" fmla="*/ 4193262 h 4454665"/>
              <a:gd name="connsiteX221" fmla="*/ 10409835 w 12192000"/>
              <a:gd name="connsiteY221" fmla="*/ 4193262 h 4454665"/>
              <a:gd name="connsiteX222" fmla="*/ 10409835 w 12192000"/>
              <a:gd name="connsiteY222" fmla="*/ 4182514 h 4454665"/>
              <a:gd name="connsiteX223" fmla="*/ 11561143 w 12192000"/>
              <a:gd name="connsiteY223" fmla="*/ 4175797 h 4454665"/>
              <a:gd name="connsiteX224" fmla="*/ 11554200 w 12192000"/>
              <a:gd name="connsiteY224" fmla="*/ 4193264 h 4454665"/>
              <a:gd name="connsiteX225" fmla="*/ 11554200 w 12192000"/>
              <a:gd name="connsiteY225" fmla="*/ 4196756 h 4454665"/>
              <a:gd name="connsiteX226" fmla="*/ 11543788 w 12192000"/>
              <a:gd name="connsiteY226" fmla="*/ 4214223 h 4454665"/>
              <a:gd name="connsiteX227" fmla="*/ 11554200 w 12192000"/>
              <a:gd name="connsiteY227" fmla="*/ 4217716 h 4454665"/>
              <a:gd name="connsiteX228" fmla="*/ 11557671 w 12192000"/>
              <a:gd name="connsiteY228" fmla="*/ 4203743 h 4454665"/>
              <a:gd name="connsiteX229" fmla="*/ 11568084 w 12192000"/>
              <a:gd name="connsiteY229" fmla="*/ 4207237 h 4454665"/>
              <a:gd name="connsiteX230" fmla="*/ 11568084 w 12192000"/>
              <a:gd name="connsiteY230" fmla="*/ 4224702 h 4454665"/>
              <a:gd name="connsiteX231" fmla="*/ 11578497 w 12192000"/>
              <a:gd name="connsiteY231" fmla="*/ 4228196 h 4454665"/>
              <a:gd name="connsiteX232" fmla="*/ 11575026 w 12192000"/>
              <a:gd name="connsiteY232" fmla="*/ 4207237 h 4454665"/>
              <a:gd name="connsiteX233" fmla="*/ 11585438 w 12192000"/>
              <a:gd name="connsiteY233" fmla="*/ 4196756 h 4454665"/>
              <a:gd name="connsiteX234" fmla="*/ 11585438 w 12192000"/>
              <a:gd name="connsiteY234" fmla="*/ 4193264 h 4454665"/>
              <a:gd name="connsiteX235" fmla="*/ 11578497 w 12192000"/>
              <a:gd name="connsiteY235" fmla="*/ 4182784 h 4454665"/>
              <a:gd name="connsiteX236" fmla="*/ 11561143 w 12192000"/>
              <a:gd name="connsiteY236" fmla="*/ 4175797 h 4454665"/>
              <a:gd name="connsiteX237" fmla="*/ 11766241 w 12192000"/>
              <a:gd name="connsiteY237" fmla="*/ 4173090 h 4454665"/>
              <a:gd name="connsiteX238" fmla="*/ 11774878 w 12192000"/>
              <a:gd name="connsiteY238" fmla="*/ 4178821 h 4454665"/>
              <a:gd name="connsiteX239" fmla="*/ 11774878 w 12192000"/>
              <a:gd name="connsiteY239" fmla="*/ 4185874 h 4454665"/>
              <a:gd name="connsiteX240" fmla="*/ 11771423 w 12192000"/>
              <a:gd name="connsiteY240" fmla="*/ 4196455 h 4454665"/>
              <a:gd name="connsiteX241" fmla="*/ 11767968 w 12192000"/>
              <a:gd name="connsiteY241" fmla="*/ 4199982 h 4454665"/>
              <a:gd name="connsiteX242" fmla="*/ 11754149 w 12192000"/>
              <a:gd name="connsiteY242" fmla="*/ 4196455 h 4454665"/>
              <a:gd name="connsiteX243" fmla="*/ 11750694 w 12192000"/>
              <a:gd name="connsiteY243" fmla="*/ 4192929 h 4454665"/>
              <a:gd name="connsiteX244" fmla="*/ 11750694 w 12192000"/>
              <a:gd name="connsiteY244" fmla="*/ 4185874 h 4454665"/>
              <a:gd name="connsiteX245" fmla="*/ 11757604 w 12192000"/>
              <a:gd name="connsiteY245" fmla="*/ 4175294 h 4454665"/>
              <a:gd name="connsiteX246" fmla="*/ 11766241 w 12192000"/>
              <a:gd name="connsiteY246" fmla="*/ 4173090 h 4454665"/>
              <a:gd name="connsiteX247" fmla="*/ 10810738 w 12192000"/>
              <a:gd name="connsiteY247" fmla="*/ 4171765 h 4454665"/>
              <a:gd name="connsiteX248" fmla="*/ 10810738 w 12192000"/>
              <a:gd name="connsiteY248" fmla="*/ 4235469 h 4454665"/>
              <a:gd name="connsiteX249" fmla="*/ 10782231 w 12192000"/>
              <a:gd name="connsiteY249" fmla="*/ 4217773 h 4454665"/>
              <a:gd name="connsiteX250" fmla="*/ 10743034 w 12192000"/>
              <a:gd name="connsiteY250" fmla="*/ 4267321 h 4454665"/>
              <a:gd name="connsiteX251" fmla="*/ 10782231 w 12192000"/>
              <a:gd name="connsiteY251" fmla="*/ 4316868 h 4454665"/>
              <a:gd name="connsiteX252" fmla="*/ 10810738 w 12192000"/>
              <a:gd name="connsiteY252" fmla="*/ 4299172 h 4454665"/>
              <a:gd name="connsiteX253" fmla="*/ 10810738 w 12192000"/>
              <a:gd name="connsiteY253" fmla="*/ 4313329 h 4454665"/>
              <a:gd name="connsiteX254" fmla="*/ 10824991 w 12192000"/>
              <a:gd name="connsiteY254" fmla="*/ 4313329 h 4454665"/>
              <a:gd name="connsiteX255" fmla="*/ 10824991 w 12192000"/>
              <a:gd name="connsiteY255" fmla="*/ 4171765 h 4454665"/>
              <a:gd name="connsiteX256" fmla="*/ 10810738 w 12192000"/>
              <a:gd name="connsiteY256" fmla="*/ 4171765 h 4454665"/>
              <a:gd name="connsiteX257" fmla="*/ 11768161 w 12192000"/>
              <a:gd name="connsiteY257" fmla="*/ 4166249 h 4454665"/>
              <a:gd name="connsiteX258" fmla="*/ 11750694 w 12192000"/>
              <a:gd name="connsiteY258" fmla="*/ 4169272 h 4454665"/>
              <a:gd name="connsiteX259" fmla="*/ 11739946 w 12192000"/>
              <a:gd name="connsiteY259" fmla="*/ 4186546 h 4454665"/>
              <a:gd name="connsiteX260" fmla="*/ 11743528 w 12192000"/>
              <a:gd name="connsiteY260" fmla="*/ 4196911 h 4454665"/>
              <a:gd name="connsiteX261" fmla="*/ 11772191 w 12192000"/>
              <a:gd name="connsiteY261" fmla="*/ 4203821 h 4454665"/>
              <a:gd name="connsiteX262" fmla="*/ 11782939 w 12192000"/>
              <a:gd name="connsiteY262" fmla="*/ 4196911 h 4454665"/>
              <a:gd name="connsiteX263" fmla="*/ 11782939 w 12192000"/>
              <a:gd name="connsiteY263" fmla="*/ 4186546 h 4454665"/>
              <a:gd name="connsiteX264" fmla="*/ 11782939 w 12192000"/>
              <a:gd name="connsiteY264" fmla="*/ 4176182 h 4454665"/>
              <a:gd name="connsiteX265" fmla="*/ 11768161 w 12192000"/>
              <a:gd name="connsiteY265" fmla="*/ 4166249 h 4454665"/>
              <a:gd name="connsiteX266" fmla="*/ 11525909 w 12192000"/>
              <a:gd name="connsiteY266" fmla="*/ 4158331 h 4454665"/>
              <a:gd name="connsiteX267" fmla="*/ 11504825 w 12192000"/>
              <a:gd name="connsiteY267" fmla="*/ 4193263 h 4454665"/>
              <a:gd name="connsiteX268" fmla="*/ 11529423 w 12192000"/>
              <a:gd name="connsiteY268" fmla="*/ 4210729 h 4454665"/>
              <a:gd name="connsiteX269" fmla="*/ 11532937 w 12192000"/>
              <a:gd name="connsiteY269" fmla="*/ 4203743 h 4454665"/>
              <a:gd name="connsiteX270" fmla="*/ 11515367 w 12192000"/>
              <a:gd name="connsiteY270" fmla="*/ 4193263 h 4454665"/>
              <a:gd name="connsiteX271" fmla="*/ 11522395 w 12192000"/>
              <a:gd name="connsiteY271" fmla="*/ 4182784 h 4454665"/>
              <a:gd name="connsiteX272" fmla="*/ 11532937 w 12192000"/>
              <a:gd name="connsiteY272" fmla="*/ 4189770 h 4454665"/>
              <a:gd name="connsiteX273" fmla="*/ 11536450 w 12192000"/>
              <a:gd name="connsiteY273" fmla="*/ 4182784 h 4454665"/>
              <a:gd name="connsiteX274" fmla="*/ 11525909 w 12192000"/>
              <a:gd name="connsiteY274" fmla="*/ 4175797 h 4454665"/>
              <a:gd name="connsiteX275" fmla="*/ 11529423 w 12192000"/>
              <a:gd name="connsiteY275" fmla="*/ 4168811 h 4454665"/>
              <a:gd name="connsiteX276" fmla="*/ 11546992 w 12192000"/>
              <a:gd name="connsiteY276" fmla="*/ 4179290 h 4454665"/>
              <a:gd name="connsiteX277" fmla="*/ 11550506 w 12192000"/>
              <a:gd name="connsiteY277" fmla="*/ 4172303 h 4454665"/>
              <a:gd name="connsiteX278" fmla="*/ 11525909 w 12192000"/>
              <a:gd name="connsiteY278" fmla="*/ 4158331 h 4454665"/>
              <a:gd name="connsiteX279" fmla="*/ 11803361 w 12192000"/>
              <a:gd name="connsiteY279" fmla="*/ 4130117 h 4454665"/>
              <a:gd name="connsiteX280" fmla="*/ 11796375 w 12192000"/>
              <a:gd name="connsiteY280" fmla="*/ 4137170 h 4454665"/>
              <a:gd name="connsiteX281" fmla="*/ 11813840 w 12192000"/>
              <a:gd name="connsiteY281" fmla="*/ 4154804 h 4454665"/>
              <a:gd name="connsiteX282" fmla="*/ 11785895 w 12192000"/>
              <a:gd name="connsiteY282" fmla="*/ 4147751 h 4454665"/>
              <a:gd name="connsiteX283" fmla="*/ 11778908 w 12192000"/>
              <a:gd name="connsiteY283" fmla="*/ 4151277 h 4454665"/>
              <a:gd name="connsiteX284" fmla="*/ 11803361 w 12192000"/>
              <a:gd name="connsiteY284" fmla="*/ 4186546 h 4454665"/>
              <a:gd name="connsiteX285" fmla="*/ 11810348 w 12192000"/>
              <a:gd name="connsiteY285" fmla="*/ 4179492 h 4454665"/>
              <a:gd name="connsiteX286" fmla="*/ 11796375 w 12192000"/>
              <a:gd name="connsiteY286" fmla="*/ 4158331 h 4454665"/>
              <a:gd name="connsiteX287" fmla="*/ 11824320 w 12192000"/>
              <a:gd name="connsiteY287" fmla="*/ 4168911 h 4454665"/>
              <a:gd name="connsiteX288" fmla="*/ 11831307 w 12192000"/>
              <a:gd name="connsiteY288" fmla="*/ 4161858 h 4454665"/>
              <a:gd name="connsiteX289" fmla="*/ 11803361 w 12192000"/>
              <a:gd name="connsiteY289" fmla="*/ 4130117 h 4454665"/>
              <a:gd name="connsiteX290" fmla="*/ 11495008 w 12192000"/>
              <a:gd name="connsiteY290" fmla="*/ 4130117 h 4454665"/>
              <a:gd name="connsiteX291" fmla="*/ 11487980 w 12192000"/>
              <a:gd name="connsiteY291" fmla="*/ 4133630 h 4454665"/>
              <a:gd name="connsiteX292" fmla="*/ 11498522 w 12192000"/>
              <a:gd name="connsiteY292" fmla="*/ 4144172 h 4454665"/>
              <a:gd name="connsiteX293" fmla="*/ 11473924 w 12192000"/>
              <a:gd name="connsiteY293" fmla="*/ 4168769 h 4454665"/>
              <a:gd name="connsiteX294" fmla="*/ 11480952 w 12192000"/>
              <a:gd name="connsiteY294" fmla="*/ 4175797 h 4454665"/>
              <a:gd name="connsiteX295" fmla="*/ 11505548 w 12192000"/>
              <a:gd name="connsiteY295" fmla="*/ 4151200 h 4454665"/>
              <a:gd name="connsiteX296" fmla="*/ 11516090 w 12192000"/>
              <a:gd name="connsiteY296" fmla="*/ 4158227 h 4454665"/>
              <a:gd name="connsiteX297" fmla="*/ 11519604 w 12192000"/>
              <a:gd name="connsiteY297" fmla="*/ 4151200 h 4454665"/>
              <a:gd name="connsiteX298" fmla="*/ 11495008 w 12192000"/>
              <a:gd name="connsiteY298" fmla="*/ 4130117 h 4454665"/>
              <a:gd name="connsiteX299" fmla="*/ 11824589 w 12192000"/>
              <a:gd name="connsiteY299" fmla="*/ 4119368 h 4454665"/>
              <a:gd name="connsiteX300" fmla="*/ 11842055 w 12192000"/>
              <a:gd name="connsiteY300" fmla="*/ 4126086 h 4454665"/>
              <a:gd name="connsiteX301" fmla="*/ 11842055 w 12192000"/>
              <a:gd name="connsiteY301" fmla="*/ 4130117 h 4454665"/>
              <a:gd name="connsiteX302" fmla="*/ 11835337 w 12192000"/>
              <a:gd name="connsiteY302" fmla="*/ 4136835 h 4454665"/>
              <a:gd name="connsiteX303" fmla="*/ 11831307 w 12192000"/>
              <a:gd name="connsiteY303" fmla="*/ 4130117 h 4454665"/>
              <a:gd name="connsiteX304" fmla="*/ 11820942 w 12192000"/>
              <a:gd name="connsiteY304" fmla="*/ 4112650 h 4454665"/>
              <a:gd name="connsiteX305" fmla="*/ 11813840 w 12192000"/>
              <a:gd name="connsiteY305" fmla="*/ 4119592 h 4454665"/>
              <a:gd name="connsiteX306" fmla="*/ 11820942 w 12192000"/>
              <a:gd name="connsiteY306" fmla="*/ 4130004 h 4454665"/>
              <a:gd name="connsiteX307" fmla="*/ 11838696 w 12192000"/>
              <a:gd name="connsiteY307" fmla="*/ 4154300 h 4454665"/>
              <a:gd name="connsiteX308" fmla="*/ 11842247 w 12192000"/>
              <a:gd name="connsiteY308" fmla="*/ 4150830 h 4454665"/>
              <a:gd name="connsiteX309" fmla="*/ 11838696 w 12192000"/>
              <a:gd name="connsiteY309" fmla="*/ 4143888 h 4454665"/>
              <a:gd name="connsiteX310" fmla="*/ 11849349 w 12192000"/>
              <a:gd name="connsiteY310" fmla="*/ 4130004 h 4454665"/>
              <a:gd name="connsiteX311" fmla="*/ 11856450 w 12192000"/>
              <a:gd name="connsiteY311" fmla="*/ 4130004 h 4454665"/>
              <a:gd name="connsiteX312" fmla="*/ 11860002 w 12192000"/>
              <a:gd name="connsiteY312" fmla="*/ 4130004 h 4454665"/>
              <a:gd name="connsiteX313" fmla="*/ 11863552 w 12192000"/>
              <a:gd name="connsiteY313" fmla="*/ 4123062 h 4454665"/>
              <a:gd name="connsiteX314" fmla="*/ 11820942 w 12192000"/>
              <a:gd name="connsiteY314" fmla="*/ 4112650 h 4454665"/>
              <a:gd name="connsiteX315" fmla="*/ 11466198 w 12192000"/>
              <a:gd name="connsiteY315" fmla="*/ 4097871 h 4454665"/>
              <a:gd name="connsiteX316" fmla="*/ 11430930 w 12192000"/>
              <a:gd name="connsiteY316" fmla="*/ 4122951 h 4454665"/>
              <a:gd name="connsiteX317" fmla="*/ 11437984 w 12192000"/>
              <a:gd name="connsiteY317" fmla="*/ 4130117 h 4454665"/>
              <a:gd name="connsiteX318" fmla="*/ 11459145 w 12192000"/>
              <a:gd name="connsiteY318" fmla="*/ 4115786 h 4454665"/>
              <a:gd name="connsiteX319" fmla="*/ 11448564 w 12192000"/>
              <a:gd name="connsiteY319" fmla="*/ 4144447 h 4454665"/>
              <a:gd name="connsiteX320" fmla="*/ 11455618 w 12192000"/>
              <a:gd name="connsiteY320" fmla="*/ 4151613 h 4454665"/>
              <a:gd name="connsiteX321" fmla="*/ 11487359 w 12192000"/>
              <a:gd name="connsiteY321" fmla="*/ 4122951 h 4454665"/>
              <a:gd name="connsiteX322" fmla="*/ 11483833 w 12192000"/>
              <a:gd name="connsiteY322" fmla="*/ 4115786 h 4454665"/>
              <a:gd name="connsiteX323" fmla="*/ 11462672 w 12192000"/>
              <a:gd name="connsiteY323" fmla="*/ 4133699 h 4454665"/>
              <a:gd name="connsiteX324" fmla="*/ 11473252 w 12192000"/>
              <a:gd name="connsiteY324" fmla="*/ 4105037 h 4454665"/>
              <a:gd name="connsiteX325" fmla="*/ 11466198 w 12192000"/>
              <a:gd name="connsiteY325" fmla="*/ 4097871 h 4454665"/>
              <a:gd name="connsiteX326" fmla="*/ 11835338 w 12192000"/>
              <a:gd name="connsiteY326" fmla="*/ 4087123 h 4454665"/>
              <a:gd name="connsiteX327" fmla="*/ 11831307 w 12192000"/>
              <a:gd name="connsiteY327" fmla="*/ 4095184 h 4454665"/>
              <a:gd name="connsiteX328" fmla="*/ 11870270 w 12192000"/>
              <a:gd name="connsiteY328" fmla="*/ 4115338 h 4454665"/>
              <a:gd name="connsiteX329" fmla="*/ 11883706 w 12192000"/>
              <a:gd name="connsiteY329" fmla="*/ 4091154 h 4454665"/>
              <a:gd name="connsiteX330" fmla="*/ 11876988 w 12192000"/>
              <a:gd name="connsiteY330" fmla="*/ 4087123 h 4454665"/>
              <a:gd name="connsiteX331" fmla="*/ 11866239 w 12192000"/>
              <a:gd name="connsiteY331" fmla="*/ 4105933 h 4454665"/>
              <a:gd name="connsiteX332" fmla="*/ 11459634 w 12192000"/>
              <a:gd name="connsiteY332" fmla="*/ 4084436 h 4454665"/>
              <a:gd name="connsiteX333" fmla="*/ 11424212 w 12192000"/>
              <a:gd name="connsiteY333" fmla="*/ 4105598 h 4454665"/>
              <a:gd name="connsiteX334" fmla="*/ 11427754 w 12192000"/>
              <a:gd name="connsiteY334" fmla="*/ 4112651 h 4454665"/>
              <a:gd name="connsiteX335" fmla="*/ 11463176 w 12192000"/>
              <a:gd name="connsiteY335" fmla="*/ 4091490 h 4454665"/>
              <a:gd name="connsiteX336" fmla="*/ 11459634 w 12192000"/>
              <a:gd name="connsiteY336" fmla="*/ 4084436 h 4454665"/>
              <a:gd name="connsiteX337" fmla="*/ 11450927 w 12192000"/>
              <a:gd name="connsiteY337" fmla="*/ 4050826 h 4454665"/>
              <a:gd name="connsiteX338" fmla="*/ 11456192 w 12192000"/>
              <a:gd name="connsiteY338" fmla="*/ 4056557 h 4454665"/>
              <a:gd name="connsiteX339" fmla="*/ 11649257 w 12192000"/>
              <a:gd name="connsiteY339" fmla="*/ 4187050 h 4454665"/>
              <a:gd name="connsiteX340" fmla="*/ 11842320 w 12192000"/>
              <a:gd name="connsiteY340" fmla="*/ 4056557 h 4454665"/>
              <a:gd name="connsiteX341" fmla="*/ 11847586 w 12192000"/>
              <a:gd name="connsiteY341" fmla="*/ 4050826 h 4454665"/>
              <a:gd name="connsiteX342" fmla="*/ 11852851 w 12192000"/>
              <a:gd name="connsiteY342" fmla="*/ 4053030 h 4454665"/>
              <a:gd name="connsiteX343" fmla="*/ 11891464 w 12192000"/>
              <a:gd name="connsiteY343" fmla="*/ 4063611 h 4454665"/>
              <a:gd name="connsiteX344" fmla="*/ 11898484 w 12192000"/>
              <a:gd name="connsiteY344" fmla="*/ 4074191 h 4454665"/>
              <a:gd name="connsiteX345" fmla="*/ 11649257 w 12192000"/>
              <a:gd name="connsiteY345" fmla="*/ 4247006 h 4454665"/>
              <a:gd name="connsiteX346" fmla="*/ 11400028 w 12192000"/>
              <a:gd name="connsiteY346" fmla="*/ 4077719 h 4454665"/>
              <a:gd name="connsiteX347" fmla="*/ 11407049 w 12192000"/>
              <a:gd name="connsiteY347" fmla="*/ 4063611 h 4454665"/>
              <a:gd name="connsiteX348" fmla="*/ 11445662 w 12192000"/>
              <a:gd name="connsiteY348" fmla="*/ 4053030 h 4454665"/>
              <a:gd name="connsiteX349" fmla="*/ 11450927 w 12192000"/>
              <a:gd name="connsiteY349" fmla="*/ 4050826 h 4454665"/>
              <a:gd name="connsiteX350" fmla="*/ 11603442 w 12192000"/>
              <a:gd name="connsiteY350" fmla="*/ 4044988 h 4454665"/>
              <a:gd name="connsiteX351" fmla="*/ 11613922 w 12192000"/>
              <a:gd name="connsiteY351" fmla="*/ 4044988 h 4454665"/>
              <a:gd name="connsiteX352" fmla="*/ 11617414 w 12192000"/>
              <a:gd name="connsiteY352" fmla="*/ 4052079 h 4454665"/>
              <a:gd name="connsiteX353" fmla="*/ 11624401 w 12192000"/>
              <a:gd name="connsiteY353" fmla="*/ 4154898 h 4454665"/>
              <a:gd name="connsiteX354" fmla="*/ 11620908 w 12192000"/>
              <a:gd name="connsiteY354" fmla="*/ 4165535 h 4454665"/>
              <a:gd name="connsiteX355" fmla="*/ 11613922 w 12192000"/>
              <a:gd name="connsiteY355" fmla="*/ 4165535 h 4454665"/>
              <a:gd name="connsiteX356" fmla="*/ 11505632 w 12192000"/>
              <a:gd name="connsiteY356" fmla="*/ 4101715 h 4454665"/>
              <a:gd name="connsiteX357" fmla="*/ 11502138 w 12192000"/>
              <a:gd name="connsiteY357" fmla="*/ 4098170 h 4454665"/>
              <a:gd name="connsiteX358" fmla="*/ 11502138 w 12192000"/>
              <a:gd name="connsiteY358" fmla="*/ 4094625 h 4454665"/>
              <a:gd name="connsiteX359" fmla="*/ 11509124 w 12192000"/>
              <a:gd name="connsiteY359" fmla="*/ 4091080 h 4454665"/>
              <a:gd name="connsiteX360" fmla="*/ 11603442 w 12192000"/>
              <a:gd name="connsiteY360" fmla="*/ 4044988 h 4454665"/>
              <a:gd name="connsiteX361" fmla="*/ 11688084 w 12192000"/>
              <a:gd name="connsiteY361" fmla="*/ 4041442 h 4454665"/>
              <a:gd name="connsiteX362" fmla="*/ 11698565 w 12192000"/>
              <a:gd name="connsiteY362" fmla="*/ 4041442 h 4454665"/>
              <a:gd name="connsiteX363" fmla="*/ 11789388 w 12192000"/>
              <a:gd name="connsiteY363" fmla="*/ 4087353 h 4454665"/>
              <a:gd name="connsiteX364" fmla="*/ 11796375 w 12192000"/>
              <a:gd name="connsiteY364" fmla="*/ 4094417 h 4454665"/>
              <a:gd name="connsiteX365" fmla="*/ 11792882 w 12192000"/>
              <a:gd name="connsiteY365" fmla="*/ 4101480 h 4454665"/>
              <a:gd name="connsiteX366" fmla="*/ 11684592 w 12192000"/>
              <a:gd name="connsiteY366" fmla="*/ 4165049 h 4454665"/>
              <a:gd name="connsiteX367" fmla="*/ 11677605 w 12192000"/>
              <a:gd name="connsiteY367" fmla="*/ 4165049 h 4454665"/>
              <a:gd name="connsiteX368" fmla="*/ 11674112 w 12192000"/>
              <a:gd name="connsiteY368" fmla="*/ 4154454 h 4454665"/>
              <a:gd name="connsiteX369" fmla="*/ 11684592 w 12192000"/>
              <a:gd name="connsiteY369" fmla="*/ 4052038 h 4454665"/>
              <a:gd name="connsiteX370" fmla="*/ 11688084 w 12192000"/>
              <a:gd name="connsiteY370" fmla="*/ 4041442 h 4454665"/>
              <a:gd name="connsiteX371" fmla="*/ 10810283 w 12192000"/>
              <a:gd name="connsiteY371" fmla="*/ 4002478 h 4454665"/>
              <a:gd name="connsiteX372" fmla="*/ 10851862 w 12192000"/>
              <a:gd name="connsiteY372" fmla="*/ 4002478 h 4454665"/>
              <a:gd name="connsiteX373" fmla="*/ 10851862 w 12192000"/>
              <a:gd name="connsiteY373" fmla="*/ 4045088 h 4454665"/>
              <a:gd name="connsiteX374" fmla="*/ 10803353 w 12192000"/>
              <a:gd name="connsiteY374" fmla="*/ 4052190 h 4454665"/>
              <a:gd name="connsiteX375" fmla="*/ 10786028 w 12192000"/>
              <a:gd name="connsiteY375" fmla="*/ 4027334 h 4454665"/>
              <a:gd name="connsiteX376" fmla="*/ 10810283 w 12192000"/>
              <a:gd name="connsiteY376" fmla="*/ 4002478 h 4454665"/>
              <a:gd name="connsiteX377" fmla="*/ 10494479 w 12192000"/>
              <a:gd name="connsiteY377" fmla="*/ 3932613 h 4454665"/>
              <a:gd name="connsiteX378" fmla="*/ 10536128 w 12192000"/>
              <a:gd name="connsiteY378" fmla="*/ 3988885 h 4454665"/>
              <a:gd name="connsiteX379" fmla="*/ 10494479 w 12192000"/>
              <a:gd name="connsiteY379" fmla="*/ 4052189 h 4454665"/>
              <a:gd name="connsiteX380" fmla="*/ 10452829 w 12192000"/>
              <a:gd name="connsiteY380" fmla="*/ 3988885 h 4454665"/>
              <a:gd name="connsiteX381" fmla="*/ 10494479 w 12192000"/>
              <a:gd name="connsiteY381" fmla="*/ 3932613 h 4454665"/>
              <a:gd name="connsiteX382" fmla="*/ 11639005 w 12192000"/>
              <a:gd name="connsiteY382" fmla="*/ 3928584 h 4454665"/>
              <a:gd name="connsiteX383" fmla="*/ 11660034 w 12192000"/>
              <a:gd name="connsiteY383" fmla="*/ 3928584 h 4454665"/>
              <a:gd name="connsiteX384" fmla="*/ 11660034 w 12192000"/>
              <a:gd name="connsiteY384" fmla="*/ 3939224 h 4454665"/>
              <a:gd name="connsiteX385" fmla="*/ 11691578 w 12192000"/>
              <a:gd name="connsiteY385" fmla="*/ 3978241 h 4454665"/>
              <a:gd name="connsiteX386" fmla="*/ 11649519 w 12192000"/>
              <a:gd name="connsiteY386" fmla="*/ 4017258 h 4454665"/>
              <a:gd name="connsiteX387" fmla="*/ 11610966 w 12192000"/>
              <a:gd name="connsiteY387" fmla="*/ 3978241 h 4454665"/>
              <a:gd name="connsiteX388" fmla="*/ 11639005 w 12192000"/>
              <a:gd name="connsiteY388" fmla="*/ 3939224 h 4454665"/>
              <a:gd name="connsiteX389" fmla="*/ 11639005 w 12192000"/>
              <a:gd name="connsiteY389" fmla="*/ 3928584 h 4454665"/>
              <a:gd name="connsiteX390" fmla="*/ 11649257 w 12192000"/>
              <a:gd name="connsiteY390" fmla="*/ 3917835 h 4454665"/>
              <a:gd name="connsiteX391" fmla="*/ 11589469 w 12192000"/>
              <a:gd name="connsiteY391" fmla="*/ 3978295 h 4454665"/>
              <a:gd name="connsiteX392" fmla="*/ 11649257 w 12192000"/>
              <a:gd name="connsiteY392" fmla="*/ 4038755 h 4454665"/>
              <a:gd name="connsiteX393" fmla="*/ 11709045 w 12192000"/>
              <a:gd name="connsiteY393" fmla="*/ 3978295 h 4454665"/>
              <a:gd name="connsiteX394" fmla="*/ 11649257 w 12192000"/>
              <a:gd name="connsiteY394" fmla="*/ 3917835 h 4454665"/>
              <a:gd name="connsiteX395" fmla="*/ 11649257 w 12192000"/>
              <a:gd name="connsiteY395" fmla="*/ 3911118 h 4454665"/>
              <a:gd name="connsiteX396" fmla="*/ 11715763 w 12192000"/>
              <a:gd name="connsiteY396" fmla="*/ 3978295 h 4454665"/>
              <a:gd name="connsiteX397" fmla="*/ 11649257 w 12192000"/>
              <a:gd name="connsiteY397" fmla="*/ 4045473 h 4454665"/>
              <a:gd name="connsiteX398" fmla="*/ 11582751 w 12192000"/>
              <a:gd name="connsiteY398" fmla="*/ 3978295 h 4454665"/>
              <a:gd name="connsiteX399" fmla="*/ 11649257 w 12192000"/>
              <a:gd name="connsiteY399" fmla="*/ 3911118 h 4454665"/>
              <a:gd name="connsiteX400" fmla="*/ 11824549 w 12192000"/>
              <a:gd name="connsiteY400" fmla="*/ 3908431 h 4454665"/>
              <a:gd name="connsiteX401" fmla="*/ 11828050 w 12192000"/>
              <a:gd name="connsiteY401" fmla="*/ 3915484 h 4454665"/>
              <a:gd name="connsiteX402" fmla="*/ 11828050 w 12192000"/>
              <a:gd name="connsiteY402" fmla="*/ 4038923 h 4454665"/>
              <a:gd name="connsiteX403" fmla="*/ 11824549 w 12192000"/>
              <a:gd name="connsiteY403" fmla="*/ 4045977 h 4454665"/>
              <a:gd name="connsiteX404" fmla="*/ 11817546 w 12192000"/>
              <a:gd name="connsiteY404" fmla="*/ 4045977 h 4454665"/>
              <a:gd name="connsiteX405" fmla="*/ 11730012 w 12192000"/>
              <a:gd name="connsiteY405" fmla="*/ 3986021 h 4454665"/>
              <a:gd name="connsiteX406" fmla="*/ 11726510 w 12192000"/>
              <a:gd name="connsiteY406" fmla="*/ 3978967 h 4454665"/>
              <a:gd name="connsiteX407" fmla="*/ 11730012 w 12192000"/>
              <a:gd name="connsiteY407" fmla="*/ 3968386 h 4454665"/>
              <a:gd name="connsiteX408" fmla="*/ 11814044 w 12192000"/>
              <a:gd name="connsiteY408" fmla="*/ 3911957 h 4454665"/>
              <a:gd name="connsiteX409" fmla="*/ 11824549 w 12192000"/>
              <a:gd name="connsiteY409" fmla="*/ 3908431 h 4454665"/>
              <a:gd name="connsiteX410" fmla="*/ 11473964 w 12192000"/>
              <a:gd name="connsiteY410" fmla="*/ 3908431 h 4454665"/>
              <a:gd name="connsiteX411" fmla="*/ 11480967 w 12192000"/>
              <a:gd name="connsiteY411" fmla="*/ 3911957 h 4454665"/>
              <a:gd name="connsiteX412" fmla="*/ 11568501 w 12192000"/>
              <a:gd name="connsiteY412" fmla="*/ 3968386 h 4454665"/>
              <a:gd name="connsiteX413" fmla="*/ 11572002 w 12192000"/>
              <a:gd name="connsiteY413" fmla="*/ 3978967 h 4454665"/>
              <a:gd name="connsiteX414" fmla="*/ 11568501 w 12192000"/>
              <a:gd name="connsiteY414" fmla="*/ 3986021 h 4454665"/>
              <a:gd name="connsiteX415" fmla="*/ 11480967 w 12192000"/>
              <a:gd name="connsiteY415" fmla="*/ 4045977 h 4454665"/>
              <a:gd name="connsiteX416" fmla="*/ 11473964 w 12192000"/>
              <a:gd name="connsiteY416" fmla="*/ 4045977 h 4454665"/>
              <a:gd name="connsiteX417" fmla="*/ 11466961 w 12192000"/>
              <a:gd name="connsiteY417" fmla="*/ 4042450 h 4454665"/>
              <a:gd name="connsiteX418" fmla="*/ 11466961 w 12192000"/>
              <a:gd name="connsiteY418" fmla="*/ 3915484 h 4454665"/>
              <a:gd name="connsiteX419" fmla="*/ 11473964 w 12192000"/>
              <a:gd name="connsiteY419" fmla="*/ 3908431 h 4454665"/>
              <a:gd name="connsiteX420" fmla="*/ 11070316 w 12192000"/>
              <a:gd name="connsiteY420" fmla="*/ 3897682 h 4454665"/>
              <a:gd name="connsiteX421" fmla="*/ 11070316 w 12192000"/>
              <a:gd name="connsiteY421" fmla="*/ 3904735 h 4454665"/>
              <a:gd name="connsiteX422" fmla="*/ 11112166 w 12192000"/>
              <a:gd name="connsiteY422" fmla="*/ 4066969 h 4454665"/>
              <a:gd name="connsiteX423" fmla="*/ 11133091 w 12192000"/>
              <a:gd name="connsiteY423" fmla="*/ 4088130 h 4454665"/>
              <a:gd name="connsiteX424" fmla="*/ 11143554 w 12192000"/>
              <a:gd name="connsiteY424" fmla="*/ 4088130 h 4454665"/>
              <a:gd name="connsiteX425" fmla="*/ 11140066 w 12192000"/>
              <a:gd name="connsiteY425" fmla="*/ 4095183 h 4454665"/>
              <a:gd name="connsiteX426" fmla="*/ 11112166 w 12192000"/>
              <a:gd name="connsiteY426" fmla="*/ 4116344 h 4454665"/>
              <a:gd name="connsiteX427" fmla="*/ 11077291 w 12192000"/>
              <a:gd name="connsiteY427" fmla="*/ 4112818 h 4454665"/>
              <a:gd name="connsiteX428" fmla="*/ 11073804 w 12192000"/>
              <a:gd name="connsiteY428" fmla="*/ 4116344 h 4454665"/>
              <a:gd name="connsiteX429" fmla="*/ 11070316 w 12192000"/>
              <a:gd name="connsiteY429" fmla="*/ 4119871 h 4454665"/>
              <a:gd name="connsiteX430" fmla="*/ 11070316 w 12192000"/>
              <a:gd name="connsiteY430" fmla="*/ 4141032 h 4454665"/>
              <a:gd name="connsiteX431" fmla="*/ 11077291 w 12192000"/>
              <a:gd name="connsiteY431" fmla="*/ 4148086 h 4454665"/>
              <a:gd name="connsiteX432" fmla="*/ 11122628 w 12192000"/>
              <a:gd name="connsiteY432" fmla="*/ 4151612 h 4454665"/>
              <a:gd name="connsiteX433" fmla="*/ 11126116 w 12192000"/>
              <a:gd name="connsiteY433" fmla="*/ 4151612 h 4454665"/>
              <a:gd name="connsiteX434" fmla="*/ 11181916 w 12192000"/>
              <a:gd name="connsiteY434" fmla="*/ 4098710 h 4454665"/>
              <a:gd name="connsiteX435" fmla="*/ 11213303 w 12192000"/>
              <a:gd name="connsiteY435" fmla="*/ 3968218 h 4454665"/>
              <a:gd name="connsiteX436" fmla="*/ 11227253 w 12192000"/>
              <a:gd name="connsiteY436" fmla="*/ 3925896 h 4454665"/>
              <a:gd name="connsiteX437" fmla="*/ 11230741 w 12192000"/>
              <a:gd name="connsiteY437" fmla="*/ 3904735 h 4454665"/>
              <a:gd name="connsiteX438" fmla="*/ 11230741 w 12192000"/>
              <a:gd name="connsiteY438" fmla="*/ 3897682 h 4454665"/>
              <a:gd name="connsiteX439" fmla="*/ 11223766 w 12192000"/>
              <a:gd name="connsiteY439" fmla="*/ 3897682 h 4454665"/>
              <a:gd name="connsiteX440" fmla="*/ 11195866 w 12192000"/>
              <a:gd name="connsiteY440" fmla="*/ 3897682 h 4454665"/>
              <a:gd name="connsiteX441" fmla="*/ 11188891 w 12192000"/>
              <a:gd name="connsiteY441" fmla="*/ 3901208 h 4454665"/>
              <a:gd name="connsiteX442" fmla="*/ 11150528 w 12192000"/>
              <a:gd name="connsiteY442" fmla="*/ 4045808 h 4454665"/>
              <a:gd name="connsiteX443" fmla="*/ 11147041 w 12192000"/>
              <a:gd name="connsiteY443" fmla="*/ 4045808 h 4454665"/>
              <a:gd name="connsiteX444" fmla="*/ 11112166 w 12192000"/>
              <a:gd name="connsiteY444" fmla="*/ 3901208 h 4454665"/>
              <a:gd name="connsiteX445" fmla="*/ 11105191 w 12192000"/>
              <a:gd name="connsiteY445" fmla="*/ 3897682 h 4454665"/>
              <a:gd name="connsiteX446" fmla="*/ 11077291 w 12192000"/>
              <a:gd name="connsiteY446" fmla="*/ 3897682 h 4454665"/>
              <a:gd name="connsiteX447" fmla="*/ 11070316 w 12192000"/>
              <a:gd name="connsiteY447" fmla="*/ 3897682 h 4454665"/>
              <a:gd name="connsiteX448" fmla="*/ 11038289 w 12192000"/>
              <a:gd name="connsiteY448" fmla="*/ 3893651 h 4454665"/>
              <a:gd name="connsiteX449" fmla="*/ 10985474 w 12192000"/>
              <a:gd name="connsiteY449" fmla="*/ 3914757 h 4454665"/>
              <a:gd name="connsiteX450" fmla="*/ 10985474 w 12192000"/>
              <a:gd name="connsiteY450" fmla="*/ 3904204 h 4454665"/>
              <a:gd name="connsiteX451" fmla="*/ 10978433 w 12192000"/>
              <a:gd name="connsiteY451" fmla="*/ 3897169 h 4454665"/>
              <a:gd name="connsiteX452" fmla="*/ 10950264 w 12192000"/>
              <a:gd name="connsiteY452" fmla="*/ 3897169 h 4454665"/>
              <a:gd name="connsiteX453" fmla="*/ 10943222 w 12192000"/>
              <a:gd name="connsiteY453" fmla="*/ 3904204 h 4454665"/>
              <a:gd name="connsiteX454" fmla="*/ 10943222 w 12192000"/>
              <a:gd name="connsiteY454" fmla="*/ 4080087 h 4454665"/>
              <a:gd name="connsiteX455" fmla="*/ 10950264 w 12192000"/>
              <a:gd name="connsiteY455" fmla="*/ 4087122 h 4454665"/>
              <a:gd name="connsiteX456" fmla="*/ 10978433 w 12192000"/>
              <a:gd name="connsiteY456" fmla="*/ 4087122 h 4454665"/>
              <a:gd name="connsiteX457" fmla="*/ 10985474 w 12192000"/>
              <a:gd name="connsiteY457" fmla="*/ 4080087 h 4454665"/>
              <a:gd name="connsiteX458" fmla="*/ 10985474 w 12192000"/>
              <a:gd name="connsiteY458" fmla="*/ 3956969 h 4454665"/>
              <a:gd name="connsiteX459" fmla="*/ 11038289 w 12192000"/>
              <a:gd name="connsiteY459" fmla="*/ 3935863 h 4454665"/>
              <a:gd name="connsiteX460" fmla="*/ 11045332 w 12192000"/>
              <a:gd name="connsiteY460" fmla="*/ 3928828 h 4454665"/>
              <a:gd name="connsiteX461" fmla="*/ 11045332 w 12192000"/>
              <a:gd name="connsiteY461" fmla="*/ 3900687 h 4454665"/>
              <a:gd name="connsiteX462" fmla="*/ 11041811 w 12192000"/>
              <a:gd name="connsiteY462" fmla="*/ 3897169 h 4454665"/>
              <a:gd name="connsiteX463" fmla="*/ 11038289 w 12192000"/>
              <a:gd name="connsiteY463" fmla="*/ 3893651 h 4454665"/>
              <a:gd name="connsiteX464" fmla="*/ 10831647 w 12192000"/>
              <a:gd name="connsiteY464" fmla="*/ 3889620 h 4454665"/>
              <a:gd name="connsiteX465" fmla="*/ 10761417 w 12192000"/>
              <a:gd name="connsiteY465" fmla="*/ 3896691 h 4454665"/>
              <a:gd name="connsiteX466" fmla="*/ 10754394 w 12192000"/>
              <a:gd name="connsiteY466" fmla="*/ 3903763 h 4454665"/>
              <a:gd name="connsiteX467" fmla="*/ 10754394 w 12192000"/>
              <a:gd name="connsiteY467" fmla="*/ 3928512 h 4454665"/>
              <a:gd name="connsiteX468" fmla="*/ 10757905 w 12192000"/>
              <a:gd name="connsiteY468" fmla="*/ 3935584 h 4454665"/>
              <a:gd name="connsiteX469" fmla="*/ 10761417 w 12192000"/>
              <a:gd name="connsiteY469" fmla="*/ 3935584 h 4454665"/>
              <a:gd name="connsiteX470" fmla="*/ 10828136 w 12192000"/>
              <a:gd name="connsiteY470" fmla="*/ 3932048 h 4454665"/>
              <a:gd name="connsiteX471" fmla="*/ 10852717 w 12192000"/>
              <a:gd name="connsiteY471" fmla="*/ 3956798 h 4454665"/>
              <a:gd name="connsiteX472" fmla="*/ 10852717 w 12192000"/>
              <a:gd name="connsiteY472" fmla="*/ 3967405 h 4454665"/>
              <a:gd name="connsiteX473" fmla="*/ 10803555 w 12192000"/>
              <a:gd name="connsiteY473" fmla="*/ 3970941 h 4454665"/>
              <a:gd name="connsiteX474" fmla="*/ 10740347 w 12192000"/>
              <a:gd name="connsiteY474" fmla="*/ 4031046 h 4454665"/>
              <a:gd name="connsiteX475" fmla="*/ 10796532 w 12192000"/>
              <a:gd name="connsiteY475" fmla="*/ 4091152 h 4454665"/>
              <a:gd name="connsiteX476" fmla="*/ 10859740 w 12192000"/>
              <a:gd name="connsiteY476" fmla="*/ 4077009 h 4454665"/>
              <a:gd name="connsiteX477" fmla="*/ 10887833 w 12192000"/>
              <a:gd name="connsiteY477" fmla="*/ 4091152 h 4454665"/>
              <a:gd name="connsiteX478" fmla="*/ 10894855 w 12192000"/>
              <a:gd name="connsiteY478" fmla="*/ 4087616 h 4454665"/>
              <a:gd name="connsiteX479" fmla="*/ 10894855 w 12192000"/>
              <a:gd name="connsiteY479" fmla="*/ 4084081 h 4454665"/>
              <a:gd name="connsiteX480" fmla="*/ 10894855 w 12192000"/>
              <a:gd name="connsiteY480" fmla="*/ 3956798 h 4454665"/>
              <a:gd name="connsiteX481" fmla="*/ 10831647 w 12192000"/>
              <a:gd name="connsiteY481" fmla="*/ 3889620 h 4454665"/>
              <a:gd name="connsiteX482" fmla="*/ 10495822 w 12192000"/>
              <a:gd name="connsiteY482" fmla="*/ 3889619 h 4454665"/>
              <a:gd name="connsiteX483" fmla="*/ 10409835 w 12192000"/>
              <a:gd name="connsiteY483" fmla="*/ 3990386 h 4454665"/>
              <a:gd name="connsiteX484" fmla="*/ 10495822 w 12192000"/>
              <a:gd name="connsiteY484" fmla="*/ 4091152 h 4454665"/>
              <a:gd name="connsiteX485" fmla="*/ 10581809 w 12192000"/>
              <a:gd name="connsiteY485" fmla="*/ 3990386 h 4454665"/>
              <a:gd name="connsiteX486" fmla="*/ 10495822 w 12192000"/>
              <a:gd name="connsiteY486" fmla="*/ 3889619 h 4454665"/>
              <a:gd name="connsiteX487" fmla="*/ 10241892 w 12192000"/>
              <a:gd name="connsiteY487" fmla="*/ 3865436 h 4454665"/>
              <a:gd name="connsiteX488" fmla="*/ 10273241 w 12192000"/>
              <a:gd name="connsiteY488" fmla="*/ 3865436 h 4454665"/>
              <a:gd name="connsiteX489" fmla="*/ 10290657 w 12192000"/>
              <a:gd name="connsiteY489" fmla="*/ 3865436 h 4454665"/>
              <a:gd name="connsiteX490" fmla="*/ 10335940 w 12192000"/>
              <a:gd name="connsiteY490" fmla="*/ 3904400 h 4454665"/>
              <a:gd name="connsiteX491" fmla="*/ 10287174 w 12192000"/>
              <a:gd name="connsiteY491" fmla="*/ 3943362 h 4454665"/>
              <a:gd name="connsiteX492" fmla="*/ 10241892 w 12192000"/>
              <a:gd name="connsiteY492" fmla="*/ 3943362 h 4454665"/>
              <a:gd name="connsiteX493" fmla="*/ 10241892 w 12192000"/>
              <a:gd name="connsiteY493" fmla="*/ 3865436 h 4454665"/>
              <a:gd name="connsiteX494" fmla="*/ 10659063 w 12192000"/>
              <a:gd name="connsiteY494" fmla="*/ 3852001 h 4454665"/>
              <a:gd name="connsiteX495" fmla="*/ 10627410 w 12192000"/>
              <a:gd name="connsiteY495" fmla="*/ 3859035 h 4454665"/>
              <a:gd name="connsiteX496" fmla="*/ 10623893 w 12192000"/>
              <a:gd name="connsiteY496" fmla="*/ 3866069 h 4454665"/>
              <a:gd name="connsiteX497" fmla="*/ 10623893 w 12192000"/>
              <a:gd name="connsiteY497" fmla="*/ 3897721 h 4454665"/>
              <a:gd name="connsiteX498" fmla="*/ 10606308 w 12192000"/>
              <a:gd name="connsiteY498" fmla="*/ 3897721 h 4454665"/>
              <a:gd name="connsiteX499" fmla="*/ 10599275 w 12192000"/>
              <a:gd name="connsiteY499" fmla="*/ 3904755 h 4454665"/>
              <a:gd name="connsiteX500" fmla="*/ 10599275 w 12192000"/>
              <a:gd name="connsiteY500" fmla="*/ 3929373 h 4454665"/>
              <a:gd name="connsiteX501" fmla="*/ 10606308 w 12192000"/>
              <a:gd name="connsiteY501" fmla="*/ 3936407 h 4454665"/>
              <a:gd name="connsiteX502" fmla="*/ 10623893 w 12192000"/>
              <a:gd name="connsiteY502" fmla="*/ 3936407 h 4454665"/>
              <a:gd name="connsiteX503" fmla="*/ 10623893 w 12192000"/>
              <a:gd name="connsiteY503" fmla="*/ 4020814 h 4454665"/>
              <a:gd name="connsiteX504" fmla="*/ 10680164 w 12192000"/>
              <a:gd name="connsiteY504" fmla="*/ 4091152 h 4454665"/>
              <a:gd name="connsiteX505" fmla="*/ 10711817 w 12192000"/>
              <a:gd name="connsiteY505" fmla="*/ 4087636 h 4454665"/>
              <a:gd name="connsiteX506" fmla="*/ 10718851 w 12192000"/>
              <a:gd name="connsiteY506" fmla="*/ 4080601 h 4454665"/>
              <a:gd name="connsiteX507" fmla="*/ 10718851 w 12192000"/>
              <a:gd name="connsiteY507" fmla="*/ 4055983 h 4454665"/>
              <a:gd name="connsiteX508" fmla="*/ 10711817 w 12192000"/>
              <a:gd name="connsiteY508" fmla="*/ 4048949 h 4454665"/>
              <a:gd name="connsiteX509" fmla="*/ 10687198 w 12192000"/>
              <a:gd name="connsiteY509" fmla="*/ 4048949 h 4454665"/>
              <a:gd name="connsiteX510" fmla="*/ 10666096 w 12192000"/>
              <a:gd name="connsiteY510" fmla="*/ 4013780 h 4454665"/>
              <a:gd name="connsiteX511" fmla="*/ 10666096 w 12192000"/>
              <a:gd name="connsiteY511" fmla="*/ 3936407 h 4454665"/>
              <a:gd name="connsiteX512" fmla="*/ 10711817 w 12192000"/>
              <a:gd name="connsiteY512" fmla="*/ 3936407 h 4454665"/>
              <a:gd name="connsiteX513" fmla="*/ 10718851 w 12192000"/>
              <a:gd name="connsiteY513" fmla="*/ 3929373 h 4454665"/>
              <a:gd name="connsiteX514" fmla="*/ 10718851 w 12192000"/>
              <a:gd name="connsiteY514" fmla="*/ 3904755 h 4454665"/>
              <a:gd name="connsiteX515" fmla="*/ 10711817 w 12192000"/>
              <a:gd name="connsiteY515" fmla="*/ 3897721 h 4454665"/>
              <a:gd name="connsiteX516" fmla="*/ 10666096 w 12192000"/>
              <a:gd name="connsiteY516" fmla="*/ 3897721 h 4454665"/>
              <a:gd name="connsiteX517" fmla="*/ 10666096 w 12192000"/>
              <a:gd name="connsiteY517" fmla="*/ 3859035 h 4454665"/>
              <a:gd name="connsiteX518" fmla="*/ 10662580 w 12192000"/>
              <a:gd name="connsiteY518" fmla="*/ 3852001 h 4454665"/>
              <a:gd name="connsiteX519" fmla="*/ 10659063 w 12192000"/>
              <a:gd name="connsiteY519" fmla="*/ 3852001 h 4454665"/>
              <a:gd name="connsiteX520" fmla="*/ 10283668 w 12192000"/>
              <a:gd name="connsiteY520" fmla="*/ 3823787 h 4454665"/>
              <a:gd name="connsiteX521" fmla="*/ 10203208 w 12192000"/>
              <a:gd name="connsiteY521" fmla="*/ 3827298 h 4454665"/>
              <a:gd name="connsiteX522" fmla="*/ 10196211 w 12192000"/>
              <a:gd name="connsiteY522" fmla="*/ 3834320 h 4454665"/>
              <a:gd name="connsiteX523" fmla="*/ 10196211 w 12192000"/>
              <a:gd name="connsiteY523" fmla="*/ 4080100 h 4454665"/>
              <a:gd name="connsiteX524" fmla="*/ 10203208 w 12192000"/>
              <a:gd name="connsiteY524" fmla="*/ 4087122 h 4454665"/>
              <a:gd name="connsiteX525" fmla="*/ 10234693 w 12192000"/>
              <a:gd name="connsiteY525" fmla="*/ 4087122 h 4454665"/>
              <a:gd name="connsiteX526" fmla="*/ 10241689 w 12192000"/>
              <a:gd name="connsiteY526" fmla="*/ 4080100 h 4454665"/>
              <a:gd name="connsiteX527" fmla="*/ 10241689 w 12192000"/>
              <a:gd name="connsiteY527" fmla="*/ 3981788 h 4454665"/>
              <a:gd name="connsiteX528" fmla="*/ 10290665 w 12192000"/>
              <a:gd name="connsiteY528" fmla="*/ 3985299 h 4454665"/>
              <a:gd name="connsiteX529" fmla="*/ 10336143 w 12192000"/>
              <a:gd name="connsiteY529" fmla="*/ 4083611 h 4454665"/>
              <a:gd name="connsiteX530" fmla="*/ 10343139 w 12192000"/>
              <a:gd name="connsiteY530" fmla="*/ 4087122 h 4454665"/>
              <a:gd name="connsiteX531" fmla="*/ 10374624 w 12192000"/>
              <a:gd name="connsiteY531" fmla="*/ 4087122 h 4454665"/>
              <a:gd name="connsiteX532" fmla="*/ 10381620 w 12192000"/>
              <a:gd name="connsiteY532" fmla="*/ 4083611 h 4454665"/>
              <a:gd name="connsiteX533" fmla="*/ 10381620 w 12192000"/>
              <a:gd name="connsiteY533" fmla="*/ 4076589 h 4454665"/>
              <a:gd name="connsiteX534" fmla="*/ 10336143 w 12192000"/>
              <a:gd name="connsiteY534" fmla="*/ 3971255 h 4454665"/>
              <a:gd name="connsiteX535" fmla="*/ 10381620 w 12192000"/>
              <a:gd name="connsiteY535" fmla="*/ 3904543 h 4454665"/>
              <a:gd name="connsiteX536" fmla="*/ 10290665 w 12192000"/>
              <a:gd name="connsiteY536" fmla="*/ 3823787 h 4454665"/>
              <a:gd name="connsiteX537" fmla="*/ 10283668 w 12192000"/>
              <a:gd name="connsiteY537" fmla="*/ 3823787 h 4454665"/>
              <a:gd name="connsiteX538" fmla="*/ 11839186 w 12192000"/>
              <a:gd name="connsiteY538" fmla="*/ 3792865 h 4454665"/>
              <a:gd name="connsiteX539" fmla="*/ 11845722 w 12192000"/>
              <a:gd name="connsiteY539" fmla="*/ 3798596 h 4454665"/>
              <a:gd name="connsiteX540" fmla="*/ 11908470 w 12192000"/>
              <a:gd name="connsiteY540" fmla="*/ 4038420 h 4454665"/>
              <a:gd name="connsiteX541" fmla="*/ 11898012 w 12192000"/>
              <a:gd name="connsiteY541" fmla="*/ 4041947 h 4454665"/>
              <a:gd name="connsiteX542" fmla="*/ 11859666 w 12192000"/>
              <a:gd name="connsiteY542" fmla="*/ 4031366 h 4454665"/>
              <a:gd name="connsiteX543" fmla="*/ 11852694 w 12192000"/>
              <a:gd name="connsiteY543" fmla="*/ 4020786 h 4454665"/>
              <a:gd name="connsiteX544" fmla="*/ 11807377 w 12192000"/>
              <a:gd name="connsiteY544" fmla="*/ 3840918 h 4454665"/>
              <a:gd name="connsiteX545" fmla="*/ 11807377 w 12192000"/>
              <a:gd name="connsiteY545" fmla="*/ 3826811 h 4454665"/>
              <a:gd name="connsiteX546" fmla="*/ 11835264 w 12192000"/>
              <a:gd name="connsiteY546" fmla="*/ 3795069 h 4454665"/>
              <a:gd name="connsiteX547" fmla="*/ 11839186 w 12192000"/>
              <a:gd name="connsiteY547" fmla="*/ 3792865 h 4454665"/>
              <a:gd name="connsiteX548" fmla="*/ 11458923 w 12192000"/>
              <a:gd name="connsiteY548" fmla="*/ 3792865 h 4454665"/>
              <a:gd name="connsiteX549" fmla="*/ 11462885 w 12192000"/>
              <a:gd name="connsiteY549" fmla="*/ 3795069 h 4454665"/>
              <a:gd name="connsiteX550" fmla="*/ 11494585 w 12192000"/>
              <a:gd name="connsiteY550" fmla="*/ 3826811 h 4454665"/>
              <a:gd name="connsiteX551" fmla="*/ 11491063 w 12192000"/>
              <a:gd name="connsiteY551" fmla="*/ 3840918 h 4454665"/>
              <a:gd name="connsiteX552" fmla="*/ 11445274 w 12192000"/>
              <a:gd name="connsiteY552" fmla="*/ 4020786 h 4454665"/>
              <a:gd name="connsiteX553" fmla="*/ 11438229 w 12192000"/>
              <a:gd name="connsiteY553" fmla="*/ 4031366 h 4454665"/>
              <a:gd name="connsiteX554" fmla="*/ 11399484 w 12192000"/>
              <a:gd name="connsiteY554" fmla="*/ 4041947 h 4454665"/>
              <a:gd name="connsiteX555" fmla="*/ 11388917 w 12192000"/>
              <a:gd name="connsiteY555" fmla="*/ 4038420 h 4454665"/>
              <a:gd name="connsiteX556" fmla="*/ 11452318 w 12192000"/>
              <a:gd name="connsiteY556" fmla="*/ 3798596 h 4454665"/>
              <a:gd name="connsiteX557" fmla="*/ 11458923 w 12192000"/>
              <a:gd name="connsiteY557" fmla="*/ 3792865 h 4454665"/>
              <a:gd name="connsiteX558" fmla="*/ 11677605 w 12192000"/>
              <a:gd name="connsiteY558" fmla="*/ 3787511 h 4454665"/>
              <a:gd name="connsiteX559" fmla="*/ 11684592 w 12192000"/>
              <a:gd name="connsiteY559" fmla="*/ 3787511 h 4454665"/>
              <a:gd name="connsiteX560" fmla="*/ 11792882 w 12192000"/>
              <a:gd name="connsiteY560" fmla="*/ 3851080 h 4454665"/>
              <a:gd name="connsiteX561" fmla="*/ 11796375 w 12192000"/>
              <a:gd name="connsiteY561" fmla="*/ 3858144 h 4454665"/>
              <a:gd name="connsiteX562" fmla="*/ 11789388 w 12192000"/>
              <a:gd name="connsiteY562" fmla="*/ 3865207 h 4454665"/>
              <a:gd name="connsiteX563" fmla="*/ 11698565 w 12192000"/>
              <a:gd name="connsiteY563" fmla="*/ 3911118 h 4454665"/>
              <a:gd name="connsiteX564" fmla="*/ 11688084 w 12192000"/>
              <a:gd name="connsiteY564" fmla="*/ 3911118 h 4454665"/>
              <a:gd name="connsiteX565" fmla="*/ 11681098 w 12192000"/>
              <a:gd name="connsiteY565" fmla="*/ 3900523 h 4454665"/>
              <a:gd name="connsiteX566" fmla="*/ 11674112 w 12192000"/>
              <a:gd name="connsiteY566" fmla="*/ 3798107 h 4454665"/>
              <a:gd name="connsiteX567" fmla="*/ 11677605 w 12192000"/>
              <a:gd name="connsiteY567" fmla="*/ 3787511 h 4454665"/>
              <a:gd name="connsiteX568" fmla="*/ 11613922 w 12192000"/>
              <a:gd name="connsiteY568" fmla="*/ 3787511 h 4454665"/>
              <a:gd name="connsiteX569" fmla="*/ 11620908 w 12192000"/>
              <a:gd name="connsiteY569" fmla="*/ 3787511 h 4454665"/>
              <a:gd name="connsiteX570" fmla="*/ 11624401 w 12192000"/>
              <a:gd name="connsiteY570" fmla="*/ 3798107 h 4454665"/>
              <a:gd name="connsiteX571" fmla="*/ 11613922 w 12192000"/>
              <a:gd name="connsiteY571" fmla="*/ 3904054 h 4454665"/>
              <a:gd name="connsiteX572" fmla="*/ 11610428 w 12192000"/>
              <a:gd name="connsiteY572" fmla="*/ 3911118 h 4454665"/>
              <a:gd name="connsiteX573" fmla="*/ 11599949 w 12192000"/>
              <a:gd name="connsiteY573" fmla="*/ 3911118 h 4454665"/>
              <a:gd name="connsiteX574" fmla="*/ 11509124 w 12192000"/>
              <a:gd name="connsiteY574" fmla="*/ 3865207 h 4454665"/>
              <a:gd name="connsiteX575" fmla="*/ 11502138 w 12192000"/>
              <a:gd name="connsiteY575" fmla="*/ 3858144 h 4454665"/>
              <a:gd name="connsiteX576" fmla="*/ 11505632 w 12192000"/>
              <a:gd name="connsiteY576" fmla="*/ 3851080 h 4454665"/>
              <a:gd name="connsiteX577" fmla="*/ 11613922 w 12192000"/>
              <a:gd name="connsiteY577" fmla="*/ 3787511 h 4454665"/>
              <a:gd name="connsiteX578" fmla="*/ 11532772 w 12192000"/>
              <a:gd name="connsiteY578" fmla="*/ 3752579 h 4454665"/>
              <a:gd name="connsiteX579" fmla="*/ 11539758 w 12192000"/>
              <a:gd name="connsiteY579" fmla="*/ 3759969 h 4454665"/>
              <a:gd name="connsiteX580" fmla="*/ 11536265 w 12192000"/>
              <a:gd name="connsiteY580" fmla="*/ 3763664 h 4454665"/>
              <a:gd name="connsiteX581" fmla="*/ 11529278 w 12192000"/>
              <a:gd name="connsiteY581" fmla="*/ 3767359 h 4454665"/>
              <a:gd name="connsiteX582" fmla="*/ 11525785 w 12192000"/>
              <a:gd name="connsiteY582" fmla="*/ 3759969 h 4454665"/>
              <a:gd name="connsiteX583" fmla="*/ 11522292 w 12192000"/>
              <a:gd name="connsiteY583" fmla="*/ 3759969 h 4454665"/>
              <a:gd name="connsiteX584" fmla="*/ 11532772 w 12192000"/>
              <a:gd name="connsiteY584" fmla="*/ 3752579 h 4454665"/>
              <a:gd name="connsiteX585" fmla="*/ 11529297 w 12192000"/>
              <a:gd name="connsiteY585" fmla="*/ 3745382 h 4454665"/>
              <a:gd name="connsiteX586" fmla="*/ 11511543 w 12192000"/>
              <a:gd name="connsiteY586" fmla="*/ 3756034 h 4454665"/>
              <a:gd name="connsiteX587" fmla="*/ 11515094 w 12192000"/>
              <a:gd name="connsiteY587" fmla="*/ 3759585 h 4454665"/>
              <a:gd name="connsiteX588" fmla="*/ 11532848 w 12192000"/>
              <a:gd name="connsiteY588" fmla="*/ 3791543 h 4454665"/>
              <a:gd name="connsiteX589" fmla="*/ 11539950 w 12192000"/>
              <a:gd name="connsiteY589" fmla="*/ 3787991 h 4454665"/>
              <a:gd name="connsiteX590" fmla="*/ 11532848 w 12192000"/>
              <a:gd name="connsiteY590" fmla="*/ 3773788 h 4454665"/>
              <a:gd name="connsiteX591" fmla="*/ 11539950 w 12192000"/>
              <a:gd name="connsiteY591" fmla="*/ 3770238 h 4454665"/>
              <a:gd name="connsiteX592" fmla="*/ 11554153 w 12192000"/>
              <a:gd name="connsiteY592" fmla="*/ 3780890 h 4454665"/>
              <a:gd name="connsiteX593" fmla="*/ 11561255 w 12192000"/>
              <a:gd name="connsiteY593" fmla="*/ 3777339 h 4454665"/>
              <a:gd name="connsiteX594" fmla="*/ 11547052 w 12192000"/>
              <a:gd name="connsiteY594" fmla="*/ 3763136 h 4454665"/>
              <a:gd name="connsiteX595" fmla="*/ 11547052 w 12192000"/>
              <a:gd name="connsiteY595" fmla="*/ 3759585 h 4454665"/>
              <a:gd name="connsiteX596" fmla="*/ 11529297 w 12192000"/>
              <a:gd name="connsiteY596" fmla="*/ 3745382 h 4454665"/>
              <a:gd name="connsiteX597" fmla="*/ 11750205 w 12192000"/>
              <a:gd name="connsiteY597" fmla="*/ 3739144 h 4454665"/>
              <a:gd name="connsiteX598" fmla="*/ 11753748 w 12192000"/>
              <a:gd name="connsiteY598" fmla="*/ 3763328 h 4454665"/>
              <a:gd name="connsiteX599" fmla="*/ 11746663 w 12192000"/>
              <a:gd name="connsiteY599" fmla="*/ 3780602 h 4454665"/>
              <a:gd name="connsiteX600" fmla="*/ 11753748 w 12192000"/>
              <a:gd name="connsiteY600" fmla="*/ 3787511 h 4454665"/>
              <a:gd name="connsiteX601" fmla="*/ 11760832 w 12192000"/>
              <a:gd name="connsiteY601" fmla="*/ 3770237 h 4454665"/>
              <a:gd name="connsiteX602" fmla="*/ 11785626 w 12192000"/>
              <a:gd name="connsiteY602" fmla="*/ 3756418 h 4454665"/>
              <a:gd name="connsiteX603" fmla="*/ 11778543 w 12192000"/>
              <a:gd name="connsiteY603" fmla="*/ 3752963 h 4454665"/>
              <a:gd name="connsiteX604" fmla="*/ 11760832 w 12192000"/>
              <a:gd name="connsiteY604" fmla="*/ 3759873 h 4454665"/>
              <a:gd name="connsiteX605" fmla="*/ 11757290 w 12192000"/>
              <a:gd name="connsiteY605" fmla="*/ 3742598 h 4454665"/>
              <a:gd name="connsiteX606" fmla="*/ 11750205 w 12192000"/>
              <a:gd name="connsiteY606" fmla="*/ 3739144 h 4454665"/>
              <a:gd name="connsiteX607" fmla="*/ 11715224 w 12192000"/>
              <a:gd name="connsiteY607" fmla="*/ 3735114 h 4454665"/>
              <a:gd name="connsiteX608" fmla="*/ 11725705 w 12192000"/>
              <a:gd name="connsiteY608" fmla="*/ 3738473 h 4454665"/>
              <a:gd name="connsiteX609" fmla="*/ 11729197 w 12192000"/>
              <a:gd name="connsiteY609" fmla="*/ 3741832 h 4454665"/>
              <a:gd name="connsiteX610" fmla="*/ 11722211 w 12192000"/>
              <a:gd name="connsiteY610" fmla="*/ 3748549 h 4454665"/>
              <a:gd name="connsiteX611" fmla="*/ 11711731 w 12192000"/>
              <a:gd name="connsiteY611" fmla="*/ 3745190 h 4454665"/>
              <a:gd name="connsiteX612" fmla="*/ 11711731 w 12192000"/>
              <a:gd name="connsiteY612" fmla="*/ 3741832 h 4454665"/>
              <a:gd name="connsiteX613" fmla="*/ 11715224 w 12192000"/>
              <a:gd name="connsiteY613" fmla="*/ 3735114 h 4454665"/>
              <a:gd name="connsiteX614" fmla="*/ 11582079 w 12192000"/>
              <a:gd name="connsiteY614" fmla="*/ 3734609 h 4454665"/>
              <a:gd name="connsiteX615" fmla="*/ 11596187 w 12192000"/>
              <a:gd name="connsiteY615" fmla="*/ 3745190 h 4454665"/>
              <a:gd name="connsiteX616" fmla="*/ 11582079 w 12192000"/>
              <a:gd name="connsiteY616" fmla="*/ 3759297 h 4454665"/>
              <a:gd name="connsiteX617" fmla="*/ 11567972 w 12192000"/>
              <a:gd name="connsiteY617" fmla="*/ 3748717 h 4454665"/>
              <a:gd name="connsiteX618" fmla="*/ 11567972 w 12192000"/>
              <a:gd name="connsiteY618" fmla="*/ 3745190 h 4454665"/>
              <a:gd name="connsiteX619" fmla="*/ 11582079 w 12192000"/>
              <a:gd name="connsiteY619" fmla="*/ 3734609 h 4454665"/>
              <a:gd name="connsiteX620" fmla="*/ 11670081 w 12192000"/>
              <a:gd name="connsiteY620" fmla="*/ 3728395 h 4454665"/>
              <a:gd name="connsiteX621" fmla="*/ 11673440 w 12192000"/>
              <a:gd name="connsiteY621" fmla="*/ 3738875 h 4454665"/>
              <a:gd name="connsiteX622" fmla="*/ 11676799 w 12192000"/>
              <a:gd name="connsiteY622" fmla="*/ 3745862 h 4454665"/>
              <a:gd name="connsiteX623" fmla="*/ 11663363 w 12192000"/>
              <a:gd name="connsiteY623" fmla="*/ 3745862 h 4454665"/>
              <a:gd name="connsiteX624" fmla="*/ 11666722 w 12192000"/>
              <a:gd name="connsiteY624" fmla="*/ 3738875 h 4454665"/>
              <a:gd name="connsiteX625" fmla="*/ 11670081 w 12192000"/>
              <a:gd name="connsiteY625" fmla="*/ 3728395 h 4454665"/>
              <a:gd name="connsiteX626" fmla="*/ 11578609 w 12192000"/>
              <a:gd name="connsiteY626" fmla="*/ 3727879 h 4454665"/>
              <a:gd name="connsiteX627" fmla="*/ 11561254 w 12192000"/>
              <a:gd name="connsiteY627" fmla="*/ 3745449 h 4454665"/>
              <a:gd name="connsiteX628" fmla="*/ 11561254 w 12192000"/>
              <a:gd name="connsiteY628" fmla="*/ 3748962 h 4454665"/>
              <a:gd name="connsiteX629" fmla="*/ 11582079 w 12192000"/>
              <a:gd name="connsiteY629" fmla="*/ 3766532 h 4454665"/>
              <a:gd name="connsiteX630" fmla="*/ 11602904 w 12192000"/>
              <a:gd name="connsiteY630" fmla="*/ 3745449 h 4454665"/>
              <a:gd name="connsiteX631" fmla="*/ 11578609 w 12192000"/>
              <a:gd name="connsiteY631" fmla="*/ 3727879 h 4454665"/>
              <a:gd name="connsiteX632" fmla="*/ 11708922 w 12192000"/>
              <a:gd name="connsiteY632" fmla="*/ 3724365 h 4454665"/>
              <a:gd name="connsiteX633" fmla="*/ 11705380 w 12192000"/>
              <a:gd name="connsiteY633" fmla="*/ 3742119 h 4454665"/>
              <a:gd name="connsiteX634" fmla="*/ 11698296 w 12192000"/>
              <a:gd name="connsiteY634" fmla="*/ 3763424 h 4454665"/>
              <a:gd name="connsiteX635" fmla="*/ 11708922 w 12192000"/>
              <a:gd name="connsiteY635" fmla="*/ 3766975 h 4454665"/>
              <a:gd name="connsiteX636" fmla="*/ 11712464 w 12192000"/>
              <a:gd name="connsiteY636" fmla="*/ 3752772 h 4454665"/>
              <a:gd name="connsiteX637" fmla="*/ 11719548 w 12192000"/>
              <a:gd name="connsiteY637" fmla="*/ 3752772 h 4454665"/>
              <a:gd name="connsiteX638" fmla="*/ 11723090 w 12192000"/>
              <a:gd name="connsiteY638" fmla="*/ 3770526 h 4454665"/>
              <a:gd name="connsiteX639" fmla="*/ 11730175 w 12192000"/>
              <a:gd name="connsiteY639" fmla="*/ 3774077 h 4454665"/>
              <a:gd name="connsiteX640" fmla="*/ 11726632 w 12192000"/>
              <a:gd name="connsiteY640" fmla="*/ 3756323 h 4454665"/>
              <a:gd name="connsiteX641" fmla="*/ 11737259 w 12192000"/>
              <a:gd name="connsiteY641" fmla="*/ 3742119 h 4454665"/>
              <a:gd name="connsiteX642" fmla="*/ 11730175 w 12192000"/>
              <a:gd name="connsiteY642" fmla="*/ 3731467 h 4454665"/>
              <a:gd name="connsiteX643" fmla="*/ 11708922 w 12192000"/>
              <a:gd name="connsiteY643" fmla="*/ 3724365 h 4454665"/>
              <a:gd name="connsiteX644" fmla="*/ 11666295 w 12192000"/>
              <a:gd name="connsiteY644" fmla="*/ 3717647 h 4454665"/>
              <a:gd name="connsiteX645" fmla="*/ 11659211 w 12192000"/>
              <a:gd name="connsiteY645" fmla="*/ 3738731 h 4454665"/>
              <a:gd name="connsiteX646" fmla="*/ 11648585 w 12192000"/>
              <a:gd name="connsiteY646" fmla="*/ 3759814 h 4454665"/>
              <a:gd name="connsiteX647" fmla="*/ 11655669 w 12192000"/>
              <a:gd name="connsiteY647" fmla="*/ 3759814 h 4454665"/>
              <a:gd name="connsiteX648" fmla="*/ 11659211 w 12192000"/>
              <a:gd name="connsiteY648" fmla="*/ 3752786 h 4454665"/>
              <a:gd name="connsiteX649" fmla="*/ 11676922 w 12192000"/>
              <a:gd name="connsiteY649" fmla="*/ 3752786 h 4454665"/>
              <a:gd name="connsiteX650" fmla="*/ 11680464 w 12192000"/>
              <a:gd name="connsiteY650" fmla="*/ 3759814 h 4454665"/>
              <a:gd name="connsiteX651" fmla="*/ 11687548 w 12192000"/>
              <a:gd name="connsiteY651" fmla="*/ 3763328 h 4454665"/>
              <a:gd name="connsiteX652" fmla="*/ 11680464 w 12192000"/>
              <a:gd name="connsiteY652" fmla="*/ 3738731 h 4454665"/>
              <a:gd name="connsiteX653" fmla="*/ 11676922 w 12192000"/>
              <a:gd name="connsiteY653" fmla="*/ 3717647 h 4454665"/>
              <a:gd name="connsiteX654" fmla="*/ 11666295 w 12192000"/>
              <a:gd name="connsiteY654" fmla="*/ 3717647 h 4454665"/>
              <a:gd name="connsiteX655" fmla="*/ 11645898 w 12192000"/>
              <a:gd name="connsiteY655" fmla="*/ 3717647 h 4454665"/>
              <a:gd name="connsiteX656" fmla="*/ 11606934 w 12192000"/>
              <a:gd name="connsiteY656" fmla="*/ 3721118 h 4454665"/>
              <a:gd name="connsiteX657" fmla="*/ 11606934 w 12192000"/>
              <a:gd name="connsiteY657" fmla="*/ 3728059 h 4454665"/>
              <a:gd name="connsiteX658" fmla="*/ 11621103 w 12192000"/>
              <a:gd name="connsiteY658" fmla="*/ 3724589 h 4454665"/>
              <a:gd name="connsiteX659" fmla="*/ 11624645 w 12192000"/>
              <a:gd name="connsiteY659" fmla="*/ 3759297 h 4454665"/>
              <a:gd name="connsiteX660" fmla="*/ 11635271 w 12192000"/>
              <a:gd name="connsiteY660" fmla="*/ 3759297 h 4454665"/>
              <a:gd name="connsiteX661" fmla="*/ 11631729 w 12192000"/>
              <a:gd name="connsiteY661" fmla="*/ 3724589 h 4454665"/>
              <a:gd name="connsiteX662" fmla="*/ 11645898 w 12192000"/>
              <a:gd name="connsiteY662" fmla="*/ 3724589 h 4454665"/>
              <a:gd name="connsiteX663" fmla="*/ 11645898 w 12192000"/>
              <a:gd name="connsiteY663" fmla="*/ 3717647 h 4454665"/>
              <a:gd name="connsiteX664" fmla="*/ 11196257 w 12192000"/>
              <a:gd name="connsiteY664" fmla="*/ 3717646 h 4454665"/>
              <a:gd name="connsiteX665" fmla="*/ 11221336 w 12192000"/>
              <a:gd name="connsiteY665" fmla="*/ 3752578 h 4454665"/>
              <a:gd name="connsiteX666" fmla="*/ 11167595 w 12192000"/>
              <a:gd name="connsiteY666" fmla="*/ 3752578 h 4454665"/>
              <a:gd name="connsiteX667" fmla="*/ 11196257 w 12192000"/>
              <a:gd name="connsiteY667" fmla="*/ 3717646 h 4454665"/>
              <a:gd name="connsiteX668" fmla="*/ 11648585 w 12192000"/>
              <a:gd name="connsiteY668" fmla="*/ 3710930 h 4454665"/>
              <a:gd name="connsiteX669" fmla="*/ 11813539 w 12192000"/>
              <a:gd name="connsiteY669" fmla="*/ 3766821 h 4454665"/>
              <a:gd name="connsiteX670" fmla="*/ 11817049 w 12192000"/>
              <a:gd name="connsiteY670" fmla="*/ 3780794 h 4454665"/>
              <a:gd name="connsiteX671" fmla="*/ 11788972 w 12192000"/>
              <a:gd name="connsiteY671" fmla="*/ 3812234 h 4454665"/>
              <a:gd name="connsiteX672" fmla="*/ 11774933 w 12192000"/>
              <a:gd name="connsiteY672" fmla="*/ 3812234 h 4454665"/>
              <a:gd name="connsiteX673" fmla="*/ 11648585 w 12192000"/>
              <a:gd name="connsiteY673" fmla="*/ 3766821 h 4454665"/>
              <a:gd name="connsiteX674" fmla="*/ 11522236 w 12192000"/>
              <a:gd name="connsiteY674" fmla="*/ 3812234 h 4454665"/>
              <a:gd name="connsiteX675" fmla="*/ 11508198 w 12192000"/>
              <a:gd name="connsiteY675" fmla="*/ 3812234 h 4454665"/>
              <a:gd name="connsiteX676" fmla="*/ 11480121 w 12192000"/>
              <a:gd name="connsiteY676" fmla="*/ 3780794 h 4454665"/>
              <a:gd name="connsiteX677" fmla="*/ 11483630 w 12192000"/>
              <a:gd name="connsiteY677" fmla="*/ 3766821 h 4454665"/>
              <a:gd name="connsiteX678" fmla="*/ 11648585 w 12192000"/>
              <a:gd name="connsiteY678" fmla="*/ 3710930 h 4454665"/>
              <a:gd name="connsiteX679" fmla="*/ 11196481 w 12192000"/>
              <a:gd name="connsiteY679" fmla="*/ 3710929 h 4454665"/>
              <a:gd name="connsiteX680" fmla="*/ 11158189 w 12192000"/>
              <a:gd name="connsiteY680" fmla="*/ 3759969 h 4454665"/>
              <a:gd name="connsiteX681" fmla="*/ 11199962 w 12192000"/>
              <a:gd name="connsiteY681" fmla="*/ 3809008 h 4454665"/>
              <a:gd name="connsiteX682" fmla="*/ 11227810 w 12192000"/>
              <a:gd name="connsiteY682" fmla="*/ 3802002 h 4454665"/>
              <a:gd name="connsiteX683" fmla="*/ 11227810 w 12192000"/>
              <a:gd name="connsiteY683" fmla="*/ 3791494 h 4454665"/>
              <a:gd name="connsiteX684" fmla="*/ 11199962 w 12192000"/>
              <a:gd name="connsiteY684" fmla="*/ 3798499 h 4454665"/>
              <a:gd name="connsiteX685" fmla="*/ 11168632 w 12192000"/>
              <a:gd name="connsiteY685" fmla="*/ 3763472 h 4454665"/>
              <a:gd name="connsiteX686" fmla="*/ 11234772 w 12192000"/>
              <a:gd name="connsiteY686" fmla="*/ 3763472 h 4454665"/>
              <a:gd name="connsiteX687" fmla="*/ 11234772 w 12192000"/>
              <a:gd name="connsiteY687" fmla="*/ 3756466 h 4454665"/>
              <a:gd name="connsiteX688" fmla="*/ 11196481 w 12192000"/>
              <a:gd name="connsiteY688" fmla="*/ 3710929 h 4454665"/>
              <a:gd name="connsiteX689" fmla="*/ 10947253 w 12192000"/>
              <a:gd name="connsiteY689" fmla="*/ 3674653 h 4454665"/>
              <a:gd name="connsiteX690" fmla="*/ 10947253 w 12192000"/>
              <a:gd name="connsiteY690" fmla="*/ 3685401 h 4454665"/>
              <a:gd name="connsiteX691" fmla="*/ 10986216 w 12192000"/>
              <a:gd name="connsiteY691" fmla="*/ 3685401 h 4454665"/>
              <a:gd name="connsiteX692" fmla="*/ 10986216 w 12192000"/>
              <a:gd name="connsiteY692" fmla="*/ 3804977 h 4454665"/>
              <a:gd name="connsiteX693" fmla="*/ 10999652 w 12192000"/>
              <a:gd name="connsiteY693" fmla="*/ 3804977 h 4454665"/>
              <a:gd name="connsiteX694" fmla="*/ 10999652 w 12192000"/>
              <a:gd name="connsiteY694" fmla="*/ 3685401 h 4454665"/>
              <a:gd name="connsiteX695" fmla="*/ 11038614 w 12192000"/>
              <a:gd name="connsiteY695" fmla="*/ 3685401 h 4454665"/>
              <a:gd name="connsiteX696" fmla="*/ 11038614 w 12192000"/>
              <a:gd name="connsiteY696" fmla="*/ 3674653 h 4454665"/>
              <a:gd name="connsiteX697" fmla="*/ 11060111 w 12192000"/>
              <a:gd name="connsiteY697" fmla="*/ 3663904 h 4454665"/>
              <a:gd name="connsiteX698" fmla="*/ 11060111 w 12192000"/>
              <a:gd name="connsiteY698" fmla="*/ 3804977 h 4454665"/>
              <a:gd name="connsiteX699" fmla="*/ 11070476 w 12192000"/>
              <a:gd name="connsiteY699" fmla="*/ 3804977 h 4454665"/>
              <a:gd name="connsiteX700" fmla="*/ 11070476 w 12192000"/>
              <a:gd name="connsiteY700" fmla="*/ 3755601 h 4454665"/>
              <a:gd name="connsiteX701" fmla="*/ 11098115 w 12192000"/>
              <a:gd name="connsiteY701" fmla="*/ 3716807 h 4454665"/>
              <a:gd name="connsiteX702" fmla="*/ 11118844 w 12192000"/>
              <a:gd name="connsiteY702" fmla="*/ 3748548 h 4454665"/>
              <a:gd name="connsiteX703" fmla="*/ 11118844 w 12192000"/>
              <a:gd name="connsiteY703" fmla="*/ 3804977 h 4454665"/>
              <a:gd name="connsiteX704" fmla="*/ 11132662 w 12192000"/>
              <a:gd name="connsiteY704" fmla="*/ 3804977 h 4454665"/>
              <a:gd name="connsiteX705" fmla="*/ 11132662 w 12192000"/>
              <a:gd name="connsiteY705" fmla="*/ 3748548 h 4454665"/>
              <a:gd name="connsiteX706" fmla="*/ 11101569 w 12192000"/>
              <a:gd name="connsiteY706" fmla="*/ 3709753 h 4454665"/>
              <a:gd name="connsiteX707" fmla="*/ 11070476 w 12192000"/>
              <a:gd name="connsiteY707" fmla="*/ 3727387 h 4454665"/>
              <a:gd name="connsiteX708" fmla="*/ 11070476 w 12192000"/>
              <a:gd name="connsiteY708" fmla="*/ 3663904 h 4454665"/>
              <a:gd name="connsiteX709" fmla="*/ 11060111 w 12192000"/>
              <a:gd name="connsiteY709" fmla="*/ 3663904 h 4454665"/>
              <a:gd name="connsiteX710" fmla="*/ 11638739 w 12192000"/>
              <a:gd name="connsiteY710" fmla="*/ 3639721 h 4454665"/>
              <a:gd name="connsiteX711" fmla="*/ 11624716 w 12192000"/>
              <a:gd name="connsiteY711" fmla="*/ 3692584 h 4454665"/>
              <a:gd name="connsiteX712" fmla="*/ 11600176 w 12192000"/>
              <a:gd name="connsiteY712" fmla="*/ 3696108 h 4454665"/>
              <a:gd name="connsiteX713" fmla="*/ 11575635 w 12192000"/>
              <a:gd name="connsiteY713" fmla="*/ 3650294 h 4454665"/>
              <a:gd name="connsiteX714" fmla="*/ 11572129 w 12192000"/>
              <a:gd name="connsiteY714" fmla="*/ 3650294 h 4454665"/>
              <a:gd name="connsiteX715" fmla="*/ 11551094 w 12192000"/>
              <a:gd name="connsiteY715" fmla="*/ 3653818 h 4454665"/>
              <a:gd name="connsiteX716" fmla="*/ 11551094 w 12192000"/>
              <a:gd name="connsiteY716" fmla="*/ 3657342 h 4454665"/>
              <a:gd name="connsiteX717" fmla="*/ 11547588 w 12192000"/>
              <a:gd name="connsiteY717" fmla="*/ 3682011 h 4454665"/>
              <a:gd name="connsiteX718" fmla="*/ 11551094 w 12192000"/>
              <a:gd name="connsiteY718" fmla="*/ 3710205 h 4454665"/>
              <a:gd name="connsiteX719" fmla="*/ 11530059 w 12192000"/>
              <a:gd name="connsiteY719" fmla="*/ 3717253 h 4454665"/>
              <a:gd name="connsiteX720" fmla="*/ 11491495 w 12192000"/>
              <a:gd name="connsiteY720" fmla="*/ 3682011 h 4454665"/>
              <a:gd name="connsiteX721" fmla="*/ 11470460 w 12192000"/>
              <a:gd name="connsiteY721" fmla="*/ 3692584 h 4454665"/>
              <a:gd name="connsiteX722" fmla="*/ 11484484 w 12192000"/>
              <a:gd name="connsiteY722" fmla="*/ 3745446 h 4454665"/>
              <a:gd name="connsiteX723" fmla="*/ 11466954 w 12192000"/>
              <a:gd name="connsiteY723" fmla="*/ 3756019 h 4454665"/>
              <a:gd name="connsiteX724" fmla="*/ 11421379 w 12192000"/>
              <a:gd name="connsiteY724" fmla="*/ 3731350 h 4454665"/>
              <a:gd name="connsiteX725" fmla="*/ 11403850 w 12192000"/>
              <a:gd name="connsiteY725" fmla="*/ 3745446 h 4454665"/>
              <a:gd name="connsiteX726" fmla="*/ 11403850 w 12192000"/>
              <a:gd name="connsiteY726" fmla="*/ 3748970 h 4454665"/>
              <a:gd name="connsiteX727" fmla="*/ 11431896 w 12192000"/>
              <a:gd name="connsiteY727" fmla="*/ 3794785 h 4454665"/>
              <a:gd name="connsiteX728" fmla="*/ 11417873 w 12192000"/>
              <a:gd name="connsiteY728" fmla="*/ 3812406 h 4454665"/>
              <a:gd name="connsiteX729" fmla="*/ 11365286 w 12192000"/>
              <a:gd name="connsiteY729" fmla="*/ 3798309 h 4454665"/>
              <a:gd name="connsiteX730" fmla="*/ 11354768 w 12192000"/>
              <a:gd name="connsiteY730" fmla="*/ 3819454 h 4454665"/>
              <a:gd name="connsiteX731" fmla="*/ 11389827 w 12192000"/>
              <a:gd name="connsiteY731" fmla="*/ 3858221 h 4454665"/>
              <a:gd name="connsiteX732" fmla="*/ 11382815 w 12192000"/>
              <a:gd name="connsiteY732" fmla="*/ 3879365 h 4454665"/>
              <a:gd name="connsiteX733" fmla="*/ 11330228 w 12192000"/>
              <a:gd name="connsiteY733" fmla="*/ 3879365 h 4454665"/>
              <a:gd name="connsiteX734" fmla="*/ 11323216 w 12192000"/>
              <a:gd name="connsiteY734" fmla="*/ 3900510 h 4454665"/>
              <a:gd name="connsiteX735" fmla="*/ 11368791 w 12192000"/>
              <a:gd name="connsiteY735" fmla="*/ 3928704 h 4454665"/>
              <a:gd name="connsiteX736" fmla="*/ 11365286 w 12192000"/>
              <a:gd name="connsiteY736" fmla="*/ 3949848 h 4454665"/>
              <a:gd name="connsiteX737" fmla="*/ 11316205 w 12192000"/>
              <a:gd name="connsiteY737" fmla="*/ 3963946 h 4454665"/>
              <a:gd name="connsiteX738" fmla="*/ 11312698 w 12192000"/>
              <a:gd name="connsiteY738" fmla="*/ 3963946 h 4454665"/>
              <a:gd name="connsiteX739" fmla="*/ 11312698 w 12192000"/>
              <a:gd name="connsiteY739" fmla="*/ 3978042 h 4454665"/>
              <a:gd name="connsiteX740" fmla="*/ 11312698 w 12192000"/>
              <a:gd name="connsiteY740" fmla="*/ 3988615 h 4454665"/>
              <a:gd name="connsiteX741" fmla="*/ 11316205 w 12192000"/>
              <a:gd name="connsiteY741" fmla="*/ 3988615 h 4454665"/>
              <a:gd name="connsiteX742" fmla="*/ 11365286 w 12192000"/>
              <a:gd name="connsiteY742" fmla="*/ 4002712 h 4454665"/>
              <a:gd name="connsiteX743" fmla="*/ 11368791 w 12192000"/>
              <a:gd name="connsiteY743" fmla="*/ 4023857 h 4454665"/>
              <a:gd name="connsiteX744" fmla="*/ 11323216 w 12192000"/>
              <a:gd name="connsiteY744" fmla="*/ 4052050 h 4454665"/>
              <a:gd name="connsiteX745" fmla="*/ 11323216 w 12192000"/>
              <a:gd name="connsiteY745" fmla="*/ 4055574 h 4454665"/>
              <a:gd name="connsiteX746" fmla="*/ 11330228 w 12192000"/>
              <a:gd name="connsiteY746" fmla="*/ 4076719 h 4454665"/>
              <a:gd name="connsiteX747" fmla="*/ 11382815 w 12192000"/>
              <a:gd name="connsiteY747" fmla="*/ 4076719 h 4454665"/>
              <a:gd name="connsiteX748" fmla="*/ 11393332 w 12192000"/>
              <a:gd name="connsiteY748" fmla="*/ 4097865 h 4454665"/>
              <a:gd name="connsiteX749" fmla="*/ 11354768 w 12192000"/>
              <a:gd name="connsiteY749" fmla="*/ 4133106 h 4454665"/>
              <a:gd name="connsiteX750" fmla="*/ 11354768 w 12192000"/>
              <a:gd name="connsiteY750" fmla="*/ 4136630 h 4454665"/>
              <a:gd name="connsiteX751" fmla="*/ 11365286 w 12192000"/>
              <a:gd name="connsiteY751" fmla="*/ 4154251 h 4454665"/>
              <a:gd name="connsiteX752" fmla="*/ 11417873 w 12192000"/>
              <a:gd name="connsiteY752" fmla="*/ 4140154 h 4454665"/>
              <a:gd name="connsiteX753" fmla="*/ 11431896 w 12192000"/>
              <a:gd name="connsiteY753" fmla="*/ 4161300 h 4454665"/>
              <a:gd name="connsiteX754" fmla="*/ 11403850 w 12192000"/>
              <a:gd name="connsiteY754" fmla="*/ 4207114 h 4454665"/>
              <a:gd name="connsiteX755" fmla="*/ 11421379 w 12192000"/>
              <a:gd name="connsiteY755" fmla="*/ 4221210 h 4454665"/>
              <a:gd name="connsiteX756" fmla="*/ 11466954 w 12192000"/>
              <a:gd name="connsiteY756" fmla="*/ 4196542 h 4454665"/>
              <a:gd name="connsiteX757" fmla="*/ 11484484 w 12192000"/>
              <a:gd name="connsiteY757" fmla="*/ 4210638 h 4454665"/>
              <a:gd name="connsiteX758" fmla="*/ 11473966 w 12192000"/>
              <a:gd name="connsiteY758" fmla="*/ 4259976 h 4454665"/>
              <a:gd name="connsiteX759" fmla="*/ 11473966 w 12192000"/>
              <a:gd name="connsiteY759" fmla="*/ 4263501 h 4454665"/>
              <a:gd name="connsiteX760" fmla="*/ 11491495 w 12192000"/>
              <a:gd name="connsiteY760" fmla="*/ 4274073 h 4454665"/>
              <a:gd name="connsiteX761" fmla="*/ 11495001 w 12192000"/>
              <a:gd name="connsiteY761" fmla="*/ 4274073 h 4454665"/>
              <a:gd name="connsiteX762" fmla="*/ 11530059 w 12192000"/>
              <a:gd name="connsiteY762" fmla="*/ 4235307 h 4454665"/>
              <a:gd name="connsiteX763" fmla="*/ 11551094 w 12192000"/>
              <a:gd name="connsiteY763" fmla="*/ 4245880 h 4454665"/>
              <a:gd name="connsiteX764" fmla="*/ 11547588 w 12192000"/>
              <a:gd name="connsiteY764" fmla="*/ 4270549 h 4454665"/>
              <a:gd name="connsiteX765" fmla="*/ 11551094 w 12192000"/>
              <a:gd name="connsiteY765" fmla="*/ 4298743 h 4454665"/>
              <a:gd name="connsiteX766" fmla="*/ 11572129 w 12192000"/>
              <a:gd name="connsiteY766" fmla="*/ 4305791 h 4454665"/>
              <a:gd name="connsiteX767" fmla="*/ 11575635 w 12192000"/>
              <a:gd name="connsiteY767" fmla="*/ 4305791 h 4454665"/>
              <a:gd name="connsiteX768" fmla="*/ 11600176 w 12192000"/>
              <a:gd name="connsiteY768" fmla="*/ 4259976 h 4454665"/>
              <a:gd name="connsiteX769" fmla="*/ 11624716 w 12192000"/>
              <a:gd name="connsiteY769" fmla="*/ 4259976 h 4454665"/>
              <a:gd name="connsiteX770" fmla="*/ 11638739 w 12192000"/>
              <a:gd name="connsiteY770" fmla="*/ 4312839 h 4454665"/>
              <a:gd name="connsiteX771" fmla="*/ 11659774 w 12192000"/>
              <a:gd name="connsiteY771" fmla="*/ 4312839 h 4454665"/>
              <a:gd name="connsiteX772" fmla="*/ 11663280 w 12192000"/>
              <a:gd name="connsiteY772" fmla="*/ 4312839 h 4454665"/>
              <a:gd name="connsiteX773" fmla="*/ 11677303 w 12192000"/>
              <a:gd name="connsiteY773" fmla="*/ 4259976 h 4454665"/>
              <a:gd name="connsiteX774" fmla="*/ 11698339 w 12192000"/>
              <a:gd name="connsiteY774" fmla="*/ 4259976 h 4454665"/>
              <a:gd name="connsiteX775" fmla="*/ 11722879 w 12192000"/>
              <a:gd name="connsiteY775" fmla="*/ 4305791 h 4454665"/>
              <a:gd name="connsiteX776" fmla="*/ 11726385 w 12192000"/>
              <a:gd name="connsiteY776" fmla="*/ 4305791 h 4454665"/>
              <a:gd name="connsiteX777" fmla="*/ 11747420 w 12192000"/>
              <a:gd name="connsiteY777" fmla="*/ 4298743 h 4454665"/>
              <a:gd name="connsiteX778" fmla="*/ 11750925 w 12192000"/>
              <a:gd name="connsiteY778" fmla="*/ 4270549 h 4454665"/>
              <a:gd name="connsiteX779" fmla="*/ 11747420 w 12192000"/>
              <a:gd name="connsiteY779" fmla="*/ 4245880 h 4454665"/>
              <a:gd name="connsiteX780" fmla="*/ 11768454 w 12192000"/>
              <a:gd name="connsiteY780" fmla="*/ 4235307 h 4454665"/>
              <a:gd name="connsiteX781" fmla="*/ 11807019 w 12192000"/>
              <a:gd name="connsiteY781" fmla="*/ 4274073 h 4454665"/>
              <a:gd name="connsiteX782" fmla="*/ 11824547 w 12192000"/>
              <a:gd name="connsiteY782" fmla="*/ 4263501 h 4454665"/>
              <a:gd name="connsiteX783" fmla="*/ 11828054 w 12192000"/>
              <a:gd name="connsiteY783" fmla="*/ 4263501 h 4454665"/>
              <a:gd name="connsiteX784" fmla="*/ 11828054 w 12192000"/>
              <a:gd name="connsiteY784" fmla="*/ 4259976 h 4454665"/>
              <a:gd name="connsiteX785" fmla="*/ 11814030 w 12192000"/>
              <a:gd name="connsiteY785" fmla="*/ 4210638 h 4454665"/>
              <a:gd name="connsiteX786" fmla="*/ 11831559 w 12192000"/>
              <a:gd name="connsiteY786" fmla="*/ 4196542 h 4454665"/>
              <a:gd name="connsiteX787" fmla="*/ 11877135 w 12192000"/>
              <a:gd name="connsiteY787" fmla="*/ 4221210 h 4454665"/>
              <a:gd name="connsiteX788" fmla="*/ 11894664 w 12192000"/>
              <a:gd name="connsiteY788" fmla="*/ 4207114 h 4454665"/>
              <a:gd name="connsiteX789" fmla="*/ 11894664 w 12192000"/>
              <a:gd name="connsiteY789" fmla="*/ 4203590 h 4454665"/>
              <a:gd name="connsiteX790" fmla="*/ 11866617 w 12192000"/>
              <a:gd name="connsiteY790" fmla="*/ 4157775 h 4454665"/>
              <a:gd name="connsiteX791" fmla="*/ 11880641 w 12192000"/>
              <a:gd name="connsiteY791" fmla="*/ 4140154 h 4454665"/>
              <a:gd name="connsiteX792" fmla="*/ 11933228 w 12192000"/>
              <a:gd name="connsiteY792" fmla="*/ 4154251 h 4454665"/>
              <a:gd name="connsiteX793" fmla="*/ 11943746 w 12192000"/>
              <a:gd name="connsiteY793" fmla="*/ 4136630 h 4454665"/>
              <a:gd name="connsiteX794" fmla="*/ 11943746 w 12192000"/>
              <a:gd name="connsiteY794" fmla="*/ 4133106 h 4454665"/>
              <a:gd name="connsiteX795" fmla="*/ 11908688 w 12192000"/>
              <a:gd name="connsiteY795" fmla="*/ 4094340 h 4454665"/>
              <a:gd name="connsiteX796" fmla="*/ 11915699 w 12192000"/>
              <a:gd name="connsiteY796" fmla="*/ 4076719 h 4454665"/>
              <a:gd name="connsiteX797" fmla="*/ 11968286 w 12192000"/>
              <a:gd name="connsiteY797" fmla="*/ 4076719 h 4454665"/>
              <a:gd name="connsiteX798" fmla="*/ 11968286 w 12192000"/>
              <a:gd name="connsiteY798" fmla="*/ 4073195 h 4454665"/>
              <a:gd name="connsiteX799" fmla="*/ 11975298 w 12192000"/>
              <a:gd name="connsiteY799" fmla="*/ 4052050 h 4454665"/>
              <a:gd name="connsiteX800" fmla="*/ 11929722 w 12192000"/>
              <a:gd name="connsiteY800" fmla="*/ 4023857 h 4454665"/>
              <a:gd name="connsiteX801" fmla="*/ 11933228 w 12192000"/>
              <a:gd name="connsiteY801" fmla="*/ 4002712 h 4454665"/>
              <a:gd name="connsiteX802" fmla="*/ 11982310 w 12192000"/>
              <a:gd name="connsiteY802" fmla="*/ 3988615 h 4454665"/>
              <a:gd name="connsiteX803" fmla="*/ 11985815 w 12192000"/>
              <a:gd name="connsiteY803" fmla="*/ 3978042 h 4454665"/>
              <a:gd name="connsiteX804" fmla="*/ 11982310 w 12192000"/>
              <a:gd name="connsiteY804" fmla="*/ 3967470 h 4454665"/>
              <a:gd name="connsiteX805" fmla="*/ 11982310 w 12192000"/>
              <a:gd name="connsiteY805" fmla="*/ 3963946 h 4454665"/>
              <a:gd name="connsiteX806" fmla="*/ 11933228 w 12192000"/>
              <a:gd name="connsiteY806" fmla="*/ 3949848 h 4454665"/>
              <a:gd name="connsiteX807" fmla="*/ 11929722 w 12192000"/>
              <a:gd name="connsiteY807" fmla="*/ 3928704 h 4454665"/>
              <a:gd name="connsiteX808" fmla="*/ 11975298 w 12192000"/>
              <a:gd name="connsiteY808" fmla="*/ 3904035 h 4454665"/>
              <a:gd name="connsiteX809" fmla="*/ 11975298 w 12192000"/>
              <a:gd name="connsiteY809" fmla="*/ 3900510 h 4454665"/>
              <a:gd name="connsiteX810" fmla="*/ 11968286 w 12192000"/>
              <a:gd name="connsiteY810" fmla="*/ 3879365 h 4454665"/>
              <a:gd name="connsiteX811" fmla="*/ 11915699 w 12192000"/>
              <a:gd name="connsiteY811" fmla="*/ 3879365 h 4454665"/>
              <a:gd name="connsiteX812" fmla="*/ 11908688 w 12192000"/>
              <a:gd name="connsiteY812" fmla="*/ 3858221 h 4454665"/>
              <a:gd name="connsiteX813" fmla="*/ 11943746 w 12192000"/>
              <a:gd name="connsiteY813" fmla="*/ 3819454 h 4454665"/>
              <a:gd name="connsiteX814" fmla="*/ 11933228 w 12192000"/>
              <a:gd name="connsiteY814" fmla="*/ 3801833 h 4454665"/>
              <a:gd name="connsiteX815" fmla="*/ 11933228 w 12192000"/>
              <a:gd name="connsiteY815" fmla="*/ 3798309 h 4454665"/>
              <a:gd name="connsiteX816" fmla="*/ 11880641 w 12192000"/>
              <a:gd name="connsiteY816" fmla="*/ 3812406 h 4454665"/>
              <a:gd name="connsiteX817" fmla="*/ 11866617 w 12192000"/>
              <a:gd name="connsiteY817" fmla="*/ 3794785 h 4454665"/>
              <a:gd name="connsiteX818" fmla="*/ 11894664 w 12192000"/>
              <a:gd name="connsiteY818" fmla="*/ 3748970 h 4454665"/>
              <a:gd name="connsiteX819" fmla="*/ 11877135 w 12192000"/>
              <a:gd name="connsiteY819" fmla="*/ 3731350 h 4454665"/>
              <a:gd name="connsiteX820" fmla="*/ 11831559 w 12192000"/>
              <a:gd name="connsiteY820" fmla="*/ 3759544 h 4454665"/>
              <a:gd name="connsiteX821" fmla="*/ 11814030 w 12192000"/>
              <a:gd name="connsiteY821" fmla="*/ 3745446 h 4454665"/>
              <a:gd name="connsiteX822" fmla="*/ 11828054 w 12192000"/>
              <a:gd name="connsiteY822" fmla="*/ 3692584 h 4454665"/>
              <a:gd name="connsiteX823" fmla="*/ 11807019 w 12192000"/>
              <a:gd name="connsiteY823" fmla="*/ 3682011 h 4454665"/>
              <a:gd name="connsiteX824" fmla="*/ 11768454 w 12192000"/>
              <a:gd name="connsiteY824" fmla="*/ 3717253 h 4454665"/>
              <a:gd name="connsiteX825" fmla="*/ 11747420 w 12192000"/>
              <a:gd name="connsiteY825" fmla="*/ 3710205 h 4454665"/>
              <a:gd name="connsiteX826" fmla="*/ 11750925 w 12192000"/>
              <a:gd name="connsiteY826" fmla="*/ 3682011 h 4454665"/>
              <a:gd name="connsiteX827" fmla="*/ 11747420 w 12192000"/>
              <a:gd name="connsiteY827" fmla="*/ 3657342 h 4454665"/>
              <a:gd name="connsiteX828" fmla="*/ 11747420 w 12192000"/>
              <a:gd name="connsiteY828" fmla="*/ 3653818 h 4454665"/>
              <a:gd name="connsiteX829" fmla="*/ 11726385 w 12192000"/>
              <a:gd name="connsiteY829" fmla="*/ 3650294 h 4454665"/>
              <a:gd name="connsiteX830" fmla="*/ 11722879 w 12192000"/>
              <a:gd name="connsiteY830" fmla="*/ 3650294 h 4454665"/>
              <a:gd name="connsiteX831" fmla="*/ 11698339 w 12192000"/>
              <a:gd name="connsiteY831" fmla="*/ 3696108 h 4454665"/>
              <a:gd name="connsiteX832" fmla="*/ 11673798 w 12192000"/>
              <a:gd name="connsiteY832" fmla="*/ 3692584 h 4454665"/>
              <a:gd name="connsiteX833" fmla="*/ 11659774 w 12192000"/>
              <a:gd name="connsiteY833" fmla="*/ 3639721 h 4454665"/>
              <a:gd name="connsiteX834" fmla="*/ 11638739 w 12192000"/>
              <a:gd name="connsiteY834" fmla="*/ 3639721 h 4454665"/>
              <a:gd name="connsiteX835" fmla="*/ 0 w 12192000"/>
              <a:gd name="connsiteY835" fmla="*/ 0 h 4454665"/>
              <a:gd name="connsiteX836" fmla="*/ 12192000 w 12192000"/>
              <a:gd name="connsiteY836" fmla="*/ 0 h 4454665"/>
              <a:gd name="connsiteX837" fmla="*/ 12192000 w 12192000"/>
              <a:gd name="connsiteY837" fmla="*/ 4454665 h 4454665"/>
              <a:gd name="connsiteX838" fmla="*/ 0 w 12192000"/>
              <a:gd name="connsiteY838" fmla="*/ 4454665 h 44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4454665">
                <a:moveTo>
                  <a:pt x="11946675" y="4274241"/>
                </a:moveTo>
                <a:lnTo>
                  <a:pt x="11952788" y="4274241"/>
                </a:lnTo>
                <a:cubicBezTo>
                  <a:pt x="11955414" y="4274241"/>
                  <a:pt x="11957212" y="4274433"/>
                  <a:pt x="11958183" y="4274816"/>
                </a:cubicBezTo>
                <a:cubicBezTo>
                  <a:pt x="11959154" y="4275199"/>
                  <a:pt x="11959913" y="4275780"/>
                  <a:pt x="11960461" y="4276559"/>
                </a:cubicBezTo>
                <a:cubicBezTo>
                  <a:pt x="11961008" y="4277339"/>
                  <a:pt x="11961281" y="4278222"/>
                  <a:pt x="11961281" y="4279206"/>
                </a:cubicBezTo>
                <a:cubicBezTo>
                  <a:pt x="11961281" y="4280738"/>
                  <a:pt x="11960713" y="4281968"/>
                  <a:pt x="11959578" y="4282898"/>
                </a:cubicBezTo>
                <a:cubicBezTo>
                  <a:pt x="11958443" y="4283829"/>
                  <a:pt x="11956316" y="4284293"/>
                  <a:pt x="11953198" y="4284293"/>
                </a:cubicBezTo>
                <a:lnTo>
                  <a:pt x="11946675" y="4284293"/>
                </a:lnTo>
                <a:close/>
                <a:moveTo>
                  <a:pt x="11941300" y="4269729"/>
                </a:moveTo>
                <a:lnTo>
                  <a:pt x="11941300" y="4303043"/>
                </a:lnTo>
                <a:lnTo>
                  <a:pt x="11946675" y="4303043"/>
                </a:lnTo>
                <a:lnTo>
                  <a:pt x="11946675" y="4288889"/>
                </a:lnTo>
                <a:lnTo>
                  <a:pt x="11949834" y="4288889"/>
                </a:lnTo>
                <a:cubicBezTo>
                  <a:pt x="11951722" y="4288889"/>
                  <a:pt x="11953158" y="4289271"/>
                  <a:pt x="11954142" y="4290037"/>
                </a:cubicBezTo>
                <a:cubicBezTo>
                  <a:pt x="11955564" y="4291076"/>
                  <a:pt x="11957438" y="4293661"/>
                  <a:pt x="11959762" y="4297791"/>
                </a:cubicBezTo>
                <a:lnTo>
                  <a:pt x="11962717" y="4303043"/>
                </a:lnTo>
                <a:lnTo>
                  <a:pt x="11969281" y="4303043"/>
                </a:lnTo>
                <a:lnTo>
                  <a:pt x="11965220" y="4296519"/>
                </a:lnTo>
                <a:cubicBezTo>
                  <a:pt x="11963277" y="4293428"/>
                  <a:pt x="11961636" y="4291227"/>
                  <a:pt x="11960296" y="4289914"/>
                </a:cubicBezTo>
                <a:cubicBezTo>
                  <a:pt x="11959585" y="4289231"/>
                  <a:pt x="11958641" y="4288642"/>
                  <a:pt x="11957466" y="4288150"/>
                </a:cubicBezTo>
                <a:cubicBezTo>
                  <a:pt x="11960337" y="4287931"/>
                  <a:pt x="11962642" y="4286919"/>
                  <a:pt x="11964378" y="4285114"/>
                </a:cubicBezTo>
                <a:cubicBezTo>
                  <a:pt x="11966115" y="4283309"/>
                  <a:pt x="11966983" y="4281189"/>
                  <a:pt x="11966983" y="4278755"/>
                </a:cubicBezTo>
                <a:cubicBezTo>
                  <a:pt x="11966983" y="4277032"/>
                  <a:pt x="11966464" y="4275404"/>
                  <a:pt x="11965424" y="4273872"/>
                </a:cubicBezTo>
                <a:cubicBezTo>
                  <a:pt x="11964385" y="4272340"/>
                  <a:pt x="11962990" y="4271267"/>
                  <a:pt x="11961239" y="4270652"/>
                </a:cubicBezTo>
                <a:cubicBezTo>
                  <a:pt x="11959489" y="4270036"/>
                  <a:pt x="11956658" y="4269729"/>
                  <a:pt x="11952747" y="4269729"/>
                </a:cubicBezTo>
                <a:close/>
                <a:moveTo>
                  <a:pt x="10902089" y="4267158"/>
                </a:moveTo>
                <a:cubicBezTo>
                  <a:pt x="10902089" y="4267158"/>
                  <a:pt x="10902089" y="4267158"/>
                  <a:pt x="10905603" y="4267158"/>
                </a:cubicBezTo>
                <a:lnTo>
                  <a:pt x="10905603" y="4270699"/>
                </a:lnTo>
                <a:cubicBezTo>
                  <a:pt x="10905603" y="4281326"/>
                  <a:pt x="10905603" y="4306121"/>
                  <a:pt x="10877492" y="4306121"/>
                </a:cubicBezTo>
                <a:cubicBezTo>
                  <a:pt x="10866950" y="4306121"/>
                  <a:pt x="10859922" y="4302579"/>
                  <a:pt x="10859922" y="4288411"/>
                </a:cubicBezTo>
                <a:cubicBezTo>
                  <a:pt x="10859922" y="4267158"/>
                  <a:pt x="10884520" y="4267158"/>
                  <a:pt x="10902089" y="4267158"/>
                </a:cubicBezTo>
                <a:close/>
                <a:moveTo>
                  <a:pt x="11954881" y="4260087"/>
                </a:moveTo>
                <a:cubicBezTo>
                  <a:pt x="11959202" y="4260087"/>
                  <a:pt x="11963428" y="4261202"/>
                  <a:pt x="11967558" y="4263431"/>
                </a:cubicBezTo>
                <a:cubicBezTo>
                  <a:pt x="11971688" y="4265660"/>
                  <a:pt x="11974909" y="4268847"/>
                  <a:pt x="11977220" y="4272990"/>
                </a:cubicBezTo>
                <a:cubicBezTo>
                  <a:pt x="11979531" y="4277134"/>
                  <a:pt x="11980687" y="4281449"/>
                  <a:pt x="11980687" y="4285934"/>
                </a:cubicBezTo>
                <a:cubicBezTo>
                  <a:pt x="11980687" y="4290393"/>
                  <a:pt x="11979552" y="4294667"/>
                  <a:pt x="11977282" y="4298755"/>
                </a:cubicBezTo>
                <a:cubicBezTo>
                  <a:pt x="11975012" y="4302845"/>
                  <a:pt x="11971825" y="4306031"/>
                  <a:pt x="11967722" y="4308315"/>
                </a:cubicBezTo>
                <a:cubicBezTo>
                  <a:pt x="11963619" y="4310599"/>
                  <a:pt x="11959339" y="4311741"/>
                  <a:pt x="11954881" y="4311741"/>
                </a:cubicBezTo>
                <a:cubicBezTo>
                  <a:pt x="11950422" y="4311741"/>
                  <a:pt x="11946142" y="4310599"/>
                  <a:pt x="11942039" y="4308315"/>
                </a:cubicBezTo>
                <a:cubicBezTo>
                  <a:pt x="11937936" y="4306031"/>
                  <a:pt x="11934742" y="4302845"/>
                  <a:pt x="11932459" y="4298755"/>
                </a:cubicBezTo>
                <a:cubicBezTo>
                  <a:pt x="11930175" y="4294667"/>
                  <a:pt x="11929033" y="4290393"/>
                  <a:pt x="11929033" y="4285934"/>
                </a:cubicBezTo>
                <a:cubicBezTo>
                  <a:pt x="11929033" y="4281449"/>
                  <a:pt x="11930195" y="4277134"/>
                  <a:pt x="11932521" y="4272990"/>
                </a:cubicBezTo>
                <a:cubicBezTo>
                  <a:pt x="11934846" y="4268847"/>
                  <a:pt x="11938066" y="4265660"/>
                  <a:pt x="11942183" y="4263431"/>
                </a:cubicBezTo>
                <a:cubicBezTo>
                  <a:pt x="11946299" y="4261202"/>
                  <a:pt x="11950532" y="4260087"/>
                  <a:pt x="11954881" y="4260087"/>
                </a:cubicBezTo>
                <a:close/>
                <a:moveTo>
                  <a:pt x="11954881" y="4254959"/>
                </a:moveTo>
                <a:cubicBezTo>
                  <a:pt x="11949684" y="4254959"/>
                  <a:pt x="11944610" y="4256292"/>
                  <a:pt x="11939660" y="4258959"/>
                </a:cubicBezTo>
                <a:cubicBezTo>
                  <a:pt x="11934709" y="4261625"/>
                  <a:pt x="11930845" y="4265441"/>
                  <a:pt x="11928069" y="4270406"/>
                </a:cubicBezTo>
                <a:cubicBezTo>
                  <a:pt x="11925293" y="4275369"/>
                  <a:pt x="11923904" y="4280546"/>
                  <a:pt x="11923904" y="4285934"/>
                </a:cubicBezTo>
                <a:cubicBezTo>
                  <a:pt x="11923904" y="4291268"/>
                  <a:pt x="11925272" y="4296397"/>
                  <a:pt x="11928007" y="4301320"/>
                </a:cubicBezTo>
                <a:cubicBezTo>
                  <a:pt x="11930743" y="4306243"/>
                  <a:pt x="11934565" y="4310066"/>
                  <a:pt x="11939474" y="4312787"/>
                </a:cubicBezTo>
                <a:cubicBezTo>
                  <a:pt x="11944385" y="4315508"/>
                  <a:pt x="11949519" y="4316869"/>
                  <a:pt x="11954881" y="4316869"/>
                </a:cubicBezTo>
                <a:cubicBezTo>
                  <a:pt x="11960242" y="4316869"/>
                  <a:pt x="11965376" y="4315508"/>
                  <a:pt x="11970287" y="4312787"/>
                </a:cubicBezTo>
                <a:cubicBezTo>
                  <a:pt x="11975196" y="4310066"/>
                  <a:pt x="11979011" y="4306243"/>
                  <a:pt x="11981733" y="4301320"/>
                </a:cubicBezTo>
                <a:cubicBezTo>
                  <a:pt x="11984454" y="4296397"/>
                  <a:pt x="11985815" y="4291268"/>
                  <a:pt x="11985815" y="4285934"/>
                </a:cubicBezTo>
                <a:cubicBezTo>
                  <a:pt x="11985815" y="4280546"/>
                  <a:pt x="11984434" y="4275369"/>
                  <a:pt x="11981671" y="4270406"/>
                </a:cubicBezTo>
                <a:cubicBezTo>
                  <a:pt x="11978909" y="4265441"/>
                  <a:pt x="11975052" y="4261625"/>
                  <a:pt x="11970101" y="4258959"/>
                </a:cubicBezTo>
                <a:cubicBezTo>
                  <a:pt x="11965151" y="4256292"/>
                  <a:pt x="11960077" y="4254959"/>
                  <a:pt x="11954881" y="4254959"/>
                </a:cubicBezTo>
                <a:close/>
                <a:moveTo>
                  <a:pt x="11091685" y="4225507"/>
                </a:moveTo>
                <a:cubicBezTo>
                  <a:pt x="11109123" y="4225507"/>
                  <a:pt x="11123259" y="4243553"/>
                  <a:pt x="11123259" y="4265814"/>
                </a:cubicBezTo>
                <a:cubicBezTo>
                  <a:pt x="11123259" y="4288075"/>
                  <a:pt x="11109123" y="4306120"/>
                  <a:pt x="11091685" y="4306120"/>
                </a:cubicBezTo>
                <a:cubicBezTo>
                  <a:pt x="11074247" y="4306120"/>
                  <a:pt x="11060111" y="4288075"/>
                  <a:pt x="11060111" y="4265814"/>
                </a:cubicBezTo>
                <a:cubicBezTo>
                  <a:pt x="11060111" y="4243553"/>
                  <a:pt x="11074247" y="4225507"/>
                  <a:pt x="11091685" y="4225507"/>
                </a:cubicBezTo>
                <a:close/>
                <a:moveTo>
                  <a:pt x="10781998" y="4225507"/>
                </a:moveTo>
                <a:cubicBezTo>
                  <a:pt x="10797580" y="4225507"/>
                  <a:pt x="10810212" y="4243553"/>
                  <a:pt x="10810212" y="4265814"/>
                </a:cubicBezTo>
                <a:cubicBezTo>
                  <a:pt x="10810212" y="4288075"/>
                  <a:pt x="10797580" y="4306120"/>
                  <a:pt x="10781998" y="4306120"/>
                </a:cubicBezTo>
                <a:cubicBezTo>
                  <a:pt x="10766415" y="4306120"/>
                  <a:pt x="10753783" y="4288075"/>
                  <a:pt x="10753783" y="4265814"/>
                </a:cubicBezTo>
                <a:cubicBezTo>
                  <a:pt x="10753783" y="4243553"/>
                  <a:pt x="10766415" y="4225507"/>
                  <a:pt x="10781998" y="4225507"/>
                </a:cubicBezTo>
                <a:close/>
                <a:moveTo>
                  <a:pt x="10469622" y="4225507"/>
                </a:moveTo>
                <a:cubicBezTo>
                  <a:pt x="10487060" y="4225507"/>
                  <a:pt x="10501196" y="4243553"/>
                  <a:pt x="10501196" y="4265814"/>
                </a:cubicBezTo>
                <a:cubicBezTo>
                  <a:pt x="10501196" y="4288075"/>
                  <a:pt x="10487060" y="4306120"/>
                  <a:pt x="10469622" y="4306120"/>
                </a:cubicBezTo>
                <a:cubicBezTo>
                  <a:pt x="10452185" y="4306120"/>
                  <a:pt x="10438048" y="4288075"/>
                  <a:pt x="10438048" y="4265814"/>
                </a:cubicBezTo>
                <a:cubicBezTo>
                  <a:pt x="10438048" y="4243553"/>
                  <a:pt x="10452185" y="4225507"/>
                  <a:pt x="10469622" y="4225507"/>
                </a:cubicBezTo>
                <a:close/>
                <a:moveTo>
                  <a:pt x="11014562" y="4220260"/>
                </a:moveTo>
                <a:lnTo>
                  <a:pt x="11014562" y="4316220"/>
                </a:lnTo>
                <a:lnTo>
                  <a:pt x="11026851" y="4316220"/>
                </a:lnTo>
                <a:lnTo>
                  <a:pt x="11026851" y="4220260"/>
                </a:lnTo>
                <a:close/>
                <a:moveTo>
                  <a:pt x="11158189" y="4218790"/>
                </a:moveTo>
                <a:cubicBezTo>
                  <a:pt x="11158189" y="4225756"/>
                  <a:pt x="11158189" y="4236206"/>
                  <a:pt x="11158189" y="4243173"/>
                </a:cubicBezTo>
                <a:lnTo>
                  <a:pt x="11158189" y="4312838"/>
                </a:lnTo>
                <a:cubicBezTo>
                  <a:pt x="11158189" y="4312838"/>
                  <a:pt x="11158189" y="4312838"/>
                  <a:pt x="11172009" y="4312838"/>
                </a:cubicBezTo>
                <a:cubicBezTo>
                  <a:pt x="11172009" y="4312838"/>
                  <a:pt x="11172009" y="4312838"/>
                  <a:pt x="11172009" y="4260589"/>
                </a:cubicBezTo>
                <a:cubicBezTo>
                  <a:pt x="11172009" y="4246656"/>
                  <a:pt x="11178918" y="4225756"/>
                  <a:pt x="11199648" y="4225756"/>
                </a:cubicBezTo>
                <a:cubicBezTo>
                  <a:pt x="11213466" y="4225756"/>
                  <a:pt x="11220377" y="4239689"/>
                  <a:pt x="11220377" y="4257106"/>
                </a:cubicBezTo>
                <a:cubicBezTo>
                  <a:pt x="11220377" y="4257106"/>
                  <a:pt x="11220377" y="4257106"/>
                  <a:pt x="11220377" y="4312838"/>
                </a:cubicBezTo>
                <a:cubicBezTo>
                  <a:pt x="11220377" y="4312838"/>
                  <a:pt x="11220377" y="4312838"/>
                  <a:pt x="11230741" y="4312838"/>
                </a:cubicBezTo>
                <a:cubicBezTo>
                  <a:pt x="11230741" y="4312838"/>
                  <a:pt x="11230741" y="4312838"/>
                  <a:pt x="11230741" y="4253622"/>
                </a:cubicBezTo>
                <a:cubicBezTo>
                  <a:pt x="11230741" y="4232723"/>
                  <a:pt x="11223831" y="4218790"/>
                  <a:pt x="11199648" y="4218790"/>
                </a:cubicBezTo>
                <a:cubicBezTo>
                  <a:pt x="11182373" y="4218790"/>
                  <a:pt x="11175464" y="4229239"/>
                  <a:pt x="11168554" y="4236206"/>
                </a:cubicBezTo>
                <a:cubicBezTo>
                  <a:pt x="11168554" y="4236206"/>
                  <a:pt x="11168554" y="4236206"/>
                  <a:pt x="11168554" y="4218790"/>
                </a:cubicBezTo>
                <a:cubicBezTo>
                  <a:pt x="11168554" y="4218790"/>
                  <a:pt x="11168554" y="4218790"/>
                  <a:pt x="11158189" y="4218790"/>
                </a:cubicBezTo>
                <a:close/>
                <a:moveTo>
                  <a:pt x="11088997" y="4218790"/>
                </a:moveTo>
                <a:cubicBezTo>
                  <a:pt x="11064881" y="4218790"/>
                  <a:pt x="11045332" y="4240745"/>
                  <a:pt x="11045332" y="4267830"/>
                </a:cubicBezTo>
                <a:cubicBezTo>
                  <a:pt x="11045332" y="4294914"/>
                  <a:pt x="11064881" y="4316869"/>
                  <a:pt x="11088997" y="4316869"/>
                </a:cubicBezTo>
                <a:cubicBezTo>
                  <a:pt x="11113113" y="4316869"/>
                  <a:pt x="11132662" y="4294914"/>
                  <a:pt x="11132662" y="4267830"/>
                </a:cubicBezTo>
                <a:cubicBezTo>
                  <a:pt x="11132662" y="4240745"/>
                  <a:pt x="11113113" y="4218790"/>
                  <a:pt x="11088997" y="4218790"/>
                </a:cubicBezTo>
                <a:close/>
                <a:moveTo>
                  <a:pt x="10883851" y="4218790"/>
                </a:moveTo>
                <a:cubicBezTo>
                  <a:pt x="10876813" y="4218790"/>
                  <a:pt x="10862738" y="4218790"/>
                  <a:pt x="10855700" y="4222293"/>
                </a:cubicBezTo>
                <a:cubicBezTo>
                  <a:pt x="10855700" y="4222293"/>
                  <a:pt x="10855700" y="4222293"/>
                  <a:pt x="10855700" y="4236304"/>
                </a:cubicBezTo>
                <a:cubicBezTo>
                  <a:pt x="10866257" y="4229299"/>
                  <a:pt x="10873294" y="4225796"/>
                  <a:pt x="10883851" y="4225796"/>
                </a:cubicBezTo>
                <a:cubicBezTo>
                  <a:pt x="10901445" y="4225796"/>
                  <a:pt x="10904964" y="4236304"/>
                  <a:pt x="10904964" y="4250316"/>
                </a:cubicBezTo>
                <a:cubicBezTo>
                  <a:pt x="10904964" y="4250316"/>
                  <a:pt x="10904964" y="4250316"/>
                  <a:pt x="10904964" y="4257321"/>
                </a:cubicBezTo>
                <a:cubicBezTo>
                  <a:pt x="10880332" y="4257321"/>
                  <a:pt x="10845144" y="4257321"/>
                  <a:pt x="10845144" y="4288846"/>
                </a:cubicBezTo>
                <a:cubicBezTo>
                  <a:pt x="10845144" y="4299355"/>
                  <a:pt x="10848663" y="4316869"/>
                  <a:pt x="10876813" y="4316869"/>
                </a:cubicBezTo>
                <a:cubicBezTo>
                  <a:pt x="10887370" y="4316869"/>
                  <a:pt x="10901445" y="4309863"/>
                  <a:pt x="10904964" y="4299355"/>
                </a:cubicBezTo>
                <a:cubicBezTo>
                  <a:pt x="10904964" y="4299355"/>
                  <a:pt x="10904964" y="4299355"/>
                  <a:pt x="10908483" y="4299355"/>
                </a:cubicBezTo>
                <a:lnTo>
                  <a:pt x="10908483" y="4313366"/>
                </a:lnTo>
                <a:cubicBezTo>
                  <a:pt x="10908483" y="4313366"/>
                  <a:pt x="10908483" y="4313366"/>
                  <a:pt x="10919039" y="4313366"/>
                </a:cubicBezTo>
                <a:cubicBezTo>
                  <a:pt x="10919039" y="4309863"/>
                  <a:pt x="10919039" y="4302858"/>
                  <a:pt x="10919039" y="4295852"/>
                </a:cubicBezTo>
                <a:cubicBezTo>
                  <a:pt x="10919039" y="4295852"/>
                  <a:pt x="10919039" y="4295852"/>
                  <a:pt x="10919039" y="4253819"/>
                </a:cubicBezTo>
                <a:cubicBezTo>
                  <a:pt x="10919039" y="4229299"/>
                  <a:pt x="10908483" y="4218790"/>
                  <a:pt x="10883851" y="4218790"/>
                </a:cubicBezTo>
                <a:close/>
                <a:moveTo>
                  <a:pt x="10642268" y="4218790"/>
                </a:moveTo>
                <a:cubicBezTo>
                  <a:pt x="10642268" y="4225756"/>
                  <a:pt x="10642268" y="4236206"/>
                  <a:pt x="10642268" y="4243173"/>
                </a:cubicBezTo>
                <a:lnTo>
                  <a:pt x="10642268" y="4312838"/>
                </a:lnTo>
                <a:cubicBezTo>
                  <a:pt x="10642268" y="4312838"/>
                  <a:pt x="10642268" y="4312838"/>
                  <a:pt x="10656343" y="4312838"/>
                </a:cubicBezTo>
                <a:cubicBezTo>
                  <a:pt x="10656343" y="4312838"/>
                  <a:pt x="10656343" y="4312838"/>
                  <a:pt x="10656343" y="4260589"/>
                </a:cubicBezTo>
                <a:cubicBezTo>
                  <a:pt x="10656343" y="4246656"/>
                  <a:pt x="10663381" y="4225756"/>
                  <a:pt x="10684494" y="4225756"/>
                </a:cubicBezTo>
                <a:cubicBezTo>
                  <a:pt x="10698569" y="4225756"/>
                  <a:pt x="10705607" y="4239689"/>
                  <a:pt x="10705607" y="4257106"/>
                </a:cubicBezTo>
                <a:cubicBezTo>
                  <a:pt x="10705607" y="4257106"/>
                  <a:pt x="10705607" y="4257106"/>
                  <a:pt x="10705607" y="4312838"/>
                </a:cubicBezTo>
                <a:cubicBezTo>
                  <a:pt x="10705607" y="4312838"/>
                  <a:pt x="10705607" y="4312838"/>
                  <a:pt x="10716163" y="4312838"/>
                </a:cubicBezTo>
                <a:cubicBezTo>
                  <a:pt x="10716163" y="4312838"/>
                  <a:pt x="10716163" y="4312838"/>
                  <a:pt x="10716163" y="4253622"/>
                </a:cubicBezTo>
                <a:cubicBezTo>
                  <a:pt x="10716163" y="4232723"/>
                  <a:pt x="10709125" y="4218790"/>
                  <a:pt x="10684494" y="4218790"/>
                </a:cubicBezTo>
                <a:cubicBezTo>
                  <a:pt x="10666900" y="4218790"/>
                  <a:pt x="10659862" y="4229239"/>
                  <a:pt x="10652824" y="4236206"/>
                </a:cubicBezTo>
                <a:cubicBezTo>
                  <a:pt x="10652824" y="4236206"/>
                  <a:pt x="10652824" y="4236206"/>
                  <a:pt x="10652824" y="4218790"/>
                </a:cubicBezTo>
                <a:cubicBezTo>
                  <a:pt x="10652824" y="4218790"/>
                  <a:pt x="10652824" y="4218790"/>
                  <a:pt x="10642268" y="4218790"/>
                </a:cubicBezTo>
                <a:close/>
                <a:moveTo>
                  <a:pt x="10540159" y="4218790"/>
                </a:moveTo>
                <a:cubicBezTo>
                  <a:pt x="10540159" y="4218790"/>
                  <a:pt x="10540159" y="4218790"/>
                  <a:pt x="10540159" y="4281840"/>
                </a:cubicBezTo>
                <a:cubicBezTo>
                  <a:pt x="10540159" y="4302858"/>
                  <a:pt x="10547196" y="4316869"/>
                  <a:pt x="10571828" y="4316869"/>
                </a:cubicBezTo>
                <a:cubicBezTo>
                  <a:pt x="10589422" y="4316869"/>
                  <a:pt x="10596460" y="4306360"/>
                  <a:pt x="10603498" y="4299355"/>
                </a:cubicBezTo>
                <a:cubicBezTo>
                  <a:pt x="10603498" y="4299355"/>
                  <a:pt x="10603498" y="4299355"/>
                  <a:pt x="10603498" y="4313366"/>
                </a:cubicBezTo>
                <a:cubicBezTo>
                  <a:pt x="10603498" y="4313366"/>
                  <a:pt x="10603498" y="4313366"/>
                  <a:pt x="10614054" y="4313366"/>
                </a:cubicBezTo>
                <a:cubicBezTo>
                  <a:pt x="10614054" y="4306360"/>
                  <a:pt x="10614054" y="4299355"/>
                  <a:pt x="10614054" y="4292349"/>
                </a:cubicBezTo>
                <a:lnTo>
                  <a:pt x="10614054" y="4218790"/>
                </a:lnTo>
                <a:cubicBezTo>
                  <a:pt x="10614054" y="4218790"/>
                  <a:pt x="10614054" y="4218790"/>
                  <a:pt x="10599979" y="4218790"/>
                </a:cubicBezTo>
                <a:cubicBezTo>
                  <a:pt x="10599979" y="4218790"/>
                  <a:pt x="10599979" y="4218790"/>
                  <a:pt x="10599979" y="4271332"/>
                </a:cubicBezTo>
                <a:cubicBezTo>
                  <a:pt x="10599979" y="4288846"/>
                  <a:pt x="10592941" y="4306360"/>
                  <a:pt x="10571828" y="4306360"/>
                </a:cubicBezTo>
                <a:cubicBezTo>
                  <a:pt x="10557753" y="4306360"/>
                  <a:pt x="10550715" y="4295852"/>
                  <a:pt x="10550715" y="4278338"/>
                </a:cubicBezTo>
                <a:cubicBezTo>
                  <a:pt x="10550715" y="4278338"/>
                  <a:pt x="10550715" y="4278338"/>
                  <a:pt x="10550715" y="4218790"/>
                </a:cubicBezTo>
                <a:cubicBezTo>
                  <a:pt x="10550715" y="4218790"/>
                  <a:pt x="10550715" y="4218790"/>
                  <a:pt x="10540159" y="4218790"/>
                </a:cubicBezTo>
                <a:close/>
                <a:moveTo>
                  <a:pt x="10471637" y="4218790"/>
                </a:moveTo>
                <a:cubicBezTo>
                  <a:pt x="10447151" y="4218790"/>
                  <a:pt x="10427300" y="4240745"/>
                  <a:pt x="10427300" y="4267830"/>
                </a:cubicBezTo>
                <a:cubicBezTo>
                  <a:pt x="10427300" y="4294914"/>
                  <a:pt x="10447151" y="4316869"/>
                  <a:pt x="10471637" y="4316869"/>
                </a:cubicBezTo>
                <a:cubicBezTo>
                  <a:pt x="10496124" y="4316869"/>
                  <a:pt x="10515975" y="4294914"/>
                  <a:pt x="10515975" y="4267830"/>
                </a:cubicBezTo>
                <a:cubicBezTo>
                  <a:pt x="10515975" y="4240745"/>
                  <a:pt x="10496124" y="4218790"/>
                  <a:pt x="10471637" y="4218790"/>
                </a:cubicBezTo>
                <a:close/>
                <a:moveTo>
                  <a:pt x="11655303" y="4204011"/>
                </a:moveTo>
                <a:lnTo>
                  <a:pt x="11659333" y="4214760"/>
                </a:lnTo>
                <a:lnTo>
                  <a:pt x="11663364" y="4221478"/>
                </a:lnTo>
                <a:lnTo>
                  <a:pt x="11648585" y="4221478"/>
                </a:lnTo>
                <a:lnTo>
                  <a:pt x="11652616" y="4214760"/>
                </a:lnTo>
                <a:close/>
                <a:moveTo>
                  <a:pt x="11659446" y="4193263"/>
                </a:moveTo>
                <a:cubicBezTo>
                  <a:pt x="11659446" y="4193263"/>
                  <a:pt x="11659446" y="4193263"/>
                  <a:pt x="11649032" y="4196777"/>
                </a:cubicBezTo>
                <a:cubicBezTo>
                  <a:pt x="11649032" y="4196777"/>
                  <a:pt x="11649032" y="4196777"/>
                  <a:pt x="11645562" y="4214347"/>
                </a:cubicBezTo>
                <a:cubicBezTo>
                  <a:pt x="11645562" y="4214347"/>
                  <a:pt x="11645562" y="4214347"/>
                  <a:pt x="11635149" y="4235429"/>
                </a:cubicBezTo>
                <a:cubicBezTo>
                  <a:pt x="11638620" y="4235429"/>
                  <a:pt x="11642091" y="4235429"/>
                  <a:pt x="11645562" y="4238943"/>
                </a:cubicBezTo>
                <a:cubicBezTo>
                  <a:pt x="11645562" y="4238943"/>
                  <a:pt x="11645562" y="4238943"/>
                  <a:pt x="11645562" y="4228402"/>
                </a:cubicBezTo>
                <a:cubicBezTo>
                  <a:pt x="11645562" y="4228402"/>
                  <a:pt x="11645562" y="4228402"/>
                  <a:pt x="11666387" y="4228402"/>
                </a:cubicBezTo>
                <a:cubicBezTo>
                  <a:pt x="11666387" y="4228402"/>
                  <a:pt x="11666387" y="4228402"/>
                  <a:pt x="11666387" y="4235429"/>
                </a:cubicBezTo>
                <a:cubicBezTo>
                  <a:pt x="11669858" y="4235429"/>
                  <a:pt x="11673329" y="4235429"/>
                  <a:pt x="11676800" y="4235429"/>
                </a:cubicBezTo>
                <a:cubicBezTo>
                  <a:pt x="11676800" y="4235429"/>
                  <a:pt x="11676800" y="4235429"/>
                  <a:pt x="11666387" y="4214347"/>
                </a:cubicBezTo>
                <a:lnTo>
                  <a:pt x="11659446" y="4196777"/>
                </a:lnTo>
                <a:cubicBezTo>
                  <a:pt x="11659446" y="4196777"/>
                  <a:pt x="11659446" y="4196777"/>
                  <a:pt x="11659446" y="4193263"/>
                </a:cubicBezTo>
                <a:close/>
                <a:moveTo>
                  <a:pt x="10964451" y="4193262"/>
                </a:moveTo>
                <a:cubicBezTo>
                  <a:pt x="10964451" y="4193262"/>
                  <a:pt x="10964451" y="4193262"/>
                  <a:pt x="10953971" y="4196794"/>
                </a:cubicBezTo>
                <a:cubicBezTo>
                  <a:pt x="10953971" y="4196794"/>
                  <a:pt x="10953971" y="4196794"/>
                  <a:pt x="10953971" y="4217983"/>
                </a:cubicBezTo>
                <a:cubicBezTo>
                  <a:pt x="10953971" y="4217983"/>
                  <a:pt x="10953971" y="4217983"/>
                  <a:pt x="10936505" y="4217983"/>
                </a:cubicBezTo>
                <a:cubicBezTo>
                  <a:pt x="10936505" y="4217983"/>
                  <a:pt x="10936505" y="4217983"/>
                  <a:pt x="10936505" y="4228578"/>
                </a:cubicBezTo>
                <a:cubicBezTo>
                  <a:pt x="10936505" y="4228578"/>
                  <a:pt x="10936505" y="4228578"/>
                  <a:pt x="10953971" y="4228578"/>
                </a:cubicBezTo>
                <a:cubicBezTo>
                  <a:pt x="10953971" y="4228578"/>
                  <a:pt x="10953971" y="4228578"/>
                  <a:pt x="10953971" y="4285084"/>
                </a:cubicBezTo>
                <a:cubicBezTo>
                  <a:pt x="10953971" y="4302742"/>
                  <a:pt x="10953971" y="4316868"/>
                  <a:pt x="10974931" y="4316868"/>
                </a:cubicBezTo>
                <a:cubicBezTo>
                  <a:pt x="10981917" y="4316868"/>
                  <a:pt x="10985410" y="4316868"/>
                  <a:pt x="10988904" y="4313337"/>
                </a:cubicBezTo>
                <a:cubicBezTo>
                  <a:pt x="10988904" y="4313337"/>
                  <a:pt x="10988904" y="4313337"/>
                  <a:pt x="10988904" y="4302742"/>
                </a:cubicBezTo>
                <a:cubicBezTo>
                  <a:pt x="10985410" y="4306273"/>
                  <a:pt x="10981917" y="4306273"/>
                  <a:pt x="10978424" y="4306273"/>
                </a:cubicBezTo>
                <a:cubicBezTo>
                  <a:pt x="10967944" y="4306273"/>
                  <a:pt x="10964451" y="4299211"/>
                  <a:pt x="10964451" y="4292147"/>
                </a:cubicBezTo>
                <a:cubicBezTo>
                  <a:pt x="10964451" y="4292147"/>
                  <a:pt x="10964451" y="4292147"/>
                  <a:pt x="10964451" y="4228578"/>
                </a:cubicBezTo>
                <a:cubicBezTo>
                  <a:pt x="10964451" y="4228578"/>
                  <a:pt x="10964451" y="4228578"/>
                  <a:pt x="10985410" y="4228578"/>
                </a:cubicBezTo>
                <a:lnTo>
                  <a:pt x="10985410" y="4217983"/>
                </a:lnTo>
                <a:cubicBezTo>
                  <a:pt x="10985410" y="4217983"/>
                  <a:pt x="10985410" y="4217983"/>
                  <a:pt x="10964451" y="4217983"/>
                </a:cubicBezTo>
                <a:cubicBezTo>
                  <a:pt x="10964451" y="4217983"/>
                  <a:pt x="10964451" y="4217983"/>
                  <a:pt x="10964451" y="4193262"/>
                </a:cubicBezTo>
                <a:close/>
                <a:moveTo>
                  <a:pt x="11599881" y="4190576"/>
                </a:moveTo>
                <a:cubicBezTo>
                  <a:pt x="11589469" y="4232742"/>
                  <a:pt x="11589469" y="4232742"/>
                  <a:pt x="11589469" y="4232742"/>
                </a:cubicBezTo>
                <a:cubicBezTo>
                  <a:pt x="11592940" y="4232742"/>
                  <a:pt x="11596410" y="4232742"/>
                  <a:pt x="11599881" y="4232742"/>
                </a:cubicBezTo>
                <a:cubicBezTo>
                  <a:pt x="11603352" y="4208146"/>
                  <a:pt x="11603352" y="4208146"/>
                  <a:pt x="11603352" y="4208146"/>
                </a:cubicBezTo>
                <a:cubicBezTo>
                  <a:pt x="11617236" y="4236256"/>
                  <a:pt x="11617236" y="4236256"/>
                  <a:pt x="11617236" y="4236256"/>
                </a:cubicBezTo>
                <a:cubicBezTo>
                  <a:pt x="11620707" y="4236256"/>
                  <a:pt x="11624178" y="4236256"/>
                  <a:pt x="11624178" y="4236256"/>
                </a:cubicBezTo>
                <a:cubicBezTo>
                  <a:pt x="11631119" y="4194090"/>
                  <a:pt x="11631119" y="4194090"/>
                  <a:pt x="11631119" y="4194090"/>
                </a:cubicBezTo>
                <a:cubicBezTo>
                  <a:pt x="11627648" y="4194090"/>
                  <a:pt x="11624178" y="4194090"/>
                  <a:pt x="11624178" y="4194090"/>
                </a:cubicBezTo>
                <a:cubicBezTo>
                  <a:pt x="11620707" y="4222201"/>
                  <a:pt x="11620707" y="4222201"/>
                  <a:pt x="11620707" y="4222201"/>
                </a:cubicBezTo>
                <a:cubicBezTo>
                  <a:pt x="11606824" y="4190576"/>
                  <a:pt x="11606824" y="4190576"/>
                  <a:pt x="11606824" y="4190576"/>
                </a:cubicBezTo>
                <a:cubicBezTo>
                  <a:pt x="11603352" y="4190576"/>
                  <a:pt x="11603352" y="4190576"/>
                  <a:pt x="11599881" y="4190576"/>
                </a:cubicBezTo>
                <a:close/>
                <a:moveTo>
                  <a:pt x="11709044" y="4186546"/>
                </a:moveTo>
                <a:cubicBezTo>
                  <a:pt x="11695071" y="4190097"/>
                  <a:pt x="11684592" y="4193647"/>
                  <a:pt x="11674112" y="4193647"/>
                </a:cubicBezTo>
                <a:cubicBezTo>
                  <a:pt x="11674112" y="4200749"/>
                  <a:pt x="11674112" y="4200749"/>
                  <a:pt x="11674112" y="4200749"/>
                </a:cubicBezTo>
                <a:cubicBezTo>
                  <a:pt x="11681098" y="4200749"/>
                  <a:pt x="11684592" y="4200749"/>
                  <a:pt x="11688084" y="4200749"/>
                </a:cubicBezTo>
                <a:cubicBezTo>
                  <a:pt x="11695071" y="4236257"/>
                  <a:pt x="11695071" y="4236257"/>
                  <a:pt x="11695071" y="4236257"/>
                </a:cubicBezTo>
                <a:cubicBezTo>
                  <a:pt x="11702057" y="4232706"/>
                  <a:pt x="11702057" y="4232706"/>
                  <a:pt x="11702057" y="4232706"/>
                </a:cubicBezTo>
                <a:cubicBezTo>
                  <a:pt x="11695071" y="4197198"/>
                  <a:pt x="11695071" y="4197198"/>
                  <a:pt x="11695071" y="4197198"/>
                </a:cubicBezTo>
                <a:cubicBezTo>
                  <a:pt x="11702057" y="4197198"/>
                  <a:pt x="11705551" y="4197198"/>
                  <a:pt x="11709044" y="4193647"/>
                </a:cubicBezTo>
                <a:close/>
                <a:moveTo>
                  <a:pt x="11564748" y="4186546"/>
                </a:moveTo>
                <a:cubicBezTo>
                  <a:pt x="11564748" y="4186546"/>
                  <a:pt x="11564748" y="4186546"/>
                  <a:pt x="11575228" y="4189905"/>
                </a:cubicBezTo>
                <a:cubicBezTo>
                  <a:pt x="11578720" y="4189905"/>
                  <a:pt x="11578720" y="4193264"/>
                  <a:pt x="11578720" y="4193264"/>
                </a:cubicBezTo>
                <a:cubicBezTo>
                  <a:pt x="11578720" y="4193264"/>
                  <a:pt x="11578720" y="4196622"/>
                  <a:pt x="11578720" y="4196622"/>
                </a:cubicBezTo>
                <a:cubicBezTo>
                  <a:pt x="11578720" y="4196622"/>
                  <a:pt x="11575228" y="4199981"/>
                  <a:pt x="11571734" y="4199981"/>
                </a:cubicBezTo>
                <a:cubicBezTo>
                  <a:pt x="11571734" y="4199981"/>
                  <a:pt x="11571734" y="4199981"/>
                  <a:pt x="11561254" y="4196622"/>
                </a:cubicBezTo>
                <a:cubicBezTo>
                  <a:pt x="11561254" y="4196622"/>
                  <a:pt x="11561254" y="4196622"/>
                  <a:pt x="11564748" y="4193264"/>
                </a:cubicBezTo>
                <a:cubicBezTo>
                  <a:pt x="11564748" y="4193264"/>
                  <a:pt x="11564748" y="4193264"/>
                  <a:pt x="11564748" y="4186546"/>
                </a:cubicBezTo>
                <a:close/>
                <a:moveTo>
                  <a:pt x="11014562" y="4184660"/>
                </a:moveTo>
                <a:lnTo>
                  <a:pt x="11014562" y="4198354"/>
                </a:lnTo>
                <a:lnTo>
                  <a:pt x="11026851" y="4198354"/>
                </a:lnTo>
                <a:lnTo>
                  <a:pt x="11026851" y="4184660"/>
                </a:lnTo>
                <a:close/>
                <a:moveTo>
                  <a:pt x="11715762" y="4182514"/>
                </a:moveTo>
                <a:cubicBezTo>
                  <a:pt x="11729582" y="4225508"/>
                  <a:pt x="11729582" y="4225508"/>
                  <a:pt x="11729582" y="4225508"/>
                </a:cubicBezTo>
                <a:cubicBezTo>
                  <a:pt x="11733036" y="4221925"/>
                  <a:pt x="11736491" y="4221925"/>
                  <a:pt x="11739946" y="4221925"/>
                </a:cubicBezTo>
                <a:cubicBezTo>
                  <a:pt x="11726127" y="4182514"/>
                  <a:pt x="11726127" y="4182514"/>
                  <a:pt x="11726127" y="4182514"/>
                </a:cubicBezTo>
                <a:cubicBezTo>
                  <a:pt x="11722671" y="4182514"/>
                  <a:pt x="11719217" y="4182514"/>
                  <a:pt x="11715762" y="4182514"/>
                </a:cubicBezTo>
                <a:close/>
                <a:moveTo>
                  <a:pt x="10346688" y="4182514"/>
                </a:moveTo>
                <a:lnTo>
                  <a:pt x="10346688" y="4312838"/>
                </a:lnTo>
                <a:lnTo>
                  <a:pt x="10361467" y="4312838"/>
                </a:lnTo>
                <a:lnTo>
                  <a:pt x="10361467" y="4253722"/>
                </a:lnTo>
                <a:lnTo>
                  <a:pt x="10407148" y="4253722"/>
                </a:lnTo>
                <a:lnTo>
                  <a:pt x="10407148" y="4242974"/>
                </a:lnTo>
                <a:lnTo>
                  <a:pt x="10361467" y="4242974"/>
                </a:lnTo>
                <a:lnTo>
                  <a:pt x="10361467" y="4193262"/>
                </a:lnTo>
                <a:lnTo>
                  <a:pt x="10409835" y="4193262"/>
                </a:lnTo>
                <a:lnTo>
                  <a:pt x="10409835" y="4182514"/>
                </a:lnTo>
                <a:close/>
                <a:moveTo>
                  <a:pt x="11561143" y="4175797"/>
                </a:moveTo>
                <a:cubicBezTo>
                  <a:pt x="11561143" y="4175797"/>
                  <a:pt x="11561143" y="4175797"/>
                  <a:pt x="11554200" y="4193264"/>
                </a:cubicBezTo>
                <a:cubicBezTo>
                  <a:pt x="11554200" y="4193264"/>
                  <a:pt x="11554200" y="4193264"/>
                  <a:pt x="11554200" y="4196756"/>
                </a:cubicBezTo>
                <a:cubicBezTo>
                  <a:pt x="11554200" y="4196756"/>
                  <a:pt x="11554200" y="4196756"/>
                  <a:pt x="11543788" y="4214223"/>
                </a:cubicBezTo>
                <a:cubicBezTo>
                  <a:pt x="11547259" y="4217716"/>
                  <a:pt x="11550730" y="4217716"/>
                  <a:pt x="11554200" y="4217716"/>
                </a:cubicBezTo>
                <a:cubicBezTo>
                  <a:pt x="11554200" y="4217716"/>
                  <a:pt x="11554200" y="4217716"/>
                  <a:pt x="11557671" y="4203743"/>
                </a:cubicBezTo>
                <a:cubicBezTo>
                  <a:pt x="11557671" y="4203743"/>
                  <a:pt x="11557671" y="4203743"/>
                  <a:pt x="11568084" y="4207237"/>
                </a:cubicBezTo>
                <a:cubicBezTo>
                  <a:pt x="11568084" y="4207237"/>
                  <a:pt x="11568084" y="4207237"/>
                  <a:pt x="11568084" y="4224702"/>
                </a:cubicBezTo>
                <a:cubicBezTo>
                  <a:pt x="11571555" y="4224702"/>
                  <a:pt x="11575026" y="4228196"/>
                  <a:pt x="11578497" y="4228196"/>
                </a:cubicBezTo>
                <a:cubicBezTo>
                  <a:pt x="11578497" y="4228196"/>
                  <a:pt x="11578497" y="4228196"/>
                  <a:pt x="11575026" y="4207237"/>
                </a:cubicBezTo>
                <a:cubicBezTo>
                  <a:pt x="11581968" y="4207237"/>
                  <a:pt x="11585438" y="4200250"/>
                  <a:pt x="11585438" y="4196756"/>
                </a:cubicBezTo>
                <a:cubicBezTo>
                  <a:pt x="11585438" y="4196756"/>
                  <a:pt x="11585438" y="4193264"/>
                  <a:pt x="11585438" y="4193264"/>
                </a:cubicBezTo>
                <a:cubicBezTo>
                  <a:pt x="11585438" y="4189770"/>
                  <a:pt x="11585438" y="4186277"/>
                  <a:pt x="11578497" y="4182784"/>
                </a:cubicBezTo>
                <a:cubicBezTo>
                  <a:pt x="11578497" y="4182784"/>
                  <a:pt x="11578497" y="4182784"/>
                  <a:pt x="11561143" y="4175797"/>
                </a:cubicBezTo>
                <a:close/>
                <a:moveTo>
                  <a:pt x="11766241" y="4173090"/>
                </a:moveTo>
                <a:cubicBezTo>
                  <a:pt x="11769696" y="4173531"/>
                  <a:pt x="11773151" y="4175294"/>
                  <a:pt x="11774878" y="4178821"/>
                </a:cubicBezTo>
                <a:cubicBezTo>
                  <a:pt x="11774878" y="4182348"/>
                  <a:pt x="11774878" y="4185874"/>
                  <a:pt x="11774878" y="4185874"/>
                </a:cubicBezTo>
                <a:cubicBezTo>
                  <a:pt x="11774878" y="4189401"/>
                  <a:pt x="11774878" y="4192929"/>
                  <a:pt x="11771423" y="4196455"/>
                </a:cubicBezTo>
                <a:cubicBezTo>
                  <a:pt x="11771423" y="4196455"/>
                  <a:pt x="11771423" y="4196455"/>
                  <a:pt x="11767968" y="4199982"/>
                </a:cubicBezTo>
                <a:cubicBezTo>
                  <a:pt x="11764514" y="4199982"/>
                  <a:pt x="11757604" y="4199982"/>
                  <a:pt x="11754149" y="4196455"/>
                </a:cubicBezTo>
                <a:cubicBezTo>
                  <a:pt x="11750694" y="4196455"/>
                  <a:pt x="11750694" y="4192929"/>
                  <a:pt x="11750694" y="4192929"/>
                </a:cubicBezTo>
                <a:cubicBezTo>
                  <a:pt x="11750694" y="4192929"/>
                  <a:pt x="11750694" y="4189401"/>
                  <a:pt x="11750694" y="4185874"/>
                </a:cubicBezTo>
                <a:cubicBezTo>
                  <a:pt x="11750694" y="4182348"/>
                  <a:pt x="11750694" y="4178821"/>
                  <a:pt x="11757604" y="4175294"/>
                </a:cubicBezTo>
                <a:cubicBezTo>
                  <a:pt x="11759332" y="4173531"/>
                  <a:pt x="11762786" y="4172649"/>
                  <a:pt x="11766241" y="4173090"/>
                </a:cubicBezTo>
                <a:close/>
                <a:moveTo>
                  <a:pt x="10810738" y="4171765"/>
                </a:moveTo>
                <a:cubicBezTo>
                  <a:pt x="10810738" y="4171765"/>
                  <a:pt x="10810738" y="4171765"/>
                  <a:pt x="10810738" y="4235469"/>
                </a:cubicBezTo>
                <a:cubicBezTo>
                  <a:pt x="10810738" y="4228391"/>
                  <a:pt x="10800048" y="4217773"/>
                  <a:pt x="10782231" y="4217773"/>
                </a:cubicBezTo>
                <a:cubicBezTo>
                  <a:pt x="10753724" y="4217773"/>
                  <a:pt x="10743034" y="4239008"/>
                  <a:pt x="10743034" y="4267321"/>
                </a:cubicBezTo>
                <a:cubicBezTo>
                  <a:pt x="10743034" y="4295634"/>
                  <a:pt x="10753724" y="4316868"/>
                  <a:pt x="10782231" y="4316868"/>
                </a:cubicBezTo>
                <a:cubicBezTo>
                  <a:pt x="10796484" y="4316868"/>
                  <a:pt x="10803611" y="4313329"/>
                  <a:pt x="10810738" y="4299172"/>
                </a:cubicBezTo>
                <a:cubicBezTo>
                  <a:pt x="10810738" y="4299172"/>
                  <a:pt x="10810738" y="4299172"/>
                  <a:pt x="10810738" y="4313329"/>
                </a:cubicBezTo>
                <a:cubicBezTo>
                  <a:pt x="10810738" y="4313329"/>
                  <a:pt x="10810738" y="4313329"/>
                  <a:pt x="10824991" y="4313329"/>
                </a:cubicBezTo>
                <a:lnTo>
                  <a:pt x="10824991" y="4171765"/>
                </a:lnTo>
                <a:cubicBezTo>
                  <a:pt x="10824991" y="4171765"/>
                  <a:pt x="10824991" y="4171765"/>
                  <a:pt x="10810738" y="4171765"/>
                </a:cubicBezTo>
                <a:close/>
                <a:moveTo>
                  <a:pt x="11768161" y="4166249"/>
                </a:moveTo>
                <a:cubicBezTo>
                  <a:pt x="11762338" y="4164954"/>
                  <a:pt x="11756068" y="4165817"/>
                  <a:pt x="11750694" y="4169272"/>
                </a:cubicBezTo>
                <a:cubicBezTo>
                  <a:pt x="11743528" y="4172727"/>
                  <a:pt x="11739946" y="4179637"/>
                  <a:pt x="11739946" y="4186546"/>
                </a:cubicBezTo>
                <a:cubicBezTo>
                  <a:pt x="11739946" y="4190001"/>
                  <a:pt x="11743528" y="4193456"/>
                  <a:pt x="11743528" y="4196911"/>
                </a:cubicBezTo>
                <a:cubicBezTo>
                  <a:pt x="11750694" y="4207276"/>
                  <a:pt x="11765025" y="4210730"/>
                  <a:pt x="11772191" y="4203821"/>
                </a:cubicBezTo>
                <a:cubicBezTo>
                  <a:pt x="11779357" y="4203821"/>
                  <a:pt x="11779357" y="4200366"/>
                  <a:pt x="11782939" y="4196911"/>
                </a:cubicBezTo>
                <a:cubicBezTo>
                  <a:pt x="11782939" y="4193456"/>
                  <a:pt x="11782939" y="4190001"/>
                  <a:pt x="11782939" y="4186546"/>
                </a:cubicBezTo>
                <a:cubicBezTo>
                  <a:pt x="11782939" y="4183092"/>
                  <a:pt x="11782939" y="4179637"/>
                  <a:pt x="11782939" y="4176182"/>
                </a:cubicBezTo>
                <a:cubicBezTo>
                  <a:pt x="11779357" y="4170999"/>
                  <a:pt x="11773982" y="4167545"/>
                  <a:pt x="11768161" y="4166249"/>
                </a:cubicBezTo>
                <a:close/>
                <a:moveTo>
                  <a:pt x="11525909" y="4158331"/>
                </a:moveTo>
                <a:cubicBezTo>
                  <a:pt x="11504825" y="4193263"/>
                  <a:pt x="11504825" y="4193263"/>
                  <a:pt x="11504825" y="4193263"/>
                </a:cubicBezTo>
                <a:cubicBezTo>
                  <a:pt x="11511853" y="4200249"/>
                  <a:pt x="11518881" y="4203743"/>
                  <a:pt x="11529423" y="4210729"/>
                </a:cubicBezTo>
                <a:cubicBezTo>
                  <a:pt x="11532937" y="4203743"/>
                  <a:pt x="11532937" y="4203743"/>
                  <a:pt x="11532937" y="4203743"/>
                </a:cubicBezTo>
                <a:cubicBezTo>
                  <a:pt x="11515367" y="4193263"/>
                  <a:pt x="11515367" y="4193263"/>
                  <a:pt x="11515367" y="4193263"/>
                </a:cubicBezTo>
                <a:cubicBezTo>
                  <a:pt x="11522395" y="4182784"/>
                  <a:pt x="11522395" y="4182784"/>
                  <a:pt x="11522395" y="4182784"/>
                </a:cubicBezTo>
                <a:cubicBezTo>
                  <a:pt x="11532937" y="4189770"/>
                  <a:pt x="11532937" y="4189770"/>
                  <a:pt x="11532937" y="4189770"/>
                </a:cubicBezTo>
                <a:cubicBezTo>
                  <a:pt x="11536450" y="4182784"/>
                  <a:pt x="11536450" y="4182784"/>
                  <a:pt x="11536450" y="4182784"/>
                </a:cubicBezTo>
                <a:cubicBezTo>
                  <a:pt x="11532937" y="4182784"/>
                  <a:pt x="11529423" y="4179290"/>
                  <a:pt x="11525909" y="4175797"/>
                </a:cubicBezTo>
                <a:lnTo>
                  <a:pt x="11529423" y="4168811"/>
                </a:lnTo>
                <a:cubicBezTo>
                  <a:pt x="11536450" y="4172303"/>
                  <a:pt x="11539964" y="4175797"/>
                  <a:pt x="11546992" y="4179290"/>
                </a:cubicBezTo>
                <a:cubicBezTo>
                  <a:pt x="11550506" y="4172303"/>
                  <a:pt x="11550506" y="4172303"/>
                  <a:pt x="11550506" y="4172303"/>
                </a:cubicBezTo>
                <a:cubicBezTo>
                  <a:pt x="11543478" y="4168811"/>
                  <a:pt x="11532937" y="4161824"/>
                  <a:pt x="11525909" y="4158331"/>
                </a:cubicBezTo>
                <a:close/>
                <a:moveTo>
                  <a:pt x="11803361" y="4130117"/>
                </a:moveTo>
                <a:cubicBezTo>
                  <a:pt x="11799868" y="4133643"/>
                  <a:pt x="11799868" y="4133643"/>
                  <a:pt x="11796375" y="4137170"/>
                </a:cubicBezTo>
                <a:cubicBezTo>
                  <a:pt x="11813840" y="4154804"/>
                  <a:pt x="11813840" y="4154804"/>
                  <a:pt x="11813840" y="4154804"/>
                </a:cubicBezTo>
                <a:cubicBezTo>
                  <a:pt x="11785895" y="4147751"/>
                  <a:pt x="11785895" y="4147751"/>
                  <a:pt x="11785895" y="4147751"/>
                </a:cubicBezTo>
                <a:cubicBezTo>
                  <a:pt x="11782402" y="4147751"/>
                  <a:pt x="11782402" y="4151277"/>
                  <a:pt x="11778908" y="4151277"/>
                </a:cubicBezTo>
                <a:cubicBezTo>
                  <a:pt x="11803361" y="4186546"/>
                  <a:pt x="11803361" y="4186546"/>
                  <a:pt x="11803361" y="4186546"/>
                </a:cubicBezTo>
                <a:cubicBezTo>
                  <a:pt x="11806854" y="4183019"/>
                  <a:pt x="11806854" y="4183019"/>
                  <a:pt x="11810348" y="4179492"/>
                </a:cubicBezTo>
                <a:cubicBezTo>
                  <a:pt x="11796375" y="4158331"/>
                  <a:pt x="11796375" y="4158331"/>
                  <a:pt x="11796375" y="4158331"/>
                </a:cubicBezTo>
                <a:cubicBezTo>
                  <a:pt x="11824320" y="4168911"/>
                  <a:pt x="11824320" y="4168911"/>
                  <a:pt x="11824320" y="4168911"/>
                </a:cubicBezTo>
                <a:cubicBezTo>
                  <a:pt x="11827814" y="4165385"/>
                  <a:pt x="11827814" y="4165385"/>
                  <a:pt x="11831307" y="4161858"/>
                </a:cubicBezTo>
                <a:cubicBezTo>
                  <a:pt x="11803361" y="4130117"/>
                  <a:pt x="11803361" y="4130117"/>
                  <a:pt x="11803361" y="4130117"/>
                </a:cubicBezTo>
                <a:close/>
                <a:moveTo>
                  <a:pt x="11495008" y="4130117"/>
                </a:moveTo>
                <a:cubicBezTo>
                  <a:pt x="11495008" y="4130117"/>
                  <a:pt x="11495008" y="4130117"/>
                  <a:pt x="11487980" y="4133630"/>
                </a:cubicBezTo>
                <a:cubicBezTo>
                  <a:pt x="11491494" y="4137144"/>
                  <a:pt x="11495008" y="4140658"/>
                  <a:pt x="11498522" y="4144172"/>
                </a:cubicBezTo>
                <a:cubicBezTo>
                  <a:pt x="11498522" y="4144172"/>
                  <a:pt x="11498522" y="4144172"/>
                  <a:pt x="11473924" y="4168769"/>
                </a:cubicBezTo>
                <a:cubicBezTo>
                  <a:pt x="11473924" y="4168769"/>
                  <a:pt x="11473924" y="4168769"/>
                  <a:pt x="11480952" y="4175797"/>
                </a:cubicBezTo>
                <a:cubicBezTo>
                  <a:pt x="11480952" y="4175797"/>
                  <a:pt x="11480952" y="4175797"/>
                  <a:pt x="11505548" y="4151200"/>
                </a:cubicBezTo>
                <a:cubicBezTo>
                  <a:pt x="11509062" y="4151200"/>
                  <a:pt x="11512576" y="4154713"/>
                  <a:pt x="11516090" y="4158227"/>
                </a:cubicBezTo>
                <a:cubicBezTo>
                  <a:pt x="11516090" y="4158227"/>
                  <a:pt x="11516090" y="4158227"/>
                  <a:pt x="11519604" y="4151200"/>
                </a:cubicBezTo>
                <a:cubicBezTo>
                  <a:pt x="11509062" y="4144172"/>
                  <a:pt x="11502036" y="4137144"/>
                  <a:pt x="11495008" y="4130117"/>
                </a:cubicBezTo>
                <a:close/>
                <a:moveTo>
                  <a:pt x="11824589" y="4119368"/>
                </a:moveTo>
                <a:lnTo>
                  <a:pt x="11842055" y="4126086"/>
                </a:lnTo>
                <a:lnTo>
                  <a:pt x="11842055" y="4130117"/>
                </a:lnTo>
                <a:lnTo>
                  <a:pt x="11835337" y="4136835"/>
                </a:lnTo>
                <a:lnTo>
                  <a:pt x="11831307" y="4130117"/>
                </a:lnTo>
                <a:close/>
                <a:moveTo>
                  <a:pt x="11820942" y="4112650"/>
                </a:moveTo>
                <a:lnTo>
                  <a:pt x="11813840" y="4119592"/>
                </a:lnTo>
                <a:cubicBezTo>
                  <a:pt x="11813840" y="4119592"/>
                  <a:pt x="11813840" y="4119592"/>
                  <a:pt x="11820942" y="4130004"/>
                </a:cubicBezTo>
                <a:cubicBezTo>
                  <a:pt x="11820942" y="4130004"/>
                  <a:pt x="11820942" y="4130004"/>
                  <a:pt x="11838696" y="4154300"/>
                </a:cubicBezTo>
                <a:cubicBezTo>
                  <a:pt x="11838696" y="4154300"/>
                  <a:pt x="11842247" y="4150830"/>
                  <a:pt x="11842247" y="4150830"/>
                </a:cubicBezTo>
                <a:cubicBezTo>
                  <a:pt x="11842247" y="4150830"/>
                  <a:pt x="11842247" y="4150830"/>
                  <a:pt x="11838696" y="4143888"/>
                </a:cubicBezTo>
                <a:cubicBezTo>
                  <a:pt x="11838696" y="4143888"/>
                  <a:pt x="11838696" y="4143888"/>
                  <a:pt x="11849349" y="4130004"/>
                </a:cubicBezTo>
                <a:cubicBezTo>
                  <a:pt x="11849349" y="4130004"/>
                  <a:pt x="11849349" y="4130004"/>
                  <a:pt x="11856450" y="4130004"/>
                </a:cubicBezTo>
                <a:cubicBezTo>
                  <a:pt x="11860002" y="4130004"/>
                  <a:pt x="11860002" y="4130004"/>
                  <a:pt x="11860002" y="4130004"/>
                </a:cubicBezTo>
                <a:cubicBezTo>
                  <a:pt x="11860002" y="4126533"/>
                  <a:pt x="11863552" y="4126533"/>
                  <a:pt x="11863552" y="4123062"/>
                </a:cubicBezTo>
                <a:cubicBezTo>
                  <a:pt x="11863552" y="4123062"/>
                  <a:pt x="11863552" y="4123062"/>
                  <a:pt x="11820942" y="4112650"/>
                </a:cubicBezTo>
                <a:close/>
                <a:moveTo>
                  <a:pt x="11466198" y="4097871"/>
                </a:moveTo>
                <a:cubicBezTo>
                  <a:pt x="11430930" y="4122951"/>
                  <a:pt x="11430930" y="4122951"/>
                  <a:pt x="11430930" y="4122951"/>
                </a:cubicBezTo>
                <a:cubicBezTo>
                  <a:pt x="11434457" y="4126534"/>
                  <a:pt x="11434457" y="4126534"/>
                  <a:pt x="11437984" y="4130117"/>
                </a:cubicBezTo>
                <a:cubicBezTo>
                  <a:pt x="11459145" y="4115786"/>
                  <a:pt x="11459145" y="4115786"/>
                  <a:pt x="11459145" y="4115786"/>
                </a:cubicBezTo>
                <a:cubicBezTo>
                  <a:pt x="11448564" y="4144447"/>
                  <a:pt x="11448564" y="4144447"/>
                  <a:pt x="11448564" y="4144447"/>
                </a:cubicBezTo>
                <a:cubicBezTo>
                  <a:pt x="11452091" y="4148031"/>
                  <a:pt x="11452091" y="4148031"/>
                  <a:pt x="11455618" y="4151613"/>
                </a:cubicBezTo>
                <a:cubicBezTo>
                  <a:pt x="11487359" y="4122951"/>
                  <a:pt x="11487359" y="4122951"/>
                  <a:pt x="11487359" y="4122951"/>
                </a:cubicBezTo>
                <a:cubicBezTo>
                  <a:pt x="11487359" y="4119368"/>
                  <a:pt x="11483833" y="4119368"/>
                  <a:pt x="11483833" y="4115786"/>
                </a:cubicBezTo>
                <a:cubicBezTo>
                  <a:pt x="11462672" y="4133699"/>
                  <a:pt x="11462672" y="4133699"/>
                  <a:pt x="11462672" y="4133699"/>
                </a:cubicBezTo>
                <a:cubicBezTo>
                  <a:pt x="11473252" y="4105037"/>
                  <a:pt x="11473252" y="4105037"/>
                  <a:pt x="11473252" y="4105037"/>
                </a:cubicBezTo>
                <a:cubicBezTo>
                  <a:pt x="11469725" y="4101454"/>
                  <a:pt x="11469725" y="4101454"/>
                  <a:pt x="11466198" y="4097871"/>
                </a:cubicBezTo>
                <a:close/>
                <a:moveTo>
                  <a:pt x="11835338" y="4087123"/>
                </a:moveTo>
                <a:lnTo>
                  <a:pt x="11831307" y="4095184"/>
                </a:lnTo>
                <a:lnTo>
                  <a:pt x="11870270" y="4115338"/>
                </a:lnTo>
                <a:lnTo>
                  <a:pt x="11883706" y="4091154"/>
                </a:lnTo>
                <a:lnTo>
                  <a:pt x="11876988" y="4087123"/>
                </a:lnTo>
                <a:lnTo>
                  <a:pt x="11866239" y="4105933"/>
                </a:lnTo>
                <a:close/>
                <a:moveTo>
                  <a:pt x="11459634" y="4084436"/>
                </a:moveTo>
                <a:cubicBezTo>
                  <a:pt x="11424212" y="4105598"/>
                  <a:pt x="11424212" y="4105598"/>
                  <a:pt x="11424212" y="4105598"/>
                </a:cubicBezTo>
                <a:cubicBezTo>
                  <a:pt x="11424212" y="4105598"/>
                  <a:pt x="11424212" y="4109124"/>
                  <a:pt x="11427754" y="4112651"/>
                </a:cubicBezTo>
                <a:cubicBezTo>
                  <a:pt x="11463176" y="4091490"/>
                  <a:pt x="11463176" y="4091490"/>
                  <a:pt x="11463176" y="4091490"/>
                </a:cubicBezTo>
                <a:cubicBezTo>
                  <a:pt x="11463176" y="4087963"/>
                  <a:pt x="11459634" y="4087963"/>
                  <a:pt x="11459634" y="4084436"/>
                </a:cubicBezTo>
                <a:close/>
                <a:moveTo>
                  <a:pt x="11450927" y="4050826"/>
                </a:moveTo>
                <a:cubicBezTo>
                  <a:pt x="11452683" y="4051267"/>
                  <a:pt x="11454437" y="4053030"/>
                  <a:pt x="11456192" y="4056557"/>
                </a:cubicBezTo>
                <a:cubicBezTo>
                  <a:pt x="11487785" y="4134148"/>
                  <a:pt x="11561500" y="4187050"/>
                  <a:pt x="11649257" y="4187050"/>
                </a:cubicBezTo>
                <a:cubicBezTo>
                  <a:pt x="11737012" y="4187050"/>
                  <a:pt x="11810728" y="4134148"/>
                  <a:pt x="11842320" y="4056557"/>
                </a:cubicBezTo>
                <a:cubicBezTo>
                  <a:pt x="11844075" y="4053030"/>
                  <a:pt x="11845831" y="4051267"/>
                  <a:pt x="11847586" y="4050826"/>
                </a:cubicBezTo>
                <a:cubicBezTo>
                  <a:pt x="11849340" y="4050386"/>
                  <a:pt x="11851096" y="4051267"/>
                  <a:pt x="11852851" y="4053030"/>
                </a:cubicBezTo>
                <a:cubicBezTo>
                  <a:pt x="11852851" y="4053030"/>
                  <a:pt x="11852851" y="4053030"/>
                  <a:pt x="11891464" y="4063611"/>
                </a:cubicBezTo>
                <a:cubicBezTo>
                  <a:pt x="11894974" y="4067138"/>
                  <a:pt x="11898484" y="4070664"/>
                  <a:pt x="11898484" y="4074191"/>
                </a:cubicBezTo>
                <a:cubicBezTo>
                  <a:pt x="11859871" y="4176469"/>
                  <a:pt x="11761585" y="4247006"/>
                  <a:pt x="11649257" y="4247006"/>
                </a:cubicBezTo>
                <a:cubicBezTo>
                  <a:pt x="11536929" y="4247006"/>
                  <a:pt x="11438641" y="4176469"/>
                  <a:pt x="11400028" y="4077719"/>
                </a:cubicBezTo>
                <a:cubicBezTo>
                  <a:pt x="11400028" y="4070664"/>
                  <a:pt x="11400028" y="4067138"/>
                  <a:pt x="11407049" y="4063611"/>
                </a:cubicBezTo>
                <a:cubicBezTo>
                  <a:pt x="11407049" y="4063611"/>
                  <a:pt x="11407049" y="4063611"/>
                  <a:pt x="11445662" y="4053030"/>
                </a:cubicBezTo>
                <a:cubicBezTo>
                  <a:pt x="11447417" y="4051267"/>
                  <a:pt x="11449172" y="4050386"/>
                  <a:pt x="11450927" y="4050826"/>
                </a:cubicBezTo>
                <a:close/>
                <a:moveTo>
                  <a:pt x="11603442" y="4044988"/>
                </a:moveTo>
                <a:cubicBezTo>
                  <a:pt x="11606935" y="4041442"/>
                  <a:pt x="11610428" y="4041442"/>
                  <a:pt x="11613922" y="4044988"/>
                </a:cubicBezTo>
                <a:cubicBezTo>
                  <a:pt x="11613922" y="4044988"/>
                  <a:pt x="11617414" y="4048534"/>
                  <a:pt x="11617414" y="4052079"/>
                </a:cubicBezTo>
                <a:cubicBezTo>
                  <a:pt x="11617414" y="4052079"/>
                  <a:pt x="11624401" y="4154898"/>
                  <a:pt x="11624401" y="4154898"/>
                </a:cubicBezTo>
                <a:cubicBezTo>
                  <a:pt x="11624401" y="4161989"/>
                  <a:pt x="11624401" y="4165535"/>
                  <a:pt x="11620908" y="4165535"/>
                </a:cubicBezTo>
                <a:cubicBezTo>
                  <a:pt x="11620908" y="4169080"/>
                  <a:pt x="11617414" y="4169080"/>
                  <a:pt x="11613922" y="4165535"/>
                </a:cubicBezTo>
                <a:cubicBezTo>
                  <a:pt x="11568509" y="4154898"/>
                  <a:pt x="11537070" y="4137171"/>
                  <a:pt x="11505632" y="4101715"/>
                </a:cubicBezTo>
                <a:cubicBezTo>
                  <a:pt x="11502138" y="4101715"/>
                  <a:pt x="11502138" y="4098170"/>
                  <a:pt x="11502138" y="4098170"/>
                </a:cubicBezTo>
                <a:cubicBezTo>
                  <a:pt x="11502138" y="4094625"/>
                  <a:pt x="11502138" y="4094625"/>
                  <a:pt x="11502138" y="4094625"/>
                </a:cubicBezTo>
                <a:cubicBezTo>
                  <a:pt x="11502138" y="4091080"/>
                  <a:pt x="11505632" y="4091080"/>
                  <a:pt x="11509124" y="4091080"/>
                </a:cubicBezTo>
                <a:cubicBezTo>
                  <a:pt x="11509124" y="4091080"/>
                  <a:pt x="11509124" y="4091080"/>
                  <a:pt x="11603442" y="4044988"/>
                </a:cubicBezTo>
                <a:close/>
                <a:moveTo>
                  <a:pt x="11688084" y="4041442"/>
                </a:moveTo>
                <a:cubicBezTo>
                  <a:pt x="11691578" y="4041442"/>
                  <a:pt x="11695071" y="4041442"/>
                  <a:pt x="11698565" y="4041442"/>
                </a:cubicBezTo>
                <a:cubicBezTo>
                  <a:pt x="11698565" y="4041442"/>
                  <a:pt x="11698565" y="4041442"/>
                  <a:pt x="11789388" y="4087353"/>
                </a:cubicBezTo>
                <a:cubicBezTo>
                  <a:pt x="11792882" y="4090885"/>
                  <a:pt x="11796375" y="4090885"/>
                  <a:pt x="11796375" y="4094417"/>
                </a:cubicBezTo>
                <a:cubicBezTo>
                  <a:pt x="11796375" y="4097948"/>
                  <a:pt x="11796375" y="4097948"/>
                  <a:pt x="11792882" y="4101480"/>
                </a:cubicBezTo>
                <a:cubicBezTo>
                  <a:pt x="11761442" y="4136796"/>
                  <a:pt x="11730003" y="4154454"/>
                  <a:pt x="11684592" y="4165049"/>
                </a:cubicBezTo>
                <a:cubicBezTo>
                  <a:pt x="11681098" y="4165049"/>
                  <a:pt x="11677605" y="4165049"/>
                  <a:pt x="11677605" y="4165049"/>
                </a:cubicBezTo>
                <a:cubicBezTo>
                  <a:pt x="11674112" y="4161517"/>
                  <a:pt x="11674112" y="4157985"/>
                  <a:pt x="11674112" y="4154454"/>
                </a:cubicBezTo>
                <a:cubicBezTo>
                  <a:pt x="11674112" y="4154454"/>
                  <a:pt x="11674112" y="4154454"/>
                  <a:pt x="11684592" y="4052038"/>
                </a:cubicBezTo>
                <a:cubicBezTo>
                  <a:pt x="11684592" y="4048506"/>
                  <a:pt x="11684592" y="4044974"/>
                  <a:pt x="11688084" y="4041442"/>
                </a:cubicBezTo>
                <a:close/>
                <a:moveTo>
                  <a:pt x="10810283" y="4002478"/>
                </a:moveTo>
                <a:lnTo>
                  <a:pt x="10851862" y="4002478"/>
                </a:lnTo>
                <a:cubicBezTo>
                  <a:pt x="10851862" y="4002478"/>
                  <a:pt x="10851862" y="4002478"/>
                  <a:pt x="10851862" y="4045088"/>
                </a:cubicBezTo>
                <a:cubicBezTo>
                  <a:pt x="10851862" y="4045088"/>
                  <a:pt x="10824142" y="4052190"/>
                  <a:pt x="10803353" y="4052190"/>
                </a:cubicBezTo>
                <a:cubicBezTo>
                  <a:pt x="10786028" y="4052190"/>
                  <a:pt x="10786028" y="4037987"/>
                  <a:pt x="10786028" y="4027334"/>
                </a:cubicBezTo>
                <a:cubicBezTo>
                  <a:pt x="10786028" y="4013131"/>
                  <a:pt x="10792958" y="4006029"/>
                  <a:pt x="10810283" y="4002478"/>
                </a:cubicBezTo>
                <a:close/>
                <a:moveTo>
                  <a:pt x="10494479" y="3932613"/>
                </a:moveTo>
                <a:cubicBezTo>
                  <a:pt x="10525716" y="3932613"/>
                  <a:pt x="10536128" y="3946681"/>
                  <a:pt x="10536128" y="3988885"/>
                </a:cubicBezTo>
                <a:cubicBezTo>
                  <a:pt x="10536128" y="4027570"/>
                  <a:pt x="10529187" y="4052189"/>
                  <a:pt x="10494479" y="4052189"/>
                </a:cubicBezTo>
                <a:cubicBezTo>
                  <a:pt x="10459770" y="4052189"/>
                  <a:pt x="10452829" y="4031088"/>
                  <a:pt x="10452829" y="3988885"/>
                </a:cubicBezTo>
                <a:cubicBezTo>
                  <a:pt x="10452829" y="3946681"/>
                  <a:pt x="10463241" y="3932613"/>
                  <a:pt x="10494479" y="3932613"/>
                </a:cubicBezTo>
                <a:close/>
                <a:moveTo>
                  <a:pt x="11639005" y="3928584"/>
                </a:moveTo>
                <a:cubicBezTo>
                  <a:pt x="11639005" y="3928584"/>
                  <a:pt x="11639005" y="3928584"/>
                  <a:pt x="11660034" y="3928584"/>
                </a:cubicBezTo>
                <a:cubicBezTo>
                  <a:pt x="11660034" y="3928584"/>
                  <a:pt x="11660034" y="3935677"/>
                  <a:pt x="11660034" y="3939224"/>
                </a:cubicBezTo>
                <a:cubicBezTo>
                  <a:pt x="11677559" y="3942771"/>
                  <a:pt x="11691578" y="3960506"/>
                  <a:pt x="11691578" y="3978241"/>
                </a:cubicBezTo>
                <a:cubicBezTo>
                  <a:pt x="11691578" y="3999523"/>
                  <a:pt x="11670549" y="4017258"/>
                  <a:pt x="11649519" y="4017258"/>
                </a:cubicBezTo>
                <a:cubicBezTo>
                  <a:pt x="11628490" y="4017258"/>
                  <a:pt x="11610966" y="3999523"/>
                  <a:pt x="11610966" y="3978241"/>
                </a:cubicBezTo>
                <a:cubicBezTo>
                  <a:pt x="11610966" y="3960506"/>
                  <a:pt x="11621480" y="3942771"/>
                  <a:pt x="11639005" y="3939224"/>
                </a:cubicBezTo>
                <a:cubicBezTo>
                  <a:pt x="11639005" y="3939224"/>
                  <a:pt x="11639005" y="3928584"/>
                  <a:pt x="11639005" y="3928584"/>
                </a:cubicBezTo>
                <a:close/>
                <a:moveTo>
                  <a:pt x="11649257" y="3917835"/>
                </a:moveTo>
                <a:cubicBezTo>
                  <a:pt x="11616236" y="3917835"/>
                  <a:pt x="11589469" y="3944904"/>
                  <a:pt x="11589469" y="3978295"/>
                </a:cubicBezTo>
                <a:cubicBezTo>
                  <a:pt x="11589469" y="4011686"/>
                  <a:pt x="11616236" y="4038755"/>
                  <a:pt x="11649257" y="4038755"/>
                </a:cubicBezTo>
                <a:cubicBezTo>
                  <a:pt x="11682277" y="4038755"/>
                  <a:pt x="11709045" y="4011686"/>
                  <a:pt x="11709045" y="3978295"/>
                </a:cubicBezTo>
                <a:cubicBezTo>
                  <a:pt x="11709045" y="3944904"/>
                  <a:pt x="11682277" y="3917835"/>
                  <a:pt x="11649257" y="3917835"/>
                </a:cubicBezTo>
                <a:close/>
                <a:moveTo>
                  <a:pt x="11649257" y="3911118"/>
                </a:moveTo>
                <a:cubicBezTo>
                  <a:pt x="11685987" y="3911118"/>
                  <a:pt x="11715763" y="3941194"/>
                  <a:pt x="11715763" y="3978295"/>
                </a:cubicBezTo>
                <a:cubicBezTo>
                  <a:pt x="11715763" y="4015397"/>
                  <a:pt x="11685987" y="4045473"/>
                  <a:pt x="11649257" y="4045473"/>
                </a:cubicBezTo>
                <a:cubicBezTo>
                  <a:pt x="11612526" y="4045473"/>
                  <a:pt x="11582751" y="4015397"/>
                  <a:pt x="11582751" y="3978295"/>
                </a:cubicBezTo>
                <a:cubicBezTo>
                  <a:pt x="11582751" y="3941194"/>
                  <a:pt x="11612526" y="3911118"/>
                  <a:pt x="11649257" y="3911118"/>
                </a:cubicBezTo>
                <a:close/>
                <a:moveTo>
                  <a:pt x="11824549" y="3908431"/>
                </a:moveTo>
                <a:cubicBezTo>
                  <a:pt x="11828050" y="3908431"/>
                  <a:pt x="11828050" y="3911957"/>
                  <a:pt x="11828050" y="3915484"/>
                </a:cubicBezTo>
                <a:cubicBezTo>
                  <a:pt x="11842055" y="3957806"/>
                  <a:pt x="11842055" y="3996601"/>
                  <a:pt x="11828050" y="4038923"/>
                </a:cubicBezTo>
                <a:cubicBezTo>
                  <a:pt x="11828050" y="4045977"/>
                  <a:pt x="11828050" y="4045977"/>
                  <a:pt x="11824549" y="4045977"/>
                </a:cubicBezTo>
                <a:cubicBezTo>
                  <a:pt x="11821047" y="4049504"/>
                  <a:pt x="11817546" y="4045977"/>
                  <a:pt x="11817546" y="4045977"/>
                </a:cubicBezTo>
                <a:lnTo>
                  <a:pt x="11730012" y="3986021"/>
                </a:lnTo>
                <a:cubicBezTo>
                  <a:pt x="11726510" y="3982494"/>
                  <a:pt x="11726510" y="3978967"/>
                  <a:pt x="11726510" y="3978967"/>
                </a:cubicBezTo>
                <a:cubicBezTo>
                  <a:pt x="11726510" y="3975441"/>
                  <a:pt x="11726510" y="3971914"/>
                  <a:pt x="11730012" y="3968386"/>
                </a:cubicBezTo>
                <a:cubicBezTo>
                  <a:pt x="11730012" y="3968386"/>
                  <a:pt x="11730012" y="3968386"/>
                  <a:pt x="11814044" y="3911957"/>
                </a:cubicBezTo>
                <a:cubicBezTo>
                  <a:pt x="11821047" y="3908431"/>
                  <a:pt x="11824549" y="3908431"/>
                  <a:pt x="11824549" y="3908431"/>
                </a:cubicBezTo>
                <a:close/>
                <a:moveTo>
                  <a:pt x="11473964" y="3908431"/>
                </a:moveTo>
                <a:cubicBezTo>
                  <a:pt x="11477466" y="3908431"/>
                  <a:pt x="11480967" y="3908431"/>
                  <a:pt x="11480967" y="3911957"/>
                </a:cubicBezTo>
                <a:lnTo>
                  <a:pt x="11568501" y="3968386"/>
                </a:lnTo>
                <a:cubicBezTo>
                  <a:pt x="11572002" y="3971914"/>
                  <a:pt x="11572002" y="3975441"/>
                  <a:pt x="11572002" y="3978967"/>
                </a:cubicBezTo>
                <a:cubicBezTo>
                  <a:pt x="11572002" y="3982494"/>
                  <a:pt x="11572002" y="3986021"/>
                  <a:pt x="11568501" y="3986021"/>
                </a:cubicBezTo>
                <a:cubicBezTo>
                  <a:pt x="11568501" y="3986021"/>
                  <a:pt x="11568501" y="3986021"/>
                  <a:pt x="11480967" y="4045977"/>
                </a:cubicBezTo>
                <a:cubicBezTo>
                  <a:pt x="11477466" y="4045977"/>
                  <a:pt x="11473964" y="4049504"/>
                  <a:pt x="11473964" y="4045977"/>
                </a:cubicBezTo>
                <a:cubicBezTo>
                  <a:pt x="11470463" y="4045977"/>
                  <a:pt x="11470463" y="4042450"/>
                  <a:pt x="11466961" y="4042450"/>
                </a:cubicBezTo>
                <a:cubicBezTo>
                  <a:pt x="11456457" y="3996601"/>
                  <a:pt x="11456457" y="3957806"/>
                  <a:pt x="11466961" y="3915484"/>
                </a:cubicBezTo>
                <a:cubicBezTo>
                  <a:pt x="11470463" y="3911957"/>
                  <a:pt x="11470463" y="3908431"/>
                  <a:pt x="11473964" y="3908431"/>
                </a:cubicBezTo>
                <a:close/>
                <a:moveTo>
                  <a:pt x="11070316" y="3897682"/>
                </a:moveTo>
                <a:cubicBezTo>
                  <a:pt x="11070316" y="3901208"/>
                  <a:pt x="11066828" y="3901208"/>
                  <a:pt x="11070316" y="3904735"/>
                </a:cubicBezTo>
                <a:cubicBezTo>
                  <a:pt x="11112166" y="4066969"/>
                  <a:pt x="11112166" y="4066969"/>
                  <a:pt x="11112166" y="4066969"/>
                </a:cubicBezTo>
                <a:cubicBezTo>
                  <a:pt x="11112166" y="4074023"/>
                  <a:pt x="11119141" y="4088130"/>
                  <a:pt x="11133091" y="4088130"/>
                </a:cubicBezTo>
                <a:cubicBezTo>
                  <a:pt x="11143554" y="4088130"/>
                  <a:pt x="11143554" y="4088130"/>
                  <a:pt x="11143554" y="4088130"/>
                </a:cubicBezTo>
                <a:cubicBezTo>
                  <a:pt x="11140066" y="4091657"/>
                  <a:pt x="11140066" y="4091657"/>
                  <a:pt x="11140066" y="4095183"/>
                </a:cubicBezTo>
                <a:cubicBezTo>
                  <a:pt x="11136578" y="4105763"/>
                  <a:pt x="11133091" y="4116344"/>
                  <a:pt x="11112166" y="4116344"/>
                </a:cubicBezTo>
                <a:cubicBezTo>
                  <a:pt x="11077291" y="4112818"/>
                  <a:pt x="11077291" y="4112818"/>
                  <a:pt x="11077291" y="4112818"/>
                </a:cubicBezTo>
                <a:cubicBezTo>
                  <a:pt x="11077291" y="4112818"/>
                  <a:pt x="11073804" y="4112818"/>
                  <a:pt x="11073804" y="4116344"/>
                </a:cubicBezTo>
                <a:cubicBezTo>
                  <a:pt x="11070316" y="4116344"/>
                  <a:pt x="11070316" y="4119871"/>
                  <a:pt x="11070316" y="4119871"/>
                </a:cubicBezTo>
                <a:cubicBezTo>
                  <a:pt x="11070316" y="4141032"/>
                  <a:pt x="11070316" y="4141032"/>
                  <a:pt x="11070316" y="4141032"/>
                </a:cubicBezTo>
                <a:cubicBezTo>
                  <a:pt x="11070316" y="4144559"/>
                  <a:pt x="11073804" y="4144559"/>
                  <a:pt x="11077291" y="4148086"/>
                </a:cubicBezTo>
                <a:cubicBezTo>
                  <a:pt x="11087754" y="4148086"/>
                  <a:pt x="11108678" y="4151612"/>
                  <a:pt x="11122628" y="4151612"/>
                </a:cubicBezTo>
                <a:cubicBezTo>
                  <a:pt x="11126116" y="4151612"/>
                  <a:pt x="11126116" y="4151612"/>
                  <a:pt x="11126116" y="4151612"/>
                </a:cubicBezTo>
                <a:cubicBezTo>
                  <a:pt x="11154016" y="4151612"/>
                  <a:pt x="11171453" y="4133978"/>
                  <a:pt x="11181916" y="4098710"/>
                </a:cubicBezTo>
                <a:cubicBezTo>
                  <a:pt x="11192378" y="4059915"/>
                  <a:pt x="11206329" y="4007013"/>
                  <a:pt x="11213303" y="3968218"/>
                </a:cubicBezTo>
                <a:cubicBezTo>
                  <a:pt x="11220279" y="3950584"/>
                  <a:pt x="11223766" y="3936476"/>
                  <a:pt x="11227253" y="3925896"/>
                </a:cubicBezTo>
                <a:cubicBezTo>
                  <a:pt x="11230741" y="3904735"/>
                  <a:pt x="11230741" y="3904735"/>
                  <a:pt x="11230741" y="3904735"/>
                </a:cubicBezTo>
                <a:cubicBezTo>
                  <a:pt x="11230741" y="3901208"/>
                  <a:pt x="11230741" y="3901208"/>
                  <a:pt x="11230741" y="3897682"/>
                </a:cubicBezTo>
                <a:cubicBezTo>
                  <a:pt x="11227253" y="3897682"/>
                  <a:pt x="11227253" y="3897682"/>
                  <a:pt x="11223766" y="3897682"/>
                </a:cubicBezTo>
                <a:cubicBezTo>
                  <a:pt x="11195866" y="3897682"/>
                  <a:pt x="11195866" y="3897682"/>
                  <a:pt x="11195866" y="3897682"/>
                </a:cubicBezTo>
                <a:cubicBezTo>
                  <a:pt x="11192378" y="3897682"/>
                  <a:pt x="11188891" y="3897682"/>
                  <a:pt x="11188891" y="3901208"/>
                </a:cubicBezTo>
                <a:cubicBezTo>
                  <a:pt x="11150528" y="4045808"/>
                  <a:pt x="11150528" y="4045808"/>
                  <a:pt x="11150528" y="4045808"/>
                </a:cubicBezTo>
                <a:cubicBezTo>
                  <a:pt x="11147041" y="4045808"/>
                  <a:pt x="11147041" y="4045808"/>
                  <a:pt x="11147041" y="4045808"/>
                </a:cubicBezTo>
                <a:cubicBezTo>
                  <a:pt x="11112166" y="3901208"/>
                  <a:pt x="11112166" y="3901208"/>
                  <a:pt x="11112166" y="3901208"/>
                </a:cubicBezTo>
                <a:cubicBezTo>
                  <a:pt x="11108678" y="3897682"/>
                  <a:pt x="11108678" y="3897682"/>
                  <a:pt x="11105191" y="3897682"/>
                </a:cubicBezTo>
                <a:cubicBezTo>
                  <a:pt x="11077291" y="3897682"/>
                  <a:pt x="11077291" y="3897682"/>
                  <a:pt x="11077291" y="3897682"/>
                </a:cubicBezTo>
                <a:cubicBezTo>
                  <a:pt x="11073804" y="3897682"/>
                  <a:pt x="11070316" y="3897682"/>
                  <a:pt x="11070316" y="3897682"/>
                </a:cubicBezTo>
                <a:close/>
                <a:moveTo>
                  <a:pt x="11038289" y="3893651"/>
                </a:moveTo>
                <a:cubicBezTo>
                  <a:pt x="11017163" y="3893651"/>
                  <a:pt x="10999559" y="3907722"/>
                  <a:pt x="10985474" y="3914757"/>
                </a:cubicBezTo>
                <a:cubicBezTo>
                  <a:pt x="10985474" y="3904204"/>
                  <a:pt x="10985474" y="3904204"/>
                  <a:pt x="10985474" y="3904204"/>
                </a:cubicBezTo>
                <a:cubicBezTo>
                  <a:pt x="10985474" y="3897169"/>
                  <a:pt x="10981954" y="3897169"/>
                  <a:pt x="10978433" y="3897169"/>
                </a:cubicBezTo>
                <a:cubicBezTo>
                  <a:pt x="10950264" y="3897169"/>
                  <a:pt x="10950264" y="3897169"/>
                  <a:pt x="10950264" y="3897169"/>
                </a:cubicBezTo>
                <a:cubicBezTo>
                  <a:pt x="10946743" y="3897169"/>
                  <a:pt x="10943222" y="3897169"/>
                  <a:pt x="10943222" y="3904204"/>
                </a:cubicBezTo>
                <a:cubicBezTo>
                  <a:pt x="10943222" y="4080087"/>
                  <a:pt x="10943222" y="4080087"/>
                  <a:pt x="10943222" y="4080087"/>
                </a:cubicBezTo>
                <a:cubicBezTo>
                  <a:pt x="10943222" y="4083605"/>
                  <a:pt x="10946743" y="4087122"/>
                  <a:pt x="10950264" y="4087122"/>
                </a:cubicBezTo>
                <a:cubicBezTo>
                  <a:pt x="10978433" y="4087122"/>
                  <a:pt x="10978433" y="4087122"/>
                  <a:pt x="10978433" y="4087122"/>
                </a:cubicBezTo>
                <a:cubicBezTo>
                  <a:pt x="10981954" y="4087122"/>
                  <a:pt x="10985474" y="4083605"/>
                  <a:pt x="10985474" y="4080087"/>
                </a:cubicBezTo>
                <a:cubicBezTo>
                  <a:pt x="10985474" y="3956969"/>
                  <a:pt x="10985474" y="3956969"/>
                  <a:pt x="10985474" y="3956969"/>
                </a:cubicBezTo>
                <a:cubicBezTo>
                  <a:pt x="10992517" y="3953451"/>
                  <a:pt x="11013643" y="3935863"/>
                  <a:pt x="11038289" y="3935863"/>
                </a:cubicBezTo>
                <a:cubicBezTo>
                  <a:pt x="11041811" y="3932345"/>
                  <a:pt x="11045332" y="3932345"/>
                  <a:pt x="11045332" y="3928828"/>
                </a:cubicBezTo>
                <a:cubicBezTo>
                  <a:pt x="11045332" y="3900687"/>
                  <a:pt x="11045332" y="3900687"/>
                  <a:pt x="11045332" y="3900687"/>
                </a:cubicBezTo>
                <a:cubicBezTo>
                  <a:pt x="11045332" y="3900687"/>
                  <a:pt x="11045332" y="3897169"/>
                  <a:pt x="11041811" y="3897169"/>
                </a:cubicBezTo>
                <a:cubicBezTo>
                  <a:pt x="11041811" y="3893651"/>
                  <a:pt x="11038289" y="3893651"/>
                  <a:pt x="11038289" y="3893651"/>
                </a:cubicBezTo>
                <a:close/>
                <a:moveTo>
                  <a:pt x="10831647" y="3889620"/>
                </a:moveTo>
                <a:cubicBezTo>
                  <a:pt x="10810578" y="3889620"/>
                  <a:pt x="10775463" y="3896691"/>
                  <a:pt x="10761417" y="3896691"/>
                </a:cubicBezTo>
                <a:cubicBezTo>
                  <a:pt x="10757905" y="3896691"/>
                  <a:pt x="10754394" y="3900227"/>
                  <a:pt x="10754394" y="3903763"/>
                </a:cubicBezTo>
                <a:cubicBezTo>
                  <a:pt x="10754394" y="3903763"/>
                  <a:pt x="10754394" y="3903763"/>
                  <a:pt x="10754394" y="3928512"/>
                </a:cubicBezTo>
                <a:cubicBezTo>
                  <a:pt x="10754394" y="3932048"/>
                  <a:pt x="10754394" y="3932048"/>
                  <a:pt x="10757905" y="3935584"/>
                </a:cubicBezTo>
                <a:cubicBezTo>
                  <a:pt x="10757905" y="3935584"/>
                  <a:pt x="10761417" y="3935584"/>
                  <a:pt x="10761417" y="3935584"/>
                </a:cubicBezTo>
                <a:cubicBezTo>
                  <a:pt x="10778974" y="3935584"/>
                  <a:pt x="10807067" y="3932048"/>
                  <a:pt x="10828136" y="3932048"/>
                </a:cubicBezTo>
                <a:cubicBezTo>
                  <a:pt x="10842182" y="3932048"/>
                  <a:pt x="10852717" y="3942655"/>
                  <a:pt x="10852717" y="3956798"/>
                </a:cubicBezTo>
                <a:cubicBezTo>
                  <a:pt x="10852717" y="3956798"/>
                  <a:pt x="10852717" y="3956798"/>
                  <a:pt x="10852717" y="3967405"/>
                </a:cubicBezTo>
                <a:cubicBezTo>
                  <a:pt x="10852717" y="3967405"/>
                  <a:pt x="10852717" y="3967405"/>
                  <a:pt x="10803555" y="3970941"/>
                </a:cubicBezTo>
                <a:cubicBezTo>
                  <a:pt x="10761417" y="3974476"/>
                  <a:pt x="10740347" y="3992154"/>
                  <a:pt x="10740347" y="4031046"/>
                </a:cubicBezTo>
                <a:cubicBezTo>
                  <a:pt x="10740347" y="4069938"/>
                  <a:pt x="10761417" y="4091152"/>
                  <a:pt x="10796532" y="4091152"/>
                </a:cubicBezTo>
                <a:cubicBezTo>
                  <a:pt x="10824625" y="4091152"/>
                  <a:pt x="10859740" y="4077009"/>
                  <a:pt x="10859740" y="4077009"/>
                </a:cubicBezTo>
                <a:cubicBezTo>
                  <a:pt x="10866763" y="4084081"/>
                  <a:pt x="10873786" y="4087616"/>
                  <a:pt x="10887833" y="4091152"/>
                </a:cubicBezTo>
                <a:cubicBezTo>
                  <a:pt x="10891344" y="4091152"/>
                  <a:pt x="10891344" y="4091152"/>
                  <a:pt x="10894855" y="4087616"/>
                </a:cubicBezTo>
                <a:cubicBezTo>
                  <a:pt x="10894855" y="4087616"/>
                  <a:pt x="10894855" y="4084081"/>
                  <a:pt x="10894855" y="4084081"/>
                </a:cubicBezTo>
                <a:cubicBezTo>
                  <a:pt x="10894855" y="4084081"/>
                  <a:pt x="10894855" y="4084081"/>
                  <a:pt x="10894855" y="3956798"/>
                </a:cubicBezTo>
                <a:cubicBezTo>
                  <a:pt x="10894855" y="3910834"/>
                  <a:pt x="10873786" y="3889620"/>
                  <a:pt x="10831647" y="3889620"/>
                </a:cubicBezTo>
                <a:close/>
                <a:moveTo>
                  <a:pt x="10495822" y="3889619"/>
                </a:moveTo>
                <a:cubicBezTo>
                  <a:pt x="10448333" y="3889619"/>
                  <a:pt x="10409835" y="3934734"/>
                  <a:pt x="10409835" y="3990386"/>
                </a:cubicBezTo>
                <a:cubicBezTo>
                  <a:pt x="10409835" y="4046038"/>
                  <a:pt x="10448333" y="4091152"/>
                  <a:pt x="10495822" y="4091152"/>
                </a:cubicBezTo>
                <a:cubicBezTo>
                  <a:pt x="10543311" y="4091152"/>
                  <a:pt x="10581809" y="4046038"/>
                  <a:pt x="10581809" y="3990386"/>
                </a:cubicBezTo>
                <a:cubicBezTo>
                  <a:pt x="10581809" y="3934734"/>
                  <a:pt x="10543311" y="3889619"/>
                  <a:pt x="10495822" y="3889619"/>
                </a:cubicBezTo>
                <a:close/>
                <a:moveTo>
                  <a:pt x="10241892" y="3865436"/>
                </a:moveTo>
                <a:cubicBezTo>
                  <a:pt x="10248859" y="3865436"/>
                  <a:pt x="10255825" y="3865436"/>
                  <a:pt x="10273241" y="3865436"/>
                </a:cubicBezTo>
                <a:cubicBezTo>
                  <a:pt x="10273241" y="3865436"/>
                  <a:pt x="10273241" y="3865436"/>
                  <a:pt x="10290657" y="3865436"/>
                </a:cubicBezTo>
                <a:cubicBezTo>
                  <a:pt x="10322007" y="3865436"/>
                  <a:pt x="10335940" y="3886689"/>
                  <a:pt x="10335940" y="3904400"/>
                </a:cubicBezTo>
                <a:cubicBezTo>
                  <a:pt x="10335940" y="3929194"/>
                  <a:pt x="10318523" y="3943362"/>
                  <a:pt x="10287174" y="3943362"/>
                </a:cubicBezTo>
                <a:cubicBezTo>
                  <a:pt x="10266274" y="3943362"/>
                  <a:pt x="10248859" y="3943362"/>
                  <a:pt x="10241892" y="3943362"/>
                </a:cubicBezTo>
                <a:cubicBezTo>
                  <a:pt x="10241892" y="3943362"/>
                  <a:pt x="10241892" y="3943362"/>
                  <a:pt x="10241892" y="3865436"/>
                </a:cubicBezTo>
                <a:close/>
                <a:moveTo>
                  <a:pt x="10659063" y="3852001"/>
                </a:moveTo>
                <a:cubicBezTo>
                  <a:pt x="10659063" y="3852001"/>
                  <a:pt x="10659063" y="3852001"/>
                  <a:pt x="10627410" y="3859035"/>
                </a:cubicBezTo>
                <a:cubicBezTo>
                  <a:pt x="10623893" y="3859035"/>
                  <a:pt x="10623893" y="3862552"/>
                  <a:pt x="10623893" y="3866069"/>
                </a:cubicBezTo>
                <a:cubicBezTo>
                  <a:pt x="10623893" y="3866069"/>
                  <a:pt x="10623893" y="3866069"/>
                  <a:pt x="10623893" y="3897721"/>
                </a:cubicBezTo>
                <a:cubicBezTo>
                  <a:pt x="10623893" y="3897721"/>
                  <a:pt x="10623893" y="3897721"/>
                  <a:pt x="10606308" y="3897721"/>
                </a:cubicBezTo>
                <a:cubicBezTo>
                  <a:pt x="10602792" y="3897721"/>
                  <a:pt x="10599275" y="3897721"/>
                  <a:pt x="10599275" y="3904755"/>
                </a:cubicBezTo>
                <a:cubicBezTo>
                  <a:pt x="10599275" y="3904755"/>
                  <a:pt x="10599275" y="3904755"/>
                  <a:pt x="10599275" y="3929373"/>
                </a:cubicBezTo>
                <a:cubicBezTo>
                  <a:pt x="10599275" y="3932891"/>
                  <a:pt x="10602792" y="3936407"/>
                  <a:pt x="10606308" y="3936407"/>
                </a:cubicBezTo>
                <a:cubicBezTo>
                  <a:pt x="10606308" y="3936407"/>
                  <a:pt x="10606308" y="3936407"/>
                  <a:pt x="10623893" y="3936407"/>
                </a:cubicBezTo>
                <a:cubicBezTo>
                  <a:pt x="10623893" y="3936407"/>
                  <a:pt x="10623893" y="3936407"/>
                  <a:pt x="10623893" y="4020814"/>
                </a:cubicBezTo>
                <a:cubicBezTo>
                  <a:pt x="10623893" y="4073567"/>
                  <a:pt x="10637961" y="4091152"/>
                  <a:pt x="10680164" y="4091152"/>
                </a:cubicBezTo>
                <a:cubicBezTo>
                  <a:pt x="10690715" y="4091152"/>
                  <a:pt x="10701266" y="4087636"/>
                  <a:pt x="10711817" y="4087636"/>
                </a:cubicBezTo>
                <a:cubicBezTo>
                  <a:pt x="10715334" y="4087636"/>
                  <a:pt x="10718851" y="4084119"/>
                  <a:pt x="10718851" y="4080601"/>
                </a:cubicBezTo>
                <a:cubicBezTo>
                  <a:pt x="10718851" y="4080601"/>
                  <a:pt x="10718851" y="4080601"/>
                  <a:pt x="10718851" y="4055983"/>
                </a:cubicBezTo>
                <a:cubicBezTo>
                  <a:pt x="10718851" y="4052466"/>
                  <a:pt x="10715334" y="4048949"/>
                  <a:pt x="10711817" y="4048949"/>
                </a:cubicBezTo>
                <a:cubicBezTo>
                  <a:pt x="10704783" y="4048949"/>
                  <a:pt x="10694232" y="4048949"/>
                  <a:pt x="10687198" y="4048949"/>
                </a:cubicBezTo>
                <a:cubicBezTo>
                  <a:pt x="10666096" y="4048949"/>
                  <a:pt x="10666096" y="4041915"/>
                  <a:pt x="10666096" y="4013780"/>
                </a:cubicBezTo>
                <a:cubicBezTo>
                  <a:pt x="10666096" y="4013780"/>
                  <a:pt x="10666096" y="4013780"/>
                  <a:pt x="10666096" y="3936407"/>
                </a:cubicBezTo>
                <a:cubicBezTo>
                  <a:pt x="10666096" y="3936407"/>
                  <a:pt x="10666096" y="3936407"/>
                  <a:pt x="10711817" y="3936407"/>
                </a:cubicBezTo>
                <a:cubicBezTo>
                  <a:pt x="10715334" y="3936407"/>
                  <a:pt x="10718851" y="3932891"/>
                  <a:pt x="10718851" y="3929373"/>
                </a:cubicBezTo>
                <a:cubicBezTo>
                  <a:pt x="10718851" y="3929373"/>
                  <a:pt x="10718851" y="3929373"/>
                  <a:pt x="10718851" y="3904755"/>
                </a:cubicBezTo>
                <a:cubicBezTo>
                  <a:pt x="10718851" y="3897721"/>
                  <a:pt x="10715334" y="3897721"/>
                  <a:pt x="10711817" y="3897721"/>
                </a:cubicBezTo>
                <a:cubicBezTo>
                  <a:pt x="10711817" y="3897721"/>
                  <a:pt x="10711817" y="3897721"/>
                  <a:pt x="10666096" y="3897721"/>
                </a:cubicBezTo>
                <a:cubicBezTo>
                  <a:pt x="10666096" y="3897721"/>
                  <a:pt x="10666096" y="3897721"/>
                  <a:pt x="10666096" y="3859035"/>
                </a:cubicBezTo>
                <a:cubicBezTo>
                  <a:pt x="10666096" y="3855518"/>
                  <a:pt x="10666096" y="3855518"/>
                  <a:pt x="10662580" y="3852001"/>
                </a:cubicBezTo>
                <a:cubicBezTo>
                  <a:pt x="10662580" y="3852001"/>
                  <a:pt x="10659063" y="3852001"/>
                  <a:pt x="10659063" y="3852001"/>
                </a:cubicBezTo>
                <a:close/>
                <a:moveTo>
                  <a:pt x="10283668" y="3823787"/>
                </a:moveTo>
                <a:cubicBezTo>
                  <a:pt x="10273174" y="3823787"/>
                  <a:pt x="10241689" y="3823787"/>
                  <a:pt x="10203208" y="3827298"/>
                </a:cubicBezTo>
                <a:cubicBezTo>
                  <a:pt x="10199710" y="3827298"/>
                  <a:pt x="10196211" y="3830809"/>
                  <a:pt x="10196211" y="3834320"/>
                </a:cubicBezTo>
                <a:cubicBezTo>
                  <a:pt x="10196211" y="3834320"/>
                  <a:pt x="10196211" y="3834320"/>
                  <a:pt x="10196211" y="4080100"/>
                </a:cubicBezTo>
                <a:cubicBezTo>
                  <a:pt x="10196211" y="4083611"/>
                  <a:pt x="10199710" y="4087122"/>
                  <a:pt x="10203208" y="4087122"/>
                </a:cubicBezTo>
                <a:cubicBezTo>
                  <a:pt x="10203208" y="4087122"/>
                  <a:pt x="10203208" y="4087122"/>
                  <a:pt x="10234693" y="4087122"/>
                </a:cubicBezTo>
                <a:cubicBezTo>
                  <a:pt x="10238191" y="4087122"/>
                  <a:pt x="10241689" y="4083611"/>
                  <a:pt x="10241689" y="4080100"/>
                </a:cubicBezTo>
                <a:cubicBezTo>
                  <a:pt x="10241689" y="4080100"/>
                  <a:pt x="10241689" y="4080100"/>
                  <a:pt x="10241689" y="3981788"/>
                </a:cubicBezTo>
                <a:cubicBezTo>
                  <a:pt x="10252184" y="3985299"/>
                  <a:pt x="10269675" y="3985299"/>
                  <a:pt x="10290665" y="3985299"/>
                </a:cubicBezTo>
                <a:cubicBezTo>
                  <a:pt x="10290665" y="3985299"/>
                  <a:pt x="10290665" y="3985299"/>
                  <a:pt x="10336143" y="4083611"/>
                </a:cubicBezTo>
                <a:cubicBezTo>
                  <a:pt x="10336143" y="4083611"/>
                  <a:pt x="10339641" y="4087122"/>
                  <a:pt x="10343139" y="4087122"/>
                </a:cubicBezTo>
                <a:cubicBezTo>
                  <a:pt x="10343139" y="4087122"/>
                  <a:pt x="10343139" y="4087122"/>
                  <a:pt x="10374624" y="4087122"/>
                </a:cubicBezTo>
                <a:cubicBezTo>
                  <a:pt x="10378122" y="4087122"/>
                  <a:pt x="10381620" y="4083611"/>
                  <a:pt x="10381620" y="4083611"/>
                </a:cubicBezTo>
                <a:cubicBezTo>
                  <a:pt x="10381620" y="4080100"/>
                  <a:pt x="10381620" y="4080100"/>
                  <a:pt x="10381620" y="4076589"/>
                </a:cubicBezTo>
                <a:lnTo>
                  <a:pt x="10336143" y="3971255"/>
                </a:lnTo>
                <a:cubicBezTo>
                  <a:pt x="10367627" y="3957210"/>
                  <a:pt x="10381620" y="3936143"/>
                  <a:pt x="10381620" y="3904543"/>
                </a:cubicBezTo>
                <a:cubicBezTo>
                  <a:pt x="10381620" y="3865920"/>
                  <a:pt x="10364129" y="3823787"/>
                  <a:pt x="10290665" y="3823787"/>
                </a:cubicBezTo>
                <a:cubicBezTo>
                  <a:pt x="10290665" y="3823787"/>
                  <a:pt x="10287167" y="3823787"/>
                  <a:pt x="10283668" y="3823787"/>
                </a:cubicBezTo>
                <a:close/>
                <a:moveTo>
                  <a:pt x="11839186" y="3792865"/>
                </a:moveTo>
                <a:cubicBezTo>
                  <a:pt x="11841365" y="3793306"/>
                  <a:pt x="11843980" y="3795069"/>
                  <a:pt x="11845722" y="3798596"/>
                </a:cubicBezTo>
                <a:cubicBezTo>
                  <a:pt x="11901498" y="3855026"/>
                  <a:pt x="11929385" y="3946723"/>
                  <a:pt x="11908470" y="4038420"/>
                </a:cubicBezTo>
                <a:cubicBezTo>
                  <a:pt x="11908470" y="4041947"/>
                  <a:pt x="11904984" y="4045473"/>
                  <a:pt x="11898012" y="4041947"/>
                </a:cubicBezTo>
                <a:cubicBezTo>
                  <a:pt x="11898012" y="4041947"/>
                  <a:pt x="11898012" y="4041947"/>
                  <a:pt x="11859666" y="4031366"/>
                </a:cubicBezTo>
                <a:cubicBezTo>
                  <a:pt x="11856180" y="4031366"/>
                  <a:pt x="11852694" y="4027839"/>
                  <a:pt x="11852694" y="4020786"/>
                </a:cubicBezTo>
                <a:cubicBezTo>
                  <a:pt x="11866638" y="3946723"/>
                  <a:pt x="11849208" y="3886766"/>
                  <a:pt x="11807377" y="3840918"/>
                </a:cubicBezTo>
                <a:cubicBezTo>
                  <a:pt x="11800405" y="3837392"/>
                  <a:pt x="11800405" y="3830337"/>
                  <a:pt x="11807377" y="3826811"/>
                </a:cubicBezTo>
                <a:cubicBezTo>
                  <a:pt x="11807377" y="3826811"/>
                  <a:pt x="11807377" y="3826811"/>
                  <a:pt x="11835264" y="3795069"/>
                </a:cubicBezTo>
                <a:cubicBezTo>
                  <a:pt x="11835264" y="3793306"/>
                  <a:pt x="11837008" y="3792424"/>
                  <a:pt x="11839186" y="3792865"/>
                </a:cubicBezTo>
                <a:close/>
                <a:moveTo>
                  <a:pt x="11458923" y="3792865"/>
                </a:moveTo>
                <a:cubicBezTo>
                  <a:pt x="11461124" y="3792424"/>
                  <a:pt x="11462885" y="3793306"/>
                  <a:pt x="11462885" y="3795069"/>
                </a:cubicBezTo>
                <a:cubicBezTo>
                  <a:pt x="11462885" y="3795069"/>
                  <a:pt x="11462885" y="3795069"/>
                  <a:pt x="11494585" y="3826811"/>
                </a:cubicBezTo>
                <a:cubicBezTo>
                  <a:pt x="11498108" y="3830337"/>
                  <a:pt x="11498108" y="3837392"/>
                  <a:pt x="11491063" y="3840918"/>
                </a:cubicBezTo>
                <a:cubicBezTo>
                  <a:pt x="11448796" y="3886766"/>
                  <a:pt x="11431184" y="3946723"/>
                  <a:pt x="11445274" y="4020786"/>
                </a:cubicBezTo>
                <a:cubicBezTo>
                  <a:pt x="11445274" y="4027839"/>
                  <a:pt x="11441752" y="4031366"/>
                  <a:pt x="11438229" y="4031366"/>
                </a:cubicBezTo>
                <a:cubicBezTo>
                  <a:pt x="11438229" y="4031366"/>
                  <a:pt x="11438229" y="4031366"/>
                  <a:pt x="11399484" y="4041947"/>
                </a:cubicBezTo>
                <a:cubicBezTo>
                  <a:pt x="11392439" y="4045473"/>
                  <a:pt x="11388917" y="4041947"/>
                  <a:pt x="11388917" y="4038420"/>
                </a:cubicBezTo>
                <a:cubicBezTo>
                  <a:pt x="11367783" y="3946723"/>
                  <a:pt x="11395962" y="3855026"/>
                  <a:pt x="11452318" y="3798596"/>
                </a:cubicBezTo>
                <a:cubicBezTo>
                  <a:pt x="11454079" y="3795069"/>
                  <a:pt x="11456721" y="3793306"/>
                  <a:pt x="11458923" y="3792865"/>
                </a:cubicBezTo>
                <a:close/>
                <a:moveTo>
                  <a:pt x="11677605" y="3787511"/>
                </a:moveTo>
                <a:cubicBezTo>
                  <a:pt x="11681098" y="3787511"/>
                  <a:pt x="11681098" y="3787511"/>
                  <a:pt x="11684592" y="3787511"/>
                </a:cubicBezTo>
                <a:cubicBezTo>
                  <a:pt x="11730003" y="3798107"/>
                  <a:pt x="11761442" y="3815764"/>
                  <a:pt x="11792882" y="3851080"/>
                </a:cubicBezTo>
                <a:cubicBezTo>
                  <a:pt x="11796375" y="3854612"/>
                  <a:pt x="11796375" y="3854612"/>
                  <a:pt x="11796375" y="3858144"/>
                </a:cubicBezTo>
                <a:cubicBezTo>
                  <a:pt x="11796375" y="3861675"/>
                  <a:pt x="11792882" y="3861675"/>
                  <a:pt x="11789388" y="3865207"/>
                </a:cubicBezTo>
                <a:cubicBezTo>
                  <a:pt x="11789388" y="3865207"/>
                  <a:pt x="11789388" y="3865207"/>
                  <a:pt x="11698565" y="3911118"/>
                </a:cubicBezTo>
                <a:cubicBezTo>
                  <a:pt x="11695071" y="3911118"/>
                  <a:pt x="11691578" y="3911118"/>
                  <a:pt x="11688084" y="3911118"/>
                </a:cubicBezTo>
                <a:cubicBezTo>
                  <a:pt x="11684592" y="3907586"/>
                  <a:pt x="11684592" y="3904054"/>
                  <a:pt x="11681098" y="3900523"/>
                </a:cubicBezTo>
                <a:cubicBezTo>
                  <a:pt x="11681098" y="3900523"/>
                  <a:pt x="11681098" y="3900523"/>
                  <a:pt x="11674112" y="3798107"/>
                </a:cubicBezTo>
                <a:cubicBezTo>
                  <a:pt x="11674112" y="3794575"/>
                  <a:pt x="11674112" y="3791043"/>
                  <a:pt x="11677605" y="3787511"/>
                </a:cubicBezTo>
                <a:close/>
                <a:moveTo>
                  <a:pt x="11613922" y="3787511"/>
                </a:moveTo>
                <a:cubicBezTo>
                  <a:pt x="11617414" y="3787511"/>
                  <a:pt x="11617414" y="3787511"/>
                  <a:pt x="11620908" y="3787511"/>
                </a:cubicBezTo>
                <a:cubicBezTo>
                  <a:pt x="11620908" y="3791043"/>
                  <a:pt x="11624401" y="3794575"/>
                  <a:pt x="11624401" y="3798107"/>
                </a:cubicBezTo>
                <a:cubicBezTo>
                  <a:pt x="11624401" y="3798107"/>
                  <a:pt x="11624401" y="3798107"/>
                  <a:pt x="11613922" y="3904054"/>
                </a:cubicBezTo>
                <a:cubicBezTo>
                  <a:pt x="11613922" y="3907586"/>
                  <a:pt x="11613922" y="3911118"/>
                  <a:pt x="11610428" y="3911118"/>
                </a:cubicBezTo>
                <a:cubicBezTo>
                  <a:pt x="11606935" y="3911118"/>
                  <a:pt x="11603442" y="3911118"/>
                  <a:pt x="11599949" y="3911118"/>
                </a:cubicBezTo>
                <a:cubicBezTo>
                  <a:pt x="11599949" y="3911118"/>
                  <a:pt x="11599949" y="3911118"/>
                  <a:pt x="11509124" y="3865207"/>
                </a:cubicBezTo>
                <a:cubicBezTo>
                  <a:pt x="11505632" y="3865207"/>
                  <a:pt x="11502138" y="3861675"/>
                  <a:pt x="11502138" y="3858144"/>
                </a:cubicBezTo>
                <a:cubicBezTo>
                  <a:pt x="11502138" y="3858144"/>
                  <a:pt x="11502138" y="3854612"/>
                  <a:pt x="11505632" y="3851080"/>
                </a:cubicBezTo>
                <a:cubicBezTo>
                  <a:pt x="11537070" y="3819296"/>
                  <a:pt x="11568509" y="3798107"/>
                  <a:pt x="11613922" y="3787511"/>
                </a:cubicBezTo>
                <a:close/>
                <a:moveTo>
                  <a:pt x="11532772" y="3752579"/>
                </a:moveTo>
                <a:cubicBezTo>
                  <a:pt x="11536265" y="3752579"/>
                  <a:pt x="11539758" y="3756274"/>
                  <a:pt x="11539758" y="3759969"/>
                </a:cubicBezTo>
                <a:cubicBezTo>
                  <a:pt x="11539758" y="3763664"/>
                  <a:pt x="11539758" y="3763664"/>
                  <a:pt x="11536265" y="3763664"/>
                </a:cubicBezTo>
                <a:cubicBezTo>
                  <a:pt x="11536265" y="3763664"/>
                  <a:pt x="11536265" y="3763664"/>
                  <a:pt x="11529278" y="3767359"/>
                </a:cubicBezTo>
                <a:cubicBezTo>
                  <a:pt x="11529278" y="3767359"/>
                  <a:pt x="11529278" y="3767359"/>
                  <a:pt x="11525785" y="3759969"/>
                </a:cubicBezTo>
                <a:cubicBezTo>
                  <a:pt x="11525785" y="3759969"/>
                  <a:pt x="11525785" y="3759969"/>
                  <a:pt x="11522292" y="3759969"/>
                </a:cubicBezTo>
                <a:cubicBezTo>
                  <a:pt x="11525785" y="3756274"/>
                  <a:pt x="11529278" y="3756274"/>
                  <a:pt x="11532772" y="3752579"/>
                </a:cubicBezTo>
                <a:close/>
                <a:moveTo>
                  <a:pt x="11529297" y="3745382"/>
                </a:moveTo>
                <a:cubicBezTo>
                  <a:pt x="11525746" y="3748932"/>
                  <a:pt x="11518645" y="3752484"/>
                  <a:pt x="11511543" y="3756034"/>
                </a:cubicBezTo>
                <a:cubicBezTo>
                  <a:pt x="11511543" y="3756034"/>
                  <a:pt x="11511543" y="3756034"/>
                  <a:pt x="11515094" y="3759585"/>
                </a:cubicBezTo>
                <a:lnTo>
                  <a:pt x="11532848" y="3791543"/>
                </a:lnTo>
                <a:cubicBezTo>
                  <a:pt x="11536399" y="3791543"/>
                  <a:pt x="11536399" y="3787991"/>
                  <a:pt x="11539950" y="3787991"/>
                </a:cubicBezTo>
                <a:cubicBezTo>
                  <a:pt x="11539950" y="3787991"/>
                  <a:pt x="11539950" y="3787991"/>
                  <a:pt x="11532848" y="3773788"/>
                </a:cubicBezTo>
                <a:cubicBezTo>
                  <a:pt x="11532848" y="3773788"/>
                  <a:pt x="11532848" y="3773788"/>
                  <a:pt x="11539950" y="3770238"/>
                </a:cubicBezTo>
                <a:cubicBezTo>
                  <a:pt x="11539950" y="3770238"/>
                  <a:pt x="11539950" y="3770238"/>
                  <a:pt x="11554153" y="3780890"/>
                </a:cubicBezTo>
                <a:cubicBezTo>
                  <a:pt x="11557704" y="3777339"/>
                  <a:pt x="11557704" y="3777339"/>
                  <a:pt x="11561255" y="3777339"/>
                </a:cubicBezTo>
                <a:cubicBezTo>
                  <a:pt x="11561255" y="3777339"/>
                  <a:pt x="11561255" y="3777339"/>
                  <a:pt x="11547052" y="3763136"/>
                </a:cubicBezTo>
                <a:cubicBezTo>
                  <a:pt x="11547052" y="3763136"/>
                  <a:pt x="11547052" y="3763136"/>
                  <a:pt x="11547052" y="3759585"/>
                </a:cubicBezTo>
                <a:cubicBezTo>
                  <a:pt x="11550602" y="3752484"/>
                  <a:pt x="11539950" y="3741831"/>
                  <a:pt x="11529297" y="3745382"/>
                </a:cubicBezTo>
                <a:close/>
                <a:moveTo>
                  <a:pt x="11750205" y="3739144"/>
                </a:moveTo>
                <a:cubicBezTo>
                  <a:pt x="11753748" y="3763328"/>
                  <a:pt x="11753748" y="3763328"/>
                  <a:pt x="11753748" y="3763328"/>
                </a:cubicBezTo>
                <a:cubicBezTo>
                  <a:pt x="11746663" y="3780602"/>
                  <a:pt x="11746663" y="3780602"/>
                  <a:pt x="11746663" y="3780602"/>
                </a:cubicBezTo>
                <a:lnTo>
                  <a:pt x="11753748" y="3787511"/>
                </a:lnTo>
                <a:cubicBezTo>
                  <a:pt x="11760832" y="3770237"/>
                  <a:pt x="11760832" y="3770237"/>
                  <a:pt x="11760832" y="3770237"/>
                </a:cubicBezTo>
                <a:cubicBezTo>
                  <a:pt x="11785626" y="3756418"/>
                  <a:pt x="11785626" y="3756418"/>
                  <a:pt x="11785626" y="3756418"/>
                </a:cubicBezTo>
                <a:cubicBezTo>
                  <a:pt x="11785626" y="3756418"/>
                  <a:pt x="11782084" y="3752963"/>
                  <a:pt x="11778543" y="3752963"/>
                </a:cubicBezTo>
                <a:cubicBezTo>
                  <a:pt x="11760832" y="3759873"/>
                  <a:pt x="11760832" y="3759873"/>
                  <a:pt x="11760832" y="3759873"/>
                </a:cubicBezTo>
                <a:cubicBezTo>
                  <a:pt x="11757290" y="3742598"/>
                  <a:pt x="11757290" y="3742598"/>
                  <a:pt x="11757290" y="3742598"/>
                </a:cubicBezTo>
                <a:cubicBezTo>
                  <a:pt x="11753748" y="3739144"/>
                  <a:pt x="11753748" y="3739144"/>
                  <a:pt x="11750205" y="3739144"/>
                </a:cubicBezTo>
                <a:close/>
                <a:moveTo>
                  <a:pt x="11715224" y="3735114"/>
                </a:moveTo>
                <a:cubicBezTo>
                  <a:pt x="11718717" y="3735114"/>
                  <a:pt x="11722211" y="3735114"/>
                  <a:pt x="11725705" y="3738473"/>
                </a:cubicBezTo>
                <a:cubicBezTo>
                  <a:pt x="11725705" y="3738473"/>
                  <a:pt x="11729197" y="3738473"/>
                  <a:pt x="11729197" y="3741832"/>
                </a:cubicBezTo>
                <a:cubicBezTo>
                  <a:pt x="11729197" y="3745190"/>
                  <a:pt x="11725705" y="3748549"/>
                  <a:pt x="11722211" y="3748549"/>
                </a:cubicBezTo>
                <a:cubicBezTo>
                  <a:pt x="11722211" y="3748549"/>
                  <a:pt x="11722211" y="3748549"/>
                  <a:pt x="11711731" y="3745190"/>
                </a:cubicBezTo>
                <a:lnTo>
                  <a:pt x="11711731" y="3741832"/>
                </a:lnTo>
                <a:cubicBezTo>
                  <a:pt x="11711731" y="3741832"/>
                  <a:pt x="11711731" y="3741832"/>
                  <a:pt x="11715224" y="3735114"/>
                </a:cubicBezTo>
                <a:close/>
                <a:moveTo>
                  <a:pt x="11582079" y="3734609"/>
                </a:moveTo>
                <a:cubicBezTo>
                  <a:pt x="11589134" y="3731082"/>
                  <a:pt x="11596187" y="3738137"/>
                  <a:pt x="11596187" y="3745190"/>
                </a:cubicBezTo>
                <a:cubicBezTo>
                  <a:pt x="11596187" y="3752244"/>
                  <a:pt x="11589134" y="3759297"/>
                  <a:pt x="11582079" y="3759297"/>
                </a:cubicBezTo>
                <a:cubicBezTo>
                  <a:pt x="11575026" y="3759297"/>
                  <a:pt x="11567972" y="3755771"/>
                  <a:pt x="11567972" y="3748717"/>
                </a:cubicBezTo>
                <a:cubicBezTo>
                  <a:pt x="11567972" y="3748717"/>
                  <a:pt x="11567972" y="3748717"/>
                  <a:pt x="11567972" y="3745190"/>
                </a:cubicBezTo>
                <a:cubicBezTo>
                  <a:pt x="11567972" y="3738137"/>
                  <a:pt x="11575026" y="3734609"/>
                  <a:pt x="11582079" y="3734609"/>
                </a:cubicBezTo>
                <a:close/>
                <a:moveTo>
                  <a:pt x="11670081" y="3728395"/>
                </a:moveTo>
                <a:cubicBezTo>
                  <a:pt x="11670081" y="3728395"/>
                  <a:pt x="11670081" y="3728395"/>
                  <a:pt x="11673440" y="3738875"/>
                </a:cubicBezTo>
                <a:cubicBezTo>
                  <a:pt x="11673440" y="3738875"/>
                  <a:pt x="11673440" y="3738875"/>
                  <a:pt x="11676799" y="3745862"/>
                </a:cubicBezTo>
                <a:cubicBezTo>
                  <a:pt x="11673440" y="3745862"/>
                  <a:pt x="11666722" y="3745862"/>
                  <a:pt x="11663363" y="3745862"/>
                </a:cubicBezTo>
                <a:lnTo>
                  <a:pt x="11666722" y="3738875"/>
                </a:lnTo>
                <a:cubicBezTo>
                  <a:pt x="11666722" y="3738875"/>
                  <a:pt x="11666722" y="3738875"/>
                  <a:pt x="11670081" y="3728395"/>
                </a:cubicBezTo>
                <a:close/>
                <a:moveTo>
                  <a:pt x="11578609" y="3727879"/>
                </a:moveTo>
                <a:cubicBezTo>
                  <a:pt x="11568195" y="3727879"/>
                  <a:pt x="11561254" y="3734907"/>
                  <a:pt x="11561254" y="3745449"/>
                </a:cubicBezTo>
                <a:cubicBezTo>
                  <a:pt x="11561254" y="3748962"/>
                  <a:pt x="11561254" y="3748962"/>
                  <a:pt x="11561254" y="3748962"/>
                </a:cubicBezTo>
                <a:cubicBezTo>
                  <a:pt x="11561254" y="3759504"/>
                  <a:pt x="11571666" y="3770046"/>
                  <a:pt x="11582079" y="3766532"/>
                </a:cubicBezTo>
                <a:cubicBezTo>
                  <a:pt x="11595963" y="3766532"/>
                  <a:pt x="11602904" y="3759504"/>
                  <a:pt x="11602904" y="3745449"/>
                </a:cubicBezTo>
                <a:cubicBezTo>
                  <a:pt x="11602904" y="3734907"/>
                  <a:pt x="11592492" y="3724365"/>
                  <a:pt x="11578609" y="3727879"/>
                </a:cubicBezTo>
                <a:close/>
                <a:moveTo>
                  <a:pt x="11708922" y="3724365"/>
                </a:moveTo>
                <a:cubicBezTo>
                  <a:pt x="11708922" y="3724365"/>
                  <a:pt x="11708922" y="3724365"/>
                  <a:pt x="11705380" y="3742119"/>
                </a:cubicBezTo>
                <a:cubicBezTo>
                  <a:pt x="11705380" y="3742119"/>
                  <a:pt x="11705380" y="3742119"/>
                  <a:pt x="11698296" y="3763424"/>
                </a:cubicBezTo>
                <a:cubicBezTo>
                  <a:pt x="11701837" y="3766975"/>
                  <a:pt x="11705380" y="3766975"/>
                  <a:pt x="11708922" y="3766975"/>
                </a:cubicBezTo>
                <a:lnTo>
                  <a:pt x="11712464" y="3752772"/>
                </a:lnTo>
                <a:cubicBezTo>
                  <a:pt x="11712464" y="3752772"/>
                  <a:pt x="11712464" y="3752772"/>
                  <a:pt x="11719548" y="3752772"/>
                </a:cubicBezTo>
                <a:cubicBezTo>
                  <a:pt x="11719548" y="3752772"/>
                  <a:pt x="11719548" y="3752772"/>
                  <a:pt x="11723090" y="3770526"/>
                </a:cubicBezTo>
                <a:cubicBezTo>
                  <a:pt x="11726632" y="3774077"/>
                  <a:pt x="11726632" y="3774077"/>
                  <a:pt x="11730175" y="3774077"/>
                </a:cubicBezTo>
                <a:cubicBezTo>
                  <a:pt x="11730175" y="3774077"/>
                  <a:pt x="11730175" y="3774077"/>
                  <a:pt x="11726632" y="3756323"/>
                </a:cubicBezTo>
                <a:cubicBezTo>
                  <a:pt x="11733717" y="3752772"/>
                  <a:pt x="11737259" y="3745670"/>
                  <a:pt x="11737259" y="3742119"/>
                </a:cubicBezTo>
                <a:cubicBezTo>
                  <a:pt x="11737259" y="3735018"/>
                  <a:pt x="11733717" y="3731467"/>
                  <a:pt x="11730175" y="3731467"/>
                </a:cubicBezTo>
                <a:cubicBezTo>
                  <a:pt x="11723090" y="3727916"/>
                  <a:pt x="11716006" y="3724365"/>
                  <a:pt x="11708922" y="3724365"/>
                </a:cubicBezTo>
                <a:close/>
                <a:moveTo>
                  <a:pt x="11666295" y="3717647"/>
                </a:moveTo>
                <a:cubicBezTo>
                  <a:pt x="11666295" y="3717647"/>
                  <a:pt x="11666295" y="3717647"/>
                  <a:pt x="11659211" y="3738731"/>
                </a:cubicBezTo>
                <a:cubicBezTo>
                  <a:pt x="11659211" y="3738731"/>
                  <a:pt x="11659211" y="3738731"/>
                  <a:pt x="11648585" y="3759814"/>
                </a:cubicBezTo>
                <a:cubicBezTo>
                  <a:pt x="11652127" y="3759814"/>
                  <a:pt x="11652127" y="3759814"/>
                  <a:pt x="11655669" y="3759814"/>
                </a:cubicBezTo>
                <a:lnTo>
                  <a:pt x="11659211" y="3752786"/>
                </a:lnTo>
                <a:cubicBezTo>
                  <a:pt x="11666295" y="3752786"/>
                  <a:pt x="11669838" y="3752786"/>
                  <a:pt x="11676922" y="3752786"/>
                </a:cubicBezTo>
                <a:cubicBezTo>
                  <a:pt x="11676922" y="3752786"/>
                  <a:pt x="11676922" y="3752786"/>
                  <a:pt x="11680464" y="3759814"/>
                </a:cubicBezTo>
                <a:cubicBezTo>
                  <a:pt x="11684006" y="3759814"/>
                  <a:pt x="11684006" y="3763328"/>
                  <a:pt x="11687548" y="3763328"/>
                </a:cubicBezTo>
                <a:cubicBezTo>
                  <a:pt x="11687548" y="3763328"/>
                  <a:pt x="11687548" y="3763328"/>
                  <a:pt x="11680464" y="3738731"/>
                </a:cubicBezTo>
                <a:cubicBezTo>
                  <a:pt x="11680464" y="3738731"/>
                  <a:pt x="11680464" y="3738731"/>
                  <a:pt x="11676922" y="3717647"/>
                </a:cubicBezTo>
                <a:cubicBezTo>
                  <a:pt x="11676922" y="3717647"/>
                  <a:pt x="11676922" y="3717647"/>
                  <a:pt x="11666295" y="3717647"/>
                </a:cubicBezTo>
                <a:close/>
                <a:moveTo>
                  <a:pt x="11645898" y="3717647"/>
                </a:moveTo>
                <a:cubicBezTo>
                  <a:pt x="11628187" y="3717647"/>
                  <a:pt x="11621103" y="3717647"/>
                  <a:pt x="11606934" y="3721118"/>
                </a:cubicBezTo>
                <a:cubicBezTo>
                  <a:pt x="11606934" y="3728059"/>
                  <a:pt x="11606934" y="3728059"/>
                  <a:pt x="11606934" y="3728059"/>
                </a:cubicBezTo>
                <a:lnTo>
                  <a:pt x="11621103" y="3724589"/>
                </a:lnTo>
                <a:cubicBezTo>
                  <a:pt x="11624645" y="3759297"/>
                  <a:pt x="11624645" y="3759297"/>
                  <a:pt x="11624645" y="3759297"/>
                </a:cubicBezTo>
                <a:cubicBezTo>
                  <a:pt x="11635271" y="3759297"/>
                  <a:pt x="11635271" y="3759297"/>
                  <a:pt x="11635271" y="3759297"/>
                </a:cubicBezTo>
                <a:cubicBezTo>
                  <a:pt x="11631729" y="3724589"/>
                  <a:pt x="11631729" y="3724589"/>
                  <a:pt x="11631729" y="3724589"/>
                </a:cubicBezTo>
                <a:cubicBezTo>
                  <a:pt x="11645898" y="3724589"/>
                  <a:pt x="11645898" y="3724589"/>
                  <a:pt x="11645898" y="3724589"/>
                </a:cubicBezTo>
                <a:cubicBezTo>
                  <a:pt x="11645898" y="3717647"/>
                  <a:pt x="11645898" y="3717647"/>
                  <a:pt x="11645898" y="3717647"/>
                </a:cubicBezTo>
                <a:close/>
                <a:moveTo>
                  <a:pt x="11196257" y="3717646"/>
                </a:moveTo>
                <a:cubicBezTo>
                  <a:pt x="11214171" y="3717646"/>
                  <a:pt x="11221336" y="3735113"/>
                  <a:pt x="11221336" y="3752578"/>
                </a:cubicBezTo>
                <a:lnTo>
                  <a:pt x="11167595" y="3752578"/>
                </a:lnTo>
                <a:cubicBezTo>
                  <a:pt x="11167595" y="3735113"/>
                  <a:pt x="11178343" y="3717646"/>
                  <a:pt x="11196257" y="3717646"/>
                </a:cubicBezTo>
                <a:close/>
                <a:moveTo>
                  <a:pt x="11648585" y="3710930"/>
                </a:moveTo>
                <a:cubicBezTo>
                  <a:pt x="11711759" y="3710930"/>
                  <a:pt x="11767914" y="3731889"/>
                  <a:pt x="11813539" y="3766821"/>
                </a:cubicBezTo>
                <a:cubicBezTo>
                  <a:pt x="11820558" y="3773808"/>
                  <a:pt x="11820558" y="3777301"/>
                  <a:pt x="11817049" y="3780794"/>
                </a:cubicBezTo>
                <a:cubicBezTo>
                  <a:pt x="11817049" y="3780794"/>
                  <a:pt x="11817049" y="3780794"/>
                  <a:pt x="11788972" y="3812234"/>
                </a:cubicBezTo>
                <a:cubicBezTo>
                  <a:pt x="11785462" y="3815726"/>
                  <a:pt x="11781952" y="3815726"/>
                  <a:pt x="11774933" y="3812234"/>
                </a:cubicBezTo>
                <a:cubicBezTo>
                  <a:pt x="11739837" y="3784288"/>
                  <a:pt x="11694210" y="3766821"/>
                  <a:pt x="11648585" y="3766821"/>
                </a:cubicBezTo>
                <a:cubicBezTo>
                  <a:pt x="11599450" y="3766821"/>
                  <a:pt x="11557334" y="3784288"/>
                  <a:pt x="11522236" y="3812234"/>
                </a:cubicBezTo>
                <a:cubicBezTo>
                  <a:pt x="11515217" y="3815726"/>
                  <a:pt x="11511708" y="3815726"/>
                  <a:pt x="11508198" y="3812234"/>
                </a:cubicBezTo>
                <a:cubicBezTo>
                  <a:pt x="11508198" y="3812234"/>
                  <a:pt x="11508198" y="3812234"/>
                  <a:pt x="11480121" y="3780794"/>
                </a:cubicBezTo>
                <a:cubicBezTo>
                  <a:pt x="11476611" y="3777301"/>
                  <a:pt x="11476611" y="3773808"/>
                  <a:pt x="11483630" y="3766821"/>
                </a:cubicBezTo>
                <a:cubicBezTo>
                  <a:pt x="11529256" y="3731889"/>
                  <a:pt x="11585411" y="3710930"/>
                  <a:pt x="11648585" y="3710930"/>
                </a:cubicBezTo>
                <a:close/>
                <a:moveTo>
                  <a:pt x="11196481" y="3710929"/>
                </a:moveTo>
                <a:cubicBezTo>
                  <a:pt x="11172113" y="3710929"/>
                  <a:pt x="11158189" y="3728443"/>
                  <a:pt x="11158189" y="3759969"/>
                </a:cubicBezTo>
                <a:cubicBezTo>
                  <a:pt x="11158189" y="3787991"/>
                  <a:pt x="11168632" y="3809008"/>
                  <a:pt x="11199962" y="3809008"/>
                </a:cubicBezTo>
                <a:cubicBezTo>
                  <a:pt x="11206924" y="3809008"/>
                  <a:pt x="11220848" y="3805505"/>
                  <a:pt x="11227810" y="3802002"/>
                </a:cubicBezTo>
                <a:lnTo>
                  <a:pt x="11227810" y="3791494"/>
                </a:lnTo>
                <a:cubicBezTo>
                  <a:pt x="11220848" y="3794997"/>
                  <a:pt x="11210404" y="3798499"/>
                  <a:pt x="11199962" y="3798499"/>
                </a:cubicBezTo>
                <a:cubicBezTo>
                  <a:pt x="11179076" y="3798499"/>
                  <a:pt x="11168632" y="3780985"/>
                  <a:pt x="11168632" y="3763472"/>
                </a:cubicBezTo>
                <a:cubicBezTo>
                  <a:pt x="11168632" y="3763472"/>
                  <a:pt x="11168632" y="3763472"/>
                  <a:pt x="11234772" y="3763472"/>
                </a:cubicBezTo>
                <a:cubicBezTo>
                  <a:pt x="11234772" y="3763472"/>
                  <a:pt x="11234772" y="3763472"/>
                  <a:pt x="11234772" y="3756466"/>
                </a:cubicBezTo>
                <a:cubicBezTo>
                  <a:pt x="11234772" y="3731946"/>
                  <a:pt x="11224329" y="3710929"/>
                  <a:pt x="11196481" y="3710929"/>
                </a:cubicBezTo>
                <a:close/>
                <a:moveTo>
                  <a:pt x="10947253" y="3674653"/>
                </a:moveTo>
                <a:lnTo>
                  <a:pt x="10947253" y="3685401"/>
                </a:lnTo>
                <a:lnTo>
                  <a:pt x="10986216" y="3685401"/>
                </a:lnTo>
                <a:lnTo>
                  <a:pt x="10986216" y="3804977"/>
                </a:lnTo>
                <a:lnTo>
                  <a:pt x="10999652" y="3804977"/>
                </a:lnTo>
                <a:lnTo>
                  <a:pt x="10999652" y="3685401"/>
                </a:lnTo>
                <a:lnTo>
                  <a:pt x="11038614" y="3685401"/>
                </a:lnTo>
                <a:lnTo>
                  <a:pt x="11038614" y="3674653"/>
                </a:lnTo>
                <a:close/>
                <a:moveTo>
                  <a:pt x="11060111" y="3663904"/>
                </a:moveTo>
                <a:lnTo>
                  <a:pt x="11060111" y="3804977"/>
                </a:lnTo>
                <a:cubicBezTo>
                  <a:pt x="11060111" y="3804977"/>
                  <a:pt x="11060111" y="3804977"/>
                  <a:pt x="11070476" y="3804977"/>
                </a:cubicBezTo>
                <a:cubicBezTo>
                  <a:pt x="11070476" y="3804977"/>
                  <a:pt x="11070476" y="3804977"/>
                  <a:pt x="11070476" y="3755601"/>
                </a:cubicBezTo>
                <a:cubicBezTo>
                  <a:pt x="11070476" y="3737967"/>
                  <a:pt x="11077385" y="3716807"/>
                  <a:pt x="11098115" y="3716807"/>
                </a:cubicBezTo>
                <a:cubicBezTo>
                  <a:pt x="11118844" y="3716807"/>
                  <a:pt x="11118844" y="3730914"/>
                  <a:pt x="11118844" y="3748548"/>
                </a:cubicBezTo>
                <a:cubicBezTo>
                  <a:pt x="11118844" y="3748548"/>
                  <a:pt x="11118844" y="3748548"/>
                  <a:pt x="11118844" y="3804977"/>
                </a:cubicBezTo>
                <a:cubicBezTo>
                  <a:pt x="11118844" y="3804977"/>
                  <a:pt x="11118844" y="3804977"/>
                  <a:pt x="11132662" y="3804977"/>
                </a:cubicBezTo>
                <a:cubicBezTo>
                  <a:pt x="11132662" y="3804977"/>
                  <a:pt x="11132662" y="3804977"/>
                  <a:pt x="11132662" y="3748548"/>
                </a:cubicBezTo>
                <a:cubicBezTo>
                  <a:pt x="11132662" y="3723860"/>
                  <a:pt x="11125753" y="3709753"/>
                  <a:pt x="11101569" y="3709753"/>
                </a:cubicBezTo>
                <a:cubicBezTo>
                  <a:pt x="11087750" y="3709753"/>
                  <a:pt x="11077385" y="3716807"/>
                  <a:pt x="11070476" y="3727387"/>
                </a:cubicBezTo>
                <a:cubicBezTo>
                  <a:pt x="11070476" y="3727387"/>
                  <a:pt x="11070476" y="3727387"/>
                  <a:pt x="11070476" y="3663904"/>
                </a:cubicBezTo>
                <a:cubicBezTo>
                  <a:pt x="11070476" y="3663904"/>
                  <a:pt x="11070476" y="3663904"/>
                  <a:pt x="11060111" y="3663904"/>
                </a:cubicBezTo>
                <a:close/>
                <a:moveTo>
                  <a:pt x="11638739" y="3639721"/>
                </a:moveTo>
                <a:cubicBezTo>
                  <a:pt x="11628222" y="3657342"/>
                  <a:pt x="11624716" y="3674963"/>
                  <a:pt x="11624716" y="3692584"/>
                </a:cubicBezTo>
                <a:cubicBezTo>
                  <a:pt x="11621210" y="3692584"/>
                  <a:pt x="11603681" y="3696108"/>
                  <a:pt x="11600176" y="3696108"/>
                </a:cubicBezTo>
                <a:cubicBezTo>
                  <a:pt x="11596669" y="3678487"/>
                  <a:pt x="11586152" y="3660866"/>
                  <a:pt x="11575635" y="3650294"/>
                </a:cubicBezTo>
                <a:cubicBezTo>
                  <a:pt x="11575635" y="3650294"/>
                  <a:pt x="11575635" y="3650294"/>
                  <a:pt x="11572129" y="3650294"/>
                </a:cubicBezTo>
                <a:cubicBezTo>
                  <a:pt x="11565117" y="3650294"/>
                  <a:pt x="11558106" y="3653818"/>
                  <a:pt x="11551094" y="3653818"/>
                </a:cubicBezTo>
                <a:cubicBezTo>
                  <a:pt x="11551094" y="3653818"/>
                  <a:pt x="11551094" y="3653818"/>
                  <a:pt x="11551094" y="3657342"/>
                </a:cubicBezTo>
                <a:cubicBezTo>
                  <a:pt x="11547588" y="3664391"/>
                  <a:pt x="11547588" y="3671439"/>
                  <a:pt x="11547588" y="3682011"/>
                </a:cubicBezTo>
                <a:cubicBezTo>
                  <a:pt x="11547588" y="3692584"/>
                  <a:pt x="11547588" y="3699632"/>
                  <a:pt x="11551094" y="3710205"/>
                </a:cubicBezTo>
                <a:cubicBezTo>
                  <a:pt x="11547588" y="3710205"/>
                  <a:pt x="11530059" y="3717253"/>
                  <a:pt x="11530059" y="3717253"/>
                </a:cubicBezTo>
                <a:cubicBezTo>
                  <a:pt x="11519542" y="3703156"/>
                  <a:pt x="11505518" y="3689060"/>
                  <a:pt x="11491495" y="3682011"/>
                </a:cubicBezTo>
                <a:cubicBezTo>
                  <a:pt x="11484484" y="3682011"/>
                  <a:pt x="11477472" y="3689060"/>
                  <a:pt x="11470460" y="3692584"/>
                </a:cubicBezTo>
                <a:cubicBezTo>
                  <a:pt x="11470460" y="3710205"/>
                  <a:pt x="11473966" y="3727826"/>
                  <a:pt x="11484484" y="3745446"/>
                </a:cubicBezTo>
                <a:cubicBezTo>
                  <a:pt x="11480978" y="3745446"/>
                  <a:pt x="11470460" y="3756019"/>
                  <a:pt x="11466954" y="3756019"/>
                </a:cubicBezTo>
                <a:cubicBezTo>
                  <a:pt x="11456437" y="3745446"/>
                  <a:pt x="11438908" y="3734874"/>
                  <a:pt x="11421379" y="3731350"/>
                </a:cubicBezTo>
                <a:cubicBezTo>
                  <a:pt x="11414367" y="3734874"/>
                  <a:pt x="11407356" y="3741922"/>
                  <a:pt x="11403850" y="3745446"/>
                </a:cubicBezTo>
                <a:cubicBezTo>
                  <a:pt x="11403850" y="3745446"/>
                  <a:pt x="11403850" y="3745446"/>
                  <a:pt x="11403850" y="3748970"/>
                </a:cubicBezTo>
                <a:cubicBezTo>
                  <a:pt x="11407356" y="3763068"/>
                  <a:pt x="11417873" y="3780688"/>
                  <a:pt x="11431896" y="3794785"/>
                </a:cubicBezTo>
                <a:cubicBezTo>
                  <a:pt x="11428390" y="3794785"/>
                  <a:pt x="11417873" y="3812406"/>
                  <a:pt x="11417873" y="3812406"/>
                </a:cubicBezTo>
                <a:cubicBezTo>
                  <a:pt x="11400344" y="3805357"/>
                  <a:pt x="11382815" y="3798309"/>
                  <a:pt x="11365286" y="3798309"/>
                </a:cubicBezTo>
                <a:cubicBezTo>
                  <a:pt x="11361780" y="3805357"/>
                  <a:pt x="11354768" y="3812406"/>
                  <a:pt x="11354768" y="3819454"/>
                </a:cubicBezTo>
                <a:cubicBezTo>
                  <a:pt x="11361780" y="3833551"/>
                  <a:pt x="11375803" y="3847647"/>
                  <a:pt x="11389827" y="3858221"/>
                </a:cubicBezTo>
                <a:cubicBezTo>
                  <a:pt x="11389827" y="3861745"/>
                  <a:pt x="11382815" y="3875841"/>
                  <a:pt x="11382815" y="3879365"/>
                </a:cubicBezTo>
                <a:cubicBezTo>
                  <a:pt x="11365286" y="3872317"/>
                  <a:pt x="11344251" y="3872317"/>
                  <a:pt x="11330228" y="3879365"/>
                </a:cubicBezTo>
                <a:cubicBezTo>
                  <a:pt x="11326722" y="3886414"/>
                  <a:pt x="11323216" y="3893462"/>
                  <a:pt x="11323216" y="3900510"/>
                </a:cubicBezTo>
                <a:cubicBezTo>
                  <a:pt x="11333733" y="3914607"/>
                  <a:pt x="11351262" y="3921655"/>
                  <a:pt x="11368791" y="3928704"/>
                </a:cubicBezTo>
                <a:cubicBezTo>
                  <a:pt x="11368791" y="3932228"/>
                  <a:pt x="11365286" y="3946324"/>
                  <a:pt x="11365286" y="3949848"/>
                </a:cubicBezTo>
                <a:cubicBezTo>
                  <a:pt x="11347757" y="3949848"/>
                  <a:pt x="11330228" y="3956897"/>
                  <a:pt x="11316205" y="3963946"/>
                </a:cubicBezTo>
                <a:cubicBezTo>
                  <a:pt x="11316205" y="3963946"/>
                  <a:pt x="11316205" y="3963946"/>
                  <a:pt x="11312698" y="3963946"/>
                </a:cubicBezTo>
                <a:cubicBezTo>
                  <a:pt x="11312698" y="3967470"/>
                  <a:pt x="11312698" y="3970994"/>
                  <a:pt x="11312698" y="3978042"/>
                </a:cubicBezTo>
                <a:cubicBezTo>
                  <a:pt x="11312698" y="3981566"/>
                  <a:pt x="11312698" y="3985090"/>
                  <a:pt x="11312698" y="3988615"/>
                </a:cubicBezTo>
                <a:cubicBezTo>
                  <a:pt x="11312698" y="3988615"/>
                  <a:pt x="11312698" y="3988615"/>
                  <a:pt x="11316205" y="3988615"/>
                </a:cubicBezTo>
                <a:cubicBezTo>
                  <a:pt x="11330228" y="3999188"/>
                  <a:pt x="11347757" y="4002712"/>
                  <a:pt x="11365286" y="4002712"/>
                </a:cubicBezTo>
                <a:cubicBezTo>
                  <a:pt x="11365286" y="4006236"/>
                  <a:pt x="11368791" y="4023857"/>
                  <a:pt x="11368791" y="4023857"/>
                </a:cubicBezTo>
                <a:cubicBezTo>
                  <a:pt x="11351262" y="4030905"/>
                  <a:pt x="11333733" y="4041477"/>
                  <a:pt x="11323216" y="4052050"/>
                </a:cubicBezTo>
                <a:cubicBezTo>
                  <a:pt x="11323216" y="4052050"/>
                  <a:pt x="11323216" y="4052050"/>
                  <a:pt x="11323216" y="4055574"/>
                </a:cubicBezTo>
                <a:cubicBezTo>
                  <a:pt x="11323216" y="4059099"/>
                  <a:pt x="11326722" y="4069671"/>
                  <a:pt x="11330228" y="4076719"/>
                </a:cubicBezTo>
                <a:cubicBezTo>
                  <a:pt x="11347757" y="4080243"/>
                  <a:pt x="11365286" y="4080243"/>
                  <a:pt x="11382815" y="4076719"/>
                </a:cubicBezTo>
                <a:cubicBezTo>
                  <a:pt x="11382815" y="4076719"/>
                  <a:pt x="11389827" y="4094340"/>
                  <a:pt x="11393332" y="4097865"/>
                </a:cubicBezTo>
                <a:cubicBezTo>
                  <a:pt x="11375803" y="4104913"/>
                  <a:pt x="11361780" y="4119009"/>
                  <a:pt x="11354768" y="4133106"/>
                </a:cubicBezTo>
                <a:cubicBezTo>
                  <a:pt x="11354768" y="4133106"/>
                  <a:pt x="11354768" y="4133106"/>
                  <a:pt x="11354768" y="4136630"/>
                </a:cubicBezTo>
                <a:cubicBezTo>
                  <a:pt x="11358274" y="4140154"/>
                  <a:pt x="11361780" y="4150727"/>
                  <a:pt x="11365286" y="4154251"/>
                </a:cubicBezTo>
                <a:cubicBezTo>
                  <a:pt x="11382815" y="4154251"/>
                  <a:pt x="11400344" y="4150727"/>
                  <a:pt x="11417873" y="4140154"/>
                </a:cubicBezTo>
                <a:cubicBezTo>
                  <a:pt x="11417873" y="4143679"/>
                  <a:pt x="11428390" y="4157775"/>
                  <a:pt x="11431896" y="4161300"/>
                </a:cubicBezTo>
                <a:cubicBezTo>
                  <a:pt x="11417873" y="4171872"/>
                  <a:pt x="11410861" y="4189492"/>
                  <a:pt x="11403850" y="4207114"/>
                </a:cubicBezTo>
                <a:cubicBezTo>
                  <a:pt x="11410861" y="4210638"/>
                  <a:pt x="11414367" y="4217686"/>
                  <a:pt x="11421379" y="4221210"/>
                </a:cubicBezTo>
                <a:cubicBezTo>
                  <a:pt x="11438908" y="4217686"/>
                  <a:pt x="11456437" y="4210638"/>
                  <a:pt x="11466954" y="4196542"/>
                </a:cubicBezTo>
                <a:cubicBezTo>
                  <a:pt x="11470460" y="4196542"/>
                  <a:pt x="11484484" y="4210638"/>
                  <a:pt x="11484484" y="4210638"/>
                </a:cubicBezTo>
                <a:cubicBezTo>
                  <a:pt x="11477472" y="4224734"/>
                  <a:pt x="11473966" y="4245880"/>
                  <a:pt x="11473966" y="4259976"/>
                </a:cubicBezTo>
                <a:cubicBezTo>
                  <a:pt x="11473966" y="4259976"/>
                  <a:pt x="11473966" y="4263501"/>
                  <a:pt x="11473966" y="4263501"/>
                </a:cubicBezTo>
                <a:cubicBezTo>
                  <a:pt x="11477472" y="4267025"/>
                  <a:pt x="11484484" y="4270549"/>
                  <a:pt x="11491495" y="4274073"/>
                </a:cubicBezTo>
                <a:cubicBezTo>
                  <a:pt x="11491495" y="4274073"/>
                  <a:pt x="11491495" y="4274073"/>
                  <a:pt x="11495001" y="4274073"/>
                </a:cubicBezTo>
                <a:cubicBezTo>
                  <a:pt x="11509024" y="4267025"/>
                  <a:pt x="11523047" y="4252928"/>
                  <a:pt x="11530059" y="4235307"/>
                </a:cubicBezTo>
                <a:cubicBezTo>
                  <a:pt x="11533564" y="4238831"/>
                  <a:pt x="11547588" y="4242356"/>
                  <a:pt x="11551094" y="4245880"/>
                </a:cubicBezTo>
                <a:cubicBezTo>
                  <a:pt x="11547588" y="4252928"/>
                  <a:pt x="11547588" y="4263501"/>
                  <a:pt x="11547588" y="4270549"/>
                </a:cubicBezTo>
                <a:cubicBezTo>
                  <a:pt x="11547588" y="4281121"/>
                  <a:pt x="11547588" y="4288170"/>
                  <a:pt x="11551094" y="4298743"/>
                </a:cubicBezTo>
                <a:cubicBezTo>
                  <a:pt x="11558106" y="4302267"/>
                  <a:pt x="11565117" y="4302267"/>
                  <a:pt x="11572129" y="4305791"/>
                </a:cubicBezTo>
                <a:cubicBezTo>
                  <a:pt x="11572129" y="4305791"/>
                  <a:pt x="11572129" y="4305791"/>
                  <a:pt x="11575635" y="4305791"/>
                </a:cubicBezTo>
                <a:cubicBezTo>
                  <a:pt x="11586152" y="4291694"/>
                  <a:pt x="11596669" y="4274073"/>
                  <a:pt x="11600176" y="4259976"/>
                </a:cubicBezTo>
                <a:cubicBezTo>
                  <a:pt x="11603681" y="4259976"/>
                  <a:pt x="11621210" y="4259976"/>
                  <a:pt x="11624716" y="4259976"/>
                </a:cubicBezTo>
                <a:cubicBezTo>
                  <a:pt x="11624716" y="4281121"/>
                  <a:pt x="11628222" y="4298743"/>
                  <a:pt x="11638739" y="4312839"/>
                </a:cubicBezTo>
                <a:cubicBezTo>
                  <a:pt x="11645751" y="4312839"/>
                  <a:pt x="11656268" y="4312839"/>
                  <a:pt x="11659774" y="4312839"/>
                </a:cubicBezTo>
                <a:cubicBezTo>
                  <a:pt x="11659774" y="4312839"/>
                  <a:pt x="11659774" y="4312839"/>
                  <a:pt x="11663280" y="4312839"/>
                </a:cubicBezTo>
                <a:cubicBezTo>
                  <a:pt x="11670291" y="4298743"/>
                  <a:pt x="11677303" y="4281121"/>
                  <a:pt x="11677303" y="4259976"/>
                </a:cubicBezTo>
                <a:cubicBezTo>
                  <a:pt x="11677303" y="4259976"/>
                  <a:pt x="11694832" y="4259976"/>
                  <a:pt x="11698339" y="4259976"/>
                </a:cubicBezTo>
                <a:cubicBezTo>
                  <a:pt x="11701844" y="4274073"/>
                  <a:pt x="11712361" y="4291694"/>
                  <a:pt x="11722879" y="4305791"/>
                </a:cubicBezTo>
                <a:cubicBezTo>
                  <a:pt x="11722879" y="4305791"/>
                  <a:pt x="11722879" y="4305791"/>
                  <a:pt x="11726385" y="4305791"/>
                </a:cubicBezTo>
                <a:cubicBezTo>
                  <a:pt x="11733396" y="4302267"/>
                  <a:pt x="11740408" y="4302267"/>
                  <a:pt x="11747420" y="4298743"/>
                </a:cubicBezTo>
                <a:cubicBezTo>
                  <a:pt x="11750925" y="4288170"/>
                  <a:pt x="11750925" y="4281121"/>
                  <a:pt x="11750925" y="4270549"/>
                </a:cubicBezTo>
                <a:cubicBezTo>
                  <a:pt x="11750925" y="4263501"/>
                  <a:pt x="11750925" y="4252928"/>
                  <a:pt x="11747420" y="4245880"/>
                </a:cubicBezTo>
                <a:cubicBezTo>
                  <a:pt x="11750925" y="4242356"/>
                  <a:pt x="11764949" y="4235307"/>
                  <a:pt x="11768454" y="4235307"/>
                </a:cubicBezTo>
                <a:cubicBezTo>
                  <a:pt x="11778972" y="4252928"/>
                  <a:pt x="11789490" y="4263501"/>
                  <a:pt x="11807019" y="4274073"/>
                </a:cubicBezTo>
                <a:cubicBezTo>
                  <a:pt x="11814030" y="4270549"/>
                  <a:pt x="11821042" y="4267025"/>
                  <a:pt x="11824547" y="4263501"/>
                </a:cubicBezTo>
                <a:cubicBezTo>
                  <a:pt x="11824547" y="4263501"/>
                  <a:pt x="11824547" y="4263501"/>
                  <a:pt x="11828054" y="4263501"/>
                </a:cubicBezTo>
                <a:cubicBezTo>
                  <a:pt x="11828054" y="4263501"/>
                  <a:pt x="11828054" y="4259976"/>
                  <a:pt x="11828054" y="4259976"/>
                </a:cubicBezTo>
                <a:cubicBezTo>
                  <a:pt x="11828054" y="4242356"/>
                  <a:pt x="11821042" y="4224734"/>
                  <a:pt x="11814030" y="4210638"/>
                </a:cubicBezTo>
                <a:cubicBezTo>
                  <a:pt x="11814030" y="4207114"/>
                  <a:pt x="11828054" y="4196542"/>
                  <a:pt x="11831559" y="4196542"/>
                </a:cubicBezTo>
                <a:cubicBezTo>
                  <a:pt x="11842076" y="4207114"/>
                  <a:pt x="11859606" y="4217686"/>
                  <a:pt x="11877135" y="4221210"/>
                </a:cubicBezTo>
                <a:cubicBezTo>
                  <a:pt x="11884146" y="4217686"/>
                  <a:pt x="11891158" y="4210638"/>
                  <a:pt x="11894664" y="4207114"/>
                </a:cubicBezTo>
                <a:cubicBezTo>
                  <a:pt x="11894664" y="4207114"/>
                  <a:pt x="11894664" y="4207114"/>
                  <a:pt x="11894664" y="4203590"/>
                </a:cubicBezTo>
                <a:cubicBezTo>
                  <a:pt x="11891158" y="4189492"/>
                  <a:pt x="11880641" y="4171872"/>
                  <a:pt x="11866617" y="4157775"/>
                </a:cubicBezTo>
                <a:cubicBezTo>
                  <a:pt x="11870123" y="4157775"/>
                  <a:pt x="11880641" y="4143679"/>
                  <a:pt x="11880641" y="4140154"/>
                </a:cubicBezTo>
                <a:cubicBezTo>
                  <a:pt x="11898170" y="4150727"/>
                  <a:pt x="11915699" y="4154251"/>
                  <a:pt x="11933228" y="4154251"/>
                </a:cubicBezTo>
                <a:cubicBezTo>
                  <a:pt x="11936734" y="4147203"/>
                  <a:pt x="11940239" y="4140154"/>
                  <a:pt x="11943746" y="4136630"/>
                </a:cubicBezTo>
                <a:cubicBezTo>
                  <a:pt x="11943746" y="4136630"/>
                  <a:pt x="11943746" y="4136630"/>
                  <a:pt x="11943746" y="4133106"/>
                </a:cubicBezTo>
                <a:cubicBezTo>
                  <a:pt x="11936734" y="4119009"/>
                  <a:pt x="11922710" y="4104913"/>
                  <a:pt x="11908688" y="4094340"/>
                </a:cubicBezTo>
                <a:cubicBezTo>
                  <a:pt x="11908688" y="4094340"/>
                  <a:pt x="11915699" y="4076719"/>
                  <a:pt x="11915699" y="4076719"/>
                </a:cubicBezTo>
                <a:cubicBezTo>
                  <a:pt x="11933228" y="4080243"/>
                  <a:pt x="11950757" y="4080243"/>
                  <a:pt x="11968286" y="4076719"/>
                </a:cubicBezTo>
                <a:cubicBezTo>
                  <a:pt x="11968286" y="4076719"/>
                  <a:pt x="11968286" y="4076719"/>
                  <a:pt x="11968286" y="4073195"/>
                </a:cubicBezTo>
                <a:cubicBezTo>
                  <a:pt x="11971792" y="4069671"/>
                  <a:pt x="11975298" y="4059099"/>
                  <a:pt x="11975298" y="4052050"/>
                </a:cubicBezTo>
                <a:cubicBezTo>
                  <a:pt x="11961275" y="4037953"/>
                  <a:pt x="11947251" y="4030905"/>
                  <a:pt x="11929722" y="4023857"/>
                </a:cubicBezTo>
                <a:cubicBezTo>
                  <a:pt x="11929722" y="4023857"/>
                  <a:pt x="11929722" y="4006236"/>
                  <a:pt x="11933228" y="4002712"/>
                </a:cubicBezTo>
                <a:cubicBezTo>
                  <a:pt x="11950757" y="4002712"/>
                  <a:pt x="11968286" y="3999188"/>
                  <a:pt x="11982310" y="3988615"/>
                </a:cubicBezTo>
                <a:cubicBezTo>
                  <a:pt x="11985815" y="3985090"/>
                  <a:pt x="11985815" y="3981566"/>
                  <a:pt x="11985815" y="3978042"/>
                </a:cubicBezTo>
                <a:cubicBezTo>
                  <a:pt x="11985815" y="3974518"/>
                  <a:pt x="11985815" y="3970994"/>
                  <a:pt x="11982310" y="3967470"/>
                </a:cubicBezTo>
                <a:cubicBezTo>
                  <a:pt x="11982310" y="3967470"/>
                  <a:pt x="11982310" y="3967470"/>
                  <a:pt x="11982310" y="3963946"/>
                </a:cubicBezTo>
                <a:cubicBezTo>
                  <a:pt x="11968286" y="3956897"/>
                  <a:pt x="11950757" y="3949848"/>
                  <a:pt x="11933228" y="3949848"/>
                </a:cubicBezTo>
                <a:cubicBezTo>
                  <a:pt x="11933228" y="3949848"/>
                  <a:pt x="11929722" y="3932228"/>
                  <a:pt x="11929722" y="3928704"/>
                </a:cubicBezTo>
                <a:cubicBezTo>
                  <a:pt x="11947251" y="3925180"/>
                  <a:pt x="11964780" y="3914607"/>
                  <a:pt x="11975298" y="3904035"/>
                </a:cubicBezTo>
                <a:cubicBezTo>
                  <a:pt x="11975298" y="3904035"/>
                  <a:pt x="11975298" y="3904035"/>
                  <a:pt x="11975298" y="3900510"/>
                </a:cubicBezTo>
                <a:cubicBezTo>
                  <a:pt x="11975298" y="3893462"/>
                  <a:pt x="11971792" y="3886414"/>
                  <a:pt x="11968286" y="3879365"/>
                </a:cubicBezTo>
                <a:cubicBezTo>
                  <a:pt x="11950757" y="3875841"/>
                  <a:pt x="11933228" y="3875841"/>
                  <a:pt x="11915699" y="3879365"/>
                </a:cubicBezTo>
                <a:cubicBezTo>
                  <a:pt x="11915699" y="3875841"/>
                  <a:pt x="11908688" y="3861745"/>
                  <a:pt x="11908688" y="3858221"/>
                </a:cubicBezTo>
                <a:cubicBezTo>
                  <a:pt x="11922710" y="3847647"/>
                  <a:pt x="11936734" y="3837075"/>
                  <a:pt x="11943746" y="3819454"/>
                </a:cubicBezTo>
                <a:cubicBezTo>
                  <a:pt x="11943746" y="3812406"/>
                  <a:pt x="11936734" y="3805357"/>
                  <a:pt x="11933228" y="3801833"/>
                </a:cubicBezTo>
                <a:cubicBezTo>
                  <a:pt x="11933228" y="3801833"/>
                  <a:pt x="11933228" y="3801833"/>
                  <a:pt x="11933228" y="3798309"/>
                </a:cubicBezTo>
                <a:cubicBezTo>
                  <a:pt x="11915699" y="3798309"/>
                  <a:pt x="11898170" y="3805357"/>
                  <a:pt x="11880641" y="3812406"/>
                </a:cubicBezTo>
                <a:cubicBezTo>
                  <a:pt x="11880641" y="3812406"/>
                  <a:pt x="11870123" y="3798309"/>
                  <a:pt x="11866617" y="3794785"/>
                </a:cubicBezTo>
                <a:cubicBezTo>
                  <a:pt x="11880641" y="3780688"/>
                  <a:pt x="11891158" y="3766592"/>
                  <a:pt x="11894664" y="3748970"/>
                </a:cubicBezTo>
                <a:cubicBezTo>
                  <a:pt x="11891158" y="3741922"/>
                  <a:pt x="11884146" y="3734874"/>
                  <a:pt x="11877135" y="3731350"/>
                </a:cubicBezTo>
                <a:cubicBezTo>
                  <a:pt x="11859606" y="3734874"/>
                  <a:pt x="11845583" y="3745446"/>
                  <a:pt x="11831559" y="3759544"/>
                </a:cubicBezTo>
                <a:cubicBezTo>
                  <a:pt x="11828054" y="3756019"/>
                  <a:pt x="11814030" y="3745446"/>
                  <a:pt x="11814030" y="3745446"/>
                </a:cubicBezTo>
                <a:cubicBezTo>
                  <a:pt x="11821042" y="3727826"/>
                  <a:pt x="11828054" y="3710205"/>
                  <a:pt x="11828054" y="3692584"/>
                </a:cubicBezTo>
                <a:cubicBezTo>
                  <a:pt x="11821042" y="3689060"/>
                  <a:pt x="11814030" y="3682011"/>
                  <a:pt x="11807019" y="3682011"/>
                </a:cubicBezTo>
                <a:cubicBezTo>
                  <a:pt x="11792995" y="3689060"/>
                  <a:pt x="11778972" y="3703156"/>
                  <a:pt x="11768454" y="3717253"/>
                </a:cubicBezTo>
                <a:cubicBezTo>
                  <a:pt x="11764949" y="3717253"/>
                  <a:pt x="11750925" y="3710205"/>
                  <a:pt x="11747420" y="3710205"/>
                </a:cubicBezTo>
                <a:cubicBezTo>
                  <a:pt x="11750925" y="3699632"/>
                  <a:pt x="11750925" y="3692584"/>
                  <a:pt x="11750925" y="3682011"/>
                </a:cubicBezTo>
                <a:cubicBezTo>
                  <a:pt x="11750925" y="3671439"/>
                  <a:pt x="11750925" y="3664391"/>
                  <a:pt x="11747420" y="3657342"/>
                </a:cubicBezTo>
                <a:cubicBezTo>
                  <a:pt x="11747420" y="3657342"/>
                  <a:pt x="11747420" y="3657342"/>
                  <a:pt x="11747420" y="3653818"/>
                </a:cubicBezTo>
                <a:cubicBezTo>
                  <a:pt x="11740408" y="3653818"/>
                  <a:pt x="11733396" y="3650294"/>
                  <a:pt x="11726385" y="3650294"/>
                </a:cubicBezTo>
                <a:cubicBezTo>
                  <a:pt x="11726385" y="3650294"/>
                  <a:pt x="11726385" y="3650294"/>
                  <a:pt x="11722879" y="3650294"/>
                </a:cubicBezTo>
                <a:cubicBezTo>
                  <a:pt x="11712361" y="3660866"/>
                  <a:pt x="11701844" y="3678487"/>
                  <a:pt x="11698339" y="3696108"/>
                </a:cubicBezTo>
                <a:cubicBezTo>
                  <a:pt x="11694832" y="3696108"/>
                  <a:pt x="11677303" y="3692584"/>
                  <a:pt x="11673798" y="3692584"/>
                </a:cubicBezTo>
                <a:cubicBezTo>
                  <a:pt x="11673798" y="3674963"/>
                  <a:pt x="11670291" y="3657342"/>
                  <a:pt x="11659774" y="3639721"/>
                </a:cubicBezTo>
                <a:cubicBezTo>
                  <a:pt x="11652763" y="3639721"/>
                  <a:pt x="11645751" y="3639721"/>
                  <a:pt x="11638739" y="3639721"/>
                </a:cubicBezTo>
                <a:close/>
                <a:moveTo>
                  <a:pt x="0" y="0"/>
                </a:moveTo>
                <a:lnTo>
                  <a:pt x="12192000" y="0"/>
                </a:lnTo>
                <a:lnTo>
                  <a:pt x="12192000" y="4454665"/>
                </a:lnTo>
                <a:lnTo>
                  <a:pt x="0" y="4454665"/>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205740" rtlCol="0" anchor="b">
            <a:noAutofit/>
          </a:bodyPr>
          <a:lstStyle/>
          <a:p>
            <a:pPr algn="l"/>
            <a:r>
              <a:rPr lang="en-US" sz="1800" dirty="0">
                <a:solidFill>
                  <a:schemeClr val="lt1">
                    <a:alpha val="0"/>
                  </a:schemeClr>
                </a:solidFill>
              </a:rPr>
              <a:t>z</a:t>
            </a:r>
          </a:p>
        </p:txBody>
      </p:sp>
      <p:sp>
        <p:nvSpPr>
          <p:cNvPr id="13" name="Text Placeholder 11">
            <a:extLst>
              <a:ext uri="{FF2B5EF4-FFF2-40B4-BE49-F238E27FC236}">
                <a16:creationId xmlns:a16="http://schemas.microsoft.com/office/drawing/2014/main" id="{9D3472EC-3332-4840-B3B3-3F529B60B0CF}"/>
              </a:ext>
            </a:extLst>
          </p:cNvPr>
          <p:cNvSpPr>
            <a:spLocks noGrp="1"/>
          </p:cNvSpPr>
          <p:nvPr>
            <p:ph type="body" sz="quarter" idx="14" hasCustomPrompt="1"/>
          </p:nvPr>
        </p:nvSpPr>
        <p:spPr>
          <a:xfrm>
            <a:off x="296334" y="91358"/>
            <a:ext cx="11065935" cy="635000"/>
          </a:xfrm>
        </p:spPr>
        <p:txBody>
          <a:bodyPr>
            <a:normAutofit/>
          </a:bodyPr>
          <a:lstStyle>
            <a:lvl1pPr marL="0" indent="0" algn="l">
              <a:buNone/>
              <a:defRPr sz="3300" b="1" cap="all" baseline="0">
                <a:solidFill>
                  <a:srgbClr val="01B0E3"/>
                </a:solidFill>
                <a:latin typeface="Arial Narrow" panose="020B0606020202030204" pitchFamily="34" charset="0"/>
              </a:defRPr>
            </a:lvl1pPr>
            <a:lvl2pPr marL="0" indent="0" algn="ctr">
              <a:buNone/>
              <a:defRPr sz="1500">
                <a:solidFill>
                  <a:schemeClr val="bg1"/>
                </a:solidFill>
              </a:defRPr>
            </a:lvl2pPr>
            <a:lvl3pPr>
              <a:defRPr sz="1350"/>
            </a:lvl3pPr>
            <a:lvl4pPr>
              <a:defRPr sz="1200"/>
            </a:lvl4pPr>
            <a:lvl5pPr>
              <a:defRPr sz="12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296334" y="877615"/>
            <a:ext cx="11065935" cy="465667"/>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223424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FFE08B14-8363-4F95-B6E5-F69CDCFFCF36}"/>
              </a:ext>
            </a:extLst>
          </p:cNvPr>
          <p:cNvSpPr>
            <a:spLocks noGrp="1"/>
          </p:cNvSpPr>
          <p:nvPr>
            <p:ph type="pic" sz="quarter" idx="16"/>
          </p:nvPr>
        </p:nvSpPr>
        <p:spPr>
          <a:xfrm>
            <a:off x="0" y="1589905"/>
            <a:ext cx="12192000" cy="5268097"/>
          </a:xfrm>
          <a:custGeom>
            <a:avLst/>
            <a:gdLst>
              <a:gd name="connsiteX0" fmla="*/ 11946675 w 12192000"/>
              <a:gd name="connsiteY0" fmla="*/ 4274241 h 4454665"/>
              <a:gd name="connsiteX1" fmla="*/ 11952788 w 12192000"/>
              <a:gd name="connsiteY1" fmla="*/ 4274241 h 4454665"/>
              <a:gd name="connsiteX2" fmla="*/ 11958183 w 12192000"/>
              <a:gd name="connsiteY2" fmla="*/ 4274816 h 4454665"/>
              <a:gd name="connsiteX3" fmla="*/ 11960461 w 12192000"/>
              <a:gd name="connsiteY3" fmla="*/ 4276559 h 4454665"/>
              <a:gd name="connsiteX4" fmla="*/ 11961281 w 12192000"/>
              <a:gd name="connsiteY4" fmla="*/ 4279206 h 4454665"/>
              <a:gd name="connsiteX5" fmla="*/ 11959578 w 12192000"/>
              <a:gd name="connsiteY5" fmla="*/ 4282898 h 4454665"/>
              <a:gd name="connsiteX6" fmla="*/ 11953198 w 12192000"/>
              <a:gd name="connsiteY6" fmla="*/ 4284293 h 4454665"/>
              <a:gd name="connsiteX7" fmla="*/ 11946675 w 12192000"/>
              <a:gd name="connsiteY7" fmla="*/ 4284293 h 4454665"/>
              <a:gd name="connsiteX8" fmla="*/ 11941300 w 12192000"/>
              <a:gd name="connsiteY8" fmla="*/ 4269729 h 4454665"/>
              <a:gd name="connsiteX9" fmla="*/ 11941300 w 12192000"/>
              <a:gd name="connsiteY9" fmla="*/ 4303043 h 4454665"/>
              <a:gd name="connsiteX10" fmla="*/ 11946675 w 12192000"/>
              <a:gd name="connsiteY10" fmla="*/ 4303043 h 4454665"/>
              <a:gd name="connsiteX11" fmla="*/ 11946675 w 12192000"/>
              <a:gd name="connsiteY11" fmla="*/ 4288889 h 4454665"/>
              <a:gd name="connsiteX12" fmla="*/ 11949834 w 12192000"/>
              <a:gd name="connsiteY12" fmla="*/ 4288889 h 4454665"/>
              <a:gd name="connsiteX13" fmla="*/ 11954142 w 12192000"/>
              <a:gd name="connsiteY13" fmla="*/ 4290037 h 4454665"/>
              <a:gd name="connsiteX14" fmla="*/ 11959762 w 12192000"/>
              <a:gd name="connsiteY14" fmla="*/ 4297791 h 4454665"/>
              <a:gd name="connsiteX15" fmla="*/ 11962717 w 12192000"/>
              <a:gd name="connsiteY15" fmla="*/ 4303043 h 4454665"/>
              <a:gd name="connsiteX16" fmla="*/ 11969281 w 12192000"/>
              <a:gd name="connsiteY16" fmla="*/ 4303043 h 4454665"/>
              <a:gd name="connsiteX17" fmla="*/ 11965220 w 12192000"/>
              <a:gd name="connsiteY17" fmla="*/ 4296519 h 4454665"/>
              <a:gd name="connsiteX18" fmla="*/ 11960296 w 12192000"/>
              <a:gd name="connsiteY18" fmla="*/ 4289914 h 4454665"/>
              <a:gd name="connsiteX19" fmla="*/ 11957466 w 12192000"/>
              <a:gd name="connsiteY19" fmla="*/ 4288150 h 4454665"/>
              <a:gd name="connsiteX20" fmla="*/ 11964378 w 12192000"/>
              <a:gd name="connsiteY20" fmla="*/ 4285114 h 4454665"/>
              <a:gd name="connsiteX21" fmla="*/ 11966983 w 12192000"/>
              <a:gd name="connsiteY21" fmla="*/ 4278755 h 4454665"/>
              <a:gd name="connsiteX22" fmla="*/ 11965424 w 12192000"/>
              <a:gd name="connsiteY22" fmla="*/ 4273872 h 4454665"/>
              <a:gd name="connsiteX23" fmla="*/ 11961239 w 12192000"/>
              <a:gd name="connsiteY23" fmla="*/ 4270652 h 4454665"/>
              <a:gd name="connsiteX24" fmla="*/ 11952747 w 12192000"/>
              <a:gd name="connsiteY24" fmla="*/ 4269729 h 4454665"/>
              <a:gd name="connsiteX25" fmla="*/ 10902089 w 12192000"/>
              <a:gd name="connsiteY25" fmla="*/ 4267158 h 4454665"/>
              <a:gd name="connsiteX26" fmla="*/ 10905603 w 12192000"/>
              <a:gd name="connsiteY26" fmla="*/ 4267158 h 4454665"/>
              <a:gd name="connsiteX27" fmla="*/ 10905603 w 12192000"/>
              <a:gd name="connsiteY27" fmla="*/ 4270699 h 4454665"/>
              <a:gd name="connsiteX28" fmla="*/ 10877492 w 12192000"/>
              <a:gd name="connsiteY28" fmla="*/ 4306121 h 4454665"/>
              <a:gd name="connsiteX29" fmla="*/ 10859922 w 12192000"/>
              <a:gd name="connsiteY29" fmla="*/ 4288411 h 4454665"/>
              <a:gd name="connsiteX30" fmla="*/ 10902089 w 12192000"/>
              <a:gd name="connsiteY30" fmla="*/ 4267158 h 4454665"/>
              <a:gd name="connsiteX31" fmla="*/ 11954881 w 12192000"/>
              <a:gd name="connsiteY31" fmla="*/ 4260087 h 4454665"/>
              <a:gd name="connsiteX32" fmla="*/ 11967558 w 12192000"/>
              <a:gd name="connsiteY32" fmla="*/ 4263431 h 4454665"/>
              <a:gd name="connsiteX33" fmla="*/ 11977220 w 12192000"/>
              <a:gd name="connsiteY33" fmla="*/ 4272990 h 4454665"/>
              <a:gd name="connsiteX34" fmla="*/ 11980687 w 12192000"/>
              <a:gd name="connsiteY34" fmla="*/ 4285934 h 4454665"/>
              <a:gd name="connsiteX35" fmla="*/ 11977282 w 12192000"/>
              <a:gd name="connsiteY35" fmla="*/ 4298755 h 4454665"/>
              <a:gd name="connsiteX36" fmla="*/ 11967722 w 12192000"/>
              <a:gd name="connsiteY36" fmla="*/ 4308315 h 4454665"/>
              <a:gd name="connsiteX37" fmla="*/ 11954881 w 12192000"/>
              <a:gd name="connsiteY37" fmla="*/ 4311741 h 4454665"/>
              <a:gd name="connsiteX38" fmla="*/ 11942039 w 12192000"/>
              <a:gd name="connsiteY38" fmla="*/ 4308315 h 4454665"/>
              <a:gd name="connsiteX39" fmla="*/ 11932459 w 12192000"/>
              <a:gd name="connsiteY39" fmla="*/ 4298755 h 4454665"/>
              <a:gd name="connsiteX40" fmla="*/ 11929033 w 12192000"/>
              <a:gd name="connsiteY40" fmla="*/ 4285934 h 4454665"/>
              <a:gd name="connsiteX41" fmla="*/ 11932521 w 12192000"/>
              <a:gd name="connsiteY41" fmla="*/ 4272990 h 4454665"/>
              <a:gd name="connsiteX42" fmla="*/ 11942183 w 12192000"/>
              <a:gd name="connsiteY42" fmla="*/ 4263431 h 4454665"/>
              <a:gd name="connsiteX43" fmla="*/ 11954881 w 12192000"/>
              <a:gd name="connsiteY43" fmla="*/ 4260087 h 4454665"/>
              <a:gd name="connsiteX44" fmla="*/ 11954881 w 12192000"/>
              <a:gd name="connsiteY44" fmla="*/ 4254959 h 4454665"/>
              <a:gd name="connsiteX45" fmla="*/ 11939660 w 12192000"/>
              <a:gd name="connsiteY45" fmla="*/ 4258959 h 4454665"/>
              <a:gd name="connsiteX46" fmla="*/ 11928069 w 12192000"/>
              <a:gd name="connsiteY46" fmla="*/ 4270406 h 4454665"/>
              <a:gd name="connsiteX47" fmla="*/ 11923904 w 12192000"/>
              <a:gd name="connsiteY47" fmla="*/ 4285934 h 4454665"/>
              <a:gd name="connsiteX48" fmla="*/ 11928007 w 12192000"/>
              <a:gd name="connsiteY48" fmla="*/ 4301320 h 4454665"/>
              <a:gd name="connsiteX49" fmla="*/ 11939474 w 12192000"/>
              <a:gd name="connsiteY49" fmla="*/ 4312787 h 4454665"/>
              <a:gd name="connsiteX50" fmla="*/ 11954881 w 12192000"/>
              <a:gd name="connsiteY50" fmla="*/ 4316869 h 4454665"/>
              <a:gd name="connsiteX51" fmla="*/ 11970287 w 12192000"/>
              <a:gd name="connsiteY51" fmla="*/ 4312787 h 4454665"/>
              <a:gd name="connsiteX52" fmla="*/ 11981733 w 12192000"/>
              <a:gd name="connsiteY52" fmla="*/ 4301320 h 4454665"/>
              <a:gd name="connsiteX53" fmla="*/ 11985815 w 12192000"/>
              <a:gd name="connsiteY53" fmla="*/ 4285934 h 4454665"/>
              <a:gd name="connsiteX54" fmla="*/ 11981671 w 12192000"/>
              <a:gd name="connsiteY54" fmla="*/ 4270406 h 4454665"/>
              <a:gd name="connsiteX55" fmla="*/ 11970101 w 12192000"/>
              <a:gd name="connsiteY55" fmla="*/ 4258959 h 4454665"/>
              <a:gd name="connsiteX56" fmla="*/ 11954881 w 12192000"/>
              <a:gd name="connsiteY56" fmla="*/ 4254959 h 4454665"/>
              <a:gd name="connsiteX57" fmla="*/ 11091685 w 12192000"/>
              <a:gd name="connsiteY57" fmla="*/ 4225507 h 4454665"/>
              <a:gd name="connsiteX58" fmla="*/ 11123259 w 12192000"/>
              <a:gd name="connsiteY58" fmla="*/ 4265814 h 4454665"/>
              <a:gd name="connsiteX59" fmla="*/ 11091685 w 12192000"/>
              <a:gd name="connsiteY59" fmla="*/ 4306120 h 4454665"/>
              <a:gd name="connsiteX60" fmla="*/ 11060111 w 12192000"/>
              <a:gd name="connsiteY60" fmla="*/ 4265814 h 4454665"/>
              <a:gd name="connsiteX61" fmla="*/ 11091685 w 12192000"/>
              <a:gd name="connsiteY61" fmla="*/ 4225507 h 4454665"/>
              <a:gd name="connsiteX62" fmla="*/ 10781998 w 12192000"/>
              <a:gd name="connsiteY62" fmla="*/ 4225507 h 4454665"/>
              <a:gd name="connsiteX63" fmla="*/ 10810212 w 12192000"/>
              <a:gd name="connsiteY63" fmla="*/ 4265814 h 4454665"/>
              <a:gd name="connsiteX64" fmla="*/ 10781998 w 12192000"/>
              <a:gd name="connsiteY64" fmla="*/ 4306120 h 4454665"/>
              <a:gd name="connsiteX65" fmla="*/ 10753783 w 12192000"/>
              <a:gd name="connsiteY65" fmla="*/ 4265814 h 4454665"/>
              <a:gd name="connsiteX66" fmla="*/ 10781998 w 12192000"/>
              <a:gd name="connsiteY66" fmla="*/ 4225507 h 4454665"/>
              <a:gd name="connsiteX67" fmla="*/ 10469622 w 12192000"/>
              <a:gd name="connsiteY67" fmla="*/ 4225507 h 4454665"/>
              <a:gd name="connsiteX68" fmla="*/ 10501196 w 12192000"/>
              <a:gd name="connsiteY68" fmla="*/ 4265814 h 4454665"/>
              <a:gd name="connsiteX69" fmla="*/ 10469622 w 12192000"/>
              <a:gd name="connsiteY69" fmla="*/ 4306120 h 4454665"/>
              <a:gd name="connsiteX70" fmla="*/ 10438048 w 12192000"/>
              <a:gd name="connsiteY70" fmla="*/ 4265814 h 4454665"/>
              <a:gd name="connsiteX71" fmla="*/ 10469622 w 12192000"/>
              <a:gd name="connsiteY71" fmla="*/ 4225507 h 4454665"/>
              <a:gd name="connsiteX72" fmla="*/ 11014562 w 12192000"/>
              <a:gd name="connsiteY72" fmla="*/ 4220260 h 4454665"/>
              <a:gd name="connsiteX73" fmla="*/ 11014562 w 12192000"/>
              <a:gd name="connsiteY73" fmla="*/ 4316220 h 4454665"/>
              <a:gd name="connsiteX74" fmla="*/ 11026851 w 12192000"/>
              <a:gd name="connsiteY74" fmla="*/ 4316220 h 4454665"/>
              <a:gd name="connsiteX75" fmla="*/ 11026851 w 12192000"/>
              <a:gd name="connsiteY75" fmla="*/ 4220260 h 4454665"/>
              <a:gd name="connsiteX76" fmla="*/ 11158189 w 12192000"/>
              <a:gd name="connsiteY76" fmla="*/ 4218790 h 4454665"/>
              <a:gd name="connsiteX77" fmla="*/ 11158189 w 12192000"/>
              <a:gd name="connsiteY77" fmla="*/ 4243173 h 4454665"/>
              <a:gd name="connsiteX78" fmla="*/ 11158189 w 12192000"/>
              <a:gd name="connsiteY78" fmla="*/ 4312838 h 4454665"/>
              <a:gd name="connsiteX79" fmla="*/ 11172009 w 12192000"/>
              <a:gd name="connsiteY79" fmla="*/ 4312838 h 4454665"/>
              <a:gd name="connsiteX80" fmla="*/ 11172009 w 12192000"/>
              <a:gd name="connsiteY80" fmla="*/ 4260589 h 4454665"/>
              <a:gd name="connsiteX81" fmla="*/ 11199648 w 12192000"/>
              <a:gd name="connsiteY81" fmla="*/ 4225756 h 4454665"/>
              <a:gd name="connsiteX82" fmla="*/ 11220377 w 12192000"/>
              <a:gd name="connsiteY82" fmla="*/ 4257106 h 4454665"/>
              <a:gd name="connsiteX83" fmla="*/ 11220377 w 12192000"/>
              <a:gd name="connsiteY83" fmla="*/ 4312838 h 4454665"/>
              <a:gd name="connsiteX84" fmla="*/ 11230741 w 12192000"/>
              <a:gd name="connsiteY84" fmla="*/ 4312838 h 4454665"/>
              <a:gd name="connsiteX85" fmla="*/ 11230741 w 12192000"/>
              <a:gd name="connsiteY85" fmla="*/ 4253622 h 4454665"/>
              <a:gd name="connsiteX86" fmla="*/ 11199648 w 12192000"/>
              <a:gd name="connsiteY86" fmla="*/ 4218790 h 4454665"/>
              <a:gd name="connsiteX87" fmla="*/ 11168554 w 12192000"/>
              <a:gd name="connsiteY87" fmla="*/ 4236206 h 4454665"/>
              <a:gd name="connsiteX88" fmla="*/ 11168554 w 12192000"/>
              <a:gd name="connsiteY88" fmla="*/ 4218790 h 4454665"/>
              <a:gd name="connsiteX89" fmla="*/ 11158189 w 12192000"/>
              <a:gd name="connsiteY89" fmla="*/ 4218790 h 4454665"/>
              <a:gd name="connsiteX90" fmla="*/ 11088997 w 12192000"/>
              <a:gd name="connsiteY90" fmla="*/ 4218790 h 4454665"/>
              <a:gd name="connsiteX91" fmla="*/ 11045332 w 12192000"/>
              <a:gd name="connsiteY91" fmla="*/ 4267830 h 4454665"/>
              <a:gd name="connsiteX92" fmla="*/ 11088997 w 12192000"/>
              <a:gd name="connsiteY92" fmla="*/ 4316869 h 4454665"/>
              <a:gd name="connsiteX93" fmla="*/ 11132662 w 12192000"/>
              <a:gd name="connsiteY93" fmla="*/ 4267830 h 4454665"/>
              <a:gd name="connsiteX94" fmla="*/ 11088997 w 12192000"/>
              <a:gd name="connsiteY94" fmla="*/ 4218790 h 4454665"/>
              <a:gd name="connsiteX95" fmla="*/ 10883851 w 12192000"/>
              <a:gd name="connsiteY95" fmla="*/ 4218790 h 4454665"/>
              <a:gd name="connsiteX96" fmla="*/ 10855700 w 12192000"/>
              <a:gd name="connsiteY96" fmla="*/ 4222293 h 4454665"/>
              <a:gd name="connsiteX97" fmla="*/ 10855700 w 12192000"/>
              <a:gd name="connsiteY97" fmla="*/ 4236304 h 4454665"/>
              <a:gd name="connsiteX98" fmla="*/ 10883851 w 12192000"/>
              <a:gd name="connsiteY98" fmla="*/ 4225796 h 4454665"/>
              <a:gd name="connsiteX99" fmla="*/ 10904964 w 12192000"/>
              <a:gd name="connsiteY99" fmla="*/ 4250316 h 4454665"/>
              <a:gd name="connsiteX100" fmla="*/ 10904964 w 12192000"/>
              <a:gd name="connsiteY100" fmla="*/ 4257321 h 4454665"/>
              <a:gd name="connsiteX101" fmla="*/ 10845144 w 12192000"/>
              <a:gd name="connsiteY101" fmla="*/ 4288846 h 4454665"/>
              <a:gd name="connsiteX102" fmla="*/ 10876813 w 12192000"/>
              <a:gd name="connsiteY102" fmla="*/ 4316869 h 4454665"/>
              <a:gd name="connsiteX103" fmla="*/ 10904964 w 12192000"/>
              <a:gd name="connsiteY103" fmla="*/ 4299355 h 4454665"/>
              <a:gd name="connsiteX104" fmla="*/ 10908483 w 12192000"/>
              <a:gd name="connsiteY104" fmla="*/ 4299355 h 4454665"/>
              <a:gd name="connsiteX105" fmla="*/ 10908483 w 12192000"/>
              <a:gd name="connsiteY105" fmla="*/ 4313366 h 4454665"/>
              <a:gd name="connsiteX106" fmla="*/ 10919039 w 12192000"/>
              <a:gd name="connsiteY106" fmla="*/ 4313366 h 4454665"/>
              <a:gd name="connsiteX107" fmla="*/ 10919039 w 12192000"/>
              <a:gd name="connsiteY107" fmla="*/ 4295852 h 4454665"/>
              <a:gd name="connsiteX108" fmla="*/ 10919039 w 12192000"/>
              <a:gd name="connsiteY108" fmla="*/ 4253819 h 4454665"/>
              <a:gd name="connsiteX109" fmla="*/ 10883851 w 12192000"/>
              <a:gd name="connsiteY109" fmla="*/ 4218790 h 4454665"/>
              <a:gd name="connsiteX110" fmla="*/ 10642268 w 12192000"/>
              <a:gd name="connsiteY110" fmla="*/ 4218790 h 4454665"/>
              <a:gd name="connsiteX111" fmla="*/ 10642268 w 12192000"/>
              <a:gd name="connsiteY111" fmla="*/ 4243173 h 4454665"/>
              <a:gd name="connsiteX112" fmla="*/ 10642268 w 12192000"/>
              <a:gd name="connsiteY112" fmla="*/ 4312838 h 4454665"/>
              <a:gd name="connsiteX113" fmla="*/ 10656343 w 12192000"/>
              <a:gd name="connsiteY113" fmla="*/ 4312838 h 4454665"/>
              <a:gd name="connsiteX114" fmla="*/ 10656343 w 12192000"/>
              <a:gd name="connsiteY114" fmla="*/ 4260589 h 4454665"/>
              <a:gd name="connsiteX115" fmla="*/ 10684494 w 12192000"/>
              <a:gd name="connsiteY115" fmla="*/ 4225756 h 4454665"/>
              <a:gd name="connsiteX116" fmla="*/ 10705607 w 12192000"/>
              <a:gd name="connsiteY116" fmla="*/ 4257106 h 4454665"/>
              <a:gd name="connsiteX117" fmla="*/ 10705607 w 12192000"/>
              <a:gd name="connsiteY117" fmla="*/ 4312838 h 4454665"/>
              <a:gd name="connsiteX118" fmla="*/ 10716163 w 12192000"/>
              <a:gd name="connsiteY118" fmla="*/ 4312838 h 4454665"/>
              <a:gd name="connsiteX119" fmla="*/ 10716163 w 12192000"/>
              <a:gd name="connsiteY119" fmla="*/ 4253622 h 4454665"/>
              <a:gd name="connsiteX120" fmla="*/ 10684494 w 12192000"/>
              <a:gd name="connsiteY120" fmla="*/ 4218790 h 4454665"/>
              <a:gd name="connsiteX121" fmla="*/ 10652824 w 12192000"/>
              <a:gd name="connsiteY121" fmla="*/ 4236206 h 4454665"/>
              <a:gd name="connsiteX122" fmla="*/ 10652824 w 12192000"/>
              <a:gd name="connsiteY122" fmla="*/ 4218790 h 4454665"/>
              <a:gd name="connsiteX123" fmla="*/ 10642268 w 12192000"/>
              <a:gd name="connsiteY123" fmla="*/ 4218790 h 4454665"/>
              <a:gd name="connsiteX124" fmla="*/ 10540159 w 12192000"/>
              <a:gd name="connsiteY124" fmla="*/ 4218790 h 4454665"/>
              <a:gd name="connsiteX125" fmla="*/ 10540159 w 12192000"/>
              <a:gd name="connsiteY125" fmla="*/ 4281840 h 4454665"/>
              <a:gd name="connsiteX126" fmla="*/ 10571828 w 12192000"/>
              <a:gd name="connsiteY126" fmla="*/ 4316869 h 4454665"/>
              <a:gd name="connsiteX127" fmla="*/ 10603498 w 12192000"/>
              <a:gd name="connsiteY127" fmla="*/ 4299355 h 4454665"/>
              <a:gd name="connsiteX128" fmla="*/ 10603498 w 12192000"/>
              <a:gd name="connsiteY128" fmla="*/ 4313366 h 4454665"/>
              <a:gd name="connsiteX129" fmla="*/ 10614054 w 12192000"/>
              <a:gd name="connsiteY129" fmla="*/ 4313366 h 4454665"/>
              <a:gd name="connsiteX130" fmla="*/ 10614054 w 12192000"/>
              <a:gd name="connsiteY130" fmla="*/ 4292349 h 4454665"/>
              <a:gd name="connsiteX131" fmla="*/ 10614054 w 12192000"/>
              <a:gd name="connsiteY131" fmla="*/ 4218790 h 4454665"/>
              <a:gd name="connsiteX132" fmla="*/ 10599979 w 12192000"/>
              <a:gd name="connsiteY132" fmla="*/ 4218790 h 4454665"/>
              <a:gd name="connsiteX133" fmla="*/ 10599979 w 12192000"/>
              <a:gd name="connsiteY133" fmla="*/ 4271332 h 4454665"/>
              <a:gd name="connsiteX134" fmla="*/ 10571828 w 12192000"/>
              <a:gd name="connsiteY134" fmla="*/ 4306360 h 4454665"/>
              <a:gd name="connsiteX135" fmla="*/ 10550715 w 12192000"/>
              <a:gd name="connsiteY135" fmla="*/ 4278338 h 4454665"/>
              <a:gd name="connsiteX136" fmla="*/ 10550715 w 12192000"/>
              <a:gd name="connsiteY136" fmla="*/ 4218790 h 4454665"/>
              <a:gd name="connsiteX137" fmla="*/ 10540159 w 12192000"/>
              <a:gd name="connsiteY137" fmla="*/ 4218790 h 4454665"/>
              <a:gd name="connsiteX138" fmla="*/ 10471637 w 12192000"/>
              <a:gd name="connsiteY138" fmla="*/ 4218790 h 4454665"/>
              <a:gd name="connsiteX139" fmla="*/ 10427300 w 12192000"/>
              <a:gd name="connsiteY139" fmla="*/ 4267830 h 4454665"/>
              <a:gd name="connsiteX140" fmla="*/ 10471637 w 12192000"/>
              <a:gd name="connsiteY140" fmla="*/ 4316869 h 4454665"/>
              <a:gd name="connsiteX141" fmla="*/ 10515975 w 12192000"/>
              <a:gd name="connsiteY141" fmla="*/ 4267830 h 4454665"/>
              <a:gd name="connsiteX142" fmla="*/ 10471637 w 12192000"/>
              <a:gd name="connsiteY142" fmla="*/ 4218790 h 4454665"/>
              <a:gd name="connsiteX143" fmla="*/ 11655303 w 12192000"/>
              <a:gd name="connsiteY143" fmla="*/ 4204011 h 4454665"/>
              <a:gd name="connsiteX144" fmla="*/ 11659333 w 12192000"/>
              <a:gd name="connsiteY144" fmla="*/ 4214760 h 4454665"/>
              <a:gd name="connsiteX145" fmla="*/ 11663364 w 12192000"/>
              <a:gd name="connsiteY145" fmla="*/ 4221478 h 4454665"/>
              <a:gd name="connsiteX146" fmla="*/ 11648585 w 12192000"/>
              <a:gd name="connsiteY146" fmla="*/ 4221478 h 4454665"/>
              <a:gd name="connsiteX147" fmla="*/ 11652616 w 12192000"/>
              <a:gd name="connsiteY147" fmla="*/ 4214760 h 4454665"/>
              <a:gd name="connsiteX148" fmla="*/ 11659446 w 12192000"/>
              <a:gd name="connsiteY148" fmla="*/ 4193263 h 4454665"/>
              <a:gd name="connsiteX149" fmla="*/ 11649032 w 12192000"/>
              <a:gd name="connsiteY149" fmla="*/ 4196777 h 4454665"/>
              <a:gd name="connsiteX150" fmla="*/ 11645562 w 12192000"/>
              <a:gd name="connsiteY150" fmla="*/ 4214347 h 4454665"/>
              <a:gd name="connsiteX151" fmla="*/ 11635149 w 12192000"/>
              <a:gd name="connsiteY151" fmla="*/ 4235429 h 4454665"/>
              <a:gd name="connsiteX152" fmla="*/ 11645562 w 12192000"/>
              <a:gd name="connsiteY152" fmla="*/ 4238943 h 4454665"/>
              <a:gd name="connsiteX153" fmla="*/ 11645562 w 12192000"/>
              <a:gd name="connsiteY153" fmla="*/ 4228402 h 4454665"/>
              <a:gd name="connsiteX154" fmla="*/ 11666387 w 12192000"/>
              <a:gd name="connsiteY154" fmla="*/ 4228402 h 4454665"/>
              <a:gd name="connsiteX155" fmla="*/ 11666387 w 12192000"/>
              <a:gd name="connsiteY155" fmla="*/ 4235429 h 4454665"/>
              <a:gd name="connsiteX156" fmla="*/ 11676800 w 12192000"/>
              <a:gd name="connsiteY156" fmla="*/ 4235429 h 4454665"/>
              <a:gd name="connsiteX157" fmla="*/ 11666387 w 12192000"/>
              <a:gd name="connsiteY157" fmla="*/ 4214347 h 4454665"/>
              <a:gd name="connsiteX158" fmla="*/ 11659446 w 12192000"/>
              <a:gd name="connsiteY158" fmla="*/ 4196777 h 4454665"/>
              <a:gd name="connsiteX159" fmla="*/ 11659446 w 12192000"/>
              <a:gd name="connsiteY159" fmla="*/ 4193263 h 4454665"/>
              <a:gd name="connsiteX160" fmla="*/ 10964451 w 12192000"/>
              <a:gd name="connsiteY160" fmla="*/ 4193262 h 4454665"/>
              <a:gd name="connsiteX161" fmla="*/ 10953971 w 12192000"/>
              <a:gd name="connsiteY161" fmla="*/ 4196794 h 4454665"/>
              <a:gd name="connsiteX162" fmla="*/ 10953971 w 12192000"/>
              <a:gd name="connsiteY162" fmla="*/ 4217983 h 4454665"/>
              <a:gd name="connsiteX163" fmla="*/ 10936505 w 12192000"/>
              <a:gd name="connsiteY163" fmla="*/ 4217983 h 4454665"/>
              <a:gd name="connsiteX164" fmla="*/ 10936505 w 12192000"/>
              <a:gd name="connsiteY164" fmla="*/ 4228578 h 4454665"/>
              <a:gd name="connsiteX165" fmla="*/ 10953971 w 12192000"/>
              <a:gd name="connsiteY165" fmla="*/ 4228578 h 4454665"/>
              <a:gd name="connsiteX166" fmla="*/ 10953971 w 12192000"/>
              <a:gd name="connsiteY166" fmla="*/ 4285084 h 4454665"/>
              <a:gd name="connsiteX167" fmla="*/ 10974931 w 12192000"/>
              <a:gd name="connsiteY167" fmla="*/ 4316868 h 4454665"/>
              <a:gd name="connsiteX168" fmla="*/ 10988904 w 12192000"/>
              <a:gd name="connsiteY168" fmla="*/ 4313337 h 4454665"/>
              <a:gd name="connsiteX169" fmla="*/ 10988904 w 12192000"/>
              <a:gd name="connsiteY169" fmla="*/ 4302742 h 4454665"/>
              <a:gd name="connsiteX170" fmla="*/ 10978424 w 12192000"/>
              <a:gd name="connsiteY170" fmla="*/ 4306273 h 4454665"/>
              <a:gd name="connsiteX171" fmla="*/ 10964451 w 12192000"/>
              <a:gd name="connsiteY171" fmla="*/ 4292147 h 4454665"/>
              <a:gd name="connsiteX172" fmla="*/ 10964451 w 12192000"/>
              <a:gd name="connsiteY172" fmla="*/ 4228578 h 4454665"/>
              <a:gd name="connsiteX173" fmla="*/ 10985410 w 12192000"/>
              <a:gd name="connsiteY173" fmla="*/ 4228578 h 4454665"/>
              <a:gd name="connsiteX174" fmla="*/ 10985410 w 12192000"/>
              <a:gd name="connsiteY174" fmla="*/ 4217983 h 4454665"/>
              <a:gd name="connsiteX175" fmla="*/ 10964451 w 12192000"/>
              <a:gd name="connsiteY175" fmla="*/ 4217983 h 4454665"/>
              <a:gd name="connsiteX176" fmla="*/ 10964451 w 12192000"/>
              <a:gd name="connsiteY176" fmla="*/ 4193262 h 4454665"/>
              <a:gd name="connsiteX177" fmla="*/ 11599881 w 12192000"/>
              <a:gd name="connsiteY177" fmla="*/ 4190576 h 4454665"/>
              <a:gd name="connsiteX178" fmla="*/ 11589469 w 12192000"/>
              <a:gd name="connsiteY178" fmla="*/ 4232742 h 4454665"/>
              <a:gd name="connsiteX179" fmla="*/ 11599881 w 12192000"/>
              <a:gd name="connsiteY179" fmla="*/ 4232742 h 4454665"/>
              <a:gd name="connsiteX180" fmla="*/ 11603352 w 12192000"/>
              <a:gd name="connsiteY180" fmla="*/ 4208146 h 4454665"/>
              <a:gd name="connsiteX181" fmla="*/ 11617236 w 12192000"/>
              <a:gd name="connsiteY181" fmla="*/ 4236256 h 4454665"/>
              <a:gd name="connsiteX182" fmla="*/ 11624178 w 12192000"/>
              <a:gd name="connsiteY182" fmla="*/ 4236256 h 4454665"/>
              <a:gd name="connsiteX183" fmla="*/ 11631119 w 12192000"/>
              <a:gd name="connsiteY183" fmla="*/ 4194090 h 4454665"/>
              <a:gd name="connsiteX184" fmla="*/ 11624178 w 12192000"/>
              <a:gd name="connsiteY184" fmla="*/ 4194090 h 4454665"/>
              <a:gd name="connsiteX185" fmla="*/ 11620707 w 12192000"/>
              <a:gd name="connsiteY185" fmla="*/ 4222201 h 4454665"/>
              <a:gd name="connsiteX186" fmla="*/ 11606824 w 12192000"/>
              <a:gd name="connsiteY186" fmla="*/ 4190576 h 4454665"/>
              <a:gd name="connsiteX187" fmla="*/ 11599881 w 12192000"/>
              <a:gd name="connsiteY187" fmla="*/ 4190576 h 4454665"/>
              <a:gd name="connsiteX188" fmla="*/ 11709044 w 12192000"/>
              <a:gd name="connsiteY188" fmla="*/ 4186546 h 4454665"/>
              <a:gd name="connsiteX189" fmla="*/ 11674112 w 12192000"/>
              <a:gd name="connsiteY189" fmla="*/ 4193647 h 4454665"/>
              <a:gd name="connsiteX190" fmla="*/ 11674112 w 12192000"/>
              <a:gd name="connsiteY190" fmla="*/ 4200749 h 4454665"/>
              <a:gd name="connsiteX191" fmla="*/ 11688084 w 12192000"/>
              <a:gd name="connsiteY191" fmla="*/ 4200749 h 4454665"/>
              <a:gd name="connsiteX192" fmla="*/ 11695071 w 12192000"/>
              <a:gd name="connsiteY192" fmla="*/ 4236257 h 4454665"/>
              <a:gd name="connsiteX193" fmla="*/ 11702057 w 12192000"/>
              <a:gd name="connsiteY193" fmla="*/ 4232706 h 4454665"/>
              <a:gd name="connsiteX194" fmla="*/ 11695071 w 12192000"/>
              <a:gd name="connsiteY194" fmla="*/ 4197198 h 4454665"/>
              <a:gd name="connsiteX195" fmla="*/ 11709044 w 12192000"/>
              <a:gd name="connsiteY195" fmla="*/ 4193647 h 4454665"/>
              <a:gd name="connsiteX196" fmla="*/ 11564748 w 12192000"/>
              <a:gd name="connsiteY196" fmla="*/ 4186546 h 4454665"/>
              <a:gd name="connsiteX197" fmla="*/ 11575228 w 12192000"/>
              <a:gd name="connsiteY197" fmla="*/ 4189905 h 4454665"/>
              <a:gd name="connsiteX198" fmla="*/ 11578720 w 12192000"/>
              <a:gd name="connsiteY198" fmla="*/ 4193264 h 4454665"/>
              <a:gd name="connsiteX199" fmla="*/ 11578720 w 12192000"/>
              <a:gd name="connsiteY199" fmla="*/ 4196622 h 4454665"/>
              <a:gd name="connsiteX200" fmla="*/ 11571734 w 12192000"/>
              <a:gd name="connsiteY200" fmla="*/ 4199981 h 4454665"/>
              <a:gd name="connsiteX201" fmla="*/ 11561254 w 12192000"/>
              <a:gd name="connsiteY201" fmla="*/ 4196622 h 4454665"/>
              <a:gd name="connsiteX202" fmla="*/ 11564748 w 12192000"/>
              <a:gd name="connsiteY202" fmla="*/ 4193264 h 4454665"/>
              <a:gd name="connsiteX203" fmla="*/ 11564748 w 12192000"/>
              <a:gd name="connsiteY203" fmla="*/ 4186546 h 4454665"/>
              <a:gd name="connsiteX204" fmla="*/ 11014562 w 12192000"/>
              <a:gd name="connsiteY204" fmla="*/ 4184660 h 4454665"/>
              <a:gd name="connsiteX205" fmla="*/ 11014562 w 12192000"/>
              <a:gd name="connsiteY205" fmla="*/ 4198354 h 4454665"/>
              <a:gd name="connsiteX206" fmla="*/ 11026851 w 12192000"/>
              <a:gd name="connsiteY206" fmla="*/ 4198354 h 4454665"/>
              <a:gd name="connsiteX207" fmla="*/ 11026851 w 12192000"/>
              <a:gd name="connsiteY207" fmla="*/ 4184660 h 4454665"/>
              <a:gd name="connsiteX208" fmla="*/ 11715762 w 12192000"/>
              <a:gd name="connsiteY208" fmla="*/ 4182514 h 4454665"/>
              <a:gd name="connsiteX209" fmla="*/ 11729582 w 12192000"/>
              <a:gd name="connsiteY209" fmla="*/ 4225508 h 4454665"/>
              <a:gd name="connsiteX210" fmla="*/ 11739946 w 12192000"/>
              <a:gd name="connsiteY210" fmla="*/ 4221925 h 4454665"/>
              <a:gd name="connsiteX211" fmla="*/ 11726127 w 12192000"/>
              <a:gd name="connsiteY211" fmla="*/ 4182514 h 4454665"/>
              <a:gd name="connsiteX212" fmla="*/ 11715762 w 12192000"/>
              <a:gd name="connsiteY212" fmla="*/ 4182514 h 4454665"/>
              <a:gd name="connsiteX213" fmla="*/ 10346688 w 12192000"/>
              <a:gd name="connsiteY213" fmla="*/ 4182514 h 4454665"/>
              <a:gd name="connsiteX214" fmla="*/ 10346688 w 12192000"/>
              <a:gd name="connsiteY214" fmla="*/ 4312838 h 4454665"/>
              <a:gd name="connsiteX215" fmla="*/ 10361467 w 12192000"/>
              <a:gd name="connsiteY215" fmla="*/ 4312838 h 4454665"/>
              <a:gd name="connsiteX216" fmla="*/ 10361467 w 12192000"/>
              <a:gd name="connsiteY216" fmla="*/ 4253722 h 4454665"/>
              <a:gd name="connsiteX217" fmla="*/ 10407148 w 12192000"/>
              <a:gd name="connsiteY217" fmla="*/ 4253722 h 4454665"/>
              <a:gd name="connsiteX218" fmla="*/ 10407148 w 12192000"/>
              <a:gd name="connsiteY218" fmla="*/ 4242974 h 4454665"/>
              <a:gd name="connsiteX219" fmla="*/ 10361467 w 12192000"/>
              <a:gd name="connsiteY219" fmla="*/ 4242974 h 4454665"/>
              <a:gd name="connsiteX220" fmla="*/ 10361467 w 12192000"/>
              <a:gd name="connsiteY220" fmla="*/ 4193262 h 4454665"/>
              <a:gd name="connsiteX221" fmla="*/ 10409835 w 12192000"/>
              <a:gd name="connsiteY221" fmla="*/ 4193262 h 4454665"/>
              <a:gd name="connsiteX222" fmla="*/ 10409835 w 12192000"/>
              <a:gd name="connsiteY222" fmla="*/ 4182514 h 4454665"/>
              <a:gd name="connsiteX223" fmla="*/ 11561143 w 12192000"/>
              <a:gd name="connsiteY223" fmla="*/ 4175797 h 4454665"/>
              <a:gd name="connsiteX224" fmla="*/ 11554200 w 12192000"/>
              <a:gd name="connsiteY224" fmla="*/ 4193264 h 4454665"/>
              <a:gd name="connsiteX225" fmla="*/ 11554200 w 12192000"/>
              <a:gd name="connsiteY225" fmla="*/ 4196756 h 4454665"/>
              <a:gd name="connsiteX226" fmla="*/ 11543788 w 12192000"/>
              <a:gd name="connsiteY226" fmla="*/ 4214223 h 4454665"/>
              <a:gd name="connsiteX227" fmla="*/ 11554200 w 12192000"/>
              <a:gd name="connsiteY227" fmla="*/ 4217716 h 4454665"/>
              <a:gd name="connsiteX228" fmla="*/ 11557671 w 12192000"/>
              <a:gd name="connsiteY228" fmla="*/ 4203743 h 4454665"/>
              <a:gd name="connsiteX229" fmla="*/ 11568084 w 12192000"/>
              <a:gd name="connsiteY229" fmla="*/ 4207237 h 4454665"/>
              <a:gd name="connsiteX230" fmla="*/ 11568084 w 12192000"/>
              <a:gd name="connsiteY230" fmla="*/ 4224702 h 4454665"/>
              <a:gd name="connsiteX231" fmla="*/ 11578497 w 12192000"/>
              <a:gd name="connsiteY231" fmla="*/ 4228196 h 4454665"/>
              <a:gd name="connsiteX232" fmla="*/ 11575026 w 12192000"/>
              <a:gd name="connsiteY232" fmla="*/ 4207237 h 4454665"/>
              <a:gd name="connsiteX233" fmla="*/ 11585438 w 12192000"/>
              <a:gd name="connsiteY233" fmla="*/ 4196756 h 4454665"/>
              <a:gd name="connsiteX234" fmla="*/ 11585438 w 12192000"/>
              <a:gd name="connsiteY234" fmla="*/ 4193264 h 4454665"/>
              <a:gd name="connsiteX235" fmla="*/ 11578497 w 12192000"/>
              <a:gd name="connsiteY235" fmla="*/ 4182784 h 4454665"/>
              <a:gd name="connsiteX236" fmla="*/ 11561143 w 12192000"/>
              <a:gd name="connsiteY236" fmla="*/ 4175797 h 4454665"/>
              <a:gd name="connsiteX237" fmla="*/ 11766241 w 12192000"/>
              <a:gd name="connsiteY237" fmla="*/ 4173090 h 4454665"/>
              <a:gd name="connsiteX238" fmla="*/ 11774878 w 12192000"/>
              <a:gd name="connsiteY238" fmla="*/ 4178821 h 4454665"/>
              <a:gd name="connsiteX239" fmla="*/ 11774878 w 12192000"/>
              <a:gd name="connsiteY239" fmla="*/ 4185874 h 4454665"/>
              <a:gd name="connsiteX240" fmla="*/ 11771423 w 12192000"/>
              <a:gd name="connsiteY240" fmla="*/ 4196455 h 4454665"/>
              <a:gd name="connsiteX241" fmla="*/ 11767968 w 12192000"/>
              <a:gd name="connsiteY241" fmla="*/ 4199982 h 4454665"/>
              <a:gd name="connsiteX242" fmla="*/ 11754149 w 12192000"/>
              <a:gd name="connsiteY242" fmla="*/ 4196455 h 4454665"/>
              <a:gd name="connsiteX243" fmla="*/ 11750694 w 12192000"/>
              <a:gd name="connsiteY243" fmla="*/ 4192929 h 4454665"/>
              <a:gd name="connsiteX244" fmla="*/ 11750694 w 12192000"/>
              <a:gd name="connsiteY244" fmla="*/ 4185874 h 4454665"/>
              <a:gd name="connsiteX245" fmla="*/ 11757604 w 12192000"/>
              <a:gd name="connsiteY245" fmla="*/ 4175294 h 4454665"/>
              <a:gd name="connsiteX246" fmla="*/ 11766241 w 12192000"/>
              <a:gd name="connsiteY246" fmla="*/ 4173090 h 4454665"/>
              <a:gd name="connsiteX247" fmla="*/ 10810738 w 12192000"/>
              <a:gd name="connsiteY247" fmla="*/ 4171765 h 4454665"/>
              <a:gd name="connsiteX248" fmla="*/ 10810738 w 12192000"/>
              <a:gd name="connsiteY248" fmla="*/ 4235469 h 4454665"/>
              <a:gd name="connsiteX249" fmla="*/ 10782231 w 12192000"/>
              <a:gd name="connsiteY249" fmla="*/ 4217773 h 4454665"/>
              <a:gd name="connsiteX250" fmla="*/ 10743034 w 12192000"/>
              <a:gd name="connsiteY250" fmla="*/ 4267321 h 4454665"/>
              <a:gd name="connsiteX251" fmla="*/ 10782231 w 12192000"/>
              <a:gd name="connsiteY251" fmla="*/ 4316868 h 4454665"/>
              <a:gd name="connsiteX252" fmla="*/ 10810738 w 12192000"/>
              <a:gd name="connsiteY252" fmla="*/ 4299172 h 4454665"/>
              <a:gd name="connsiteX253" fmla="*/ 10810738 w 12192000"/>
              <a:gd name="connsiteY253" fmla="*/ 4313329 h 4454665"/>
              <a:gd name="connsiteX254" fmla="*/ 10824991 w 12192000"/>
              <a:gd name="connsiteY254" fmla="*/ 4313329 h 4454665"/>
              <a:gd name="connsiteX255" fmla="*/ 10824991 w 12192000"/>
              <a:gd name="connsiteY255" fmla="*/ 4171765 h 4454665"/>
              <a:gd name="connsiteX256" fmla="*/ 10810738 w 12192000"/>
              <a:gd name="connsiteY256" fmla="*/ 4171765 h 4454665"/>
              <a:gd name="connsiteX257" fmla="*/ 11768161 w 12192000"/>
              <a:gd name="connsiteY257" fmla="*/ 4166249 h 4454665"/>
              <a:gd name="connsiteX258" fmla="*/ 11750694 w 12192000"/>
              <a:gd name="connsiteY258" fmla="*/ 4169272 h 4454665"/>
              <a:gd name="connsiteX259" fmla="*/ 11739946 w 12192000"/>
              <a:gd name="connsiteY259" fmla="*/ 4186546 h 4454665"/>
              <a:gd name="connsiteX260" fmla="*/ 11743528 w 12192000"/>
              <a:gd name="connsiteY260" fmla="*/ 4196911 h 4454665"/>
              <a:gd name="connsiteX261" fmla="*/ 11772191 w 12192000"/>
              <a:gd name="connsiteY261" fmla="*/ 4203821 h 4454665"/>
              <a:gd name="connsiteX262" fmla="*/ 11782939 w 12192000"/>
              <a:gd name="connsiteY262" fmla="*/ 4196911 h 4454665"/>
              <a:gd name="connsiteX263" fmla="*/ 11782939 w 12192000"/>
              <a:gd name="connsiteY263" fmla="*/ 4186546 h 4454665"/>
              <a:gd name="connsiteX264" fmla="*/ 11782939 w 12192000"/>
              <a:gd name="connsiteY264" fmla="*/ 4176182 h 4454665"/>
              <a:gd name="connsiteX265" fmla="*/ 11768161 w 12192000"/>
              <a:gd name="connsiteY265" fmla="*/ 4166249 h 4454665"/>
              <a:gd name="connsiteX266" fmla="*/ 11525909 w 12192000"/>
              <a:gd name="connsiteY266" fmla="*/ 4158331 h 4454665"/>
              <a:gd name="connsiteX267" fmla="*/ 11504825 w 12192000"/>
              <a:gd name="connsiteY267" fmla="*/ 4193263 h 4454665"/>
              <a:gd name="connsiteX268" fmla="*/ 11529423 w 12192000"/>
              <a:gd name="connsiteY268" fmla="*/ 4210729 h 4454665"/>
              <a:gd name="connsiteX269" fmla="*/ 11532937 w 12192000"/>
              <a:gd name="connsiteY269" fmla="*/ 4203743 h 4454665"/>
              <a:gd name="connsiteX270" fmla="*/ 11515367 w 12192000"/>
              <a:gd name="connsiteY270" fmla="*/ 4193263 h 4454665"/>
              <a:gd name="connsiteX271" fmla="*/ 11522395 w 12192000"/>
              <a:gd name="connsiteY271" fmla="*/ 4182784 h 4454665"/>
              <a:gd name="connsiteX272" fmla="*/ 11532937 w 12192000"/>
              <a:gd name="connsiteY272" fmla="*/ 4189770 h 4454665"/>
              <a:gd name="connsiteX273" fmla="*/ 11536450 w 12192000"/>
              <a:gd name="connsiteY273" fmla="*/ 4182784 h 4454665"/>
              <a:gd name="connsiteX274" fmla="*/ 11525909 w 12192000"/>
              <a:gd name="connsiteY274" fmla="*/ 4175797 h 4454665"/>
              <a:gd name="connsiteX275" fmla="*/ 11529423 w 12192000"/>
              <a:gd name="connsiteY275" fmla="*/ 4168811 h 4454665"/>
              <a:gd name="connsiteX276" fmla="*/ 11546992 w 12192000"/>
              <a:gd name="connsiteY276" fmla="*/ 4179290 h 4454665"/>
              <a:gd name="connsiteX277" fmla="*/ 11550506 w 12192000"/>
              <a:gd name="connsiteY277" fmla="*/ 4172303 h 4454665"/>
              <a:gd name="connsiteX278" fmla="*/ 11525909 w 12192000"/>
              <a:gd name="connsiteY278" fmla="*/ 4158331 h 4454665"/>
              <a:gd name="connsiteX279" fmla="*/ 11803361 w 12192000"/>
              <a:gd name="connsiteY279" fmla="*/ 4130117 h 4454665"/>
              <a:gd name="connsiteX280" fmla="*/ 11796375 w 12192000"/>
              <a:gd name="connsiteY280" fmla="*/ 4137170 h 4454665"/>
              <a:gd name="connsiteX281" fmla="*/ 11813840 w 12192000"/>
              <a:gd name="connsiteY281" fmla="*/ 4154804 h 4454665"/>
              <a:gd name="connsiteX282" fmla="*/ 11785895 w 12192000"/>
              <a:gd name="connsiteY282" fmla="*/ 4147751 h 4454665"/>
              <a:gd name="connsiteX283" fmla="*/ 11778908 w 12192000"/>
              <a:gd name="connsiteY283" fmla="*/ 4151277 h 4454665"/>
              <a:gd name="connsiteX284" fmla="*/ 11803361 w 12192000"/>
              <a:gd name="connsiteY284" fmla="*/ 4186546 h 4454665"/>
              <a:gd name="connsiteX285" fmla="*/ 11810348 w 12192000"/>
              <a:gd name="connsiteY285" fmla="*/ 4179492 h 4454665"/>
              <a:gd name="connsiteX286" fmla="*/ 11796375 w 12192000"/>
              <a:gd name="connsiteY286" fmla="*/ 4158331 h 4454665"/>
              <a:gd name="connsiteX287" fmla="*/ 11824320 w 12192000"/>
              <a:gd name="connsiteY287" fmla="*/ 4168911 h 4454665"/>
              <a:gd name="connsiteX288" fmla="*/ 11831307 w 12192000"/>
              <a:gd name="connsiteY288" fmla="*/ 4161858 h 4454665"/>
              <a:gd name="connsiteX289" fmla="*/ 11803361 w 12192000"/>
              <a:gd name="connsiteY289" fmla="*/ 4130117 h 4454665"/>
              <a:gd name="connsiteX290" fmla="*/ 11495008 w 12192000"/>
              <a:gd name="connsiteY290" fmla="*/ 4130117 h 4454665"/>
              <a:gd name="connsiteX291" fmla="*/ 11487980 w 12192000"/>
              <a:gd name="connsiteY291" fmla="*/ 4133630 h 4454665"/>
              <a:gd name="connsiteX292" fmla="*/ 11498522 w 12192000"/>
              <a:gd name="connsiteY292" fmla="*/ 4144172 h 4454665"/>
              <a:gd name="connsiteX293" fmla="*/ 11473924 w 12192000"/>
              <a:gd name="connsiteY293" fmla="*/ 4168769 h 4454665"/>
              <a:gd name="connsiteX294" fmla="*/ 11480952 w 12192000"/>
              <a:gd name="connsiteY294" fmla="*/ 4175797 h 4454665"/>
              <a:gd name="connsiteX295" fmla="*/ 11505548 w 12192000"/>
              <a:gd name="connsiteY295" fmla="*/ 4151200 h 4454665"/>
              <a:gd name="connsiteX296" fmla="*/ 11516090 w 12192000"/>
              <a:gd name="connsiteY296" fmla="*/ 4158227 h 4454665"/>
              <a:gd name="connsiteX297" fmla="*/ 11519604 w 12192000"/>
              <a:gd name="connsiteY297" fmla="*/ 4151200 h 4454665"/>
              <a:gd name="connsiteX298" fmla="*/ 11495008 w 12192000"/>
              <a:gd name="connsiteY298" fmla="*/ 4130117 h 4454665"/>
              <a:gd name="connsiteX299" fmla="*/ 11824589 w 12192000"/>
              <a:gd name="connsiteY299" fmla="*/ 4119368 h 4454665"/>
              <a:gd name="connsiteX300" fmla="*/ 11842055 w 12192000"/>
              <a:gd name="connsiteY300" fmla="*/ 4126086 h 4454665"/>
              <a:gd name="connsiteX301" fmla="*/ 11842055 w 12192000"/>
              <a:gd name="connsiteY301" fmla="*/ 4130117 h 4454665"/>
              <a:gd name="connsiteX302" fmla="*/ 11835337 w 12192000"/>
              <a:gd name="connsiteY302" fmla="*/ 4136835 h 4454665"/>
              <a:gd name="connsiteX303" fmla="*/ 11831307 w 12192000"/>
              <a:gd name="connsiteY303" fmla="*/ 4130117 h 4454665"/>
              <a:gd name="connsiteX304" fmla="*/ 11820942 w 12192000"/>
              <a:gd name="connsiteY304" fmla="*/ 4112650 h 4454665"/>
              <a:gd name="connsiteX305" fmla="*/ 11813840 w 12192000"/>
              <a:gd name="connsiteY305" fmla="*/ 4119592 h 4454665"/>
              <a:gd name="connsiteX306" fmla="*/ 11820942 w 12192000"/>
              <a:gd name="connsiteY306" fmla="*/ 4130004 h 4454665"/>
              <a:gd name="connsiteX307" fmla="*/ 11838696 w 12192000"/>
              <a:gd name="connsiteY307" fmla="*/ 4154300 h 4454665"/>
              <a:gd name="connsiteX308" fmla="*/ 11842247 w 12192000"/>
              <a:gd name="connsiteY308" fmla="*/ 4150830 h 4454665"/>
              <a:gd name="connsiteX309" fmla="*/ 11838696 w 12192000"/>
              <a:gd name="connsiteY309" fmla="*/ 4143888 h 4454665"/>
              <a:gd name="connsiteX310" fmla="*/ 11849349 w 12192000"/>
              <a:gd name="connsiteY310" fmla="*/ 4130004 h 4454665"/>
              <a:gd name="connsiteX311" fmla="*/ 11856450 w 12192000"/>
              <a:gd name="connsiteY311" fmla="*/ 4130004 h 4454665"/>
              <a:gd name="connsiteX312" fmla="*/ 11860002 w 12192000"/>
              <a:gd name="connsiteY312" fmla="*/ 4130004 h 4454665"/>
              <a:gd name="connsiteX313" fmla="*/ 11863552 w 12192000"/>
              <a:gd name="connsiteY313" fmla="*/ 4123062 h 4454665"/>
              <a:gd name="connsiteX314" fmla="*/ 11820942 w 12192000"/>
              <a:gd name="connsiteY314" fmla="*/ 4112650 h 4454665"/>
              <a:gd name="connsiteX315" fmla="*/ 11466198 w 12192000"/>
              <a:gd name="connsiteY315" fmla="*/ 4097871 h 4454665"/>
              <a:gd name="connsiteX316" fmla="*/ 11430930 w 12192000"/>
              <a:gd name="connsiteY316" fmla="*/ 4122951 h 4454665"/>
              <a:gd name="connsiteX317" fmla="*/ 11437984 w 12192000"/>
              <a:gd name="connsiteY317" fmla="*/ 4130117 h 4454665"/>
              <a:gd name="connsiteX318" fmla="*/ 11459145 w 12192000"/>
              <a:gd name="connsiteY318" fmla="*/ 4115786 h 4454665"/>
              <a:gd name="connsiteX319" fmla="*/ 11448564 w 12192000"/>
              <a:gd name="connsiteY319" fmla="*/ 4144447 h 4454665"/>
              <a:gd name="connsiteX320" fmla="*/ 11455618 w 12192000"/>
              <a:gd name="connsiteY320" fmla="*/ 4151613 h 4454665"/>
              <a:gd name="connsiteX321" fmla="*/ 11487359 w 12192000"/>
              <a:gd name="connsiteY321" fmla="*/ 4122951 h 4454665"/>
              <a:gd name="connsiteX322" fmla="*/ 11483833 w 12192000"/>
              <a:gd name="connsiteY322" fmla="*/ 4115786 h 4454665"/>
              <a:gd name="connsiteX323" fmla="*/ 11462672 w 12192000"/>
              <a:gd name="connsiteY323" fmla="*/ 4133699 h 4454665"/>
              <a:gd name="connsiteX324" fmla="*/ 11473252 w 12192000"/>
              <a:gd name="connsiteY324" fmla="*/ 4105037 h 4454665"/>
              <a:gd name="connsiteX325" fmla="*/ 11466198 w 12192000"/>
              <a:gd name="connsiteY325" fmla="*/ 4097871 h 4454665"/>
              <a:gd name="connsiteX326" fmla="*/ 11835338 w 12192000"/>
              <a:gd name="connsiteY326" fmla="*/ 4087123 h 4454665"/>
              <a:gd name="connsiteX327" fmla="*/ 11831307 w 12192000"/>
              <a:gd name="connsiteY327" fmla="*/ 4095184 h 4454665"/>
              <a:gd name="connsiteX328" fmla="*/ 11870270 w 12192000"/>
              <a:gd name="connsiteY328" fmla="*/ 4115338 h 4454665"/>
              <a:gd name="connsiteX329" fmla="*/ 11883706 w 12192000"/>
              <a:gd name="connsiteY329" fmla="*/ 4091154 h 4454665"/>
              <a:gd name="connsiteX330" fmla="*/ 11876988 w 12192000"/>
              <a:gd name="connsiteY330" fmla="*/ 4087123 h 4454665"/>
              <a:gd name="connsiteX331" fmla="*/ 11866239 w 12192000"/>
              <a:gd name="connsiteY331" fmla="*/ 4105933 h 4454665"/>
              <a:gd name="connsiteX332" fmla="*/ 11459634 w 12192000"/>
              <a:gd name="connsiteY332" fmla="*/ 4084436 h 4454665"/>
              <a:gd name="connsiteX333" fmla="*/ 11424212 w 12192000"/>
              <a:gd name="connsiteY333" fmla="*/ 4105598 h 4454665"/>
              <a:gd name="connsiteX334" fmla="*/ 11427754 w 12192000"/>
              <a:gd name="connsiteY334" fmla="*/ 4112651 h 4454665"/>
              <a:gd name="connsiteX335" fmla="*/ 11463176 w 12192000"/>
              <a:gd name="connsiteY335" fmla="*/ 4091490 h 4454665"/>
              <a:gd name="connsiteX336" fmla="*/ 11459634 w 12192000"/>
              <a:gd name="connsiteY336" fmla="*/ 4084436 h 4454665"/>
              <a:gd name="connsiteX337" fmla="*/ 11450927 w 12192000"/>
              <a:gd name="connsiteY337" fmla="*/ 4050826 h 4454665"/>
              <a:gd name="connsiteX338" fmla="*/ 11456192 w 12192000"/>
              <a:gd name="connsiteY338" fmla="*/ 4056557 h 4454665"/>
              <a:gd name="connsiteX339" fmla="*/ 11649257 w 12192000"/>
              <a:gd name="connsiteY339" fmla="*/ 4187050 h 4454665"/>
              <a:gd name="connsiteX340" fmla="*/ 11842320 w 12192000"/>
              <a:gd name="connsiteY340" fmla="*/ 4056557 h 4454665"/>
              <a:gd name="connsiteX341" fmla="*/ 11847586 w 12192000"/>
              <a:gd name="connsiteY341" fmla="*/ 4050826 h 4454665"/>
              <a:gd name="connsiteX342" fmla="*/ 11852851 w 12192000"/>
              <a:gd name="connsiteY342" fmla="*/ 4053030 h 4454665"/>
              <a:gd name="connsiteX343" fmla="*/ 11891464 w 12192000"/>
              <a:gd name="connsiteY343" fmla="*/ 4063611 h 4454665"/>
              <a:gd name="connsiteX344" fmla="*/ 11898484 w 12192000"/>
              <a:gd name="connsiteY344" fmla="*/ 4074191 h 4454665"/>
              <a:gd name="connsiteX345" fmla="*/ 11649257 w 12192000"/>
              <a:gd name="connsiteY345" fmla="*/ 4247006 h 4454665"/>
              <a:gd name="connsiteX346" fmla="*/ 11400028 w 12192000"/>
              <a:gd name="connsiteY346" fmla="*/ 4077719 h 4454665"/>
              <a:gd name="connsiteX347" fmla="*/ 11407049 w 12192000"/>
              <a:gd name="connsiteY347" fmla="*/ 4063611 h 4454665"/>
              <a:gd name="connsiteX348" fmla="*/ 11445662 w 12192000"/>
              <a:gd name="connsiteY348" fmla="*/ 4053030 h 4454665"/>
              <a:gd name="connsiteX349" fmla="*/ 11450927 w 12192000"/>
              <a:gd name="connsiteY349" fmla="*/ 4050826 h 4454665"/>
              <a:gd name="connsiteX350" fmla="*/ 11603442 w 12192000"/>
              <a:gd name="connsiteY350" fmla="*/ 4044988 h 4454665"/>
              <a:gd name="connsiteX351" fmla="*/ 11613922 w 12192000"/>
              <a:gd name="connsiteY351" fmla="*/ 4044988 h 4454665"/>
              <a:gd name="connsiteX352" fmla="*/ 11617414 w 12192000"/>
              <a:gd name="connsiteY352" fmla="*/ 4052079 h 4454665"/>
              <a:gd name="connsiteX353" fmla="*/ 11624401 w 12192000"/>
              <a:gd name="connsiteY353" fmla="*/ 4154898 h 4454665"/>
              <a:gd name="connsiteX354" fmla="*/ 11620908 w 12192000"/>
              <a:gd name="connsiteY354" fmla="*/ 4165535 h 4454665"/>
              <a:gd name="connsiteX355" fmla="*/ 11613922 w 12192000"/>
              <a:gd name="connsiteY355" fmla="*/ 4165535 h 4454665"/>
              <a:gd name="connsiteX356" fmla="*/ 11505632 w 12192000"/>
              <a:gd name="connsiteY356" fmla="*/ 4101715 h 4454665"/>
              <a:gd name="connsiteX357" fmla="*/ 11502138 w 12192000"/>
              <a:gd name="connsiteY357" fmla="*/ 4098170 h 4454665"/>
              <a:gd name="connsiteX358" fmla="*/ 11502138 w 12192000"/>
              <a:gd name="connsiteY358" fmla="*/ 4094625 h 4454665"/>
              <a:gd name="connsiteX359" fmla="*/ 11509124 w 12192000"/>
              <a:gd name="connsiteY359" fmla="*/ 4091080 h 4454665"/>
              <a:gd name="connsiteX360" fmla="*/ 11603442 w 12192000"/>
              <a:gd name="connsiteY360" fmla="*/ 4044988 h 4454665"/>
              <a:gd name="connsiteX361" fmla="*/ 11688084 w 12192000"/>
              <a:gd name="connsiteY361" fmla="*/ 4041442 h 4454665"/>
              <a:gd name="connsiteX362" fmla="*/ 11698565 w 12192000"/>
              <a:gd name="connsiteY362" fmla="*/ 4041442 h 4454665"/>
              <a:gd name="connsiteX363" fmla="*/ 11789388 w 12192000"/>
              <a:gd name="connsiteY363" fmla="*/ 4087353 h 4454665"/>
              <a:gd name="connsiteX364" fmla="*/ 11796375 w 12192000"/>
              <a:gd name="connsiteY364" fmla="*/ 4094417 h 4454665"/>
              <a:gd name="connsiteX365" fmla="*/ 11792882 w 12192000"/>
              <a:gd name="connsiteY365" fmla="*/ 4101480 h 4454665"/>
              <a:gd name="connsiteX366" fmla="*/ 11684592 w 12192000"/>
              <a:gd name="connsiteY366" fmla="*/ 4165049 h 4454665"/>
              <a:gd name="connsiteX367" fmla="*/ 11677605 w 12192000"/>
              <a:gd name="connsiteY367" fmla="*/ 4165049 h 4454665"/>
              <a:gd name="connsiteX368" fmla="*/ 11674112 w 12192000"/>
              <a:gd name="connsiteY368" fmla="*/ 4154454 h 4454665"/>
              <a:gd name="connsiteX369" fmla="*/ 11684592 w 12192000"/>
              <a:gd name="connsiteY369" fmla="*/ 4052038 h 4454665"/>
              <a:gd name="connsiteX370" fmla="*/ 11688084 w 12192000"/>
              <a:gd name="connsiteY370" fmla="*/ 4041442 h 4454665"/>
              <a:gd name="connsiteX371" fmla="*/ 10810283 w 12192000"/>
              <a:gd name="connsiteY371" fmla="*/ 4002478 h 4454665"/>
              <a:gd name="connsiteX372" fmla="*/ 10851862 w 12192000"/>
              <a:gd name="connsiteY372" fmla="*/ 4002478 h 4454665"/>
              <a:gd name="connsiteX373" fmla="*/ 10851862 w 12192000"/>
              <a:gd name="connsiteY373" fmla="*/ 4045088 h 4454665"/>
              <a:gd name="connsiteX374" fmla="*/ 10803353 w 12192000"/>
              <a:gd name="connsiteY374" fmla="*/ 4052190 h 4454665"/>
              <a:gd name="connsiteX375" fmla="*/ 10786028 w 12192000"/>
              <a:gd name="connsiteY375" fmla="*/ 4027334 h 4454665"/>
              <a:gd name="connsiteX376" fmla="*/ 10810283 w 12192000"/>
              <a:gd name="connsiteY376" fmla="*/ 4002478 h 4454665"/>
              <a:gd name="connsiteX377" fmla="*/ 10494479 w 12192000"/>
              <a:gd name="connsiteY377" fmla="*/ 3932613 h 4454665"/>
              <a:gd name="connsiteX378" fmla="*/ 10536128 w 12192000"/>
              <a:gd name="connsiteY378" fmla="*/ 3988885 h 4454665"/>
              <a:gd name="connsiteX379" fmla="*/ 10494479 w 12192000"/>
              <a:gd name="connsiteY379" fmla="*/ 4052189 h 4454665"/>
              <a:gd name="connsiteX380" fmla="*/ 10452829 w 12192000"/>
              <a:gd name="connsiteY380" fmla="*/ 3988885 h 4454665"/>
              <a:gd name="connsiteX381" fmla="*/ 10494479 w 12192000"/>
              <a:gd name="connsiteY381" fmla="*/ 3932613 h 4454665"/>
              <a:gd name="connsiteX382" fmla="*/ 11639005 w 12192000"/>
              <a:gd name="connsiteY382" fmla="*/ 3928584 h 4454665"/>
              <a:gd name="connsiteX383" fmla="*/ 11660034 w 12192000"/>
              <a:gd name="connsiteY383" fmla="*/ 3928584 h 4454665"/>
              <a:gd name="connsiteX384" fmla="*/ 11660034 w 12192000"/>
              <a:gd name="connsiteY384" fmla="*/ 3939224 h 4454665"/>
              <a:gd name="connsiteX385" fmla="*/ 11691578 w 12192000"/>
              <a:gd name="connsiteY385" fmla="*/ 3978241 h 4454665"/>
              <a:gd name="connsiteX386" fmla="*/ 11649519 w 12192000"/>
              <a:gd name="connsiteY386" fmla="*/ 4017258 h 4454665"/>
              <a:gd name="connsiteX387" fmla="*/ 11610966 w 12192000"/>
              <a:gd name="connsiteY387" fmla="*/ 3978241 h 4454665"/>
              <a:gd name="connsiteX388" fmla="*/ 11639005 w 12192000"/>
              <a:gd name="connsiteY388" fmla="*/ 3939224 h 4454665"/>
              <a:gd name="connsiteX389" fmla="*/ 11639005 w 12192000"/>
              <a:gd name="connsiteY389" fmla="*/ 3928584 h 4454665"/>
              <a:gd name="connsiteX390" fmla="*/ 11649257 w 12192000"/>
              <a:gd name="connsiteY390" fmla="*/ 3917835 h 4454665"/>
              <a:gd name="connsiteX391" fmla="*/ 11589469 w 12192000"/>
              <a:gd name="connsiteY391" fmla="*/ 3978295 h 4454665"/>
              <a:gd name="connsiteX392" fmla="*/ 11649257 w 12192000"/>
              <a:gd name="connsiteY392" fmla="*/ 4038755 h 4454665"/>
              <a:gd name="connsiteX393" fmla="*/ 11709045 w 12192000"/>
              <a:gd name="connsiteY393" fmla="*/ 3978295 h 4454665"/>
              <a:gd name="connsiteX394" fmla="*/ 11649257 w 12192000"/>
              <a:gd name="connsiteY394" fmla="*/ 3917835 h 4454665"/>
              <a:gd name="connsiteX395" fmla="*/ 11649257 w 12192000"/>
              <a:gd name="connsiteY395" fmla="*/ 3911118 h 4454665"/>
              <a:gd name="connsiteX396" fmla="*/ 11715763 w 12192000"/>
              <a:gd name="connsiteY396" fmla="*/ 3978295 h 4454665"/>
              <a:gd name="connsiteX397" fmla="*/ 11649257 w 12192000"/>
              <a:gd name="connsiteY397" fmla="*/ 4045473 h 4454665"/>
              <a:gd name="connsiteX398" fmla="*/ 11582751 w 12192000"/>
              <a:gd name="connsiteY398" fmla="*/ 3978295 h 4454665"/>
              <a:gd name="connsiteX399" fmla="*/ 11649257 w 12192000"/>
              <a:gd name="connsiteY399" fmla="*/ 3911118 h 4454665"/>
              <a:gd name="connsiteX400" fmla="*/ 11824549 w 12192000"/>
              <a:gd name="connsiteY400" fmla="*/ 3908431 h 4454665"/>
              <a:gd name="connsiteX401" fmla="*/ 11828050 w 12192000"/>
              <a:gd name="connsiteY401" fmla="*/ 3915484 h 4454665"/>
              <a:gd name="connsiteX402" fmla="*/ 11828050 w 12192000"/>
              <a:gd name="connsiteY402" fmla="*/ 4038923 h 4454665"/>
              <a:gd name="connsiteX403" fmla="*/ 11824549 w 12192000"/>
              <a:gd name="connsiteY403" fmla="*/ 4045977 h 4454665"/>
              <a:gd name="connsiteX404" fmla="*/ 11817546 w 12192000"/>
              <a:gd name="connsiteY404" fmla="*/ 4045977 h 4454665"/>
              <a:gd name="connsiteX405" fmla="*/ 11730012 w 12192000"/>
              <a:gd name="connsiteY405" fmla="*/ 3986021 h 4454665"/>
              <a:gd name="connsiteX406" fmla="*/ 11726510 w 12192000"/>
              <a:gd name="connsiteY406" fmla="*/ 3978967 h 4454665"/>
              <a:gd name="connsiteX407" fmla="*/ 11730012 w 12192000"/>
              <a:gd name="connsiteY407" fmla="*/ 3968386 h 4454665"/>
              <a:gd name="connsiteX408" fmla="*/ 11814044 w 12192000"/>
              <a:gd name="connsiteY408" fmla="*/ 3911957 h 4454665"/>
              <a:gd name="connsiteX409" fmla="*/ 11824549 w 12192000"/>
              <a:gd name="connsiteY409" fmla="*/ 3908431 h 4454665"/>
              <a:gd name="connsiteX410" fmla="*/ 11473964 w 12192000"/>
              <a:gd name="connsiteY410" fmla="*/ 3908431 h 4454665"/>
              <a:gd name="connsiteX411" fmla="*/ 11480967 w 12192000"/>
              <a:gd name="connsiteY411" fmla="*/ 3911957 h 4454665"/>
              <a:gd name="connsiteX412" fmla="*/ 11568501 w 12192000"/>
              <a:gd name="connsiteY412" fmla="*/ 3968386 h 4454665"/>
              <a:gd name="connsiteX413" fmla="*/ 11572002 w 12192000"/>
              <a:gd name="connsiteY413" fmla="*/ 3978967 h 4454665"/>
              <a:gd name="connsiteX414" fmla="*/ 11568501 w 12192000"/>
              <a:gd name="connsiteY414" fmla="*/ 3986021 h 4454665"/>
              <a:gd name="connsiteX415" fmla="*/ 11480967 w 12192000"/>
              <a:gd name="connsiteY415" fmla="*/ 4045977 h 4454665"/>
              <a:gd name="connsiteX416" fmla="*/ 11473964 w 12192000"/>
              <a:gd name="connsiteY416" fmla="*/ 4045977 h 4454665"/>
              <a:gd name="connsiteX417" fmla="*/ 11466961 w 12192000"/>
              <a:gd name="connsiteY417" fmla="*/ 4042450 h 4454665"/>
              <a:gd name="connsiteX418" fmla="*/ 11466961 w 12192000"/>
              <a:gd name="connsiteY418" fmla="*/ 3915484 h 4454665"/>
              <a:gd name="connsiteX419" fmla="*/ 11473964 w 12192000"/>
              <a:gd name="connsiteY419" fmla="*/ 3908431 h 4454665"/>
              <a:gd name="connsiteX420" fmla="*/ 11070316 w 12192000"/>
              <a:gd name="connsiteY420" fmla="*/ 3897682 h 4454665"/>
              <a:gd name="connsiteX421" fmla="*/ 11070316 w 12192000"/>
              <a:gd name="connsiteY421" fmla="*/ 3904735 h 4454665"/>
              <a:gd name="connsiteX422" fmla="*/ 11112166 w 12192000"/>
              <a:gd name="connsiteY422" fmla="*/ 4066969 h 4454665"/>
              <a:gd name="connsiteX423" fmla="*/ 11133091 w 12192000"/>
              <a:gd name="connsiteY423" fmla="*/ 4088130 h 4454665"/>
              <a:gd name="connsiteX424" fmla="*/ 11143554 w 12192000"/>
              <a:gd name="connsiteY424" fmla="*/ 4088130 h 4454665"/>
              <a:gd name="connsiteX425" fmla="*/ 11140066 w 12192000"/>
              <a:gd name="connsiteY425" fmla="*/ 4095183 h 4454665"/>
              <a:gd name="connsiteX426" fmla="*/ 11112166 w 12192000"/>
              <a:gd name="connsiteY426" fmla="*/ 4116344 h 4454665"/>
              <a:gd name="connsiteX427" fmla="*/ 11077291 w 12192000"/>
              <a:gd name="connsiteY427" fmla="*/ 4112818 h 4454665"/>
              <a:gd name="connsiteX428" fmla="*/ 11073804 w 12192000"/>
              <a:gd name="connsiteY428" fmla="*/ 4116344 h 4454665"/>
              <a:gd name="connsiteX429" fmla="*/ 11070316 w 12192000"/>
              <a:gd name="connsiteY429" fmla="*/ 4119871 h 4454665"/>
              <a:gd name="connsiteX430" fmla="*/ 11070316 w 12192000"/>
              <a:gd name="connsiteY430" fmla="*/ 4141032 h 4454665"/>
              <a:gd name="connsiteX431" fmla="*/ 11077291 w 12192000"/>
              <a:gd name="connsiteY431" fmla="*/ 4148086 h 4454665"/>
              <a:gd name="connsiteX432" fmla="*/ 11122628 w 12192000"/>
              <a:gd name="connsiteY432" fmla="*/ 4151612 h 4454665"/>
              <a:gd name="connsiteX433" fmla="*/ 11126116 w 12192000"/>
              <a:gd name="connsiteY433" fmla="*/ 4151612 h 4454665"/>
              <a:gd name="connsiteX434" fmla="*/ 11181916 w 12192000"/>
              <a:gd name="connsiteY434" fmla="*/ 4098710 h 4454665"/>
              <a:gd name="connsiteX435" fmla="*/ 11213303 w 12192000"/>
              <a:gd name="connsiteY435" fmla="*/ 3968218 h 4454665"/>
              <a:gd name="connsiteX436" fmla="*/ 11227253 w 12192000"/>
              <a:gd name="connsiteY436" fmla="*/ 3925896 h 4454665"/>
              <a:gd name="connsiteX437" fmla="*/ 11230741 w 12192000"/>
              <a:gd name="connsiteY437" fmla="*/ 3904735 h 4454665"/>
              <a:gd name="connsiteX438" fmla="*/ 11230741 w 12192000"/>
              <a:gd name="connsiteY438" fmla="*/ 3897682 h 4454665"/>
              <a:gd name="connsiteX439" fmla="*/ 11223766 w 12192000"/>
              <a:gd name="connsiteY439" fmla="*/ 3897682 h 4454665"/>
              <a:gd name="connsiteX440" fmla="*/ 11195866 w 12192000"/>
              <a:gd name="connsiteY440" fmla="*/ 3897682 h 4454665"/>
              <a:gd name="connsiteX441" fmla="*/ 11188891 w 12192000"/>
              <a:gd name="connsiteY441" fmla="*/ 3901208 h 4454665"/>
              <a:gd name="connsiteX442" fmla="*/ 11150528 w 12192000"/>
              <a:gd name="connsiteY442" fmla="*/ 4045808 h 4454665"/>
              <a:gd name="connsiteX443" fmla="*/ 11147041 w 12192000"/>
              <a:gd name="connsiteY443" fmla="*/ 4045808 h 4454665"/>
              <a:gd name="connsiteX444" fmla="*/ 11112166 w 12192000"/>
              <a:gd name="connsiteY444" fmla="*/ 3901208 h 4454665"/>
              <a:gd name="connsiteX445" fmla="*/ 11105191 w 12192000"/>
              <a:gd name="connsiteY445" fmla="*/ 3897682 h 4454665"/>
              <a:gd name="connsiteX446" fmla="*/ 11077291 w 12192000"/>
              <a:gd name="connsiteY446" fmla="*/ 3897682 h 4454665"/>
              <a:gd name="connsiteX447" fmla="*/ 11070316 w 12192000"/>
              <a:gd name="connsiteY447" fmla="*/ 3897682 h 4454665"/>
              <a:gd name="connsiteX448" fmla="*/ 11038289 w 12192000"/>
              <a:gd name="connsiteY448" fmla="*/ 3893651 h 4454665"/>
              <a:gd name="connsiteX449" fmla="*/ 10985474 w 12192000"/>
              <a:gd name="connsiteY449" fmla="*/ 3914757 h 4454665"/>
              <a:gd name="connsiteX450" fmla="*/ 10985474 w 12192000"/>
              <a:gd name="connsiteY450" fmla="*/ 3904204 h 4454665"/>
              <a:gd name="connsiteX451" fmla="*/ 10978433 w 12192000"/>
              <a:gd name="connsiteY451" fmla="*/ 3897169 h 4454665"/>
              <a:gd name="connsiteX452" fmla="*/ 10950264 w 12192000"/>
              <a:gd name="connsiteY452" fmla="*/ 3897169 h 4454665"/>
              <a:gd name="connsiteX453" fmla="*/ 10943222 w 12192000"/>
              <a:gd name="connsiteY453" fmla="*/ 3904204 h 4454665"/>
              <a:gd name="connsiteX454" fmla="*/ 10943222 w 12192000"/>
              <a:gd name="connsiteY454" fmla="*/ 4080087 h 4454665"/>
              <a:gd name="connsiteX455" fmla="*/ 10950264 w 12192000"/>
              <a:gd name="connsiteY455" fmla="*/ 4087122 h 4454665"/>
              <a:gd name="connsiteX456" fmla="*/ 10978433 w 12192000"/>
              <a:gd name="connsiteY456" fmla="*/ 4087122 h 4454665"/>
              <a:gd name="connsiteX457" fmla="*/ 10985474 w 12192000"/>
              <a:gd name="connsiteY457" fmla="*/ 4080087 h 4454665"/>
              <a:gd name="connsiteX458" fmla="*/ 10985474 w 12192000"/>
              <a:gd name="connsiteY458" fmla="*/ 3956969 h 4454665"/>
              <a:gd name="connsiteX459" fmla="*/ 11038289 w 12192000"/>
              <a:gd name="connsiteY459" fmla="*/ 3935863 h 4454665"/>
              <a:gd name="connsiteX460" fmla="*/ 11045332 w 12192000"/>
              <a:gd name="connsiteY460" fmla="*/ 3928828 h 4454665"/>
              <a:gd name="connsiteX461" fmla="*/ 11045332 w 12192000"/>
              <a:gd name="connsiteY461" fmla="*/ 3900687 h 4454665"/>
              <a:gd name="connsiteX462" fmla="*/ 11041811 w 12192000"/>
              <a:gd name="connsiteY462" fmla="*/ 3897169 h 4454665"/>
              <a:gd name="connsiteX463" fmla="*/ 11038289 w 12192000"/>
              <a:gd name="connsiteY463" fmla="*/ 3893651 h 4454665"/>
              <a:gd name="connsiteX464" fmla="*/ 10831647 w 12192000"/>
              <a:gd name="connsiteY464" fmla="*/ 3889620 h 4454665"/>
              <a:gd name="connsiteX465" fmla="*/ 10761417 w 12192000"/>
              <a:gd name="connsiteY465" fmla="*/ 3896691 h 4454665"/>
              <a:gd name="connsiteX466" fmla="*/ 10754394 w 12192000"/>
              <a:gd name="connsiteY466" fmla="*/ 3903763 h 4454665"/>
              <a:gd name="connsiteX467" fmla="*/ 10754394 w 12192000"/>
              <a:gd name="connsiteY467" fmla="*/ 3928512 h 4454665"/>
              <a:gd name="connsiteX468" fmla="*/ 10757905 w 12192000"/>
              <a:gd name="connsiteY468" fmla="*/ 3935584 h 4454665"/>
              <a:gd name="connsiteX469" fmla="*/ 10761417 w 12192000"/>
              <a:gd name="connsiteY469" fmla="*/ 3935584 h 4454665"/>
              <a:gd name="connsiteX470" fmla="*/ 10828136 w 12192000"/>
              <a:gd name="connsiteY470" fmla="*/ 3932048 h 4454665"/>
              <a:gd name="connsiteX471" fmla="*/ 10852717 w 12192000"/>
              <a:gd name="connsiteY471" fmla="*/ 3956798 h 4454665"/>
              <a:gd name="connsiteX472" fmla="*/ 10852717 w 12192000"/>
              <a:gd name="connsiteY472" fmla="*/ 3967405 h 4454665"/>
              <a:gd name="connsiteX473" fmla="*/ 10803555 w 12192000"/>
              <a:gd name="connsiteY473" fmla="*/ 3970941 h 4454665"/>
              <a:gd name="connsiteX474" fmla="*/ 10740347 w 12192000"/>
              <a:gd name="connsiteY474" fmla="*/ 4031046 h 4454665"/>
              <a:gd name="connsiteX475" fmla="*/ 10796532 w 12192000"/>
              <a:gd name="connsiteY475" fmla="*/ 4091152 h 4454665"/>
              <a:gd name="connsiteX476" fmla="*/ 10859740 w 12192000"/>
              <a:gd name="connsiteY476" fmla="*/ 4077009 h 4454665"/>
              <a:gd name="connsiteX477" fmla="*/ 10887833 w 12192000"/>
              <a:gd name="connsiteY477" fmla="*/ 4091152 h 4454665"/>
              <a:gd name="connsiteX478" fmla="*/ 10894855 w 12192000"/>
              <a:gd name="connsiteY478" fmla="*/ 4087616 h 4454665"/>
              <a:gd name="connsiteX479" fmla="*/ 10894855 w 12192000"/>
              <a:gd name="connsiteY479" fmla="*/ 4084081 h 4454665"/>
              <a:gd name="connsiteX480" fmla="*/ 10894855 w 12192000"/>
              <a:gd name="connsiteY480" fmla="*/ 3956798 h 4454665"/>
              <a:gd name="connsiteX481" fmla="*/ 10831647 w 12192000"/>
              <a:gd name="connsiteY481" fmla="*/ 3889620 h 4454665"/>
              <a:gd name="connsiteX482" fmla="*/ 10495822 w 12192000"/>
              <a:gd name="connsiteY482" fmla="*/ 3889619 h 4454665"/>
              <a:gd name="connsiteX483" fmla="*/ 10409835 w 12192000"/>
              <a:gd name="connsiteY483" fmla="*/ 3990386 h 4454665"/>
              <a:gd name="connsiteX484" fmla="*/ 10495822 w 12192000"/>
              <a:gd name="connsiteY484" fmla="*/ 4091152 h 4454665"/>
              <a:gd name="connsiteX485" fmla="*/ 10581809 w 12192000"/>
              <a:gd name="connsiteY485" fmla="*/ 3990386 h 4454665"/>
              <a:gd name="connsiteX486" fmla="*/ 10495822 w 12192000"/>
              <a:gd name="connsiteY486" fmla="*/ 3889619 h 4454665"/>
              <a:gd name="connsiteX487" fmla="*/ 10241892 w 12192000"/>
              <a:gd name="connsiteY487" fmla="*/ 3865436 h 4454665"/>
              <a:gd name="connsiteX488" fmla="*/ 10273241 w 12192000"/>
              <a:gd name="connsiteY488" fmla="*/ 3865436 h 4454665"/>
              <a:gd name="connsiteX489" fmla="*/ 10290657 w 12192000"/>
              <a:gd name="connsiteY489" fmla="*/ 3865436 h 4454665"/>
              <a:gd name="connsiteX490" fmla="*/ 10335940 w 12192000"/>
              <a:gd name="connsiteY490" fmla="*/ 3904400 h 4454665"/>
              <a:gd name="connsiteX491" fmla="*/ 10287174 w 12192000"/>
              <a:gd name="connsiteY491" fmla="*/ 3943362 h 4454665"/>
              <a:gd name="connsiteX492" fmla="*/ 10241892 w 12192000"/>
              <a:gd name="connsiteY492" fmla="*/ 3943362 h 4454665"/>
              <a:gd name="connsiteX493" fmla="*/ 10241892 w 12192000"/>
              <a:gd name="connsiteY493" fmla="*/ 3865436 h 4454665"/>
              <a:gd name="connsiteX494" fmla="*/ 10659063 w 12192000"/>
              <a:gd name="connsiteY494" fmla="*/ 3852001 h 4454665"/>
              <a:gd name="connsiteX495" fmla="*/ 10627410 w 12192000"/>
              <a:gd name="connsiteY495" fmla="*/ 3859035 h 4454665"/>
              <a:gd name="connsiteX496" fmla="*/ 10623893 w 12192000"/>
              <a:gd name="connsiteY496" fmla="*/ 3866069 h 4454665"/>
              <a:gd name="connsiteX497" fmla="*/ 10623893 w 12192000"/>
              <a:gd name="connsiteY497" fmla="*/ 3897721 h 4454665"/>
              <a:gd name="connsiteX498" fmla="*/ 10606308 w 12192000"/>
              <a:gd name="connsiteY498" fmla="*/ 3897721 h 4454665"/>
              <a:gd name="connsiteX499" fmla="*/ 10599275 w 12192000"/>
              <a:gd name="connsiteY499" fmla="*/ 3904755 h 4454665"/>
              <a:gd name="connsiteX500" fmla="*/ 10599275 w 12192000"/>
              <a:gd name="connsiteY500" fmla="*/ 3929373 h 4454665"/>
              <a:gd name="connsiteX501" fmla="*/ 10606308 w 12192000"/>
              <a:gd name="connsiteY501" fmla="*/ 3936407 h 4454665"/>
              <a:gd name="connsiteX502" fmla="*/ 10623893 w 12192000"/>
              <a:gd name="connsiteY502" fmla="*/ 3936407 h 4454665"/>
              <a:gd name="connsiteX503" fmla="*/ 10623893 w 12192000"/>
              <a:gd name="connsiteY503" fmla="*/ 4020814 h 4454665"/>
              <a:gd name="connsiteX504" fmla="*/ 10680164 w 12192000"/>
              <a:gd name="connsiteY504" fmla="*/ 4091152 h 4454665"/>
              <a:gd name="connsiteX505" fmla="*/ 10711817 w 12192000"/>
              <a:gd name="connsiteY505" fmla="*/ 4087636 h 4454665"/>
              <a:gd name="connsiteX506" fmla="*/ 10718851 w 12192000"/>
              <a:gd name="connsiteY506" fmla="*/ 4080601 h 4454665"/>
              <a:gd name="connsiteX507" fmla="*/ 10718851 w 12192000"/>
              <a:gd name="connsiteY507" fmla="*/ 4055983 h 4454665"/>
              <a:gd name="connsiteX508" fmla="*/ 10711817 w 12192000"/>
              <a:gd name="connsiteY508" fmla="*/ 4048949 h 4454665"/>
              <a:gd name="connsiteX509" fmla="*/ 10687198 w 12192000"/>
              <a:gd name="connsiteY509" fmla="*/ 4048949 h 4454665"/>
              <a:gd name="connsiteX510" fmla="*/ 10666096 w 12192000"/>
              <a:gd name="connsiteY510" fmla="*/ 4013780 h 4454665"/>
              <a:gd name="connsiteX511" fmla="*/ 10666096 w 12192000"/>
              <a:gd name="connsiteY511" fmla="*/ 3936407 h 4454665"/>
              <a:gd name="connsiteX512" fmla="*/ 10711817 w 12192000"/>
              <a:gd name="connsiteY512" fmla="*/ 3936407 h 4454665"/>
              <a:gd name="connsiteX513" fmla="*/ 10718851 w 12192000"/>
              <a:gd name="connsiteY513" fmla="*/ 3929373 h 4454665"/>
              <a:gd name="connsiteX514" fmla="*/ 10718851 w 12192000"/>
              <a:gd name="connsiteY514" fmla="*/ 3904755 h 4454665"/>
              <a:gd name="connsiteX515" fmla="*/ 10711817 w 12192000"/>
              <a:gd name="connsiteY515" fmla="*/ 3897721 h 4454665"/>
              <a:gd name="connsiteX516" fmla="*/ 10666096 w 12192000"/>
              <a:gd name="connsiteY516" fmla="*/ 3897721 h 4454665"/>
              <a:gd name="connsiteX517" fmla="*/ 10666096 w 12192000"/>
              <a:gd name="connsiteY517" fmla="*/ 3859035 h 4454665"/>
              <a:gd name="connsiteX518" fmla="*/ 10662580 w 12192000"/>
              <a:gd name="connsiteY518" fmla="*/ 3852001 h 4454665"/>
              <a:gd name="connsiteX519" fmla="*/ 10659063 w 12192000"/>
              <a:gd name="connsiteY519" fmla="*/ 3852001 h 4454665"/>
              <a:gd name="connsiteX520" fmla="*/ 10283668 w 12192000"/>
              <a:gd name="connsiteY520" fmla="*/ 3823787 h 4454665"/>
              <a:gd name="connsiteX521" fmla="*/ 10203208 w 12192000"/>
              <a:gd name="connsiteY521" fmla="*/ 3827298 h 4454665"/>
              <a:gd name="connsiteX522" fmla="*/ 10196211 w 12192000"/>
              <a:gd name="connsiteY522" fmla="*/ 3834320 h 4454665"/>
              <a:gd name="connsiteX523" fmla="*/ 10196211 w 12192000"/>
              <a:gd name="connsiteY523" fmla="*/ 4080100 h 4454665"/>
              <a:gd name="connsiteX524" fmla="*/ 10203208 w 12192000"/>
              <a:gd name="connsiteY524" fmla="*/ 4087122 h 4454665"/>
              <a:gd name="connsiteX525" fmla="*/ 10234693 w 12192000"/>
              <a:gd name="connsiteY525" fmla="*/ 4087122 h 4454665"/>
              <a:gd name="connsiteX526" fmla="*/ 10241689 w 12192000"/>
              <a:gd name="connsiteY526" fmla="*/ 4080100 h 4454665"/>
              <a:gd name="connsiteX527" fmla="*/ 10241689 w 12192000"/>
              <a:gd name="connsiteY527" fmla="*/ 3981788 h 4454665"/>
              <a:gd name="connsiteX528" fmla="*/ 10290665 w 12192000"/>
              <a:gd name="connsiteY528" fmla="*/ 3985299 h 4454665"/>
              <a:gd name="connsiteX529" fmla="*/ 10336143 w 12192000"/>
              <a:gd name="connsiteY529" fmla="*/ 4083611 h 4454665"/>
              <a:gd name="connsiteX530" fmla="*/ 10343139 w 12192000"/>
              <a:gd name="connsiteY530" fmla="*/ 4087122 h 4454665"/>
              <a:gd name="connsiteX531" fmla="*/ 10374624 w 12192000"/>
              <a:gd name="connsiteY531" fmla="*/ 4087122 h 4454665"/>
              <a:gd name="connsiteX532" fmla="*/ 10381620 w 12192000"/>
              <a:gd name="connsiteY532" fmla="*/ 4083611 h 4454665"/>
              <a:gd name="connsiteX533" fmla="*/ 10381620 w 12192000"/>
              <a:gd name="connsiteY533" fmla="*/ 4076589 h 4454665"/>
              <a:gd name="connsiteX534" fmla="*/ 10336143 w 12192000"/>
              <a:gd name="connsiteY534" fmla="*/ 3971255 h 4454665"/>
              <a:gd name="connsiteX535" fmla="*/ 10381620 w 12192000"/>
              <a:gd name="connsiteY535" fmla="*/ 3904543 h 4454665"/>
              <a:gd name="connsiteX536" fmla="*/ 10290665 w 12192000"/>
              <a:gd name="connsiteY536" fmla="*/ 3823787 h 4454665"/>
              <a:gd name="connsiteX537" fmla="*/ 10283668 w 12192000"/>
              <a:gd name="connsiteY537" fmla="*/ 3823787 h 4454665"/>
              <a:gd name="connsiteX538" fmla="*/ 11839186 w 12192000"/>
              <a:gd name="connsiteY538" fmla="*/ 3792865 h 4454665"/>
              <a:gd name="connsiteX539" fmla="*/ 11845722 w 12192000"/>
              <a:gd name="connsiteY539" fmla="*/ 3798596 h 4454665"/>
              <a:gd name="connsiteX540" fmla="*/ 11908470 w 12192000"/>
              <a:gd name="connsiteY540" fmla="*/ 4038420 h 4454665"/>
              <a:gd name="connsiteX541" fmla="*/ 11898012 w 12192000"/>
              <a:gd name="connsiteY541" fmla="*/ 4041947 h 4454665"/>
              <a:gd name="connsiteX542" fmla="*/ 11859666 w 12192000"/>
              <a:gd name="connsiteY542" fmla="*/ 4031366 h 4454665"/>
              <a:gd name="connsiteX543" fmla="*/ 11852694 w 12192000"/>
              <a:gd name="connsiteY543" fmla="*/ 4020786 h 4454665"/>
              <a:gd name="connsiteX544" fmla="*/ 11807377 w 12192000"/>
              <a:gd name="connsiteY544" fmla="*/ 3840918 h 4454665"/>
              <a:gd name="connsiteX545" fmla="*/ 11807377 w 12192000"/>
              <a:gd name="connsiteY545" fmla="*/ 3826811 h 4454665"/>
              <a:gd name="connsiteX546" fmla="*/ 11835264 w 12192000"/>
              <a:gd name="connsiteY546" fmla="*/ 3795069 h 4454665"/>
              <a:gd name="connsiteX547" fmla="*/ 11839186 w 12192000"/>
              <a:gd name="connsiteY547" fmla="*/ 3792865 h 4454665"/>
              <a:gd name="connsiteX548" fmla="*/ 11458923 w 12192000"/>
              <a:gd name="connsiteY548" fmla="*/ 3792865 h 4454665"/>
              <a:gd name="connsiteX549" fmla="*/ 11462885 w 12192000"/>
              <a:gd name="connsiteY549" fmla="*/ 3795069 h 4454665"/>
              <a:gd name="connsiteX550" fmla="*/ 11494585 w 12192000"/>
              <a:gd name="connsiteY550" fmla="*/ 3826811 h 4454665"/>
              <a:gd name="connsiteX551" fmla="*/ 11491063 w 12192000"/>
              <a:gd name="connsiteY551" fmla="*/ 3840918 h 4454665"/>
              <a:gd name="connsiteX552" fmla="*/ 11445274 w 12192000"/>
              <a:gd name="connsiteY552" fmla="*/ 4020786 h 4454665"/>
              <a:gd name="connsiteX553" fmla="*/ 11438229 w 12192000"/>
              <a:gd name="connsiteY553" fmla="*/ 4031366 h 4454665"/>
              <a:gd name="connsiteX554" fmla="*/ 11399484 w 12192000"/>
              <a:gd name="connsiteY554" fmla="*/ 4041947 h 4454665"/>
              <a:gd name="connsiteX555" fmla="*/ 11388917 w 12192000"/>
              <a:gd name="connsiteY555" fmla="*/ 4038420 h 4454665"/>
              <a:gd name="connsiteX556" fmla="*/ 11452318 w 12192000"/>
              <a:gd name="connsiteY556" fmla="*/ 3798596 h 4454665"/>
              <a:gd name="connsiteX557" fmla="*/ 11458923 w 12192000"/>
              <a:gd name="connsiteY557" fmla="*/ 3792865 h 4454665"/>
              <a:gd name="connsiteX558" fmla="*/ 11677605 w 12192000"/>
              <a:gd name="connsiteY558" fmla="*/ 3787511 h 4454665"/>
              <a:gd name="connsiteX559" fmla="*/ 11684592 w 12192000"/>
              <a:gd name="connsiteY559" fmla="*/ 3787511 h 4454665"/>
              <a:gd name="connsiteX560" fmla="*/ 11792882 w 12192000"/>
              <a:gd name="connsiteY560" fmla="*/ 3851080 h 4454665"/>
              <a:gd name="connsiteX561" fmla="*/ 11796375 w 12192000"/>
              <a:gd name="connsiteY561" fmla="*/ 3858144 h 4454665"/>
              <a:gd name="connsiteX562" fmla="*/ 11789388 w 12192000"/>
              <a:gd name="connsiteY562" fmla="*/ 3865207 h 4454665"/>
              <a:gd name="connsiteX563" fmla="*/ 11698565 w 12192000"/>
              <a:gd name="connsiteY563" fmla="*/ 3911118 h 4454665"/>
              <a:gd name="connsiteX564" fmla="*/ 11688084 w 12192000"/>
              <a:gd name="connsiteY564" fmla="*/ 3911118 h 4454665"/>
              <a:gd name="connsiteX565" fmla="*/ 11681098 w 12192000"/>
              <a:gd name="connsiteY565" fmla="*/ 3900523 h 4454665"/>
              <a:gd name="connsiteX566" fmla="*/ 11674112 w 12192000"/>
              <a:gd name="connsiteY566" fmla="*/ 3798107 h 4454665"/>
              <a:gd name="connsiteX567" fmla="*/ 11677605 w 12192000"/>
              <a:gd name="connsiteY567" fmla="*/ 3787511 h 4454665"/>
              <a:gd name="connsiteX568" fmla="*/ 11613922 w 12192000"/>
              <a:gd name="connsiteY568" fmla="*/ 3787511 h 4454665"/>
              <a:gd name="connsiteX569" fmla="*/ 11620908 w 12192000"/>
              <a:gd name="connsiteY569" fmla="*/ 3787511 h 4454665"/>
              <a:gd name="connsiteX570" fmla="*/ 11624401 w 12192000"/>
              <a:gd name="connsiteY570" fmla="*/ 3798107 h 4454665"/>
              <a:gd name="connsiteX571" fmla="*/ 11613922 w 12192000"/>
              <a:gd name="connsiteY571" fmla="*/ 3904054 h 4454665"/>
              <a:gd name="connsiteX572" fmla="*/ 11610428 w 12192000"/>
              <a:gd name="connsiteY572" fmla="*/ 3911118 h 4454665"/>
              <a:gd name="connsiteX573" fmla="*/ 11599949 w 12192000"/>
              <a:gd name="connsiteY573" fmla="*/ 3911118 h 4454665"/>
              <a:gd name="connsiteX574" fmla="*/ 11509124 w 12192000"/>
              <a:gd name="connsiteY574" fmla="*/ 3865207 h 4454665"/>
              <a:gd name="connsiteX575" fmla="*/ 11502138 w 12192000"/>
              <a:gd name="connsiteY575" fmla="*/ 3858144 h 4454665"/>
              <a:gd name="connsiteX576" fmla="*/ 11505632 w 12192000"/>
              <a:gd name="connsiteY576" fmla="*/ 3851080 h 4454665"/>
              <a:gd name="connsiteX577" fmla="*/ 11613922 w 12192000"/>
              <a:gd name="connsiteY577" fmla="*/ 3787511 h 4454665"/>
              <a:gd name="connsiteX578" fmla="*/ 11532772 w 12192000"/>
              <a:gd name="connsiteY578" fmla="*/ 3752579 h 4454665"/>
              <a:gd name="connsiteX579" fmla="*/ 11539758 w 12192000"/>
              <a:gd name="connsiteY579" fmla="*/ 3759969 h 4454665"/>
              <a:gd name="connsiteX580" fmla="*/ 11536265 w 12192000"/>
              <a:gd name="connsiteY580" fmla="*/ 3763664 h 4454665"/>
              <a:gd name="connsiteX581" fmla="*/ 11529278 w 12192000"/>
              <a:gd name="connsiteY581" fmla="*/ 3767359 h 4454665"/>
              <a:gd name="connsiteX582" fmla="*/ 11525785 w 12192000"/>
              <a:gd name="connsiteY582" fmla="*/ 3759969 h 4454665"/>
              <a:gd name="connsiteX583" fmla="*/ 11522292 w 12192000"/>
              <a:gd name="connsiteY583" fmla="*/ 3759969 h 4454665"/>
              <a:gd name="connsiteX584" fmla="*/ 11532772 w 12192000"/>
              <a:gd name="connsiteY584" fmla="*/ 3752579 h 4454665"/>
              <a:gd name="connsiteX585" fmla="*/ 11529297 w 12192000"/>
              <a:gd name="connsiteY585" fmla="*/ 3745382 h 4454665"/>
              <a:gd name="connsiteX586" fmla="*/ 11511543 w 12192000"/>
              <a:gd name="connsiteY586" fmla="*/ 3756034 h 4454665"/>
              <a:gd name="connsiteX587" fmla="*/ 11515094 w 12192000"/>
              <a:gd name="connsiteY587" fmla="*/ 3759585 h 4454665"/>
              <a:gd name="connsiteX588" fmla="*/ 11532848 w 12192000"/>
              <a:gd name="connsiteY588" fmla="*/ 3791543 h 4454665"/>
              <a:gd name="connsiteX589" fmla="*/ 11539950 w 12192000"/>
              <a:gd name="connsiteY589" fmla="*/ 3787991 h 4454665"/>
              <a:gd name="connsiteX590" fmla="*/ 11532848 w 12192000"/>
              <a:gd name="connsiteY590" fmla="*/ 3773788 h 4454665"/>
              <a:gd name="connsiteX591" fmla="*/ 11539950 w 12192000"/>
              <a:gd name="connsiteY591" fmla="*/ 3770238 h 4454665"/>
              <a:gd name="connsiteX592" fmla="*/ 11554153 w 12192000"/>
              <a:gd name="connsiteY592" fmla="*/ 3780890 h 4454665"/>
              <a:gd name="connsiteX593" fmla="*/ 11561255 w 12192000"/>
              <a:gd name="connsiteY593" fmla="*/ 3777339 h 4454665"/>
              <a:gd name="connsiteX594" fmla="*/ 11547052 w 12192000"/>
              <a:gd name="connsiteY594" fmla="*/ 3763136 h 4454665"/>
              <a:gd name="connsiteX595" fmla="*/ 11547052 w 12192000"/>
              <a:gd name="connsiteY595" fmla="*/ 3759585 h 4454665"/>
              <a:gd name="connsiteX596" fmla="*/ 11529297 w 12192000"/>
              <a:gd name="connsiteY596" fmla="*/ 3745382 h 4454665"/>
              <a:gd name="connsiteX597" fmla="*/ 11750205 w 12192000"/>
              <a:gd name="connsiteY597" fmla="*/ 3739144 h 4454665"/>
              <a:gd name="connsiteX598" fmla="*/ 11753748 w 12192000"/>
              <a:gd name="connsiteY598" fmla="*/ 3763328 h 4454665"/>
              <a:gd name="connsiteX599" fmla="*/ 11746663 w 12192000"/>
              <a:gd name="connsiteY599" fmla="*/ 3780602 h 4454665"/>
              <a:gd name="connsiteX600" fmla="*/ 11753748 w 12192000"/>
              <a:gd name="connsiteY600" fmla="*/ 3787511 h 4454665"/>
              <a:gd name="connsiteX601" fmla="*/ 11760832 w 12192000"/>
              <a:gd name="connsiteY601" fmla="*/ 3770237 h 4454665"/>
              <a:gd name="connsiteX602" fmla="*/ 11785626 w 12192000"/>
              <a:gd name="connsiteY602" fmla="*/ 3756418 h 4454665"/>
              <a:gd name="connsiteX603" fmla="*/ 11778543 w 12192000"/>
              <a:gd name="connsiteY603" fmla="*/ 3752963 h 4454665"/>
              <a:gd name="connsiteX604" fmla="*/ 11760832 w 12192000"/>
              <a:gd name="connsiteY604" fmla="*/ 3759873 h 4454665"/>
              <a:gd name="connsiteX605" fmla="*/ 11757290 w 12192000"/>
              <a:gd name="connsiteY605" fmla="*/ 3742598 h 4454665"/>
              <a:gd name="connsiteX606" fmla="*/ 11750205 w 12192000"/>
              <a:gd name="connsiteY606" fmla="*/ 3739144 h 4454665"/>
              <a:gd name="connsiteX607" fmla="*/ 11715224 w 12192000"/>
              <a:gd name="connsiteY607" fmla="*/ 3735114 h 4454665"/>
              <a:gd name="connsiteX608" fmla="*/ 11725705 w 12192000"/>
              <a:gd name="connsiteY608" fmla="*/ 3738473 h 4454665"/>
              <a:gd name="connsiteX609" fmla="*/ 11729197 w 12192000"/>
              <a:gd name="connsiteY609" fmla="*/ 3741832 h 4454665"/>
              <a:gd name="connsiteX610" fmla="*/ 11722211 w 12192000"/>
              <a:gd name="connsiteY610" fmla="*/ 3748549 h 4454665"/>
              <a:gd name="connsiteX611" fmla="*/ 11711731 w 12192000"/>
              <a:gd name="connsiteY611" fmla="*/ 3745190 h 4454665"/>
              <a:gd name="connsiteX612" fmla="*/ 11711731 w 12192000"/>
              <a:gd name="connsiteY612" fmla="*/ 3741832 h 4454665"/>
              <a:gd name="connsiteX613" fmla="*/ 11715224 w 12192000"/>
              <a:gd name="connsiteY613" fmla="*/ 3735114 h 4454665"/>
              <a:gd name="connsiteX614" fmla="*/ 11582079 w 12192000"/>
              <a:gd name="connsiteY614" fmla="*/ 3734609 h 4454665"/>
              <a:gd name="connsiteX615" fmla="*/ 11596187 w 12192000"/>
              <a:gd name="connsiteY615" fmla="*/ 3745190 h 4454665"/>
              <a:gd name="connsiteX616" fmla="*/ 11582079 w 12192000"/>
              <a:gd name="connsiteY616" fmla="*/ 3759297 h 4454665"/>
              <a:gd name="connsiteX617" fmla="*/ 11567972 w 12192000"/>
              <a:gd name="connsiteY617" fmla="*/ 3748717 h 4454665"/>
              <a:gd name="connsiteX618" fmla="*/ 11567972 w 12192000"/>
              <a:gd name="connsiteY618" fmla="*/ 3745190 h 4454665"/>
              <a:gd name="connsiteX619" fmla="*/ 11582079 w 12192000"/>
              <a:gd name="connsiteY619" fmla="*/ 3734609 h 4454665"/>
              <a:gd name="connsiteX620" fmla="*/ 11670081 w 12192000"/>
              <a:gd name="connsiteY620" fmla="*/ 3728395 h 4454665"/>
              <a:gd name="connsiteX621" fmla="*/ 11673440 w 12192000"/>
              <a:gd name="connsiteY621" fmla="*/ 3738875 h 4454665"/>
              <a:gd name="connsiteX622" fmla="*/ 11676799 w 12192000"/>
              <a:gd name="connsiteY622" fmla="*/ 3745862 h 4454665"/>
              <a:gd name="connsiteX623" fmla="*/ 11663363 w 12192000"/>
              <a:gd name="connsiteY623" fmla="*/ 3745862 h 4454665"/>
              <a:gd name="connsiteX624" fmla="*/ 11666722 w 12192000"/>
              <a:gd name="connsiteY624" fmla="*/ 3738875 h 4454665"/>
              <a:gd name="connsiteX625" fmla="*/ 11670081 w 12192000"/>
              <a:gd name="connsiteY625" fmla="*/ 3728395 h 4454665"/>
              <a:gd name="connsiteX626" fmla="*/ 11578609 w 12192000"/>
              <a:gd name="connsiteY626" fmla="*/ 3727879 h 4454665"/>
              <a:gd name="connsiteX627" fmla="*/ 11561254 w 12192000"/>
              <a:gd name="connsiteY627" fmla="*/ 3745449 h 4454665"/>
              <a:gd name="connsiteX628" fmla="*/ 11561254 w 12192000"/>
              <a:gd name="connsiteY628" fmla="*/ 3748962 h 4454665"/>
              <a:gd name="connsiteX629" fmla="*/ 11582079 w 12192000"/>
              <a:gd name="connsiteY629" fmla="*/ 3766532 h 4454665"/>
              <a:gd name="connsiteX630" fmla="*/ 11602904 w 12192000"/>
              <a:gd name="connsiteY630" fmla="*/ 3745449 h 4454665"/>
              <a:gd name="connsiteX631" fmla="*/ 11578609 w 12192000"/>
              <a:gd name="connsiteY631" fmla="*/ 3727879 h 4454665"/>
              <a:gd name="connsiteX632" fmla="*/ 11708922 w 12192000"/>
              <a:gd name="connsiteY632" fmla="*/ 3724365 h 4454665"/>
              <a:gd name="connsiteX633" fmla="*/ 11705380 w 12192000"/>
              <a:gd name="connsiteY633" fmla="*/ 3742119 h 4454665"/>
              <a:gd name="connsiteX634" fmla="*/ 11698296 w 12192000"/>
              <a:gd name="connsiteY634" fmla="*/ 3763424 h 4454665"/>
              <a:gd name="connsiteX635" fmla="*/ 11708922 w 12192000"/>
              <a:gd name="connsiteY635" fmla="*/ 3766975 h 4454665"/>
              <a:gd name="connsiteX636" fmla="*/ 11712464 w 12192000"/>
              <a:gd name="connsiteY636" fmla="*/ 3752772 h 4454665"/>
              <a:gd name="connsiteX637" fmla="*/ 11719548 w 12192000"/>
              <a:gd name="connsiteY637" fmla="*/ 3752772 h 4454665"/>
              <a:gd name="connsiteX638" fmla="*/ 11723090 w 12192000"/>
              <a:gd name="connsiteY638" fmla="*/ 3770526 h 4454665"/>
              <a:gd name="connsiteX639" fmla="*/ 11730175 w 12192000"/>
              <a:gd name="connsiteY639" fmla="*/ 3774077 h 4454665"/>
              <a:gd name="connsiteX640" fmla="*/ 11726632 w 12192000"/>
              <a:gd name="connsiteY640" fmla="*/ 3756323 h 4454665"/>
              <a:gd name="connsiteX641" fmla="*/ 11737259 w 12192000"/>
              <a:gd name="connsiteY641" fmla="*/ 3742119 h 4454665"/>
              <a:gd name="connsiteX642" fmla="*/ 11730175 w 12192000"/>
              <a:gd name="connsiteY642" fmla="*/ 3731467 h 4454665"/>
              <a:gd name="connsiteX643" fmla="*/ 11708922 w 12192000"/>
              <a:gd name="connsiteY643" fmla="*/ 3724365 h 4454665"/>
              <a:gd name="connsiteX644" fmla="*/ 11666295 w 12192000"/>
              <a:gd name="connsiteY644" fmla="*/ 3717647 h 4454665"/>
              <a:gd name="connsiteX645" fmla="*/ 11659211 w 12192000"/>
              <a:gd name="connsiteY645" fmla="*/ 3738731 h 4454665"/>
              <a:gd name="connsiteX646" fmla="*/ 11648585 w 12192000"/>
              <a:gd name="connsiteY646" fmla="*/ 3759814 h 4454665"/>
              <a:gd name="connsiteX647" fmla="*/ 11655669 w 12192000"/>
              <a:gd name="connsiteY647" fmla="*/ 3759814 h 4454665"/>
              <a:gd name="connsiteX648" fmla="*/ 11659211 w 12192000"/>
              <a:gd name="connsiteY648" fmla="*/ 3752786 h 4454665"/>
              <a:gd name="connsiteX649" fmla="*/ 11676922 w 12192000"/>
              <a:gd name="connsiteY649" fmla="*/ 3752786 h 4454665"/>
              <a:gd name="connsiteX650" fmla="*/ 11680464 w 12192000"/>
              <a:gd name="connsiteY650" fmla="*/ 3759814 h 4454665"/>
              <a:gd name="connsiteX651" fmla="*/ 11687548 w 12192000"/>
              <a:gd name="connsiteY651" fmla="*/ 3763328 h 4454665"/>
              <a:gd name="connsiteX652" fmla="*/ 11680464 w 12192000"/>
              <a:gd name="connsiteY652" fmla="*/ 3738731 h 4454665"/>
              <a:gd name="connsiteX653" fmla="*/ 11676922 w 12192000"/>
              <a:gd name="connsiteY653" fmla="*/ 3717647 h 4454665"/>
              <a:gd name="connsiteX654" fmla="*/ 11666295 w 12192000"/>
              <a:gd name="connsiteY654" fmla="*/ 3717647 h 4454665"/>
              <a:gd name="connsiteX655" fmla="*/ 11645898 w 12192000"/>
              <a:gd name="connsiteY655" fmla="*/ 3717647 h 4454665"/>
              <a:gd name="connsiteX656" fmla="*/ 11606934 w 12192000"/>
              <a:gd name="connsiteY656" fmla="*/ 3721118 h 4454665"/>
              <a:gd name="connsiteX657" fmla="*/ 11606934 w 12192000"/>
              <a:gd name="connsiteY657" fmla="*/ 3728059 h 4454665"/>
              <a:gd name="connsiteX658" fmla="*/ 11621103 w 12192000"/>
              <a:gd name="connsiteY658" fmla="*/ 3724589 h 4454665"/>
              <a:gd name="connsiteX659" fmla="*/ 11624645 w 12192000"/>
              <a:gd name="connsiteY659" fmla="*/ 3759297 h 4454665"/>
              <a:gd name="connsiteX660" fmla="*/ 11635271 w 12192000"/>
              <a:gd name="connsiteY660" fmla="*/ 3759297 h 4454665"/>
              <a:gd name="connsiteX661" fmla="*/ 11631729 w 12192000"/>
              <a:gd name="connsiteY661" fmla="*/ 3724589 h 4454665"/>
              <a:gd name="connsiteX662" fmla="*/ 11645898 w 12192000"/>
              <a:gd name="connsiteY662" fmla="*/ 3724589 h 4454665"/>
              <a:gd name="connsiteX663" fmla="*/ 11645898 w 12192000"/>
              <a:gd name="connsiteY663" fmla="*/ 3717647 h 4454665"/>
              <a:gd name="connsiteX664" fmla="*/ 11196257 w 12192000"/>
              <a:gd name="connsiteY664" fmla="*/ 3717646 h 4454665"/>
              <a:gd name="connsiteX665" fmla="*/ 11221336 w 12192000"/>
              <a:gd name="connsiteY665" fmla="*/ 3752578 h 4454665"/>
              <a:gd name="connsiteX666" fmla="*/ 11167595 w 12192000"/>
              <a:gd name="connsiteY666" fmla="*/ 3752578 h 4454665"/>
              <a:gd name="connsiteX667" fmla="*/ 11196257 w 12192000"/>
              <a:gd name="connsiteY667" fmla="*/ 3717646 h 4454665"/>
              <a:gd name="connsiteX668" fmla="*/ 11648585 w 12192000"/>
              <a:gd name="connsiteY668" fmla="*/ 3710930 h 4454665"/>
              <a:gd name="connsiteX669" fmla="*/ 11813539 w 12192000"/>
              <a:gd name="connsiteY669" fmla="*/ 3766821 h 4454665"/>
              <a:gd name="connsiteX670" fmla="*/ 11817049 w 12192000"/>
              <a:gd name="connsiteY670" fmla="*/ 3780794 h 4454665"/>
              <a:gd name="connsiteX671" fmla="*/ 11788972 w 12192000"/>
              <a:gd name="connsiteY671" fmla="*/ 3812234 h 4454665"/>
              <a:gd name="connsiteX672" fmla="*/ 11774933 w 12192000"/>
              <a:gd name="connsiteY672" fmla="*/ 3812234 h 4454665"/>
              <a:gd name="connsiteX673" fmla="*/ 11648585 w 12192000"/>
              <a:gd name="connsiteY673" fmla="*/ 3766821 h 4454665"/>
              <a:gd name="connsiteX674" fmla="*/ 11522236 w 12192000"/>
              <a:gd name="connsiteY674" fmla="*/ 3812234 h 4454665"/>
              <a:gd name="connsiteX675" fmla="*/ 11508198 w 12192000"/>
              <a:gd name="connsiteY675" fmla="*/ 3812234 h 4454665"/>
              <a:gd name="connsiteX676" fmla="*/ 11480121 w 12192000"/>
              <a:gd name="connsiteY676" fmla="*/ 3780794 h 4454665"/>
              <a:gd name="connsiteX677" fmla="*/ 11483630 w 12192000"/>
              <a:gd name="connsiteY677" fmla="*/ 3766821 h 4454665"/>
              <a:gd name="connsiteX678" fmla="*/ 11648585 w 12192000"/>
              <a:gd name="connsiteY678" fmla="*/ 3710930 h 4454665"/>
              <a:gd name="connsiteX679" fmla="*/ 11196481 w 12192000"/>
              <a:gd name="connsiteY679" fmla="*/ 3710929 h 4454665"/>
              <a:gd name="connsiteX680" fmla="*/ 11158189 w 12192000"/>
              <a:gd name="connsiteY680" fmla="*/ 3759969 h 4454665"/>
              <a:gd name="connsiteX681" fmla="*/ 11199962 w 12192000"/>
              <a:gd name="connsiteY681" fmla="*/ 3809008 h 4454665"/>
              <a:gd name="connsiteX682" fmla="*/ 11227810 w 12192000"/>
              <a:gd name="connsiteY682" fmla="*/ 3802002 h 4454665"/>
              <a:gd name="connsiteX683" fmla="*/ 11227810 w 12192000"/>
              <a:gd name="connsiteY683" fmla="*/ 3791494 h 4454665"/>
              <a:gd name="connsiteX684" fmla="*/ 11199962 w 12192000"/>
              <a:gd name="connsiteY684" fmla="*/ 3798499 h 4454665"/>
              <a:gd name="connsiteX685" fmla="*/ 11168632 w 12192000"/>
              <a:gd name="connsiteY685" fmla="*/ 3763472 h 4454665"/>
              <a:gd name="connsiteX686" fmla="*/ 11234772 w 12192000"/>
              <a:gd name="connsiteY686" fmla="*/ 3763472 h 4454665"/>
              <a:gd name="connsiteX687" fmla="*/ 11234772 w 12192000"/>
              <a:gd name="connsiteY687" fmla="*/ 3756466 h 4454665"/>
              <a:gd name="connsiteX688" fmla="*/ 11196481 w 12192000"/>
              <a:gd name="connsiteY688" fmla="*/ 3710929 h 4454665"/>
              <a:gd name="connsiteX689" fmla="*/ 10947253 w 12192000"/>
              <a:gd name="connsiteY689" fmla="*/ 3674653 h 4454665"/>
              <a:gd name="connsiteX690" fmla="*/ 10947253 w 12192000"/>
              <a:gd name="connsiteY690" fmla="*/ 3685401 h 4454665"/>
              <a:gd name="connsiteX691" fmla="*/ 10986216 w 12192000"/>
              <a:gd name="connsiteY691" fmla="*/ 3685401 h 4454665"/>
              <a:gd name="connsiteX692" fmla="*/ 10986216 w 12192000"/>
              <a:gd name="connsiteY692" fmla="*/ 3804977 h 4454665"/>
              <a:gd name="connsiteX693" fmla="*/ 10999652 w 12192000"/>
              <a:gd name="connsiteY693" fmla="*/ 3804977 h 4454665"/>
              <a:gd name="connsiteX694" fmla="*/ 10999652 w 12192000"/>
              <a:gd name="connsiteY694" fmla="*/ 3685401 h 4454665"/>
              <a:gd name="connsiteX695" fmla="*/ 11038614 w 12192000"/>
              <a:gd name="connsiteY695" fmla="*/ 3685401 h 4454665"/>
              <a:gd name="connsiteX696" fmla="*/ 11038614 w 12192000"/>
              <a:gd name="connsiteY696" fmla="*/ 3674653 h 4454665"/>
              <a:gd name="connsiteX697" fmla="*/ 11060111 w 12192000"/>
              <a:gd name="connsiteY697" fmla="*/ 3663904 h 4454665"/>
              <a:gd name="connsiteX698" fmla="*/ 11060111 w 12192000"/>
              <a:gd name="connsiteY698" fmla="*/ 3804977 h 4454665"/>
              <a:gd name="connsiteX699" fmla="*/ 11070476 w 12192000"/>
              <a:gd name="connsiteY699" fmla="*/ 3804977 h 4454665"/>
              <a:gd name="connsiteX700" fmla="*/ 11070476 w 12192000"/>
              <a:gd name="connsiteY700" fmla="*/ 3755601 h 4454665"/>
              <a:gd name="connsiteX701" fmla="*/ 11098115 w 12192000"/>
              <a:gd name="connsiteY701" fmla="*/ 3716807 h 4454665"/>
              <a:gd name="connsiteX702" fmla="*/ 11118844 w 12192000"/>
              <a:gd name="connsiteY702" fmla="*/ 3748548 h 4454665"/>
              <a:gd name="connsiteX703" fmla="*/ 11118844 w 12192000"/>
              <a:gd name="connsiteY703" fmla="*/ 3804977 h 4454665"/>
              <a:gd name="connsiteX704" fmla="*/ 11132662 w 12192000"/>
              <a:gd name="connsiteY704" fmla="*/ 3804977 h 4454665"/>
              <a:gd name="connsiteX705" fmla="*/ 11132662 w 12192000"/>
              <a:gd name="connsiteY705" fmla="*/ 3748548 h 4454665"/>
              <a:gd name="connsiteX706" fmla="*/ 11101569 w 12192000"/>
              <a:gd name="connsiteY706" fmla="*/ 3709753 h 4454665"/>
              <a:gd name="connsiteX707" fmla="*/ 11070476 w 12192000"/>
              <a:gd name="connsiteY707" fmla="*/ 3727387 h 4454665"/>
              <a:gd name="connsiteX708" fmla="*/ 11070476 w 12192000"/>
              <a:gd name="connsiteY708" fmla="*/ 3663904 h 4454665"/>
              <a:gd name="connsiteX709" fmla="*/ 11060111 w 12192000"/>
              <a:gd name="connsiteY709" fmla="*/ 3663904 h 4454665"/>
              <a:gd name="connsiteX710" fmla="*/ 11638739 w 12192000"/>
              <a:gd name="connsiteY710" fmla="*/ 3639721 h 4454665"/>
              <a:gd name="connsiteX711" fmla="*/ 11624716 w 12192000"/>
              <a:gd name="connsiteY711" fmla="*/ 3692584 h 4454665"/>
              <a:gd name="connsiteX712" fmla="*/ 11600176 w 12192000"/>
              <a:gd name="connsiteY712" fmla="*/ 3696108 h 4454665"/>
              <a:gd name="connsiteX713" fmla="*/ 11575635 w 12192000"/>
              <a:gd name="connsiteY713" fmla="*/ 3650294 h 4454665"/>
              <a:gd name="connsiteX714" fmla="*/ 11572129 w 12192000"/>
              <a:gd name="connsiteY714" fmla="*/ 3650294 h 4454665"/>
              <a:gd name="connsiteX715" fmla="*/ 11551094 w 12192000"/>
              <a:gd name="connsiteY715" fmla="*/ 3653818 h 4454665"/>
              <a:gd name="connsiteX716" fmla="*/ 11551094 w 12192000"/>
              <a:gd name="connsiteY716" fmla="*/ 3657342 h 4454665"/>
              <a:gd name="connsiteX717" fmla="*/ 11547588 w 12192000"/>
              <a:gd name="connsiteY717" fmla="*/ 3682011 h 4454665"/>
              <a:gd name="connsiteX718" fmla="*/ 11551094 w 12192000"/>
              <a:gd name="connsiteY718" fmla="*/ 3710205 h 4454665"/>
              <a:gd name="connsiteX719" fmla="*/ 11530059 w 12192000"/>
              <a:gd name="connsiteY719" fmla="*/ 3717253 h 4454665"/>
              <a:gd name="connsiteX720" fmla="*/ 11491495 w 12192000"/>
              <a:gd name="connsiteY720" fmla="*/ 3682011 h 4454665"/>
              <a:gd name="connsiteX721" fmla="*/ 11470460 w 12192000"/>
              <a:gd name="connsiteY721" fmla="*/ 3692584 h 4454665"/>
              <a:gd name="connsiteX722" fmla="*/ 11484484 w 12192000"/>
              <a:gd name="connsiteY722" fmla="*/ 3745446 h 4454665"/>
              <a:gd name="connsiteX723" fmla="*/ 11466954 w 12192000"/>
              <a:gd name="connsiteY723" fmla="*/ 3756019 h 4454665"/>
              <a:gd name="connsiteX724" fmla="*/ 11421379 w 12192000"/>
              <a:gd name="connsiteY724" fmla="*/ 3731350 h 4454665"/>
              <a:gd name="connsiteX725" fmla="*/ 11403850 w 12192000"/>
              <a:gd name="connsiteY725" fmla="*/ 3745446 h 4454665"/>
              <a:gd name="connsiteX726" fmla="*/ 11403850 w 12192000"/>
              <a:gd name="connsiteY726" fmla="*/ 3748970 h 4454665"/>
              <a:gd name="connsiteX727" fmla="*/ 11431896 w 12192000"/>
              <a:gd name="connsiteY727" fmla="*/ 3794785 h 4454665"/>
              <a:gd name="connsiteX728" fmla="*/ 11417873 w 12192000"/>
              <a:gd name="connsiteY728" fmla="*/ 3812406 h 4454665"/>
              <a:gd name="connsiteX729" fmla="*/ 11365286 w 12192000"/>
              <a:gd name="connsiteY729" fmla="*/ 3798309 h 4454665"/>
              <a:gd name="connsiteX730" fmla="*/ 11354768 w 12192000"/>
              <a:gd name="connsiteY730" fmla="*/ 3819454 h 4454665"/>
              <a:gd name="connsiteX731" fmla="*/ 11389827 w 12192000"/>
              <a:gd name="connsiteY731" fmla="*/ 3858221 h 4454665"/>
              <a:gd name="connsiteX732" fmla="*/ 11382815 w 12192000"/>
              <a:gd name="connsiteY732" fmla="*/ 3879365 h 4454665"/>
              <a:gd name="connsiteX733" fmla="*/ 11330228 w 12192000"/>
              <a:gd name="connsiteY733" fmla="*/ 3879365 h 4454665"/>
              <a:gd name="connsiteX734" fmla="*/ 11323216 w 12192000"/>
              <a:gd name="connsiteY734" fmla="*/ 3900510 h 4454665"/>
              <a:gd name="connsiteX735" fmla="*/ 11368791 w 12192000"/>
              <a:gd name="connsiteY735" fmla="*/ 3928704 h 4454665"/>
              <a:gd name="connsiteX736" fmla="*/ 11365286 w 12192000"/>
              <a:gd name="connsiteY736" fmla="*/ 3949848 h 4454665"/>
              <a:gd name="connsiteX737" fmla="*/ 11316205 w 12192000"/>
              <a:gd name="connsiteY737" fmla="*/ 3963946 h 4454665"/>
              <a:gd name="connsiteX738" fmla="*/ 11312698 w 12192000"/>
              <a:gd name="connsiteY738" fmla="*/ 3963946 h 4454665"/>
              <a:gd name="connsiteX739" fmla="*/ 11312698 w 12192000"/>
              <a:gd name="connsiteY739" fmla="*/ 3978042 h 4454665"/>
              <a:gd name="connsiteX740" fmla="*/ 11312698 w 12192000"/>
              <a:gd name="connsiteY740" fmla="*/ 3988615 h 4454665"/>
              <a:gd name="connsiteX741" fmla="*/ 11316205 w 12192000"/>
              <a:gd name="connsiteY741" fmla="*/ 3988615 h 4454665"/>
              <a:gd name="connsiteX742" fmla="*/ 11365286 w 12192000"/>
              <a:gd name="connsiteY742" fmla="*/ 4002712 h 4454665"/>
              <a:gd name="connsiteX743" fmla="*/ 11368791 w 12192000"/>
              <a:gd name="connsiteY743" fmla="*/ 4023857 h 4454665"/>
              <a:gd name="connsiteX744" fmla="*/ 11323216 w 12192000"/>
              <a:gd name="connsiteY744" fmla="*/ 4052050 h 4454665"/>
              <a:gd name="connsiteX745" fmla="*/ 11323216 w 12192000"/>
              <a:gd name="connsiteY745" fmla="*/ 4055574 h 4454665"/>
              <a:gd name="connsiteX746" fmla="*/ 11330228 w 12192000"/>
              <a:gd name="connsiteY746" fmla="*/ 4076719 h 4454665"/>
              <a:gd name="connsiteX747" fmla="*/ 11382815 w 12192000"/>
              <a:gd name="connsiteY747" fmla="*/ 4076719 h 4454665"/>
              <a:gd name="connsiteX748" fmla="*/ 11393332 w 12192000"/>
              <a:gd name="connsiteY748" fmla="*/ 4097865 h 4454665"/>
              <a:gd name="connsiteX749" fmla="*/ 11354768 w 12192000"/>
              <a:gd name="connsiteY749" fmla="*/ 4133106 h 4454665"/>
              <a:gd name="connsiteX750" fmla="*/ 11354768 w 12192000"/>
              <a:gd name="connsiteY750" fmla="*/ 4136630 h 4454665"/>
              <a:gd name="connsiteX751" fmla="*/ 11365286 w 12192000"/>
              <a:gd name="connsiteY751" fmla="*/ 4154251 h 4454665"/>
              <a:gd name="connsiteX752" fmla="*/ 11417873 w 12192000"/>
              <a:gd name="connsiteY752" fmla="*/ 4140154 h 4454665"/>
              <a:gd name="connsiteX753" fmla="*/ 11431896 w 12192000"/>
              <a:gd name="connsiteY753" fmla="*/ 4161300 h 4454665"/>
              <a:gd name="connsiteX754" fmla="*/ 11403850 w 12192000"/>
              <a:gd name="connsiteY754" fmla="*/ 4207114 h 4454665"/>
              <a:gd name="connsiteX755" fmla="*/ 11421379 w 12192000"/>
              <a:gd name="connsiteY755" fmla="*/ 4221210 h 4454665"/>
              <a:gd name="connsiteX756" fmla="*/ 11466954 w 12192000"/>
              <a:gd name="connsiteY756" fmla="*/ 4196542 h 4454665"/>
              <a:gd name="connsiteX757" fmla="*/ 11484484 w 12192000"/>
              <a:gd name="connsiteY757" fmla="*/ 4210638 h 4454665"/>
              <a:gd name="connsiteX758" fmla="*/ 11473966 w 12192000"/>
              <a:gd name="connsiteY758" fmla="*/ 4259976 h 4454665"/>
              <a:gd name="connsiteX759" fmla="*/ 11473966 w 12192000"/>
              <a:gd name="connsiteY759" fmla="*/ 4263501 h 4454665"/>
              <a:gd name="connsiteX760" fmla="*/ 11491495 w 12192000"/>
              <a:gd name="connsiteY760" fmla="*/ 4274073 h 4454665"/>
              <a:gd name="connsiteX761" fmla="*/ 11495001 w 12192000"/>
              <a:gd name="connsiteY761" fmla="*/ 4274073 h 4454665"/>
              <a:gd name="connsiteX762" fmla="*/ 11530059 w 12192000"/>
              <a:gd name="connsiteY762" fmla="*/ 4235307 h 4454665"/>
              <a:gd name="connsiteX763" fmla="*/ 11551094 w 12192000"/>
              <a:gd name="connsiteY763" fmla="*/ 4245880 h 4454665"/>
              <a:gd name="connsiteX764" fmla="*/ 11547588 w 12192000"/>
              <a:gd name="connsiteY764" fmla="*/ 4270549 h 4454665"/>
              <a:gd name="connsiteX765" fmla="*/ 11551094 w 12192000"/>
              <a:gd name="connsiteY765" fmla="*/ 4298743 h 4454665"/>
              <a:gd name="connsiteX766" fmla="*/ 11572129 w 12192000"/>
              <a:gd name="connsiteY766" fmla="*/ 4305791 h 4454665"/>
              <a:gd name="connsiteX767" fmla="*/ 11575635 w 12192000"/>
              <a:gd name="connsiteY767" fmla="*/ 4305791 h 4454665"/>
              <a:gd name="connsiteX768" fmla="*/ 11600176 w 12192000"/>
              <a:gd name="connsiteY768" fmla="*/ 4259976 h 4454665"/>
              <a:gd name="connsiteX769" fmla="*/ 11624716 w 12192000"/>
              <a:gd name="connsiteY769" fmla="*/ 4259976 h 4454665"/>
              <a:gd name="connsiteX770" fmla="*/ 11638739 w 12192000"/>
              <a:gd name="connsiteY770" fmla="*/ 4312839 h 4454665"/>
              <a:gd name="connsiteX771" fmla="*/ 11659774 w 12192000"/>
              <a:gd name="connsiteY771" fmla="*/ 4312839 h 4454665"/>
              <a:gd name="connsiteX772" fmla="*/ 11663280 w 12192000"/>
              <a:gd name="connsiteY772" fmla="*/ 4312839 h 4454665"/>
              <a:gd name="connsiteX773" fmla="*/ 11677303 w 12192000"/>
              <a:gd name="connsiteY773" fmla="*/ 4259976 h 4454665"/>
              <a:gd name="connsiteX774" fmla="*/ 11698339 w 12192000"/>
              <a:gd name="connsiteY774" fmla="*/ 4259976 h 4454665"/>
              <a:gd name="connsiteX775" fmla="*/ 11722879 w 12192000"/>
              <a:gd name="connsiteY775" fmla="*/ 4305791 h 4454665"/>
              <a:gd name="connsiteX776" fmla="*/ 11726385 w 12192000"/>
              <a:gd name="connsiteY776" fmla="*/ 4305791 h 4454665"/>
              <a:gd name="connsiteX777" fmla="*/ 11747420 w 12192000"/>
              <a:gd name="connsiteY777" fmla="*/ 4298743 h 4454665"/>
              <a:gd name="connsiteX778" fmla="*/ 11750925 w 12192000"/>
              <a:gd name="connsiteY778" fmla="*/ 4270549 h 4454665"/>
              <a:gd name="connsiteX779" fmla="*/ 11747420 w 12192000"/>
              <a:gd name="connsiteY779" fmla="*/ 4245880 h 4454665"/>
              <a:gd name="connsiteX780" fmla="*/ 11768454 w 12192000"/>
              <a:gd name="connsiteY780" fmla="*/ 4235307 h 4454665"/>
              <a:gd name="connsiteX781" fmla="*/ 11807019 w 12192000"/>
              <a:gd name="connsiteY781" fmla="*/ 4274073 h 4454665"/>
              <a:gd name="connsiteX782" fmla="*/ 11824547 w 12192000"/>
              <a:gd name="connsiteY782" fmla="*/ 4263501 h 4454665"/>
              <a:gd name="connsiteX783" fmla="*/ 11828054 w 12192000"/>
              <a:gd name="connsiteY783" fmla="*/ 4263501 h 4454665"/>
              <a:gd name="connsiteX784" fmla="*/ 11828054 w 12192000"/>
              <a:gd name="connsiteY784" fmla="*/ 4259976 h 4454665"/>
              <a:gd name="connsiteX785" fmla="*/ 11814030 w 12192000"/>
              <a:gd name="connsiteY785" fmla="*/ 4210638 h 4454665"/>
              <a:gd name="connsiteX786" fmla="*/ 11831559 w 12192000"/>
              <a:gd name="connsiteY786" fmla="*/ 4196542 h 4454665"/>
              <a:gd name="connsiteX787" fmla="*/ 11877135 w 12192000"/>
              <a:gd name="connsiteY787" fmla="*/ 4221210 h 4454665"/>
              <a:gd name="connsiteX788" fmla="*/ 11894664 w 12192000"/>
              <a:gd name="connsiteY788" fmla="*/ 4207114 h 4454665"/>
              <a:gd name="connsiteX789" fmla="*/ 11894664 w 12192000"/>
              <a:gd name="connsiteY789" fmla="*/ 4203590 h 4454665"/>
              <a:gd name="connsiteX790" fmla="*/ 11866617 w 12192000"/>
              <a:gd name="connsiteY790" fmla="*/ 4157775 h 4454665"/>
              <a:gd name="connsiteX791" fmla="*/ 11880641 w 12192000"/>
              <a:gd name="connsiteY791" fmla="*/ 4140154 h 4454665"/>
              <a:gd name="connsiteX792" fmla="*/ 11933228 w 12192000"/>
              <a:gd name="connsiteY792" fmla="*/ 4154251 h 4454665"/>
              <a:gd name="connsiteX793" fmla="*/ 11943746 w 12192000"/>
              <a:gd name="connsiteY793" fmla="*/ 4136630 h 4454665"/>
              <a:gd name="connsiteX794" fmla="*/ 11943746 w 12192000"/>
              <a:gd name="connsiteY794" fmla="*/ 4133106 h 4454665"/>
              <a:gd name="connsiteX795" fmla="*/ 11908688 w 12192000"/>
              <a:gd name="connsiteY795" fmla="*/ 4094340 h 4454665"/>
              <a:gd name="connsiteX796" fmla="*/ 11915699 w 12192000"/>
              <a:gd name="connsiteY796" fmla="*/ 4076719 h 4454665"/>
              <a:gd name="connsiteX797" fmla="*/ 11968286 w 12192000"/>
              <a:gd name="connsiteY797" fmla="*/ 4076719 h 4454665"/>
              <a:gd name="connsiteX798" fmla="*/ 11968286 w 12192000"/>
              <a:gd name="connsiteY798" fmla="*/ 4073195 h 4454665"/>
              <a:gd name="connsiteX799" fmla="*/ 11975298 w 12192000"/>
              <a:gd name="connsiteY799" fmla="*/ 4052050 h 4454665"/>
              <a:gd name="connsiteX800" fmla="*/ 11929722 w 12192000"/>
              <a:gd name="connsiteY800" fmla="*/ 4023857 h 4454665"/>
              <a:gd name="connsiteX801" fmla="*/ 11933228 w 12192000"/>
              <a:gd name="connsiteY801" fmla="*/ 4002712 h 4454665"/>
              <a:gd name="connsiteX802" fmla="*/ 11982310 w 12192000"/>
              <a:gd name="connsiteY802" fmla="*/ 3988615 h 4454665"/>
              <a:gd name="connsiteX803" fmla="*/ 11985815 w 12192000"/>
              <a:gd name="connsiteY803" fmla="*/ 3978042 h 4454665"/>
              <a:gd name="connsiteX804" fmla="*/ 11982310 w 12192000"/>
              <a:gd name="connsiteY804" fmla="*/ 3967470 h 4454665"/>
              <a:gd name="connsiteX805" fmla="*/ 11982310 w 12192000"/>
              <a:gd name="connsiteY805" fmla="*/ 3963946 h 4454665"/>
              <a:gd name="connsiteX806" fmla="*/ 11933228 w 12192000"/>
              <a:gd name="connsiteY806" fmla="*/ 3949848 h 4454665"/>
              <a:gd name="connsiteX807" fmla="*/ 11929722 w 12192000"/>
              <a:gd name="connsiteY807" fmla="*/ 3928704 h 4454665"/>
              <a:gd name="connsiteX808" fmla="*/ 11975298 w 12192000"/>
              <a:gd name="connsiteY808" fmla="*/ 3904035 h 4454665"/>
              <a:gd name="connsiteX809" fmla="*/ 11975298 w 12192000"/>
              <a:gd name="connsiteY809" fmla="*/ 3900510 h 4454665"/>
              <a:gd name="connsiteX810" fmla="*/ 11968286 w 12192000"/>
              <a:gd name="connsiteY810" fmla="*/ 3879365 h 4454665"/>
              <a:gd name="connsiteX811" fmla="*/ 11915699 w 12192000"/>
              <a:gd name="connsiteY811" fmla="*/ 3879365 h 4454665"/>
              <a:gd name="connsiteX812" fmla="*/ 11908688 w 12192000"/>
              <a:gd name="connsiteY812" fmla="*/ 3858221 h 4454665"/>
              <a:gd name="connsiteX813" fmla="*/ 11943746 w 12192000"/>
              <a:gd name="connsiteY813" fmla="*/ 3819454 h 4454665"/>
              <a:gd name="connsiteX814" fmla="*/ 11933228 w 12192000"/>
              <a:gd name="connsiteY814" fmla="*/ 3801833 h 4454665"/>
              <a:gd name="connsiteX815" fmla="*/ 11933228 w 12192000"/>
              <a:gd name="connsiteY815" fmla="*/ 3798309 h 4454665"/>
              <a:gd name="connsiteX816" fmla="*/ 11880641 w 12192000"/>
              <a:gd name="connsiteY816" fmla="*/ 3812406 h 4454665"/>
              <a:gd name="connsiteX817" fmla="*/ 11866617 w 12192000"/>
              <a:gd name="connsiteY817" fmla="*/ 3794785 h 4454665"/>
              <a:gd name="connsiteX818" fmla="*/ 11894664 w 12192000"/>
              <a:gd name="connsiteY818" fmla="*/ 3748970 h 4454665"/>
              <a:gd name="connsiteX819" fmla="*/ 11877135 w 12192000"/>
              <a:gd name="connsiteY819" fmla="*/ 3731350 h 4454665"/>
              <a:gd name="connsiteX820" fmla="*/ 11831559 w 12192000"/>
              <a:gd name="connsiteY820" fmla="*/ 3759544 h 4454665"/>
              <a:gd name="connsiteX821" fmla="*/ 11814030 w 12192000"/>
              <a:gd name="connsiteY821" fmla="*/ 3745446 h 4454665"/>
              <a:gd name="connsiteX822" fmla="*/ 11828054 w 12192000"/>
              <a:gd name="connsiteY822" fmla="*/ 3692584 h 4454665"/>
              <a:gd name="connsiteX823" fmla="*/ 11807019 w 12192000"/>
              <a:gd name="connsiteY823" fmla="*/ 3682011 h 4454665"/>
              <a:gd name="connsiteX824" fmla="*/ 11768454 w 12192000"/>
              <a:gd name="connsiteY824" fmla="*/ 3717253 h 4454665"/>
              <a:gd name="connsiteX825" fmla="*/ 11747420 w 12192000"/>
              <a:gd name="connsiteY825" fmla="*/ 3710205 h 4454665"/>
              <a:gd name="connsiteX826" fmla="*/ 11750925 w 12192000"/>
              <a:gd name="connsiteY826" fmla="*/ 3682011 h 4454665"/>
              <a:gd name="connsiteX827" fmla="*/ 11747420 w 12192000"/>
              <a:gd name="connsiteY827" fmla="*/ 3657342 h 4454665"/>
              <a:gd name="connsiteX828" fmla="*/ 11747420 w 12192000"/>
              <a:gd name="connsiteY828" fmla="*/ 3653818 h 4454665"/>
              <a:gd name="connsiteX829" fmla="*/ 11726385 w 12192000"/>
              <a:gd name="connsiteY829" fmla="*/ 3650294 h 4454665"/>
              <a:gd name="connsiteX830" fmla="*/ 11722879 w 12192000"/>
              <a:gd name="connsiteY830" fmla="*/ 3650294 h 4454665"/>
              <a:gd name="connsiteX831" fmla="*/ 11698339 w 12192000"/>
              <a:gd name="connsiteY831" fmla="*/ 3696108 h 4454665"/>
              <a:gd name="connsiteX832" fmla="*/ 11673798 w 12192000"/>
              <a:gd name="connsiteY832" fmla="*/ 3692584 h 4454665"/>
              <a:gd name="connsiteX833" fmla="*/ 11659774 w 12192000"/>
              <a:gd name="connsiteY833" fmla="*/ 3639721 h 4454665"/>
              <a:gd name="connsiteX834" fmla="*/ 11638739 w 12192000"/>
              <a:gd name="connsiteY834" fmla="*/ 3639721 h 4454665"/>
              <a:gd name="connsiteX835" fmla="*/ 0 w 12192000"/>
              <a:gd name="connsiteY835" fmla="*/ 0 h 4454665"/>
              <a:gd name="connsiteX836" fmla="*/ 12192000 w 12192000"/>
              <a:gd name="connsiteY836" fmla="*/ 0 h 4454665"/>
              <a:gd name="connsiteX837" fmla="*/ 12192000 w 12192000"/>
              <a:gd name="connsiteY837" fmla="*/ 4454665 h 4454665"/>
              <a:gd name="connsiteX838" fmla="*/ 0 w 12192000"/>
              <a:gd name="connsiteY838" fmla="*/ 4454665 h 44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4454665">
                <a:moveTo>
                  <a:pt x="11946675" y="4274241"/>
                </a:moveTo>
                <a:lnTo>
                  <a:pt x="11952788" y="4274241"/>
                </a:lnTo>
                <a:cubicBezTo>
                  <a:pt x="11955414" y="4274241"/>
                  <a:pt x="11957212" y="4274433"/>
                  <a:pt x="11958183" y="4274816"/>
                </a:cubicBezTo>
                <a:cubicBezTo>
                  <a:pt x="11959154" y="4275199"/>
                  <a:pt x="11959913" y="4275780"/>
                  <a:pt x="11960461" y="4276559"/>
                </a:cubicBezTo>
                <a:cubicBezTo>
                  <a:pt x="11961008" y="4277339"/>
                  <a:pt x="11961281" y="4278222"/>
                  <a:pt x="11961281" y="4279206"/>
                </a:cubicBezTo>
                <a:cubicBezTo>
                  <a:pt x="11961281" y="4280738"/>
                  <a:pt x="11960713" y="4281968"/>
                  <a:pt x="11959578" y="4282898"/>
                </a:cubicBezTo>
                <a:cubicBezTo>
                  <a:pt x="11958443" y="4283829"/>
                  <a:pt x="11956316" y="4284293"/>
                  <a:pt x="11953198" y="4284293"/>
                </a:cubicBezTo>
                <a:lnTo>
                  <a:pt x="11946675" y="4284293"/>
                </a:lnTo>
                <a:close/>
                <a:moveTo>
                  <a:pt x="11941300" y="4269729"/>
                </a:moveTo>
                <a:lnTo>
                  <a:pt x="11941300" y="4303043"/>
                </a:lnTo>
                <a:lnTo>
                  <a:pt x="11946675" y="4303043"/>
                </a:lnTo>
                <a:lnTo>
                  <a:pt x="11946675" y="4288889"/>
                </a:lnTo>
                <a:lnTo>
                  <a:pt x="11949834" y="4288889"/>
                </a:lnTo>
                <a:cubicBezTo>
                  <a:pt x="11951722" y="4288889"/>
                  <a:pt x="11953158" y="4289271"/>
                  <a:pt x="11954142" y="4290037"/>
                </a:cubicBezTo>
                <a:cubicBezTo>
                  <a:pt x="11955564" y="4291076"/>
                  <a:pt x="11957438" y="4293661"/>
                  <a:pt x="11959762" y="4297791"/>
                </a:cubicBezTo>
                <a:lnTo>
                  <a:pt x="11962717" y="4303043"/>
                </a:lnTo>
                <a:lnTo>
                  <a:pt x="11969281" y="4303043"/>
                </a:lnTo>
                <a:lnTo>
                  <a:pt x="11965220" y="4296519"/>
                </a:lnTo>
                <a:cubicBezTo>
                  <a:pt x="11963277" y="4293428"/>
                  <a:pt x="11961636" y="4291227"/>
                  <a:pt x="11960296" y="4289914"/>
                </a:cubicBezTo>
                <a:cubicBezTo>
                  <a:pt x="11959585" y="4289231"/>
                  <a:pt x="11958641" y="4288642"/>
                  <a:pt x="11957466" y="4288150"/>
                </a:cubicBezTo>
                <a:cubicBezTo>
                  <a:pt x="11960337" y="4287931"/>
                  <a:pt x="11962642" y="4286919"/>
                  <a:pt x="11964378" y="4285114"/>
                </a:cubicBezTo>
                <a:cubicBezTo>
                  <a:pt x="11966115" y="4283309"/>
                  <a:pt x="11966983" y="4281189"/>
                  <a:pt x="11966983" y="4278755"/>
                </a:cubicBezTo>
                <a:cubicBezTo>
                  <a:pt x="11966983" y="4277032"/>
                  <a:pt x="11966464" y="4275404"/>
                  <a:pt x="11965424" y="4273872"/>
                </a:cubicBezTo>
                <a:cubicBezTo>
                  <a:pt x="11964385" y="4272340"/>
                  <a:pt x="11962990" y="4271267"/>
                  <a:pt x="11961239" y="4270652"/>
                </a:cubicBezTo>
                <a:cubicBezTo>
                  <a:pt x="11959489" y="4270036"/>
                  <a:pt x="11956658" y="4269729"/>
                  <a:pt x="11952747" y="4269729"/>
                </a:cubicBezTo>
                <a:close/>
                <a:moveTo>
                  <a:pt x="10902089" y="4267158"/>
                </a:moveTo>
                <a:cubicBezTo>
                  <a:pt x="10902089" y="4267158"/>
                  <a:pt x="10902089" y="4267158"/>
                  <a:pt x="10905603" y="4267158"/>
                </a:cubicBezTo>
                <a:lnTo>
                  <a:pt x="10905603" y="4270699"/>
                </a:lnTo>
                <a:cubicBezTo>
                  <a:pt x="10905603" y="4281326"/>
                  <a:pt x="10905603" y="4306121"/>
                  <a:pt x="10877492" y="4306121"/>
                </a:cubicBezTo>
                <a:cubicBezTo>
                  <a:pt x="10866950" y="4306121"/>
                  <a:pt x="10859922" y="4302579"/>
                  <a:pt x="10859922" y="4288411"/>
                </a:cubicBezTo>
                <a:cubicBezTo>
                  <a:pt x="10859922" y="4267158"/>
                  <a:pt x="10884520" y="4267158"/>
                  <a:pt x="10902089" y="4267158"/>
                </a:cubicBezTo>
                <a:close/>
                <a:moveTo>
                  <a:pt x="11954881" y="4260087"/>
                </a:moveTo>
                <a:cubicBezTo>
                  <a:pt x="11959202" y="4260087"/>
                  <a:pt x="11963428" y="4261202"/>
                  <a:pt x="11967558" y="4263431"/>
                </a:cubicBezTo>
                <a:cubicBezTo>
                  <a:pt x="11971688" y="4265660"/>
                  <a:pt x="11974909" y="4268847"/>
                  <a:pt x="11977220" y="4272990"/>
                </a:cubicBezTo>
                <a:cubicBezTo>
                  <a:pt x="11979531" y="4277134"/>
                  <a:pt x="11980687" y="4281449"/>
                  <a:pt x="11980687" y="4285934"/>
                </a:cubicBezTo>
                <a:cubicBezTo>
                  <a:pt x="11980687" y="4290393"/>
                  <a:pt x="11979552" y="4294667"/>
                  <a:pt x="11977282" y="4298755"/>
                </a:cubicBezTo>
                <a:cubicBezTo>
                  <a:pt x="11975012" y="4302845"/>
                  <a:pt x="11971825" y="4306031"/>
                  <a:pt x="11967722" y="4308315"/>
                </a:cubicBezTo>
                <a:cubicBezTo>
                  <a:pt x="11963619" y="4310599"/>
                  <a:pt x="11959339" y="4311741"/>
                  <a:pt x="11954881" y="4311741"/>
                </a:cubicBezTo>
                <a:cubicBezTo>
                  <a:pt x="11950422" y="4311741"/>
                  <a:pt x="11946142" y="4310599"/>
                  <a:pt x="11942039" y="4308315"/>
                </a:cubicBezTo>
                <a:cubicBezTo>
                  <a:pt x="11937936" y="4306031"/>
                  <a:pt x="11934742" y="4302845"/>
                  <a:pt x="11932459" y="4298755"/>
                </a:cubicBezTo>
                <a:cubicBezTo>
                  <a:pt x="11930175" y="4294667"/>
                  <a:pt x="11929033" y="4290393"/>
                  <a:pt x="11929033" y="4285934"/>
                </a:cubicBezTo>
                <a:cubicBezTo>
                  <a:pt x="11929033" y="4281449"/>
                  <a:pt x="11930195" y="4277134"/>
                  <a:pt x="11932521" y="4272990"/>
                </a:cubicBezTo>
                <a:cubicBezTo>
                  <a:pt x="11934846" y="4268847"/>
                  <a:pt x="11938066" y="4265660"/>
                  <a:pt x="11942183" y="4263431"/>
                </a:cubicBezTo>
                <a:cubicBezTo>
                  <a:pt x="11946299" y="4261202"/>
                  <a:pt x="11950532" y="4260087"/>
                  <a:pt x="11954881" y="4260087"/>
                </a:cubicBezTo>
                <a:close/>
                <a:moveTo>
                  <a:pt x="11954881" y="4254959"/>
                </a:moveTo>
                <a:cubicBezTo>
                  <a:pt x="11949684" y="4254959"/>
                  <a:pt x="11944610" y="4256292"/>
                  <a:pt x="11939660" y="4258959"/>
                </a:cubicBezTo>
                <a:cubicBezTo>
                  <a:pt x="11934709" y="4261625"/>
                  <a:pt x="11930845" y="4265441"/>
                  <a:pt x="11928069" y="4270406"/>
                </a:cubicBezTo>
                <a:cubicBezTo>
                  <a:pt x="11925293" y="4275369"/>
                  <a:pt x="11923904" y="4280546"/>
                  <a:pt x="11923904" y="4285934"/>
                </a:cubicBezTo>
                <a:cubicBezTo>
                  <a:pt x="11923904" y="4291268"/>
                  <a:pt x="11925272" y="4296397"/>
                  <a:pt x="11928007" y="4301320"/>
                </a:cubicBezTo>
                <a:cubicBezTo>
                  <a:pt x="11930743" y="4306243"/>
                  <a:pt x="11934565" y="4310066"/>
                  <a:pt x="11939474" y="4312787"/>
                </a:cubicBezTo>
                <a:cubicBezTo>
                  <a:pt x="11944385" y="4315508"/>
                  <a:pt x="11949519" y="4316869"/>
                  <a:pt x="11954881" y="4316869"/>
                </a:cubicBezTo>
                <a:cubicBezTo>
                  <a:pt x="11960242" y="4316869"/>
                  <a:pt x="11965376" y="4315508"/>
                  <a:pt x="11970287" y="4312787"/>
                </a:cubicBezTo>
                <a:cubicBezTo>
                  <a:pt x="11975196" y="4310066"/>
                  <a:pt x="11979011" y="4306243"/>
                  <a:pt x="11981733" y="4301320"/>
                </a:cubicBezTo>
                <a:cubicBezTo>
                  <a:pt x="11984454" y="4296397"/>
                  <a:pt x="11985815" y="4291268"/>
                  <a:pt x="11985815" y="4285934"/>
                </a:cubicBezTo>
                <a:cubicBezTo>
                  <a:pt x="11985815" y="4280546"/>
                  <a:pt x="11984434" y="4275369"/>
                  <a:pt x="11981671" y="4270406"/>
                </a:cubicBezTo>
                <a:cubicBezTo>
                  <a:pt x="11978909" y="4265441"/>
                  <a:pt x="11975052" y="4261625"/>
                  <a:pt x="11970101" y="4258959"/>
                </a:cubicBezTo>
                <a:cubicBezTo>
                  <a:pt x="11965151" y="4256292"/>
                  <a:pt x="11960077" y="4254959"/>
                  <a:pt x="11954881" y="4254959"/>
                </a:cubicBezTo>
                <a:close/>
                <a:moveTo>
                  <a:pt x="11091685" y="4225507"/>
                </a:moveTo>
                <a:cubicBezTo>
                  <a:pt x="11109123" y="4225507"/>
                  <a:pt x="11123259" y="4243553"/>
                  <a:pt x="11123259" y="4265814"/>
                </a:cubicBezTo>
                <a:cubicBezTo>
                  <a:pt x="11123259" y="4288075"/>
                  <a:pt x="11109123" y="4306120"/>
                  <a:pt x="11091685" y="4306120"/>
                </a:cubicBezTo>
                <a:cubicBezTo>
                  <a:pt x="11074247" y="4306120"/>
                  <a:pt x="11060111" y="4288075"/>
                  <a:pt x="11060111" y="4265814"/>
                </a:cubicBezTo>
                <a:cubicBezTo>
                  <a:pt x="11060111" y="4243553"/>
                  <a:pt x="11074247" y="4225507"/>
                  <a:pt x="11091685" y="4225507"/>
                </a:cubicBezTo>
                <a:close/>
                <a:moveTo>
                  <a:pt x="10781998" y="4225507"/>
                </a:moveTo>
                <a:cubicBezTo>
                  <a:pt x="10797580" y="4225507"/>
                  <a:pt x="10810212" y="4243553"/>
                  <a:pt x="10810212" y="4265814"/>
                </a:cubicBezTo>
                <a:cubicBezTo>
                  <a:pt x="10810212" y="4288075"/>
                  <a:pt x="10797580" y="4306120"/>
                  <a:pt x="10781998" y="4306120"/>
                </a:cubicBezTo>
                <a:cubicBezTo>
                  <a:pt x="10766415" y="4306120"/>
                  <a:pt x="10753783" y="4288075"/>
                  <a:pt x="10753783" y="4265814"/>
                </a:cubicBezTo>
                <a:cubicBezTo>
                  <a:pt x="10753783" y="4243553"/>
                  <a:pt x="10766415" y="4225507"/>
                  <a:pt x="10781998" y="4225507"/>
                </a:cubicBezTo>
                <a:close/>
                <a:moveTo>
                  <a:pt x="10469622" y="4225507"/>
                </a:moveTo>
                <a:cubicBezTo>
                  <a:pt x="10487060" y="4225507"/>
                  <a:pt x="10501196" y="4243553"/>
                  <a:pt x="10501196" y="4265814"/>
                </a:cubicBezTo>
                <a:cubicBezTo>
                  <a:pt x="10501196" y="4288075"/>
                  <a:pt x="10487060" y="4306120"/>
                  <a:pt x="10469622" y="4306120"/>
                </a:cubicBezTo>
                <a:cubicBezTo>
                  <a:pt x="10452185" y="4306120"/>
                  <a:pt x="10438048" y="4288075"/>
                  <a:pt x="10438048" y="4265814"/>
                </a:cubicBezTo>
                <a:cubicBezTo>
                  <a:pt x="10438048" y="4243553"/>
                  <a:pt x="10452185" y="4225507"/>
                  <a:pt x="10469622" y="4225507"/>
                </a:cubicBezTo>
                <a:close/>
                <a:moveTo>
                  <a:pt x="11014562" y="4220260"/>
                </a:moveTo>
                <a:lnTo>
                  <a:pt x="11014562" y="4316220"/>
                </a:lnTo>
                <a:lnTo>
                  <a:pt x="11026851" y="4316220"/>
                </a:lnTo>
                <a:lnTo>
                  <a:pt x="11026851" y="4220260"/>
                </a:lnTo>
                <a:close/>
                <a:moveTo>
                  <a:pt x="11158189" y="4218790"/>
                </a:moveTo>
                <a:cubicBezTo>
                  <a:pt x="11158189" y="4225756"/>
                  <a:pt x="11158189" y="4236206"/>
                  <a:pt x="11158189" y="4243173"/>
                </a:cubicBezTo>
                <a:lnTo>
                  <a:pt x="11158189" y="4312838"/>
                </a:lnTo>
                <a:cubicBezTo>
                  <a:pt x="11158189" y="4312838"/>
                  <a:pt x="11158189" y="4312838"/>
                  <a:pt x="11172009" y="4312838"/>
                </a:cubicBezTo>
                <a:cubicBezTo>
                  <a:pt x="11172009" y="4312838"/>
                  <a:pt x="11172009" y="4312838"/>
                  <a:pt x="11172009" y="4260589"/>
                </a:cubicBezTo>
                <a:cubicBezTo>
                  <a:pt x="11172009" y="4246656"/>
                  <a:pt x="11178918" y="4225756"/>
                  <a:pt x="11199648" y="4225756"/>
                </a:cubicBezTo>
                <a:cubicBezTo>
                  <a:pt x="11213466" y="4225756"/>
                  <a:pt x="11220377" y="4239689"/>
                  <a:pt x="11220377" y="4257106"/>
                </a:cubicBezTo>
                <a:cubicBezTo>
                  <a:pt x="11220377" y="4257106"/>
                  <a:pt x="11220377" y="4257106"/>
                  <a:pt x="11220377" y="4312838"/>
                </a:cubicBezTo>
                <a:cubicBezTo>
                  <a:pt x="11220377" y="4312838"/>
                  <a:pt x="11220377" y="4312838"/>
                  <a:pt x="11230741" y="4312838"/>
                </a:cubicBezTo>
                <a:cubicBezTo>
                  <a:pt x="11230741" y="4312838"/>
                  <a:pt x="11230741" y="4312838"/>
                  <a:pt x="11230741" y="4253622"/>
                </a:cubicBezTo>
                <a:cubicBezTo>
                  <a:pt x="11230741" y="4232723"/>
                  <a:pt x="11223831" y="4218790"/>
                  <a:pt x="11199648" y="4218790"/>
                </a:cubicBezTo>
                <a:cubicBezTo>
                  <a:pt x="11182373" y="4218790"/>
                  <a:pt x="11175464" y="4229239"/>
                  <a:pt x="11168554" y="4236206"/>
                </a:cubicBezTo>
                <a:cubicBezTo>
                  <a:pt x="11168554" y="4236206"/>
                  <a:pt x="11168554" y="4236206"/>
                  <a:pt x="11168554" y="4218790"/>
                </a:cubicBezTo>
                <a:cubicBezTo>
                  <a:pt x="11168554" y="4218790"/>
                  <a:pt x="11168554" y="4218790"/>
                  <a:pt x="11158189" y="4218790"/>
                </a:cubicBezTo>
                <a:close/>
                <a:moveTo>
                  <a:pt x="11088997" y="4218790"/>
                </a:moveTo>
                <a:cubicBezTo>
                  <a:pt x="11064881" y="4218790"/>
                  <a:pt x="11045332" y="4240745"/>
                  <a:pt x="11045332" y="4267830"/>
                </a:cubicBezTo>
                <a:cubicBezTo>
                  <a:pt x="11045332" y="4294914"/>
                  <a:pt x="11064881" y="4316869"/>
                  <a:pt x="11088997" y="4316869"/>
                </a:cubicBezTo>
                <a:cubicBezTo>
                  <a:pt x="11113113" y="4316869"/>
                  <a:pt x="11132662" y="4294914"/>
                  <a:pt x="11132662" y="4267830"/>
                </a:cubicBezTo>
                <a:cubicBezTo>
                  <a:pt x="11132662" y="4240745"/>
                  <a:pt x="11113113" y="4218790"/>
                  <a:pt x="11088997" y="4218790"/>
                </a:cubicBezTo>
                <a:close/>
                <a:moveTo>
                  <a:pt x="10883851" y="4218790"/>
                </a:moveTo>
                <a:cubicBezTo>
                  <a:pt x="10876813" y="4218790"/>
                  <a:pt x="10862738" y="4218790"/>
                  <a:pt x="10855700" y="4222293"/>
                </a:cubicBezTo>
                <a:cubicBezTo>
                  <a:pt x="10855700" y="4222293"/>
                  <a:pt x="10855700" y="4222293"/>
                  <a:pt x="10855700" y="4236304"/>
                </a:cubicBezTo>
                <a:cubicBezTo>
                  <a:pt x="10866257" y="4229299"/>
                  <a:pt x="10873294" y="4225796"/>
                  <a:pt x="10883851" y="4225796"/>
                </a:cubicBezTo>
                <a:cubicBezTo>
                  <a:pt x="10901445" y="4225796"/>
                  <a:pt x="10904964" y="4236304"/>
                  <a:pt x="10904964" y="4250316"/>
                </a:cubicBezTo>
                <a:cubicBezTo>
                  <a:pt x="10904964" y="4250316"/>
                  <a:pt x="10904964" y="4250316"/>
                  <a:pt x="10904964" y="4257321"/>
                </a:cubicBezTo>
                <a:cubicBezTo>
                  <a:pt x="10880332" y="4257321"/>
                  <a:pt x="10845144" y="4257321"/>
                  <a:pt x="10845144" y="4288846"/>
                </a:cubicBezTo>
                <a:cubicBezTo>
                  <a:pt x="10845144" y="4299355"/>
                  <a:pt x="10848663" y="4316869"/>
                  <a:pt x="10876813" y="4316869"/>
                </a:cubicBezTo>
                <a:cubicBezTo>
                  <a:pt x="10887370" y="4316869"/>
                  <a:pt x="10901445" y="4309863"/>
                  <a:pt x="10904964" y="4299355"/>
                </a:cubicBezTo>
                <a:cubicBezTo>
                  <a:pt x="10904964" y="4299355"/>
                  <a:pt x="10904964" y="4299355"/>
                  <a:pt x="10908483" y="4299355"/>
                </a:cubicBezTo>
                <a:lnTo>
                  <a:pt x="10908483" y="4313366"/>
                </a:lnTo>
                <a:cubicBezTo>
                  <a:pt x="10908483" y="4313366"/>
                  <a:pt x="10908483" y="4313366"/>
                  <a:pt x="10919039" y="4313366"/>
                </a:cubicBezTo>
                <a:cubicBezTo>
                  <a:pt x="10919039" y="4309863"/>
                  <a:pt x="10919039" y="4302858"/>
                  <a:pt x="10919039" y="4295852"/>
                </a:cubicBezTo>
                <a:cubicBezTo>
                  <a:pt x="10919039" y="4295852"/>
                  <a:pt x="10919039" y="4295852"/>
                  <a:pt x="10919039" y="4253819"/>
                </a:cubicBezTo>
                <a:cubicBezTo>
                  <a:pt x="10919039" y="4229299"/>
                  <a:pt x="10908483" y="4218790"/>
                  <a:pt x="10883851" y="4218790"/>
                </a:cubicBezTo>
                <a:close/>
                <a:moveTo>
                  <a:pt x="10642268" y="4218790"/>
                </a:moveTo>
                <a:cubicBezTo>
                  <a:pt x="10642268" y="4225756"/>
                  <a:pt x="10642268" y="4236206"/>
                  <a:pt x="10642268" y="4243173"/>
                </a:cubicBezTo>
                <a:lnTo>
                  <a:pt x="10642268" y="4312838"/>
                </a:lnTo>
                <a:cubicBezTo>
                  <a:pt x="10642268" y="4312838"/>
                  <a:pt x="10642268" y="4312838"/>
                  <a:pt x="10656343" y="4312838"/>
                </a:cubicBezTo>
                <a:cubicBezTo>
                  <a:pt x="10656343" y="4312838"/>
                  <a:pt x="10656343" y="4312838"/>
                  <a:pt x="10656343" y="4260589"/>
                </a:cubicBezTo>
                <a:cubicBezTo>
                  <a:pt x="10656343" y="4246656"/>
                  <a:pt x="10663381" y="4225756"/>
                  <a:pt x="10684494" y="4225756"/>
                </a:cubicBezTo>
                <a:cubicBezTo>
                  <a:pt x="10698569" y="4225756"/>
                  <a:pt x="10705607" y="4239689"/>
                  <a:pt x="10705607" y="4257106"/>
                </a:cubicBezTo>
                <a:cubicBezTo>
                  <a:pt x="10705607" y="4257106"/>
                  <a:pt x="10705607" y="4257106"/>
                  <a:pt x="10705607" y="4312838"/>
                </a:cubicBezTo>
                <a:cubicBezTo>
                  <a:pt x="10705607" y="4312838"/>
                  <a:pt x="10705607" y="4312838"/>
                  <a:pt x="10716163" y="4312838"/>
                </a:cubicBezTo>
                <a:cubicBezTo>
                  <a:pt x="10716163" y="4312838"/>
                  <a:pt x="10716163" y="4312838"/>
                  <a:pt x="10716163" y="4253622"/>
                </a:cubicBezTo>
                <a:cubicBezTo>
                  <a:pt x="10716163" y="4232723"/>
                  <a:pt x="10709125" y="4218790"/>
                  <a:pt x="10684494" y="4218790"/>
                </a:cubicBezTo>
                <a:cubicBezTo>
                  <a:pt x="10666900" y="4218790"/>
                  <a:pt x="10659862" y="4229239"/>
                  <a:pt x="10652824" y="4236206"/>
                </a:cubicBezTo>
                <a:cubicBezTo>
                  <a:pt x="10652824" y="4236206"/>
                  <a:pt x="10652824" y="4236206"/>
                  <a:pt x="10652824" y="4218790"/>
                </a:cubicBezTo>
                <a:cubicBezTo>
                  <a:pt x="10652824" y="4218790"/>
                  <a:pt x="10652824" y="4218790"/>
                  <a:pt x="10642268" y="4218790"/>
                </a:cubicBezTo>
                <a:close/>
                <a:moveTo>
                  <a:pt x="10540159" y="4218790"/>
                </a:moveTo>
                <a:cubicBezTo>
                  <a:pt x="10540159" y="4218790"/>
                  <a:pt x="10540159" y="4218790"/>
                  <a:pt x="10540159" y="4281840"/>
                </a:cubicBezTo>
                <a:cubicBezTo>
                  <a:pt x="10540159" y="4302858"/>
                  <a:pt x="10547196" y="4316869"/>
                  <a:pt x="10571828" y="4316869"/>
                </a:cubicBezTo>
                <a:cubicBezTo>
                  <a:pt x="10589422" y="4316869"/>
                  <a:pt x="10596460" y="4306360"/>
                  <a:pt x="10603498" y="4299355"/>
                </a:cubicBezTo>
                <a:cubicBezTo>
                  <a:pt x="10603498" y="4299355"/>
                  <a:pt x="10603498" y="4299355"/>
                  <a:pt x="10603498" y="4313366"/>
                </a:cubicBezTo>
                <a:cubicBezTo>
                  <a:pt x="10603498" y="4313366"/>
                  <a:pt x="10603498" y="4313366"/>
                  <a:pt x="10614054" y="4313366"/>
                </a:cubicBezTo>
                <a:cubicBezTo>
                  <a:pt x="10614054" y="4306360"/>
                  <a:pt x="10614054" y="4299355"/>
                  <a:pt x="10614054" y="4292349"/>
                </a:cubicBezTo>
                <a:lnTo>
                  <a:pt x="10614054" y="4218790"/>
                </a:lnTo>
                <a:cubicBezTo>
                  <a:pt x="10614054" y="4218790"/>
                  <a:pt x="10614054" y="4218790"/>
                  <a:pt x="10599979" y="4218790"/>
                </a:cubicBezTo>
                <a:cubicBezTo>
                  <a:pt x="10599979" y="4218790"/>
                  <a:pt x="10599979" y="4218790"/>
                  <a:pt x="10599979" y="4271332"/>
                </a:cubicBezTo>
                <a:cubicBezTo>
                  <a:pt x="10599979" y="4288846"/>
                  <a:pt x="10592941" y="4306360"/>
                  <a:pt x="10571828" y="4306360"/>
                </a:cubicBezTo>
                <a:cubicBezTo>
                  <a:pt x="10557753" y="4306360"/>
                  <a:pt x="10550715" y="4295852"/>
                  <a:pt x="10550715" y="4278338"/>
                </a:cubicBezTo>
                <a:cubicBezTo>
                  <a:pt x="10550715" y="4278338"/>
                  <a:pt x="10550715" y="4278338"/>
                  <a:pt x="10550715" y="4218790"/>
                </a:cubicBezTo>
                <a:cubicBezTo>
                  <a:pt x="10550715" y="4218790"/>
                  <a:pt x="10550715" y="4218790"/>
                  <a:pt x="10540159" y="4218790"/>
                </a:cubicBezTo>
                <a:close/>
                <a:moveTo>
                  <a:pt x="10471637" y="4218790"/>
                </a:moveTo>
                <a:cubicBezTo>
                  <a:pt x="10447151" y="4218790"/>
                  <a:pt x="10427300" y="4240745"/>
                  <a:pt x="10427300" y="4267830"/>
                </a:cubicBezTo>
                <a:cubicBezTo>
                  <a:pt x="10427300" y="4294914"/>
                  <a:pt x="10447151" y="4316869"/>
                  <a:pt x="10471637" y="4316869"/>
                </a:cubicBezTo>
                <a:cubicBezTo>
                  <a:pt x="10496124" y="4316869"/>
                  <a:pt x="10515975" y="4294914"/>
                  <a:pt x="10515975" y="4267830"/>
                </a:cubicBezTo>
                <a:cubicBezTo>
                  <a:pt x="10515975" y="4240745"/>
                  <a:pt x="10496124" y="4218790"/>
                  <a:pt x="10471637" y="4218790"/>
                </a:cubicBezTo>
                <a:close/>
                <a:moveTo>
                  <a:pt x="11655303" y="4204011"/>
                </a:moveTo>
                <a:lnTo>
                  <a:pt x="11659333" y="4214760"/>
                </a:lnTo>
                <a:lnTo>
                  <a:pt x="11663364" y="4221478"/>
                </a:lnTo>
                <a:lnTo>
                  <a:pt x="11648585" y="4221478"/>
                </a:lnTo>
                <a:lnTo>
                  <a:pt x="11652616" y="4214760"/>
                </a:lnTo>
                <a:close/>
                <a:moveTo>
                  <a:pt x="11659446" y="4193263"/>
                </a:moveTo>
                <a:cubicBezTo>
                  <a:pt x="11659446" y="4193263"/>
                  <a:pt x="11659446" y="4193263"/>
                  <a:pt x="11649032" y="4196777"/>
                </a:cubicBezTo>
                <a:cubicBezTo>
                  <a:pt x="11649032" y="4196777"/>
                  <a:pt x="11649032" y="4196777"/>
                  <a:pt x="11645562" y="4214347"/>
                </a:cubicBezTo>
                <a:cubicBezTo>
                  <a:pt x="11645562" y="4214347"/>
                  <a:pt x="11645562" y="4214347"/>
                  <a:pt x="11635149" y="4235429"/>
                </a:cubicBezTo>
                <a:cubicBezTo>
                  <a:pt x="11638620" y="4235429"/>
                  <a:pt x="11642091" y="4235429"/>
                  <a:pt x="11645562" y="4238943"/>
                </a:cubicBezTo>
                <a:cubicBezTo>
                  <a:pt x="11645562" y="4238943"/>
                  <a:pt x="11645562" y="4238943"/>
                  <a:pt x="11645562" y="4228402"/>
                </a:cubicBezTo>
                <a:cubicBezTo>
                  <a:pt x="11645562" y="4228402"/>
                  <a:pt x="11645562" y="4228402"/>
                  <a:pt x="11666387" y="4228402"/>
                </a:cubicBezTo>
                <a:cubicBezTo>
                  <a:pt x="11666387" y="4228402"/>
                  <a:pt x="11666387" y="4228402"/>
                  <a:pt x="11666387" y="4235429"/>
                </a:cubicBezTo>
                <a:cubicBezTo>
                  <a:pt x="11669858" y="4235429"/>
                  <a:pt x="11673329" y="4235429"/>
                  <a:pt x="11676800" y="4235429"/>
                </a:cubicBezTo>
                <a:cubicBezTo>
                  <a:pt x="11676800" y="4235429"/>
                  <a:pt x="11676800" y="4235429"/>
                  <a:pt x="11666387" y="4214347"/>
                </a:cubicBezTo>
                <a:lnTo>
                  <a:pt x="11659446" y="4196777"/>
                </a:lnTo>
                <a:cubicBezTo>
                  <a:pt x="11659446" y="4196777"/>
                  <a:pt x="11659446" y="4196777"/>
                  <a:pt x="11659446" y="4193263"/>
                </a:cubicBezTo>
                <a:close/>
                <a:moveTo>
                  <a:pt x="10964451" y="4193262"/>
                </a:moveTo>
                <a:cubicBezTo>
                  <a:pt x="10964451" y="4193262"/>
                  <a:pt x="10964451" y="4193262"/>
                  <a:pt x="10953971" y="4196794"/>
                </a:cubicBezTo>
                <a:cubicBezTo>
                  <a:pt x="10953971" y="4196794"/>
                  <a:pt x="10953971" y="4196794"/>
                  <a:pt x="10953971" y="4217983"/>
                </a:cubicBezTo>
                <a:cubicBezTo>
                  <a:pt x="10953971" y="4217983"/>
                  <a:pt x="10953971" y="4217983"/>
                  <a:pt x="10936505" y="4217983"/>
                </a:cubicBezTo>
                <a:cubicBezTo>
                  <a:pt x="10936505" y="4217983"/>
                  <a:pt x="10936505" y="4217983"/>
                  <a:pt x="10936505" y="4228578"/>
                </a:cubicBezTo>
                <a:cubicBezTo>
                  <a:pt x="10936505" y="4228578"/>
                  <a:pt x="10936505" y="4228578"/>
                  <a:pt x="10953971" y="4228578"/>
                </a:cubicBezTo>
                <a:cubicBezTo>
                  <a:pt x="10953971" y="4228578"/>
                  <a:pt x="10953971" y="4228578"/>
                  <a:pt x="10953971" y="4285084"/>
                </a:cubicBezTo>
                <a:cubicBezTo>
                  <a:pt x="10953971" y="4302742"/>
                  <a:pt x="10953971" y="4316868"/>
                  <a:pt x="10974931" y="4316868"/>
                </a:cubicBezTo>
                <a:cubicBezTo>
                  <a:pt x="10981917" y="4316868"/>
                  <a:pt x="10985410" y="4316868"/>
                  <a:pt x="10988904" y="4313337"/>
                </a:cubicBezTo>
                <a:cubicBezTo>
                  <a:pt x="10988904" y="4313337"/>
                  <a:pt x="10988904" y="4313337"/>
                  <a:pt x="10988904" y="4302742"/>
                </a:cubicBezTo>
                <a:cubicBezTo>
                  <a:pt x="10985410" y="4306273"/>
                  <a:pt x="10981917" y="4306273"/>
                  <a:pt x="10978424" y="4306273"/>
                </a:cubicBezTo>
                <a:cubicBezTo>
                  <a:pt x="10967944" y="4306273"/>
                  <a:pt x="10964451" y="4299211"/>
                  <a:pt x="10964451" y="4292147"/>
                </a:cubicBezTo>
                <a:cubicBezTo>
                  <a:pt x="10964451" y="4292147"/>
                  <a:pt x="10964451" y="4292147"/>
                  <a:pt x="10964451" y="4228578"/>
                </a:cubicBezTo>
                <a:cubicBezTo>
                  <a:pt x="10964451" y="4228578"/>
                  <a:pt x="10964451" y="4228578"/>
                  <a:pt x="10985410" y="4228578"/>
                </a:cubicBezTo>
                <a:lnTo>
                  <a:pt x="10985410" y="4217983"/>
                </a:lnTo>
                <a:cubicBezTo>
                  <a:pt x="10985410" y="4217983"/>
                  <a:pt x="10985410" y="4217983"/>
                  <a:pt x="10964451" y="4217983"/>
                </a:cubicBezTo>
                <a:cubicBezTo>
                  <a:pt x="10964451" y="4217983"/>
                  <a:pt x="10964451" y="4217983"/>
                  <a:pt x="10964451" y="4193262"/>
                </a:cubicBezTo>
                <a:close/>
                <a:moveTo>
                  <a:pt x="11599881" y="4190576"/>
                </a:moveTo>
                <a:cubicBezTo>
                  <a:pt x="11589469" y="4232742"/>
                  <a:pt x="11589469" y="4232742"/>
                  <a:pt x="11589469" y="4232742"/>
                </a:cubicBezTo>
                <a:cubicBezTo>
                  <a:pt x="11592940" y="4232742"/>
                  <a:pt x="11596410" y="4232742"/>
                  <a:pt x="11599881" y="4232742"/>
                </a:cubicBezTo>
                <a:cubicBezTo>
                  <a:pt x="11603352" y="4208146"/>
                  <a:pt x="11603352" y="4208146"/>
                  <a:pt x="11603352" y="4208146"/>
                </a:cubicBezTo>
                <a:cubicBezTo>
                  <a:pt x="11617236" y="4236256"/>
                  <a:pt x="11617236" y="4236256"/>
                  <a:pt x="11617236" y="4236256"/>
                </a:cubicBezTo>
                <a:cubicBezTo>
                  <a:pt x="11620707" y="4236256"/>
                  <a:pt x="11624178" y="4236256"/>
                  <a:pt x="11624178" y="4236256"/>
                </a:cubicBezTo>
                <a:cubicBezTo>
                  <a:pt x="11631119" y="4194090"/>
                  <a:pt x="11631119" y="4194090"/>
                  <a:pt x="11631119" y="4194090"/>
                </a:cubicBezTo>
                <a:cubicBezTo>
                  <a:pt x="11627648" y="4194090"/>
                  <a:pt x="11624178" y="4194090"/>
                  <a:pt x="11624178" y="4194090"/>
                </a:cubicBezTo>
                <a:cubicBezTo>
                  <a:pt x="11620707" y="4222201"/>
                  <a:pt x="11620707" y="4222201"/>
                  <a:pt x="11620707" y="4222201"/>
                </a:cubicBezTo>
                <a:cubicBezTo>
                  <a:pt x="11606824" y="4190576"/>
                  <a:pt x="11606824" y="4190576"/>
                  <a:pt x="11606824" y="4190576"/>
                </a:cubicBezTo>
                <a:cubicBezTo>
                  <a:pt x="11603352" y="4190576"/>
                  <a:pt x="11603352" y="4190576"/>
                  <a:pt x="11599881" y="4190576"/>
                </a:cubicBezTo>
                <a:close/>
                <a:moveTo>
                  <a:pt x="11709044" y="4186546"/>
                </a:moveTo>
                <a:cubicBezTo>
                  <a:pt x="11695071" y="4190097"/>
                  <a:pt x="11684592" y="4193647"/>
                  <a:pt x="11674112" y="4193647"/>
                </a:cubicBezTo>
                <a:cubicBezTo>
                  <a:pt x="11674112" y="4200749"/>
                  <a:pt x="11674112" y="4200749"/>
                  <a:pt x="11674112" y="4200749"/>
                </a:cubicBezTo>
                <a:cubicBezTo>
                  <a:pt x="11681098" y="4200749"/>
                  <a:pt x="11684592" y="4200749"/>
                  <a:pt x="11688084" y="4200749"/>
                </a:cubicBezTo>
                <a:cubicBezTo>
                  <a:pt x="11695071" y="4236257"/>
                  <a:pt x="11695071" y="4236257"/>
                  <a:pt x="11695071" y="4236257"/>
                </a:cubicBezTo>
                <a:cubicBezTo>
                  <a:pt x="11702057" y="4232706"/>
                  <a:pt x="11702057" y="4232706"/>
                  <a:pt x="11702057" y="4232706"/>
                </a:cubicBezTo>
                <a:cubicBezTo>
                  <a:pt x="11695071" y="4197198"/>
                  <a:pt x="11695071" y="4197198"/>
                  <a:pt x="11695071" y="4197198"/>
                </a:cubicBezTo>
                <a:cubicBezTo>
                  <a:pt x="11702057" y="4197198"/>
                  <a:pt x="11705551" y="4197198"/>
                  <a:pt x="11709044" y="4193647"/>
                </a:cubicBezTo>
                <a:close/>
                <a:moveTo>
                  <a:pt x="11564748" y="4186546"/>
                </a:moveTo>
                <a:cubicBezTo>
                  <a:pt x="11564748" y="4186546"/>
                  <a:pt x="11564748" y="4186546"/>
                  <a:pt x="11575228" y="4189905"/>
                </a:cubicBezTo>
                <a:cubicBezTo>
                  <a:pt x="11578720" y="4189905"/>
                  <a:pt x="11578720" y="4193264"/>
                  <a:pt x="11578720" y="4193264"/>
                </a:cubicBezTo>
                <a:cubicBezTo>
                  <a:pt x="11578720" y="4193264"/>
                  <a:pt x="11578720" y="4196622"/>
                  <a:pt x="11578720" y="4196622"/>
                </a:cubicBezTo>
                <a:cubicBezTo>
                  <a:pt x="11578720" y="4196622"/>
                  <a:pt x="11575228" y="4199981"/>
                  <a:pt x="11571734" y="4199981"/>
                </a:cubicBezTo>
                <a:cubicBezTo>
                  <a:pt x="11571734" y="4199981"/>
                  <a:pt x="11571734" y="4199981"/>
                  <a:pt x="11561254" y="4196622"/>
                </a:cubicBezTo>
                <a:cubicBezTo>
                  <a:pt x="11561254" y="4196622"/>
                  <a:pt x="11561254" y="4196622"/>
                  <a:pt x="11564748" y="4193264"/>
                </a:cubicBezTo>
                <a:cubicBezTo>
                  <a:pt x="11564748" y="4193264"/>
                  <a:pt x="11564748" y="4193264"/>
                  <a:pt x="11564748" y="4186546"/>
                </a:cubicBezTo>
                <a:close/>
                <a:moveTo>
                  <a:pt x="11014562" y="4184660"/>
                </a:moveTo>
                <a:lnTo>
                  <a:pt x="11014562" y="4198354"/>
                </a:lnTo>
                <a:lnTo>
                  <a:pt x="11026851" y="4198354"/>
                </a:lnTo>
                <a:lnTo>
                  <a:pt x="11026851" y="4184660"/>
                </a:lnTo>
                <a:close/>
                <a:moveTo>
                  <a:pt x="11715762" y="4182514"/>
                </a:moveTo>
                <a:cubicBezTo>
                  <a:pt x="11729582" y="4225508"/>
                  <a:pt x="11729582" y="4225508"/>
                  <a:pt x="11729582" y="4225508"/>
                </a:cubicBezTo>
                <a:cubicBezTo>
                  <a:pt x="11733036" y="4221925"/>
                  <a:pt x="11736491" y="4221925"/>
                  <a:pt x="11739946" y="4221925"/>
                </a:cubicBezTo>
                <a:cubicBezTo>
                  <a:pt x="11726127" y="4182514"/>
                  <a:pt x="11726127" y="4182514"/>
                  <a:pt x="11726127" y="4182514"/>
                </a:cubicBezTo>
                <a:cubicBezTo>
                  <a:pt x="11722671" y="4182514"/>
                  <a:pt x="11719217" y="4182514"/>
                  <a:pt x="11715762" y="4182514"/>
                </a:cubicBezTo>
                <a:close/>
                <a:moveTo>
                  <a:pt x="10346688" y="4182514"/>
                </a:moveTo>
                <a:lnTo>
                  <a:pt x="10346688" y="4312838"/>
                </a:lnTo>
                <a:lnTo>
                  <a:pt x="10361467" y="4312838"/>
                </a:lnTo>
                <a:lnTo>
                  <a:pt x="10361467" y="4253722"/>
                </a:lnTo>
                <a:lnTo>
                  <a:pt x="10407148" y="4253722"/>
                </a:lnTo>
                <a:lnTo>
                  <a:pt x="10407148" y="4242974"/>
                </a:lnTo>
                <a:lnTo>
                  <a:pt x="10361467" y="4242974"/>
                </a:lnTo>
                <a:lnTo>
                  <a:pt x="10361467" y="4193262"/>
                </a:lnTo>
                <a:lnTo>
                  <a:pt x="10409835" y="4193262"/>
                </a:lnTo>
                <a:lnTo>
                  <a:pt x="10409835" y="4182514"/>
                </a:lnTo>
                <a:close/>
                <a:moveTo>
                  <a:pt x="11561143" y="4175797"/>
                </a:moveTo>
                <a:cubicBezTo>
                  <a:pt x="11561143" y="4175797"/>
                  <a:pt x="11561143" y="4175797"/>
                  <a:pt x="11554200" y="4193264"/>
                </a:cubicBezTo>
                <a:cubicBezTo>
                  <a:pt x="11554200" y="4193264"/>
                  <a:pt x="11554200" y="4193264"/>
                  <a:pt x="11554200" y="4196756"/>
                </a:cubicBezTo>
                <a:cubicBezTo>
                  <a:pt x="11554200" y="4196756"/>
                  <a:pt x="11554200" y="4196756"/>
                  <a:pt x="11543788" y="4214223"/>
                </a:cubicBezTo>
                <a:cubicBezTo>
                  <a:pt x="11547259" y="4217716"/>
                  <a:pt x="11550730" y="4217716"/>
                  <a:pt x="11554200" y="4217716"/>
                </a:cubicBezTo>
                <a:cubicBezTo>
                  <a:pt x="11554200" y="4217716"/>
                  <a:pt x="11554200" y="4217716"/>
                  <a:pt x="11557671" y="4203743"/>
                </a:cubicBezTo>
                <a:cubicBezTo>
                  <a:pt x="11557671" y="4203743"/>
                  <a:pt x="11557671" y="4203743"/>
                  <a:pt x="11568084" y="4207237"/>
                </a:cubicBezTo>
                <a:cubicBezTo>
                  <a:pt x="11568084" y="4207237"/>
                  <a:pt x="11568084" y="4207237"/>
                  <a:pt x="11568084" y="4224702"/>
                </a:cubicBezTo>
                <a:cubicBezTo>
                  <a:pt x="11571555" y="4224702"/>
                  <a:pt x="11575026" y="4228196"/>
                  <a:pt x="11578497" y="4228196"/>
                </a:cubicBezTo>
                <a:cubicBezTo>
                  <a:pt x="11578497" y="4228196"/>
                  <a:pt x="11578497" y="4228196"/>
                  <a:pt x="11575026" y="4207237"/>
                </a:cubicBezTo>
                <a:cubicBezTo>
                  <a:pt x="11581968" y="4207237"/>
                  <a:pt x="11585438" y="4200250"/>
                  <a:pt x="11585438" y="4196756"/>
                </a:cubicBezTo>
                <a:cubicBezTo>
                  <a:pt x="11585438" y="4196756"/>
                  <a:pt x="11585438" y="4193264"/>
                  <a:pt x="11585438" y="4193264"/>
                </a:cubicBezTo>
                <a:cubicBezTo>
                  <a:pt x="11585438" y="4189770"/>
                  <a:pt x="11585438" y="4186277"/>
                  <a:pt x="11578497" y="4182784"/>
                </a:cubicBezTo>
                <a:cubicBezTo>
                  <a:pt x="11578497" y="4182784"/>
                  <a:pt x="11578497" y="4182784"/>
                  <a:pt x="11561143" y="4175797"/>
                </a:cubicBezTo>
                <a:close/>
                <a:moveTo>
                  <a:pt x="11766241" y="4173090"/>
                </a:moveTo>
                <a:cubicBezTo>
                  <a:pt x="11769696" y="4173531"/>
                  <a:pt x="11773151" y="4175294"/>
                  <a:pt x="11774878" y="4178821"/>
                </a:cubicBezTo>
                <a:cubicBezTo>
                  <a:pt x="11774878" y="4182348"/>
                  <a:pt x="11774878" y="4185874"/>
                  <a:pt x="11774878" y="4185874"/>
                </a:cubicBezTo>
                <a:cubicBezTo>
                  <a:pt x="11774878" y="4189401"/>
                  <a:pt x="11774878" y="4192929"/>
                  <a:pt x="11771423" y="4196455"/>
                </a:cubicBezTo>
                <a:cubicBezTo>
                  <a:pt x="11771423" y="4196455"/>
                  <a:pt x="11771423" y="4196455"/>
                  <a:pt x="11767968" y="4199982"/>
                </a:cubicBezTo>
                <a:cubicBezTo>
                  <a:pt x="11764514" y="4199982"/>
                  <a:pt x="11757604" y="4199982"/>
                  <a:pt x="11754149" y="4196455"/>
                </a:cubicBezTo>
                <a:cubicBezTo>
                  <a:pt x="11750694" y="4196455"/>
                  <a:pt x="11750694" y="4192929"/>
                  <a:pt x="11750694" y="4192929"/>
                </a:cubicBezTo>
                <a:cubicBezTo>
                  <a:pt x="11750694" y="4192929"/>
                  <a:pt x="11750694" y="4189401"/>
                  <a:pt x="11750694" y="4185874"/>
                </a:cubicBezTo>
                <a:cubicBezTo>
                  <a:pt x="11750694" y="4182348"/>
                  <a:pt x="11750694" y="4178821"/>
                  <a:pt x="11757604" y="4175294"/>
                </a:cubicBezTo>
                <a:cubicBezTo>
                  <a:pt x="11759332" y="4173531"/>
                  <a:pt x="11762786" y="4172649"/>
                  <a:pt x="11766241" y="4173090"/>
                </a:cubicBezTo>
                <a:close/>
                <a:moveTo>
                  <a:pt x="10810738" y="4171765"/>
                </a:moveTo>
                <a:cubicBezTo>
                  <a:pt x="10810738" y="4171765"/>
                  <a:pt x="10810738" y="4171765"/>
                  <a:pt x="10810738" y="4235469"/>
                </a:cubicBezTo>
                <a:cubicBezTo>
                  <a:pt x="10810738" y="4228391"/>
                  <a:pt x="10800048" y="4217773"/>
                  <a:pt x="10782231" y="4217773"/>
                </a:cubicBezTo>
                <a:cubicBezTo>
                  <a:pt x="10753724" y="4217773"/>
                  <a:pt x="10743034" y="4239008"/>
                  <a:pt x="10743034" y="4267321"/>
                </a:cubicBezTo>
                <a:cubicBezTo>
                  <a:pt x="10743034" y="4295634"/>
                  <a:pt x="10753724" y="4316868"/>
                  <a:pt x="10782231" y="4316868"/>
                </a:cubicBezTo>
                <a:cubicBezTo>
                  <a:pt x="10796484" y="4316868"/>
                  <a:pt x="10803611" y="4313329"/>
                  <a:pt x="10810738" y="4299172"/>
                </a:cubicBezTo>
                <a:cubicBezTo>
                  <a:pt x="10810738" y="4299172"/>
                  <a:pt x="10810738" y="4299172"/>
                  <a:pt x="10810738" y="4313329"/>
                </a:cubicBezTo>
                <a:cubicBezTo>
                  <a:pt x="10810738" y="4313329"/>
                  <a:pt x="10810738" y="4313329"/>
                  <a:pt x="10824991" y="4313329"/>
                </a:cubicBezTo>
                <a:lnTo>
                  <a:pt x="10824991" y="4171765"/>
                </a:lnTo>
                <a:cubicBezTo>
                  <a:pt x="10824991" y="4171765"/>
                  <a:pt x="10824991" y="4171765"/>
                  <a:pt x="10810738" y="4171765"/>
                </a:cubicBezTo>
                <a:close/>
                <a:moveTo>
                  <a:pt x="11768161" y="4166249"/>
                </a:moveTo>
                <a:cubicBezTo>
                  <a:pt x="11762338" y="4164954"/>
                  <a:pt x="11756068" y="4165817"/>
                  <a:pt x="11750694" y="4169272"/>
                </a:cubicBezTo>
                <a:cubicBezTo>
                  <a:pt x="11743528" y="4172727"/>
                  <a:pt x="11739946" y="4179637"/>
                  <a:pt x="11739946" y="4186546"/>
                </a:cubicBezTo>
                <a:cubicBezTo>
                  <a:pt x="11739946" y="4190001"/>
                  <a:pt x="11743528" y="4193456"/>
                  <a:pt x="11743528" y="4196911"/>
                </a:cubicBezTo>
                <a:cubicBezTo>
                  <a:pt x="11750694" y="4207276"/>
                  <a:pt x="11765025" y="4210730"/>
                  <a:pt x="11772191" y="4203821"/>
                </a:cubicBezTo>
                <a:cubicBezTo>
                  <a:pt x="11779357" y="4203821"/>
                  <a:pt x="11779357" y="4200366"/>
                  <a:pt x="11782939" y="4196911"/>
                </a:cubicBezTo>
                <a:cubicBezTo>
                  <a:pt x="11782939" y="4193456"/>
                  <a:pt x="11782939" y="4190001"/>
                  <a:pt x="11782939" y="4186546"/>
                </a:cubicBezTo>
                <a:cubicBezTo>
                  <a:pt x="11782939" y="4183092"/>
                  <a:pt x="11782939" y="4179637"/>
                  <a:pt x="11782939" y="4176182"/>
                </a:cubicBezTo>
                <a:cubicBezTo>
                  <a:pt x="11779357" y="4170999"/>
                  <a:pt x="11773982" y="4167545"/>
                  <a:pt x="11768161" y="4166249"/>
                </a:cubicBezTo>
                <a:close/>
                <a:moveTo>
                  <a:pt x="11525909" y="4158331"/>
                </a:moveTo>
                <a:cubicBezTo>
                  <a:pt x="11504825" y="4193263"/>
                  <a:pt x="11504825" y="4193263"/>
                  <a:pt x="11504825" y="4193263"/>
                </a:cubicBezTo>
                <a:cubicBezTo>
                  <a:pt x="11511853" y="4200249"/>
                  <a:pt x="11518881" y="4203743"/>
                  <a:pt x="11529423" y="4210729"/>
                </a:cubicBezTo>
                <a:cubicBezTo>
                  <a:pt x="11532937" y="4203743"/>
                  <a:pt x="11532937" y="4203743"/>
                  <a:pt x="11532937" y="4203743"/>
                </a:cubicBezTo>
                <a:cubicBezTo>
                  <a:pt x="11515367" y="4193263"/>
                  <a:pt x="11515367" y="4193263"/>
                  <a:pt x="11515367" y="4193263"/>
                </a:cubicBezTo>
                <a:cubicBezTo>
                  <a:pt x="11522395" y="4182784"/>
                  <a:pt x="11522395" y="4182784"/>
                  <a:pt x="11522395" y="4182784"/>
                </a:cubicBezTo>
                <a:cubicBezTo>
                  <a:pt x="11532937" y="4189770"/>
                  <a:pt x="11532937" y="4189770"/>
                  <a:pt x="11532937" y="4189770"/>
                </a:cubicBezTo>
                <a:cubicBezTo>
                  <a:pt x="11536450" y="4182784"/>
                  <a:pt x="11536450" y="4182784"/>
                  <a:pt x="11536450" y="4182784"/>
                </a:cubicBezTo>
                <a:cubicBezTo>
                  <a:pt x="11532937" y="4182784"/>
                  <a:pt x="11529423" y="4179290"/>
                  <a:pt x="11525909" y="4175797"/>
                </a:cubicBezTo>
                <a:lnTo>
                  <a:pt x="11529423" y="4168811"/>
                </a:lnTo>
                <a:cubicBezTo>
                  <a:pt x="11536450" y="4172303"/>
                  <a:pt x="11539964" y="4175797"/>
                  <a:pt x="11546992" y="4179290"/>
                </a:cubicBezTo>
                <a:cubicBezTo>
                  <a:pt x="11550506" y="4172303"/>
                  <a:pt x="11550506" y="4172303"/>
                  <a:pt x="11550506" y="4172303"/>
                </a:cubicBezTo>
                <a:cubicBezTo>
                  <a:pt x="11543478" y="4168811"/>
                  <a:pt x="11532937" y="4161824"/>
                  <a:pt x="11525909" y="4158331"/>
                </a:cubicBezTo>
                <a:close/>
                <a:moveTo>
                  <a:pt x="11803361" y="4130117"/>
                </a:moveTo>
                <a:cubicBezTo>
                  <a:pt x="11799868" y="4133643"/>
                  <a:pt x="11799868" y="4133643"/>
                  <a:pt x="11796375" y="4137170"/>
                </a:cubicBezTo>
                <a:cubicBezTo>
                  <a:pt x="11813840" y="4154804"/>
                  <a:pt x="11813840" y="4154804"/>
                  <a:pt x="11813840" y="4154804"/>
                </a:cubicBezTo>
                <a:cubicBezTo>
                  <a:pt x="11785895" y="4147751"/>
                  <a:pt x="11785895" y="4147751"/>
                  <a:pt x="11785895" y="4147751"/>
                </a:cubicBezTo>
                <a:cubicBezTo>
                  <a:pt x="11782402" y="4147751"/>
                  <a:pt x="11782402" y="4151277"/>
                  <a:pt x="11778908" y="4151277"/>
                </a:cubicBezTo>
                <a:cubicBezTo>
                  <a:pt x="11803361" y="4186546"/>
                  <a:pt x="11803361" y="4186546"/>
                  <a:pt x="11803361" y="4186546"/>
                </a:cubicBezTo>
                <a:cubicBezTo>
                  <a:pt x="11806854" y="4183019"/>
                  <a:pt x="11806854" y="4183019"/>
                  <a:pt x="11810348" y="4179492"/>
                </a:cubicBezTo>
                <a:cubicBezTo>
                  <a:pt x="11796375" y="4158331"/>
                  <a:pt x="11796375" y="4158331"/>
                  <a:pt x="11796375" y="4158331"/>
                </a:cubicBezTo>
                <a:cubicBezTo>
                  <a:pt x="11824320" y="4168911"/>
                  <a:pt x="11824320" y="4168911"/>
                  <a:pt x="11824320" y="4168911"/>
                </a:cubicBezTo>
                <a:cubicBezTo>
                  <a:pt x="11827814" y="4165385"/>
                  <a:pt x="11827814" y="4165385"/>
                  <a:pt x="11831307" y="4161858"/>
                </a:cubicBezTo>
                <a:cubicBezTo>
                  <a:pt x="11803361" y="4130117"/>
                  <a:pt x="11803361" y="4130117"/>
                  <a:pt x="11803361" y="4130117"/>
                </a:cubicBezTo>
                <a:close/>
                <a:moveTo>
                  <a:pt x="11495008" y="4130117"/>
                </a:moveTo>
                <a:cubicBezTo>
                  <a:pt x="11495008" y="4130117"/>
                  <a:pt x="11495008" y="4130117"/>
                  <a:pt x="11487980" y="4133630"/>
                </a:cubicBezTo>
                <a:cubicBezTo>
                  <a:pt x="11491494" y="4137144"/>
                  <a:pt x="11495008" y="4140658"/>
                  <a:pt x="11498522" y="4144172"/>
                </a:cubicBezTo>
                <a:cubicBezTo>
                  <a:pt x="11498522" y="4144172"/>
                  <a:pt x="11498522" y="4144172"/>
                  <a:pt x="11473924" y="4168769"/>
                </a:cubicBezTo>
                <a:cubicBezTo>
                  <a:pt x="11473924" y="4168769"/>
                  <a:pt x="11473924" y="4168769"/>
                  <a:pt x="11480952" y="4175797"/>
                </a:cubicBezTo>
                <a:cubicBezTo>
                  <a:pt x="11480952" y="4175797"/>
                  <a:pt x="11480952" y="4175797"/>
                  <a:pt x="11505548" y="4151200"/>
                </a:cubicBezTo>
                <a:cubicBezTo>
                  <a:pt x="11509062" y="4151200"/>
                  <a:pt x="11512576" y="4154713"/>
                  <a:pt x="11516090" y="4158227"/>
                </a:cubicBezTo>
                <a:cubicBezTo>
                  <a:pt x="11516090" y="4158227"/>
                  <a:pt x="11516090" y="4158227"/>
                  <a:pt x="11519604" y="4151200"/>
                </a:cubicBezTo>
                <a:cubicBezTo>
                  <a:pt x="11509062" y="4144172"/>
                  <a:pt x="11502036" y="4137144"/>
                  <a:pt x="11495008" y="4130117"/>
                </a:cubicBezTo>
                <a:close/>
                <a:moveTo>
                  <a:pt x="11824589" y="4119368"/>
                </a:moveTo>
                <a:lnTo>
                  <a:pt x="11842055" y="4126086"/>
                </a:lnTo>
                <a:lnTo>
                  <a:pt x="11842055" y="4130117"/>
                </a:lnTo>
                <a:lnTo>
                  <a:pt x="11835337" y="4136835"/>
                </a:lnTo>
                <a:lnTo>
                  <a:pt x="11831307" y="4130117"/>
                </a:lnTo>
                <a:close/>
                <a:moveTo>
                  <a:pt x="11820942" y="4112650"/>
                </a:moveTo>
                <a:lnTo>
                  <a:pt x="11813840" y="4119592"/>
                </a:lnTo>
                <a:cubicBezTo>
                  <a:pt x="11813840" y="4119592"/>
                  <a:pt x="11813840" y="4119592"/>
                  <a:pt x="11820942" y="4130004"/>
                </a:cubicBezTo>
                <a:cubicBezTo>
                  <a:pt x="11820942" y="4130004"/>
                  <a:pt x="11820942" y="4130004"/>
                  <a:pt x="11838696" y="4154300"/>
                </a:cubicBezTo>
                <a:cubicBezTo>
                  <a:pt x="11838696" y="4154300"/>
                  <a:pt x="11842247" y="4150830"/>
                  <a:pt x="11842247" y="4150830"/>
                </a:cubicBezTo>
                <a:cubicBezTo>
                  <a:pt x="11842247" y="4150830"/>
                  <a:pt x="11842247" y="4150830"/>
                  <a:pt x="11838696" y="4143888"/>
                </a:cubicBezTo>
                <a:cubicBezTo>
                  <a:pt x="11838696" y="4143888"/>
                  <a:pt x="11838696" y="4143888"/>
                  <a:pt x="11849349" y="4130004"/>
                </a:cubicBezTo>
                <a:cubicBezTo>
                  <a:pt x="11849349" y="4130004"/>
                  <a:pt x="11849349" y="4130004"/>
                  <a:pt x="11856450" y="4130004"/>
                </a:cubicBezTo>
                <a:cubicBezTo>
                  <a:pt x="11860002" y="4130004"/>
                  <a:pt x="11860002" y="4130004"/>
                  <a:pt x="11860002" y="4130004"/>
                </a:cubicBezTo>
                <a:cubicBezTo>
                  <a:pt x="11860002" y="4126533"/>
                  <a:pt x="11863552" y="4126533"/>
                  <a:pt x="11863552" y="4123062"/>
                </a:cubicBezTo>
                <a:cubicBezTo>
                  <a:pt x="11863552" y="4123062"/>
                  <a:pt x="11863552" y="4123062"/>
                  <a:pt x="11820942" y="4112650"/>
                </a:cubicBezTo>
                <a:close/>
                <a:moveTo>
                  <a:pt x="11466198" y="4097871"/>
                </a:moveTo>
                <a:cubicBezTo>
                  <a:pt x="11430930" y="4122951"/>
                  <a:pt x="11430930" y="4122951"/>
                  <a:pt x="11430930" y="4122951"/>
                </a:cubicBezTo>
                <a:cubicBezTo>
                  <a:pt x="11434457" y="4126534"/>
                  <a:pt x="11434457" y="4126534"/>
                  <a:pt x="11437984" y="4130117"/>
                </a:cubicBezTo>
                <a:cubicBezTo>
                  <a:pt x="11459145" y="4115786"/>
                  <a:pt x="11459145" y="4115786"/>
                  <a:pt x="11459145" y="4115786"/>
                </a:cubicBezTo>
                <a:cubicBezTo>
                  <a:pt x="11448564" y="4144447"/>
                  <a:pt x="11448564" y="4144447"/>
                  <a:pt x="11448564" y="4144447"/>
                </a:cubicBezTo>
                <a:cubicBezTo>
                  <a:pt x="11452091" y="4148031"/>
                  <a:pt x="11452091" y="4148031"/>
                  <a:pt x="11455618" y="4151613"/>
                </a:cubicBezTo>
                <a:cubicBezTo>
                  <a:pt x="11487359" y="4122951"/>
                  <a:pt x="11487359" y="4122951"/>
                  <a:pt x="11487359" y="4122951"/>
                </a:cubicBezTo>
                <a:cubicBezTo>
                  <a:pt x="11487359" y="4119368"/>
                  <a:pt x="11483833" y="4119368"/>
                  <a:pt x="11483833" y="4115786"/>
                </a:cubicBezTo>
                <a:cubicBezTo>
                  <a:pt x="11462672" y="4133699"/>
                  <a:pt x="11462672" y="4133699"/>
                  <a:pt x="11462672" y="4133699"/>
                </a:cubicBezTo>
                <a:cubicBezTo>
                  <a:pt x="11473252" y="4105037"/>
                  <a:pt x="11473252" y="4105037"/>
                  <a:pt x="11473252" y="4105037"/>
                </a:cubicBezTo>
                <a:cubicBezTo>
                  <a:pt x="11469725" y="4101454"/>
                  <a:pt x="11469725" y="4101454"/>
                  <a:pt x="11466198" y="4097871"/>
                </a:cubicBezTo>
                <a:close/>
                <a:moveTo>
                  <a:pt x="11835338" y="4087123"/>
                </a:moveTo>
                <a:lnTo>
                  <a:pt x="11831307" y="4095184"/>
                </a:lnTo>
                <a:lnTo>
                  <a:pt x="11870270" y="4115338"/>
                </a:lnTo>
                <a:lnTo>
                  <a:pt x="11883706" y="4091154"/>
                </a:lnTo>
                <a:lnTo>
                  <a:pt x="11876988" y="4087123"/>
                </a:lnTo>
                <a:lnTo>
                  <a:pt x="11866239" y="4105933"/>
                </a:lnTo>
                <a:close/>
                <a:moveTo>
                  <a:pt x="11459634" y="4084436"/>
                </a:moveTo>
                <a:cubicBezTo>
                  <a:pt x="11424212" y="4105598"/>
                  <a:pt x="11424212" y="4105598"/>
                  <a:pt x="11424212" y="4105598"/>
                </a:cubicBezTo>
                <a:cubicBezTo>
                  <a:pt x="11424212" y="4105598"/>
                  <a:pt x="11424212" y="4109124"/>
                  <a:pt x="11427754" y="4112651"/>
                </a:cubicBezTo>
                <a:cubicBezTo>
                  <a:pt x="11463176" y="4091490"/>
                  <a:pt x="11463176" y="4091490"/>
                  <a:pt x="11463176" y="4091490"/>
                </a:cubicBezTo>
                <a:cubicBezTo>
                  <a:pt x="11463176" y="4087963"/>
                  <a:pt x="11459634" y="4087963"/>
                  <a:pt x="11459634" y="4084436"/>
                </a:cubicBezTo>
                <a:close/>
                <a:moveTo>
                  <a:pt x="11450927" y="4050826"/>
                </a:moveTo>
                <a:cubicBezTo>
                  <a:pt x="11452683" y="4051267"/>
                  <a:pt x="11454437" y="4053030"/>
                  <a:pt x="11456192" y="4056557"/>
                </a:cubicBezTo>
                <a:cubicBezTo>
                  <a:pt x="11487785" y="4134148"/>
                  <a:pt x="11561500" y="4187050"/>
                  <a:pt x="11649257" y="4187050"/>
                </a:cubicBezTo>
                <a:cubicBezTo>
                  <a:pt x="11737012" y="4187050"/>
                  <a:pt x="11810728" y="4134148"/>
                  <a:pt x="11842320" y="4056557"/>
                </a:cubicBezTo>
                <a:cubicBezTo>
                  <a:pt x="11844075" y="4053030"/>
                  <a:pt x="11845831" y="4051267"/>
                  <a:pt x="11847586" y="4050826"/>
                </a:cubicBezTo>
                <a:cubicBezTo>
                  <a:pt x="11849340" y="4050386"/>
                  <a:pt x="11851096" y="4051267"/>
                  <a:pt x="11852851" y="4053030"/>
                </a:cubicBezTo>
                <a:cubicBezTo>
                  <a:pt x="11852851" y="4053030"/>
                  <a:pt x="11852851" y="4053030"/>
                  <a:pt x="11891464" y="4063611"/>
                </a:cubicBezTo>
                <a:cubicBezTo>
                  <a:pt x="11894974" y="4067138"/>
                  <a:pt x="11898484" y="4070664"/>
                  <a:pt x="11898484" y="4074191"/>
                </a:cubicBezTo>
                <a:cubicBezTo>
                  <a:pt x="11859871" y="4176469"/>
                  <a:pt x="11761585" y="4247006"/>
                  <a:pt x="11649257" y="4247006"/>
                </a:cubicBezTo>
                <a:cubicBezTo>
                  <a:pt x="11536929" y="4247006"/>
                  <a:pt x="11438641" y="4176469"/>
                  <a:pt x="11400028" y="4077719"/>
                </a:cubicBezTo>
                <a:cubicBezTo>
                  <a:pt x="11400028" y="4070664"/>
                  <a:pt x="11400028" y="4067138"/>
                  <a:pt x="11407049" y="4063611"/>
                </a:cubicBezTo>
                <a:cubicBezTo>
                  <a:pt x="11407049" y="4063611"/>
                  <a:pt x="11407049" y="4063611"/>
                  <a:pt x="11445662" y="4053030"/>
                </a:cubicBezTo>
                <a:cubicBezTo>
                  <a:pt x="11447417" y="4051267"/>
                  <a:pt x="11449172" y="4050386"/>
                  <a:pt x="11450927" y="4050826"/>
                </a:cubicBezTo>
                <a:close/>
                <a:moveTo>
                  <a:pt x="11603442" y="4044988"/>
                </a:moveTo>
                <a:cubicBezTo>
                  <a:pt x="11606935" y="4041442"/>
                  <a:pt x="11610428" y="4041442"/>
                  <a:pt x="11613922" y="4044988"/>
                </a:cubicBezTo>
                <a:cubicBezTo>
                  <a:pt x="11613922" y="4044988"/>
                  <a:pt x="11617414" y="4048534"/>
                  <a:pt x="11617414" y="4052079"/>
                </a:cubicBezTo>
                <a:cubicBezTo>
                  <a:pt x="11617414" y="4052079"/>
                  <a:pt x="11624401" y="4154898"/>
                  <a:pt x="11624401" y="4154898"/>
                </a:cubicBezTo>
                <a:cubicBezTo>
                  <a:pt x="11624401" y="4161989"/>
                  <a:pt x="11624401" y="4165535"/>
                  <a:pt x="11620908" y="4165535"/>
                </a:cubicBezTo>
                <a:cubicBezTo>
                  <a:pt x="11620908" y="4169080"/>
                  <a:pt x="11617414" y="4169080"/>
                  <a:pt x="11613922" y="4165535"/>
                </a:cubicBezTo>
                <a:cubicBezTo>
                  <a:pt x="11568509" y="4154898"/>
                  <a:pt x="11537070" y="4137171"/>
                  <a:pt x="11505632" y="4101715"/>
                </a:cubicBezTo>
                <a:cubicBezTo>
                  <a:pt x="11502138" y="4101715"/>
                  <a:pt x="11502138" y="4098170"/>
                  <a:pt x="11502138" y="4098170"/>
                </a:cubicBezTo>
                <a:cubicBezTo>
                  <a:pt x="11502138" y="4094625"/>
                  <a:pt x="11502138" y="4094625"/>
                  <a:pt x="11502138" y="4094625"/>
                </a:cubicBezTo>
                <a:cubicBezTo>
                  <a:pt x="11502138" y="4091080"/>
                  <a:pt x="11505632" y="4091080"/>
                  <a:pt x="11509124" y="4091080"/>
                </a:cubicBezTo>
                <a:cubicBezTo>
                  <a:pt x="11509124" y="4091080"/>
                  <a:pt x="11509124" y="4091080"/>
                  <a:pt x="11603442" y="4044988"/>
                </a:cubicBezTo>
                <a:close/>
                <a:moveTo>
                  <a:pt x="11688084" y="4041442"/>
                </a:moveTo>
                <a:cubicBezTo>
                  <a:pt x="11691578" y="4041442"/>
                  <a:pt x="11695071" y="4041442"/>
                  <a:pt x="11698565" y="4041442"/>
                </a:cubicBezTo>
                <a:cubicBezTo>
                  <a:pt x="11698565" y="4041442"/>
                  <a:pt x="11698565" y="4041442"/>
                  <a:pt x="11789388" y="4087353"/>
                </a:cubicBezTo>
                <a:cubicBezTo>
                  <a:pt x="11792882" y="4090885"/>
                  <a:pt x="11796375" y="4090885"/>
                  <a:pt x="11796375" y="4094417"/>
                </a:cubicBezTo>
                <a:cubicBezTo>
                  <a:pt x="11796375" y="4097948"/>
                  <a:pt x="11796375" y="4097948"/>
                  <a:pt x="11792882" y="4101480"/>
                </a:cubicBezTo>
                <a:cubicBezTo>
                  <a:pt x="11761442" y="4136796"/>
                  <a:pt x="11730003" y="4154454"/>
                  <a:pt x="11684592" y="4165049"/>
                </a:cubicBezTo>
                <a:cubicBezTo>
                  <a:pt x="11681098" y="4165049"/>
                  <a:pt x="11677605" y="4165049"/>
                  <a:pt x="11677605" y="4165049"/>
                </a:cubicBezTo>
                <a:cubicBezTo>
                  <a:pt x="11674112" y="4161517"/>
                  <a:pt x="11674112" y="4157985"/>
                  <a:pt x="11674112" y="4154454"/>
                </a:cubicBezTo>
                <a:cubicBezTo>
                  <a:pt x="11674112" y="4154454"/>
                  <a:pt x="11674112" y="4154454"/>
                  <a:pt x="11684592" y="4052038"/>
                </a:cubicBezTo>
                <a:cubicBezTo>
                  <a:pt x="11684592" y="4048506"/>
                  <a:pt x="11684592" y="4044974"/>
                  <a:pt x="11688084" y="4041442"/>
                </a:cubicBezTo>
                <a:close/>
                <a:moveTo>
                  <a:pt x="10810283" y="4002478"/>
                </a:moveTo>
                <a:lnTo>
                  <a:pt x="10851862" y="4002478"/>
                </a:lnTo>
                <a:cubicBezTo>
                  <a:pt x="10851862" y="4002478"/>
                  <a:pt x="10851862" y="4002478"/>
                  <a:pt x="10851862" y="4045088"/>
                </a:cubicBezTo>
                <a:cubicBezTo>
                  <a:pt x="10851862" y="4045088"/>
                  <a:pt x="10824142" y="4052190"/>
                  <a:pt x="10803353" y="4052190"/>
                </a:cubicBezTo>
                <a:cubicBezTo>
                  <a:pt x="10786028" y="4052190"/>
                  <a:pt x="10786028" y="4037987"/>
                  <a:pt x="10786028" y="4027334"/>
                </a:cubicBezTo>
                <a:cubicBezTo>
                  <a:pt x="10786028" y="4013131"/>
                  <a:pt x="10792958" y="4006029"/>
                  <a:pt x="10810283" y="4002478"/>
                </a:cubicBezTo>
                <a:close/>
                <a:moveTo>
                  <a:pt x="10494479" y="3932613"/>
                </a:moveTo>
                <a:cubicBezTo>
                  <a:pt x="10525716" y="3932613"/>
                  <a:pt x="10536128" y="3946681"/>
                  <a:pt x="10536128" y="3988885"/>
                </a:cubicBezTo>
                <a:cubicBezTo>
                  <a:pt x="10536128" y="4027570"/>
                  <a:pt x="10529187" y="4052189"/>
                  <a:pt x="10494479" y="4052189"/>
                </a:cubicBezTo>
                <a:cubicBezTo>
                  <a:pt x="10459770" y="4052189"/>
                  <a:pt x="10452829" y="4031088"/>
                  <a:pt x="10452829" y="3988885"/>
                </a:cubicBezTo>
                <a:cubicBezTo>
                  <a:pt x="10452829" y="3946681"/>
                  <a:pt x="10463241" y="3932613"/>
                  <a:pt x="10494479" y="3932613"/>
                </a:cubicBezTo>
                <a:close/>
                <a:moveTo>
                  <a:pt x="11639005" y="3928584"/>
                </a:moveTo>
                <a:cubicBezTo>
                  <a:pt x="11639005" y="3928584"/>
                  <a:pt x="11639005" y="3928584"/>
                  <a:pt x="11660034" y="3928584"/>
                </a:cubicBezTo>
                <a:cubicBezTo>
                  <a:pt x="11660034" y="3928584"/>
                  <a:pt x="11660034" y="3935677"/>
                  <a:pt x="11660034" y="3939224"/>
                </a:cubicBezTo>
                <a:cubicBezTo>
                  <a:pt x="11677559" y="3942771"/>
                  <a:pt x="11691578" y="3960506"/>
                  <a:pt x="11691578" y="3978241"/>
                </a:cubicBezTo>
                <a:cubicBezTo>
                  <a:pt x="11691578" y="3999523"/>
                  <a:pt x="11670549" y="4017258"/>
                  <a:pt x="11649519" y="4017258"/>
                </a:cubicBezTo>
                <a:cubicBezTo>
                  <a:pt x="11628490" y="4017258"/>
                  <a:pt x="11610966" y="3999523"/>
                  <a:pt x="11610966" y="3978241"/>
                </a:cubicBezTo>
                <a:cubicBezTo>
                  <a:pt x="11610966" y="3960506"/>
                  <a:pt x="11621480" y="3942771"/>
                  <a:pt x="11639005" y="3939224"/>
                </a:cubicBezTo>
                <a:cubicBezTo>
                  <a:pt x="11639005" y="3939224"/>
                  <a:pt x="11639005" y="3928584"/>
                  <a:pt x="11639005" y="3928584"/>
                </a:cubicBezTo>
                <a:close/>
                <a:moveTo>
                  <a:pt x="11649257" y="3917835"/>
                </a:moveTo>
                <a:cubicBezTo>
                  <a:pt x="11616236" y="3917835"/>
                  <a:pt x="11589469" y="3944904"/>
                  <a:pt x="11589469" y="3978295"/>
                </a:cubicBezTo>
                <a:cubicBezTo>
                  <a:pt x="11589469" y="4011686"/>
                  <a:pt x="11616236" y="4038755"/>
                  <a:pt x="11649257" y="4038755"/>
                </a:cubicBezTo>
                <a:cubicBezTo>
                  <a:pt x="11682277" y="4038755"/>
                  <a:pt x="11709045" y="4011686"/>
                  <a:pt x="11709045" y="3978295"/>
                </a:cubicBezTo>
                <a:cubicBezTo>
                  <a:pt x="11709045" y="3944904"/>
                  <a:pt x="11682277" y="3917835"/>
                  <a:pt x="11649257" y="3917835"/>
                </a:cubicBezTo>
                <a:close/>
                <a:moveTo>
                  <a:pt x="11649257" y="3911118"/>
                </a:moveTo>
                <a:cubicBezTo>
                  <a:pt x="11685987" y="3911118"/>
                  <a:pt x="11715763" y="3941194"/>
                  <a:pt x="11715763" y="3978295"/>
                </a:cubicBezTo>
                <a:cubicBezTo>
                  <a:pt x="11715763" y="4015397"/>
                  <a:pt x="11685987" y="4045473"/>
                  <a:pt x="11649257" y="4045473"/>
                </a:cubicBezTo>
                <a:cubicBezTo>
                  <a:pt x="11612526" y="4045473"/>
                  <a:pt x="11582751" y="4015397"/>
                  <a:pt x="11582751" y="3978295"/>
                </a:cubicBezTo>
                <a:cubicBezTo>
                  <a:pt x="11582751" y="3941194"/>
                  <a:pt x="11612526" y="3911118"/>
                  <a:pt x="11649257" y="3911118"/>
                </a:cubicBezTo>
                <a:close/>
                <a:moveTo>
                  <a:pt x="11824549" y="3908431"/>
                </a:moveTo>
                <a:cubicBezTo>
                  <a:pt x="11828050" y="3908431"/>
                  <a:pt x="11828050" y="3911957"/>
                  <a:pt x="11828050" y="3915484"/>
                </a:cubicBezTo>
                <a:cubicBezTo>
                  <a:pt x="11842055" y="3957806"/>
                  <a:pt x="11842055" y="3996601"/>
                  <a:pt x="11828050" y="4038923"/>
                </a:cubicBezTo>
                <a:cubicBezTo>
                  <a:pt x="11828050" y="4045977"/>
                  <a:pt x="11828050" y="4045977"/>
                  <a:pt x="11824549" y="4045977"/>
                </a:cubicBezTo>
                <a:cubicBezTo>
                  <a:pt x="11821047" y="4049504"/>
                  <a:pt x="11817546" y="4045977"/>
                  <a:pt x="11817546" y="4045977"/>
                </a:cubicBezTo>
                <a:lnTo>
                  <a:pt x="11730012" y="3986021"/>
                </a:lnTo>
                <a:cubicBezTo>
                  <a:pt x="11726510" y="3982494"/>
                  <a:pt x="11726510" y="3978967"/>
                  <a:pt x="11726510" y="3978967"/>
                </a:cubicBezTo>
                <a:cubicBezTo>
                  <a:pt x="11726510" y="3975441"/>
                  <a:pt x="11726510" y="3971914"/>
                  <a:pt x="11730012" y="3968386"/>
                </a:cubicBezTo>
                <a:cubicBezTo>
                  <a:pt x="11730012" y="3968386"/>
                  <a:pt x="11730012" y="3968386"/>
                  <a:pt x="11814044" y="3911957"/>
                </a:cubicBezTo>
                <a:cubicBezTo>
                  <a:pt x="11821047" y="3908431"/>
                  <a:pt x="11824549" y="3908431"/>
                  <a:pt x="11824549" y="3908431"/>
                </a:cubicBezTo>
                <a:close/>
                <a:moveTo>
                  <a:pt x="11473964" y="3908431"/>
                </a:moveTo>
                <a:cubicBezTo>
                  <a:pt x="11477466" y="3908431"/>
                  <a:pt x="11480967" y="3908431"/>
                  <a:pt x="11480967" y="3911957"/>
                </a:cubicBezTo>
                <a:lnTo>
                  <a:pt x="11568501" y="3968386"/>
                </a:lnTo>
                <a:cubicBezTo>
                  <a:pt x="11572002" y="3971914"/>
                  <a:pt x="11572002" y="3975441"/>
                  <a:pt x="11572002" y="3978967"/>
                </a:cubicBezTo>
                <a:cubicBezTo>
                  <a:pt x="11572002" y="3982494"/>
                  <a:pt x="11572002" y="3986021"/>
                  <a:pt x="11568501" y="3986021"/>
                </a:cubicBezTo>
                <a:cubicBezTo>
                  <a:pt x="11568501" y="3986021"/>
                  <a:pt x="11568501" y="3986021"/>
                  <a:pt x="11480967" y="4045977"/>
                </a:cubicBezTo>
                <a:cubicBezTo>
                  <a:pt x="11477466" y="4045977"/>
                  <a:pt x="11473964" y="4049504"/>
                  <a:pt x="11473964" y="4045977"/>
                </a:cubicBezTo>
                <a:cubicBezTo>
                  <a:pt x="11470463" y="4045977"/>
                  <a:pt x="11470463" y="4042450"/>
                  <a:pt x="11466961" y="4042450"/>
                </a:cubicBezTo>
                <a:cubicBezTo>
                  <a:pt x="11456457" y="3996601"/>
                  <a:pt x="11456457" y="3957806"/>
                  <a:pt x="11466961" y="3915484"/>
                </a:cubicBezTo>
                <a:cubicBezTo>
                  <a:pt x="11470463" y="3911957"/>
                  <a:pt x="11470463" y="3908431"/>
                  <a:pt x="11473964" y="3908431"/>
                </a:cubicBezTo>
                <a:close/>
                <a:moveTo>
                  <a:pt x="11070316" y="3897682"/>
                </a:moveTo>
                <a:cubicBezTo>
                  <a:pt x="11070316" y="3901208"/>
                  <a:pt x="11066828" y="3901208"/>
                  <a:pt x="11070316" y="3904735"/>
                </a:cubicBezTo>
                <a:cubicBezTo>
                  <a:pt x="11112166" y="4066969"/>
                  <a:pt x="11112166" y="4066969"/>
                  <a:pt x="11112166" y="4066969"/>
                </a:cubicBezTo>
                <a:cubicBezTo>
                  <a:pt x="11112166" y="4074023"/>
                  <a:pt x="11119141" y="4088130"/>
                  <a:pt x="11133091" y="4088130"/>
                </a:cubicBezTo>
                <a:cubicBezTo>
                  <a:pt x="11143554" y="4088130"/>
                  <a:pt x="11143554" y="4088130"/>
                  <a:pt x="11143554" y="4088130"/>
                </a:cubicBezTo>
                <a:cubicBezTo>
                  <a:pt x="11140066" y="4091657"/>
                  <a:pt x="11140066" y="4091657"/>
                  <a:pt x="11140066" y="4095183"/>
                </a:cubicBezTo>
                <a:cubicBezTo>
                  <a:pt x="11136578" y="4105763"/>
                  <a:pt x="11133091" y="4116344"/>
                  <a:pt x="11112166" y="4116344"/>
                </a:cubicBezTo>
                <a:cubicBezTo>
                  <a:pt x="11077291" y="4112818"/>
                  <a:pt x="11077291" y="4112818"/>
                  <a:pt x="11077291" y="4112818"/>
                </a:cubicBezTo>
                <a:cubicBezTo>
                  <a:pt x="11077291" y="4112818"/>
                  <a:pt x="11073804" y="4112818"/>
                  <a:pt x="11073804" y="4116344"/>
                </a:cubicBezTo>
                <a:cubicBezTo>
                  <a:pt x="11070316" y="4116344"/>
                  <a:pt x="11070316" y="4119871"/>
                  <a:pt x="11070316" y="4119871"/>
                </a:cubicBezTo>
                <a:cubicBezTo>
                  <a:pt x="11070316" y="4141032"/>
                  <a:pt x="11070316" y="4141032"/>
                  <a:pt x="11070316" y="4141032"/>
                </a:cubicBezTo>
                <a:cubicBezTo>
                  <a:pt x="11070316" y="4144559"/>
                  <a:pt x="11073804" y="4144559"/>
                  <a:pt x="11077291" y="4148086"/>
                </a:cubicBezTo>
                <a:cubicBezTo>
                  <a:pt x="11087754" y="4148086"/>
                  <a:pt x="11108678" y="4151612"/>
                  <a:pt x="11122628" y="4151612"/>
                </a:cubicBezTo>
                <a:cubicBezTo>
                  <a:pt x="11126116" y="4151612"/>
                  <a:pt x="11126116" y="4151612"/>
                  <a:pt x="11126116" y="4151612"/>
                </a:cubicBezTo>
                <a:cubicBezTo>
                  <a:pt x="11154016" y="4151612"/>
                  <a:pt x="11171453" y="4133978"/>
                  <a:pt x="11181916" y="4098710"/>
                </a:cubicBezTo>
                <a:cubicBezTo>
                  <a:pt x="11192378" y="4059915"/>
                  <a:pt x="11206329" y="4007013"/>
                  <a:pt x="11213303" y="3968218"/>
                </a:cubicBezTo>
                <a:cubicBezTo>
                  <a:pt x="11220279" y="3950584"/>
                  <a:pt x="11223766" y="3936476"/>
                  <a:pt x="11227253" y="3925896"/>
                </a:cubicBezTo>
                <a:cubicBezTo>
                  <a:pt x="11230741" y="3904735"/>
                  <a:pt x="11230741" y="3904735"/>
                  <a:pt x="11230741" y="3904735"/>
                </a:cubicBezTo>
                <a:cubicBezTo>
                  <a:pt x="11230741" y="3901208"/>
                  <a:pt x="11230741" y="3901208"/>
                  <a:pt x="11230741" y="3897682"/>
                </a:cubicBezTo>
                <a:cubicBezTo>
                  <a:pt x="11227253" y="3897682"/>
                  <a:pt x="11227253" y="3897682"/>
                  <a:pt x="11223766" y="3897682"/>
                </a:cubicBezTo>
                <a:cubicBezTo>
                  <a:pt x="11195866" y="3897682"/>
                  <a:pt x="11195866" y="3897682"/>
                  <a:pt x="11195866" y="3897682"/>
                </a:cubicBezTo>
                <a:cubicBezTo>
                  <a:pt x="11192378" y="3897682"/>
                  <a:pt x="11188891" y="3897682"/>
                  <a:pt x="11188891" y="3901208"/>
                </a:cubicBezTo>
                <a:cubicBezTo>
                  <a:pt x="11150528" y="4045808"/>
                  <a:pt x="11150528" y="4045808"/>
                  <a:pt x="11150528" y="4045808"/>
                </a:cubicBezTo>
                <a:cubicBezTo>
                  <a:pt x="11147041" y="4045808"/>
                  <a:pt x="11147041" y="4045808"/>
                  <a:pt x="11147041" y="4045808"/>
                </a:cubicBezTo>
                <a:cubicBezTo>
                  <a:pt x="11112166" y="3901208"/>
                  <a:pt x="11112166" y="3901208"/>
                  <a:pt x="11112166" y="3901208"/>
                </a:cubicBezTo>
                <a:cubicBezTo>
                  <a:pt x="11108678" y="3897682"/>
                  <a:pt x="11108678" y="3897682"/>
                  <a:pt x="11105191" y="3897682"/>
                </a:cubicBezTo>
                <a:cubicBezTo>
                  <a:pt x="11077291" y="3897682"/>
                  <a:pt x="11077291" y="3897682"/>
                  <a:pt x="11077291" y="3897682"/>
                </a:cubicBezTo>
                <a:cubicBezTo>
                  <a:pt x="11073804" y="3897682"/>
                  <a:pt x="11070316" y="3897682"/>
                  <a:pt x="11070316" y="3897682"/>
                </a:cubicBezTo>
                <a:close/>
                <a:moveTo>
                  <a:pt x="11038289" y="3893651"/>
                </a:moveTo>
                <a:cubicBezTo>
                  <a:pt x="11017163" y="3893651"/>
                  <a:pt x="10999559" y="3907722"/>
                  <a:pt x="10985474" y="3914757"/>
                </a:cubicBezTo>
                <a:cubicBezTo>
                  <a:pt x="10985474" y="3904204"/>
                  <a:pt x="10985474" y="3904204"/>
                  <a:pt x="10985474" y="3904204"/>
                </a:cubicBezTo>
                <a:cubicBezTo>
                  <a:pt x="10985474" y="3897169"/>
                  <a:pt x="10981954" y="3897169"/>
                  <a:pt x="10978433" y="3897169"/>
                </a:cubicBezTo>
                <a:cubicBezTo>
                  <a:pt x="10950264" y="3897169"/>
                  <a:pt x="10950264" y="3897169"/>
                  <a:pt x="10950264" y="3897169"/>
                </a:cubicBezTo>
                <a:cubicBezTo>
                  <a:pt x="10946743" y="3897169"/>
                  <a:pt x="10943222" y="3897169"/>
                  <a:pt x="10943222" y="3904204"/>
                </a:cubicBezTo>
                <a:cubicBezTo>
                  <a:pt x="10943222" y="4080087"/>
                  <a:pt x="10943222" y="4080087"/>
                  <a:pt x="10943222" y="4080087"/>
                </a:cubicBezTo>
                <a:cubicBezTo>
                  <a:pt x="10943222" y="4083605"/>
                  <a:pt x="10946743" y="4087122"/>
                  <a:pt x="10950264" y="4087122"/>
                </a:cubicBezTo>
                <a:cubicBezTo>
                  <a:pt x="10978433" y="4087122"/>
                  <a:pt x="10978433" y="4087122"/>
                  <a:pt x="10978433" y="4087122"/>
                </a:cubicBezTo>
                <a:cubicBezTo>
                  <a:pt x="10981954" y="4087122"/>
                  <a:pt x="10985474" y="4083605"/>
                  <a:pt x="10985474" y="4080087"/>
                </a:cubicBezTo>
                <a:cubicBezTo>
                  <a:pt x="10985474" y="3956969"/>
                  <a:pt x="10985474" y="3956969"/>
                  <a:pt x="10985474" y="3956969"/>
                </a:cubicBezTo>
                <a:cubicBezTo>
                  <a:pt x="10992517" y="3953451"/>
                  <a:pt x="11013643" y="3935863"/>
                  <a:pt x="11038289" y="3935863"/>
                </a:cubicBezTo>
                <a:cubicBezTo>
                  <a:pt x="11041811" y="3932345"/>
                  <a:pt x="11045332" y="3932345"/>
                  <a:pt x="11045332" y="3928828"/>
                </a:cubicBezTo>
                <a:cubicBezTo>
                  <a:pt x="11045332" y="3900687"/>
                  <a:pt x="11045332" y="3900687"/>
                  <a:pt x="11045332" y="3900687"/>
                </a:cubicBezTo>
                <a:cubicBezTo>
                  <a:pt x="11045332" y="3900687"/>
                  <a:pt x="11045332" y="3897169"/>
                  <a:pt x="11041811" y="3897169"/>
                </a:cubicBezTo>
                <a:cubicBezTo>
                  <a:pt x="11041811" y="3893651"/>
                  <a:pt x="11038289" y="3893651"/>
                  <a:pt x="11038289" y="3893651"/>
                </a:cubicBezTo>
                <a:close/>
                <a:moveTo>
                  <a:pt x="10831647" y="3889620"/>
                </a:moveTo>
                <a:cubicBezTo>
                  <a:pt x="10810578" y="3889620"/>
                  <a:pt x="10775463" y="3896691"/>
                  <a:pt x="10761417" y="3896691"/>
                </a:cubicBezTo>
                <a:cubicBezTo>
                  <a:pt x="10757905" y="3896691"/>
                  <a:pt x="10754394" y="3900227"/>
                  <a:pt x="10754394" y="3903763"/>
                </a:cubicBezTo>
                <a:cubicBezTo>
                  <a:pt x="10754394" y="3903763"/>
                  <a:pt x="10754394" y="3903763"/>
                  <a:pt x="10754394" y="3928512"/>
                </a:cubicBezTo>
                <a:cubicBezTo>
                  <a:pt x="10754394" y="3932048"/>
                  <a:pt x="10754394" y="3932048"/>
                  <a:pt x="10757905" y="3935584"/>
                </a:cubicBezTo>
                <a:cubicBezTo>
                  <a:pt x="10757905" y="3935584"/>
                  <a:pt x="10761417" y="3935584"/>
                  <a:pt x="10761417" y="3935584"/>
                </a:cubicBezTo>
                <a:cubicBezTo>
                  <a:pt x="10778974" y="3935584"/>
                  <a:pt x="10807067" y="3932048"/>
                  <a:pt x="10828136" y="3932048"/>
                </a:cubicBezTo>
                <a:cubicBezTo>
                  <a:pt x="10842182" y="3932048"/>
                  <a:pt x="10852717" y="3942655"/>
                  <a:pt x="10852717" y="3956798"/>
                </a:cubicBezTo>
                <a:cubicBezTo>
                  <a:pt x="10852717" y="3956798"/>
                  <a:pt x="10852717" y="3956798"/>
                  <a:pt x="10852717" y="3967405"/>
                </a:cubicBezTo>
                <a:cubicBezTo>
                  <a:pt x="10852717" y="3967405"/>
                  <a:pt x="10852717" y="3967405"/>
                  <a:pt x="10803555" y="3970941"/>
                </a:cubicBezTo>
                <a:cubicBezTo>
                  <a:pt x="10761417" y="3974476"/>
                  <a:pt x="10740347" y="3992154"/>
                  <a:pt x="10740347" y="4031046"/>
                </a:cubicBezTo>
                <a:cubicBezTo>
                  <a:pt x="10740347" y="4069938"/>
                  <a:pt x="10761417" y="4091152"/>
                  <a:pt x="10796532" y="4091152"/>
                </a:cubicBezTo>
                <a:cubicBezTo>
                  <a:pt x="10824625" y="4091152"/>
                  <a:pt x="10859740" y="4077009"/>
                  <a:pt x="10859740" y="4077009"/>
                </a:cubicBezTo>
                <a:cubicBezTo>
                  <a:pt x="10866763" y="4084081"/>
                  <a:pt x="10873786" y="4087616"/>
                  <a:pt x="10887833" y="4091152"/>
                </a:cubicBezTo>
                <a:cubicBezTo>
                  <a:pt x="10891344" y="4091152"/>
                  <a:pt x="10891344" y="4091152"/>
                  <a:pt x="10894855" y="4087616"/>
                </a:cubicBezTo>
                <a:cubicBezTo>
                  <a:pt x="10894855" y="4087616"/>
                  <a:pt x="10894855" y="4084081"/>
                  <a:pt x="10894855" y="4084081"/>
                </a:cubicBezTo>
                <a:cubicBezTo>
                  <a:pt x="10894855" y="4084081"/>
                  <a:pt x="10894855" y="4084081"/>
                  <a:pt x="10894855" y="3956798"/>
                </a:cubicBezTo>
                <a:cubicBezTo>
                  <a:pt x="10894855" y="3910834"/>
                  <a:pt x="10873786" y="3889620"/>
                  <a:pt x="10831647" y="3889620"/>
                </a:cubicBezTo>
                <a:close/>
                <a:moveTo>
                  <a:pt x="10495822" y="3889619"/>
                </a:moveTo>
                <a:cubicBezTo>
                  <a:pt x="10448333" y="3889619"/>
                  <a:pt x="10409835" y="3934734"/>
                  <a:pt x="10409835" y="3990386"/>
                </a:cubicBezTo>
                <a:cubicBezTo>
                  <a:pt x="10409835" y="4046038"/>
                  <a:pt x="10448333" y="4091152"/>
                  <a:pt x="10495822" y="4091152"/>
                </a:cubicBezTo>
                <a:cubicBezTo>
                  <a:pt x="10543311" y="4091152"/>
                  <a:pt x="10581809" y="4046038"/>
                  <a:pt x="10581809" y="3990386"/>
                </a:cubicBezTo>
                <a:cubicBezTo>
                  <a:pt x="10581809" y="3934734"/>
                  <a:pt x="10543311" y="3889619"/>
                  <a:pt x="10495822" y="3889619"/>
                </a:cubicBezTo>
                <a:close/>
                <a:moveTo>
                  <a:pt x="10241892" y="3865436"/>
                </a:moveTo>
                <a:cubicBezTo>
                  <a:pt x="10248859" y="3865436"/>
                  <a:pt x="10255825" y="3865436"/>
                  <a:pt x="10273241" y="3865436"/>
                </a:cubicBezTo>
                <a:cubicBezTo>
                  <a:pt x="10273241" y="3865436"/>
                  <a:pt x="10273241" y="3865436"/>
                  <a:pt x="10290657" y="3865436"/>
                </a:cubicBezTo>
                <a:cubicBezTo>
                  <a:pt x="10322007" y="3865436"/>
                  <a:pt x="10335940" y="3886689"/>
                  <a:pt x="10335940" y="3904400"/>
                </a:cubicBezTo>
                <a:cubicBezTo>
                  <a:pt x="10335940" y="3929194"/>
                  <a:pt x="10318523" y="3943362"/>
                  <a:pt x="10287174" y="3943362"/>
                </a:cubicBezTo>
                <a:cubicBezTo>
                  <a:pt x="10266274" y="3943362"/>
                  <a:pt x="10248859" y="3943362"/>
                  <a:pt x="10241892" y="3943362"/>
                </a:cubicBezTo>
                <a:cubicBezTo>
                  <a:pt x="10241892" y="3943362"/>
                  <a:pt x="10241892" y="3943362"/>
                  <a:pt x="10241892" y="3865436"/>
                </a:cubicBezTo>
                <a:close/>
                <a:moveTo>
                  <a:pt x="10659063" y="3852001"/>
                </a:moveTo>
                <a:cubicBezTo>
                  <a:pt x="10659063" y="3852001"/>
                  <a:pt x="10659063" y="3852001"/>
                  <a:pt x="10627410" y="3859035"/>
                </a:cubicBezTo>
                <a:cubicBezTo>
                  <a:pt x="10623893" y="3859035"/>
                  <a:pt x="10623893" y="3862552"/>
                  <a:pt x="10623893" y="3866069"/>
                </a:cubicBezTo>
                <a:cubicBezTo>
                  <a:pt x="10623893" y="3866069"/>
                  <a:pt x="10623893" y="3866069"/>
                  <a:pt x="10623893" y="3897721"/>
                </a:cubicBezTo>
                <a:cubicBezTo>
                  <a:pt x="10623893" y="3897721"/>
                  <a:pt x="10623893" y="3897721"/>
                  <a:pt x="10606308" y="3897721"/>
                </a:cubicBezTo>
                <a:cubicBezTo>
                  <a:pt x="10602792" y="3897721"/>
                  <a:pt x="10599275" y="3897721"/>
                  <a:pt x="10599275" y="3904755"/>
                </a:cubicBezTo>
                <a:cubicBezTo>
                  <a:pt x="10599275" y="3904755"/>
                  <a:pt x="10599275" y="3904755"/>
                  <a:pt x="10599275" y="3929373"/>
                </a:cubicBezTo>
                <a:cubicBezTo>
                  <a:pt x="10599275" y="3932891"/>
                  <a:pt x="10602792" y="3936407"/>
                  <a:pt x="10606308" y="3936407"/>
                </a:cubicBezTo>
                <a:cubicBezTo>
                  <a:pt x="10606308" y="3936407"/>
                  <a:pt x="10606308" y="3936407"/>
                  <a:pt x="10623893" y="3936407"/>
                </a:cubicBezTo>
                <a:cubicBezTo>
                  <a:pt x="10623893" y="3936407"/>
                  <a:pt x="10623893" y="3936407"/>
                  <a:pt x="10623893" y="4020814"/>
                </a:cubicBezTo>
                <a:cubicBezTo>
                  <a:pt x="10623893" y="4073567"/>
                  <a:pt x="10637961" y="4091152"/>
                  <a:pt x="10680164" y="4091152"/>
                </a:cubicBezTo>
                <a:cubicBezTo>
                  <a:pt x="10690715" y="4091152"/>
                  <a:pt x="10701266" y="4087636"/>
                  <a:pt x="10711817" y="4087636"/>
                </a:cubicBezTo>
                <a:cubicBezTo>
                  <a:pt x="10715334" y="4087636"/>
                  <a:pt x="10718851" y="4084119"/>
                  <a:pt x="10718851" y="4080601"/>
                </a:cubicBezTo>
                <a:cubicBezTo>
                  <a:pt x="10718851" y="4080601"/>
                  <a:pt x="10718851" y="4080601"/>
                  <a:pt x="10718851" y="4055983"/>
                </a:cubicBezTo>
                <a:cubicBezTo>
                  <a:pt x="10718851" y="4052466"/>
                  <a:pt x="10715334" y="4048949"/>
                  <a:pt x="10711817" y="4048949"/>
                </a:cubicBezTo>
                <a:cubicBezTo>
                  <a:pt x="10704783" y="4048949"/>
                  <a:pt x="10694232" y="4048949"/>
                  <a:pt x="10687198" y="4048949"/>
                </a:cubicBezTo>
                <a:cubicBezTo>
                  <a:pt x="10666096" y="4048949"/>
                  <a:pt x="10666096" y="4041915"/>
                  <a:pt x="10666096" y="4013780"/>
                </a:cubicBezTo>
                <a:cubicBezTo>
                  <a:pt x="10666096" y="4013780"/>
                  <a:pt x="10666096" y="4013780"/>
                  <a:pt x="10666096" y="3936407"/>
                </a:cubicBezTo>
                <a:cubicBezTo>
                  <a:pt x="10666096" y="3936407"/>
                  <a:pt x="10666096" y="3936407"/>
                  <a:pt x="10711817" y="3936407"/>
                </a:cubicBezTo>
                <a:cubicBezTo>
                  <a:pt x="10715334" y="3936407"/>
                  <a:pt x="10718851" y="3932891"/>
                  <a:pt x="10718851" y="3929373"/>
                </a:cubicBezTo>
                <a:cubicBezTo>
                  <a:pt x="10718851" y="3929373"/>
                  <a:pt x="10718851" y="3929373"/>
                  <a:pt x="10718851" y="3904755"/>
                </a:cubicBezTo>
                <a:cubicBezTo>
                  <a:pt x="10718851" y="3897721"/>
                  <a:pt x="10715334" y="3897721"/>
                  <a:pt x="10711817" y="3897721"/>
                </a:cubicBezTo>
                <a:cubicBezTo>
                  <a:pt x="10711817" y="3897721"/>
                  <a:pt x="10711817" y="3897721"/>
                  <a:pt x="10666096" y="3897721"/>
                </a:cubicBezTo>
                <a:cubicBezTo>
                  <a:pt x="10666096" y="3897721"/>
                  <a:pt x="10666096" y="3897721"/>
                  <a:pt x="10666096" y="3859035"/>
                </a:cubicBezTo>
                <a:cubicBezTo>
                  <a:pt x="10666096" y="3855518"/>
                  <a:pt x="10666096" y="3855518"/>
                  <a:pt x="10662580" y="3852001"/>
                </a:cubicBezTo>
                <a:cubicBezTo>
                  <a:pt x="10662580" y="3852001"/>
                  <a:pt x="10659063" y="3852001"/>
                  <a:pt x="10659063" y="3852001"/>
                </a:cubicBezTo>
                <a:close/>
                <a:moveTo>
                  <a:pt x="10283668" y="3823787"/>
                </a:moveTo>
                <a:cubicBezTo>
                  <a:pt x="10273174" y="3823787"/>
                  <a:pt x="10241689" y="3823787"/>
                  <a:pt x="10203208" y="3827298"/>
                </a:cubicBezTo>
                <a:cubicBezTo>
                  <a:pt x="10199710" y="3827298"/>
                  <a:pt x="10196211" y="3830809"/>
                  <a:pt x="10196211" y="3834320"/>
                </a:cubicBezTo>
                <a:cubicBezTo>
                  <a:pt x="10196211" y="3834320"/>
                  <a:pt x="10196211" y="3834320"/>
                  <a:pt x="10196211" y="4080100"/>
                </a:cubicBezTo>
                <a:cubicBezTo>
                  <a:pt x="10196211" y="4083611"/>
                  <a:pt x="10199710" y="4087122"/>
                  <a:pt x="10203208" y="4087122"/>
                </a:cubicBezTo>
                <a:cubicBezTo>
                  <a:pt x="10203208" y="4087122"/>
                  <a:pt x="10203208" y="4087122"/>
                  <a:pt x="10234693" y="4087122"/>
                </a:cubicBezTo>
                <a:cubicBezTo>
                  <a:pt x="10238191" y="4087122"/>
                  <a:pt x="10241689" y="4083611"/>
                  <a:pt x="10241689" y="4080100"/>
                </a:cubicBezTo>
                <a:cubicBezTo>
                  <a:pt x="10241689" y="4080100"/>
                  <a:pt x="10241689" y="4080100"/>
                  <a:pt x="10241689" y="3981788"/>
                </a:cubicBezTo>
                <a:cubicBezTo>
                  <a:pt x="10252184" y="3985299"/>
                  <a:pt x="10269675" y="3985299"/>
                  <a:pt x="10290665" y="3985299"/>
                </a:cubicBezTo>
                <a:cubicBezTo>
                  <a:pt x="10290665" y="3985299"/>
                  <a:pt x="10290665" y="3985299"/>
                  <a:pt x="10336143" y="4083611"/>
                </a:cubicBezTo>
                <a:cubicBezTo>
                  <a:pt x="10336143" y="4083611"/>
                  <a:pt x="10339641" y="4087122"/>
                  <a:pt x="10343139" y="4087122"/>
                </a:cubicBezTo>
                <a:cubicBezTo>
                  <a:pt x="10343139" y="4087122"/>
                  <a:pt x="10343139" y="4087122"/>
                  <a:pt x="10374624" y="4087122"/>
                </a:cubicBezTo>
                <a:cubicBezTo>
                  <a:pt x="10378122" y="4087122"/>
                  <a:pt x="10381620" y="4083611"/>
                  <a:pt x="10381620" y="4083611"/>
                </a:cubicBezTo>
                <a:cubicBezTo>
                  <a:pt x="10381620" y="4080100"/>
                  <a:pt x="10381620" y="4080100"/>
                  <a:pt x="10381620" y="4076589"/>
                </a:cubicBezTo>
                <a:lnTo>
                  <a:pt x="10336143" y="3971255"/>
                </a:lnTo>
                <a:cubicBezTo>
                  <a:pt x="10367627" y="3957210"/>
                  <a:pt x="10381620" y="3936143"/>
                  <a:pt x="10381620" y="3904543"/>
                </a:cubicBezTo>
                <a:cubicBezTo>
                  <a:pt x="10381620" y="3865920"/>
                  <a:pt x="10364129" y="3823787"/>
                  <a:pt x="10290665" y="3823787"/>
                </a:cubicBezTo>
                <a:cubicBezTo>
                  <a:pt x="10290665" y="3823787"/>
                  <a:pt x="10287167" y="3823787"/>
                  <a:pt x="10283668" y="3823787"/>
                </a:cubicBezTo>
                <a:close/>
                <a:moveTo>
                  <a:pt x="11839186" y="3792865"/>
                </a:moveTo>
                <a:cubicBezTo>
                  <a:pt x="11841365" y="3793306"/>
                  <a:pt x="11843980" y="3795069"/>
                  <a:pt x="11845722" y="3798596"/>
                </a:cubicBezTo>
                <a:cubicBezTo>
                  <a:pt x="11901498" y="3855026"/>
                  <a:pt x="11929385" y="3946723"/>
                  <a:pt x="11908470" y="4038420"/>
                </a:cubicBezTo>
                <a:cubicBezTo>
                  <a:pt x="11908470" y="4041947"/>
                  <a:pt x="11904984" y="4045473"/>
                  <a:pt x="11898012" y="4041947"/>
                </a:cubicBezTo>
                <a:cubicBezTo>
                  <a:pt x="11898012" y="4041947"/>
                  <a:pt x="11898012" y="4041947"/>
                  <a:pt x="11859666" y="4031366"/>
                </a:cubicBezTo>
                <a:cubicBezTo>
                  <a:pt x="11856180" y="4031366"/>
                  <a:pt x="11852694" y="4027839"/>
                  <a:pt x="11852694" y="4020786"/>
                </a:cubicBezTo>
                <a:cubicBezTo>
                  <a:pt x="11866638" y="3946723"/>
                  <a:pt x="11849208" y="3886766"/>
                  <a:pt x="11807377" y="3840918"/>
                </a:cubicBezTo>
                <a:cubicBezTo>
                  <a:pt x="11800405" y="3837392"/>
                  <a:pt x="11800405" y="3830337"/>
                  <a:pt x="11807377" y="3826811"/>
                </a:cubicBezTo>
                <a:cubicBezTo>
                  <a:pt x="11807377" y="3826811"/>
                  <a:pt x="11807377" y="3826811"/>
                  <a:pt x="11835264" y="3795069"/>
                </a:cubicBezTo>
                <a:cubicBezTo>
                  <a:pt x="11835264" y="3793306"/>
                  <a:pt x="11837008" y="3792424"/>
                  <a:pt x="11839186" y="3792865"/>
                </a:cubicBezTo>
                <a:close/>
                <a:moveTo>
                  <a:pt x="11458923" y="3792865"/>
                </a:moveTo>
                <a:cubicBezTo>
                  <a:pt x="11461124" y="3792424"/>
                  <a:pt x="11462885" y="3793306"/>
                  <a:pt x="11462885" y="3795069"/>
                </a:cubicBezTo>
                <a:cubicBezTo>
                  <a:pt x="11462885" y="3795069"/>
                  <a:pt x="11462885" y="3795069"/>
                  <a:pt x="11494585" y="3826811"/>
                </a:cubicBezTo>
                <a:cubicBezTo>
                  <a:pt x="11498108" y="3830337"/>
                  <a:pt x="11498108" y="3837392"/>
                  <a:pt x="11491063" y="3840918"/>
                </a:cubicBezTo>
                <a:cubicBezTo>
                  <a:pt x="11448796" y="3886766"/>
                  <a:pt x="11431184" y="3946723"/>
                  <a:pt x="11445274" y="4020786"/>
                </a:cubicBezTo>
                <a:cubicBezTo>
                  <a:pt x="11445274" y="4027839"/>
                  <a:pt x="11441752" y="4031366"/>
                  <a:pt x="11438229" y="4031366"/>
                </a:cubicBezTo>
                <a:cubicBezTo>
                  <a:pt x="11438229" y="4031366"/>
                  <a:pt x="11438229" y="4031366"/>
                  <a:pt x="11399484" y="4041947"/>
                </a:cubicBezTo>
                <a:cubicBezTo>
                  <a:pt x="11392439" y="4045473"/>
                  <a:pt x="11388917" y="4041947"/>
                  <a:pt x="11388917" y="4038420"/>
                </a:cubicBezTo>
                <a:cubicBezTo>
                  <a:pt x="11367783" y="3946723"/>
                  <a:pt x="11395962" y="3855026"/>
                  <a:pt x="11452318" y="3798596"/>
                </a:cubicBezTo>
                <a:cubicBezTo>
                  <a:pt x="11454079" y="3795069"/>
                  <a:pt x="11456721" y="3793306"/>
                  <a:pt x="11458923" y="3792865"/>
                </a:cubicBezTo>
                <a:close/>
                <a:moveTo>
                  <a:pt x="11677605" y="3787511"/>
                </a:moveTo>
                <a:cubicBezTo>
                  <a:pt x="11681098" y="3787511"/>
                  <a:pt x="11681098" y="3787511"/>
                  <a:pt x="11684592" y="3787511"/>
                </a:cubicBezTo>
                <a:cubicBezTo>
                  <a:pt x="11730003" y="3798107"/>
                  <a:pt x="11761442" y="3815764"/>
                  <a:pt x="11792882" y="3851080"/>
                </a:cubicBezTo>
                <a:cubicBezTo>
                  <a:pt x="11796375" y="3854612"/>
                  <a:pt x="11796375" y="3854612"/>
                  <a:pt x="11796375" y="3858144"/>
                </a:cubicBezTo>
                <a:cubicBezTo>
                  <a:pt x="11796375" y="3861675"/>
                  <a:pt x="11792882" y="3861675"/>
                  <a:pt x="11789388" y="3865207"/>
                </a:cubicBezTo>
                <a:cubicBezTo>
                  <a:pt x="11789388" y="3865207"/>
                  <a:pt x="11789388" y="3865207"/>
                  <a:pt x="11698565" y="3911118"/>
                </a:cubicBezTo>
                <a:cubicBezTo>
                  <a:pt x="11695071" y="3911118"/>
                  <a:pt x="11691578" y="3911118"/>
                  <a:pt x="11688084" y="3911118"/>
                </a:cubicBezTo>
                <a:cubicBezTo>
                  <a:pt x="11684592" y="3907586"/>
                  <a:pt x="11684592" y="3904054"/>
                  <a:pt x="11681098" y="3900523"/>
                </a:cubicBezTo>
                <a:cubicBezTo>
                  <a:pt x="11681098" y="3900523"/>
                  <a:pt x="11681098" y="3900523"/>
                  <a:pt x="11674112" y="3798107"/>
                </a:cubicBezTo>
                <a:cubicBezTo>
                  <a:pt x="11674112" y="3794575"/>
                  <a:pt x="11674112" y="3791043"/>
                  <a:pt x="11677605" y="3787511"/>
                </a:cubicBezTo>
                <a:close/>
                <a:moveTo>
                  <a:pt x="11613922" y="3787511"/>
                </a:moveTo>
                <a:cubicBezTo>
                  <a:pt x="11617414" y="3787511"/>
                  <a:pt x="11617414" y="3787511"/>
                  <a:pt x="11620908" y="3787511"/>
                </a:cubicBezTo>
                <a:cubicBezTo>
                  <a:pt x="11620908" y="3791043"/>
                  <a:pt x="11624401" y="3794575"/>
                  <a:pt x="11624401" y="3798107"/>
                </a:cubicBezTo>
                <a:cubicBezTo>
                  <a:pt x="11624401" y="3798107"/>
                  <a:pt x="11624401" y="3798107"/>
                  <a:pt x="11613922" y="3904054"/>
                </a:cubicBezTo>
                <a:cubicBezTo>
                  <a:pt x="11613922" y="3907586"/>
                  <a:pt x="11613922" y="3911118"/>
                  <a:pt x="11610428" y="3911118"/>
                </a:cubicBezTo>
                <a:cubicBezTo>
                  <a:pt x="11606935" y="3911118"/>
                  <a:pt x="11603442" y="3911118"/>
                  <a:pt x="11599949" y="3911118"/>
                </a:cubicBezTo>
                <a:cubicBezTo>
                  <a:pt x="11599949" y="3911118"/>
                  <a:pt x="11599949" y="3911118"/>
                  <a:pt x="11509124" y="3865207"/>
                </a:cubicBezTo>
                <a:cubicBezTo>
                  <a:pt x="11505632" y="3865207"/>
                  <a:pt x="11502138" y="3861675"/>
                  <a:pt x="11502138" y="3858144"/>
                </a:cubicBezTo>
                <a:cubicBezTo>
                  <a:pt x="11502138" y="3858144"/>
                  <a:pt x="11502138" y="3854612"/>
                  <a:pt x="11505632" y="3851080"/>
                </a:cubicBezTo>
                <a:cubicBezTo>
                  <a:pt x="11537070" y="3819296"/>
                  <a:pt x="11568509" y="3798107"/>
                  <a:pt x="11613922" y="3787511"/>
                </a:cubicBezTo>
                <a:close/>
                <a:moveTo>
                  <a:pt x="11532772" y="3752579"/>
                </a:moveTo>
                <a:cubicBezTo>
                  <a:pt x="11536265" y="3752579"/>
                  <a:pt x="11539758" y="3756274"/>
                  <a:pt x="11539758" y="3759969"/>
                </a:cubicBezTo>
                <a:cubicBezTo>
                  <a:pt x="11539758" y="3763664"/>
                  <a:pt x="11539758" y="3763664"/>
                  <a:pt x="11536265" y="3763664"/>
                </a:cubicBezTo>
                <a:cubicBezTo>
                  <a:pt x="11536265" y="3763664"/>
                  <a:pt x="11536265" y="3763664"/>
                  <a:pt x="11529278" y="3767359"/>
                </a:cubicBezTo>
                <a:cubicBezTo>
                  <a:pt x="11529278" y="3767359"/>
                  <a:pt x="11529278" y="3767359"/>
                  <a:pt x="11525785" y="3759969"/>
                </a:cubicBezTo>
                <a:cubicBezTo>
                  <a:pt x="11525785" y="3759969"/>
                  <a:pt x="11525785" y="3759969"/>
                  <a:pt x="11522292" y="3759969"/>
                </a:cubicBezTo>
                <a:cubicBezTo>
                  <a:pt x="11525785" y="3756274"/>
                  <a:pt x="11529278" y="3756274"/>
                  <a:pt x="11532772" y="3752579"/>
                </a:cubicBezTo>
                <a:close/>
                <a:moveTo>
                  <a:pt x="11529297" y="3745382"/>
                </a:moveTo>
                <a:cubicBezTo>
                  <a:pt x="11525746" y="3748932"/>
                  <a:pt x="11518645" y="3752484"/>
                  <a:pt x="11511543" y="3756034"/>
                </a:cubicBezTo>
                <a:cubicBezTo>
                  <a:pt x="11511543" y="3756034"/>
                  <a:pt x="11511543" y="3756034"/>
                  <a:pt x="11515094" y="3759585"/>
                </a:cubicBezTo>
                <a:lnTo>
                  <a:pt x="11532848" y="3791543"/>
                </a:lnTo>
                <a:cubicBezTo>
                  <a:pt x="11536399" y="3791543"/>
                  <a:pt x="11536399" y="3787991"/>
                  <a:pt x="11539950" y="3787991"/>
                </a:cubicBezTo>
                <a:cubicBezTo>
                  <a:pt x="11539950" y="3787991"/>
                  <a:pt x="11539950" y="3787991"/>
                  <a:pt x="11532848" y="3773788"/>
                </a:cubicBezTo>
                <a:cubicBezTo>
                  <a:pt x="11532848" y="3773788"/>
                  <a:pt x="11532848" y="3773788"/>
                  <a:pt x="11539950" y="3770238"/>
                </a:cubicBezTo>
                <a:cubicBezTo>
                  <a:pt x="11539950" y="3770238"/>
                  <a:pt x="11539950" y="3770238"/>
                  <a:pt x="11554153" y="3780890"/>
                </a:cubicBezTo>
                <a:cubicBezTo>
                  <a:pt x="11557704" y="3777339"/>
                  <a:pt x="11557704" y="3777339"/>
                  <a:pt x="11561255" y="3777339"/>
                </a:cubicBezTo>
                <a:cubicBezTo>
                  <a:pt x="11561255" y="3777339"/>
                  <a:pt x="11561255" y="3777339"/>
                  <a:pt x="11547052" y="3763136"/>
                </a:cubicBezTo>
                <a:cubicBezTo>
                  <a:pt x="11547052" y="3763136"/>
                  <a:pt x="11547052" y="3763136"/>
                  <a:pt x="11547052" y="3759585"/>
                </a:cubicBezTo>
                <a:cubicBezTo>
                  <a:pt x="11550602" y="3752484"/>
                  <a:pt x="11539950" y="3741831"/>
                  <a:pt x="11529297" y="3745382"/>
                </a:cubicBezTo>
                <a:close/>
                <a:moveTo>
                  <a:pt x="11750205" y="3739144"/>
                </a:moveTo>
                <a:cubicBezTo>
                  <a:pt x="11753748" y="3763328"/>
                  <a:pt x="11753748" y="3763328"/>
                  <a:pt x="11753748" y="3763328"/>
                </a:cubicBezTo>
                <a:cubicBezTo>
                  <a:pt x="11746663" y="3780602"/>
                  <a:pt x="11746663" y="3780602"/>
                  <a:pt x="11746663" y="3780602"/>
                </a:cubicBezTo>
                <a:lnTo>
                  <a:pt x="11753748" y="3787511"/>
                </a:lnTo>
                <a:cubicBezTo>
                  <a:pt x="11760832" y="3770237"/>
                  <a:pt x="11760832" y="3770237"/>
                  <a:pt x="11760832" y="3770237"/>
                </a:cubicBezTo>
                <a:cubicBezTo>
                  <a:pt x="11785626" y="3756418"/>
                  <a:pt x="11785626" y="3756418"/>
                  <a:pt x="11785626" y="3756418"/>
                </a:cubicBezTo>
                <a:cubicBezTo>
                  <a:pt x="11785626" y="3756418"/>
                  <a:pt x="11782084" y="3752963"/>
                  <a:pt x="11778543" y="3752963"/>
                </a:cubicBezTo>
                <a:cubicBezTo>
                  <a:pt x="11760832" y="3759873"/>
                  <a:pt x="11760832" y="3759873"/>
                  <a:pt x="11760832" y="3759873"/>
                </a:cubicBezTo>
                <a:cubicBezTo>
                  <a:pt x="11757290" y="3742598"/>
                  <a:pt x="11757290" y="3742598"/>
                  <a:pt x="11757290" y="3742598"/>
                </a:cubicBezTo>
                <a:cubicBezTo>
                  <a:pt x="11753748" y="3739144"/>
                  <a:pt x="11753748" y="3739144"/>
                  <a:pt x="11750205" y="3739144"/>
                </a:cubicBezTo>
                <a:close/>
                <a:moveTo>
                  <a:pt x="11715224" y="3735114"/>
                </a:moveTo>
                <a:cubicBezTo>
                  <a:pt x="11718717" y="3735114"/>
                  <a:pt x="11722211" y="3735114"/>
                  <a:pt x="11725705" y="3738473"/>
                </a:cubicBezTo>
                <a:cubicBezTo>
                  <a:pt x="11725705" y="3738473"/>
                  <a:pt x="11729197" y="3738473"/>
                  <a:pt x="11729197" y="3741832"/>
                </a:cubicBezTo>
                <a:cubicBezTo>
                  <a:pt x="11729197" y="3745190"/>
                  <a:pt x="11725705" y="3748549"/>
                  <a:pt x="11722211" y="3748549"/>
                </a:cubicBezTo>
                <a:cubicBezTo>
                  <a:pt x="11722211" y="3748549"/>
                  <a:pt x="11722211" y="3748549"/>
                  <a:pt x="11711731" y="3745190"/>
                </a:cubicBezTo>
                <a:lnTo>
                  <a:pt x="11711731" y="3741832"/>
                </a:lnTo>
                <a:cubicBezTo>
                  <a:pt x="11711731" y="3741832"/>
                  <a:pt x="11711731" y="3741832"/>
                  <a:pt x="11715224" y="3735114"/>
                </a:cubicBezTo>
                <a:close/>
                <a:moveTo>
                  <a:pt x="11582079" y="3734609"/>
                </a:moveTo>
                <a:cubicBezTo>
                  <a:pt x="11589134" y="3731082"/>
                  <a:pt x="11596187" y="3738137"/>
                  <a:pt x="11596187" y="3745190"/>
                </a:cubicBezTo>
                <a:cubicBezTo>
                  <a:pt x="11596187" y="3752244"/>
                  <a:pt x="11589134" y="3759297"/>
                  <a:pt x="11582079" y="3759297"/>
                </a:cubicBezTo>
                <a:cubicBezTo>
                  <a:pt x="11575026" y="3759297"/>
                  <a:pt x="11567972" y="3755771"/>
                  <a:pt x="11567972" y="3748717"/>
                </a:cubicBezTo>
                <a:cubicBezTo>
                  <a:pt x="11567972" y="3748717"/>
                  <a:pt x="11567972" y="3748717"/>
                  <a:pt x="11567972" y="3745190"/>
                </a:cubicBezTo>
                <a:cubicBezTo>
                  <a:pt x="11567972" y="3738137"/>
                  <a:pt x="11575026" y="3734609"/>
                  <a:pt x="11582079" y="3734609"/>
                </a:cubicBezTo>
                <a:close/>
                <a:moveTo>
                  <a:pt x="11670081" y="3728395"/>
                </a:moveTo>
                <a:cubicBezTo>
                  <a:pt x="11670081" y="3728395"/>
                  <a:pt x="11670081" y="3728395"/>
                  <a:pt x="11673440" y="3738875"/>
                </a:cubicBezTo>
                <a:cubicBezTo>
                  <a:pt x="11673440" y="3738875"/>
                  <a:pt x="11673440" y="3738875"/>
                  <a:pt x="11676799" y="3745862"/>
                </a:cubicBezTo>
                <a:cubicBezTo>
                  <a:pt x="11673440" y="3745862"/>
                  <a:pt x="11666722" y="3745862"/>
                  <a:pt x="11663363" y="3745862"/>
                </a:cubicBezTo>
                <a:lnTo>
                  <a:pt x="11666722" y="3738875"/>
                </a:lnTo>
                <a:cubicBezTo>
                  <a:pt x="11666722" y="3738875"/>
                  <a:pt x="11666722" y="3738875"/>
                  <a:pt x="11670081" y="3728395"/>
                </a:cubicBezTo>
                <a:close/>
                <a:moveTo>
                  <a:pt x="11578609" y="3727879"/>
                </a:moveTo>
                <a:cubicBezTo>
                  <a:pt x="11568195" y="3727879"/>
                  <a:pt x="11561254" y="3734907"/>
                  <a:pt x="11561254" y="3745449"/>
                </a:cubicBezTo>
                <a:cubicBezTo>
                  <a:pt x="11561254" y="3748962"/>
                  <a:pt x="11561254" y="3748962"/>
                  <a:pt x="11561254" y="3748962"/>
                </a:cubicBezTo>
                <a:cubicBezTo>
                  <a:pt x="11561254" y="3759504"/>
                  <a:pt x="11571666" y="3770046"/>
                  <a:pt x="11582079" y="3766532"/>
                </a:cubicBezTo>
                <a:cubicBezTo>
                  <a:pt x="11595963" y="3766532"/>
                  <a:pt x="11602904" y="3759504"/>
                  <a:pt x="11602904" y="3745449"/>
                </a:cubicBezTo>
                <a:cubicBezTo>
                  <a:pt x="11602904" y="3734907"/>
                  <a:pt x="11592492" y="3724365"/>
                  <a:pt x="11578609" y="3727879"/>
                </a:cubicBezTo>
                <a:close/>
                <a:moveTo>
                  <a:pt x="11708922" y="3724365"/>
                </a:moveTo>
                <a:cubicBezTo>
                  <a:pt x="11708922" y="3724365"/>
                  <a:pt x="11708922" y="3724365"/>
                  <a:pt x="11705380" y="3742119"/>
                </a:cubicBezTo>
                <a:cubicBezTo>
                  <a:pt x="11705380" y="3742119"/>
                  <a:pt x="11705380" y="3742119"/>
                  <a:pt x="11698296" y="3763424"/>
                </a:cubicBezTo>
                <a:cubicBezTo>
                  <a:pt x="11701837" y="3766975"/>
                  <a:pt x="11705380" y="3766975"/>
                  <a:pt x="11708922" y="3766975"/>
                </a:cubicBezTo>
                <a:lnTo>
                  <a:pt x="11712464" y="3752772"/>
                </a:lnTo>
                <a:cubicBezTo>
                  <a:pt x="11712464" y="3752772"/>
                  <a:pt x="11712464" y="3752772"/>
                  <a:pt x="11719548" y="3752772"/>
                </a:cubicBezTo>
                <a:cubicBezTo>
                  <a:pt x="11719548" y="3752772"/>
                  <a:pt x="11719548" y="3752772"/>
                  <a:pt x="11723090" y="3770526"/>
                </a:cubicBezTo>
                <a:cubicBezTo>
                  <a:pt x="11726632" y="3774077"/>
                  <a:pt x="11726632" y="3774077"/>
                  <a:pt x="11730175" y="3774077"/>
                </a:cubicBezTo>
                <a:cubicBezTo>
                  <a:pt x="11730175" y="3774077"/>
                  <a:pt x="11730175" y="3774077"/>
                  <a:pt x="11726632" y="3756323"/>
                </a:cubicBezTo>
                <a:cubicBezTo>
                  <a:pt x="11733717" y="3752772"/>
                  <a:pt x="11737259" y="3745670"/>
                  <a:pt x="11737259" y="3742119"/>
                </a:cubicBezTo>
                <a:cubicBezTo>
                  <a:pt x="11737259" y="3735018"/>
                  <a:pt x="11733717" y="3731467"/>
                  <a:pt x="11730175" y="3731467"/>
                </a:cubicBezTo>
                <a:cubicBezTo>
                  <a:pt x="11723090" y="3727916"/>
                  <a:pt x="11716006" y="3724365"/>
                  <a:pt x="11708922" y="3724365"/>
                </a:cubicBezTo>
                <a:close/>
                <a:moveTo>
                  <a:pt x="11666295" y="3717647"/>
                </a:moveTo>
                <a:cubicBezTo>
                  <a:pt x="11666295" y="3717647"/>
                  <a:pt x="11666295" y="3717647"/>
                  <a:pt x="11659211" y="3738731"/>
                </a:cubicBezTo>
                <a:cubicBezTo>
                  <a:pt x="11659211" y="3738731"/>
                  <a:pt x="11659211" y="3738731"/>
                  <a:pt x="11648585" y="3759814"/>
                </a:cubicBezTo>
                <a:cubicBezTo>
                  <a:pt x="11652127" y="3759814"/>
                  <a:pt x="11652127" y="3759814"/>
                  <a:pt x="11655669" y="3759814"/>
                </a:cubicBezTo>
                <a:lnTo>
                  <a:pt x="11659211" y="3752786"/>
                </a:lnTo>
                <a:cubicBezTo>
                  <a:pt x="11666295" y="3752786"/>
                  <a:pt x="11669838" y="3752786"/>
                  <a:pt x="11676922" y="3752786"/>
                </a:cubicBezTo>
                <a:cubicBezTo>
                  <a:pt x="11676922" y="3752786"/>
                  <a:pt x="11676922" y="3752786"/>
                  <a:pt x="11680464" y="3759814"/>
                </a:cubicBezTo>
                <a:cubicBezTo>
                  <a:pt x="11684006" y="3759814"/>
                  <a:pt x="11684006" y="3763328"/>
                  <a:pt x="11687548" y="3763328"/>
                </a:cubicBezTo>
                <a:cubicBezTo>
                  <a:pt x="11687548" y="3763328"/>
                  <a:pt x="11687548" y="3763328"/>
                  <a:pt x="11680464" y="3738731"/>
                </a:cubicBezTo>
                <a:cubicBezTo>
                  <a:pt x="11680464" y="3738731"/>
                  <a:pt x="11680464" y="3738731"/>
                  <a:pt x="11676922" y="3717647"/>
                </a:cubicBezTo>
                <a:cubicBezTo>
                  <a:pt x="11676922" y="3717647"/>
                  <a:pt x="11676922" y="3717647"/>
                  <a:pt x="11666295" y="3717647"/>
                </a:cubicBezTo>
                <a:close/>
                <a:moveTo>
                  <a:pt x="11645898" y="3717647"/>
                </a:moveTo>
                <a:cubicBezTo>
                  <a:pt x="11628187" y="3717647"/>
                  <a:pt x="11621103" y="3717647"/>
                  <a:pt x="11606934" y="3721118"/>
                </a:cubicBezTo>
                <a:cubicBezTo>
                  <a:pt x="11606934" y="3728059"/>
                  <a:pt x="11606934" y="3728059"/>
                  <a:pt x="11606934" y="3728059"/>
                </a:cubicBezTo>
                <a:lnTo>
                  <a:pt x="11621103" y="3724589"/>
                </a:lnTo>
                <a:cubicBezTo>
                  <a:pt x="11624645" y="3759297"/>
                  <a:pt x="11624645" y="3759297"/>
                  <a:pt x="11624645" y="3759297"/>
                </a:cubicBezTo>
                <a:cubicBezTo>
                  <a:pt x="11635271" y="3759297"/>
                  <a:pt x="11635271" y="3759297"/>
                  <a:pt x="11635271" y="3759297"/>
                </a:cubicBezTo>
                <a:cubicBezTo>
                  <a:pt x="11631729" y="3724589"/>
                  <a:pt x="11631729" y="3724589"/>
                  <a:pt x="11631729" y="3724589"/>
                </a:cubicBezTo>
                <a:cubicBezTo>
                  <a:pt x="11645898" y="3724589"/>
                  <a:pt x="11645898" y="3724589"/>
                  <a:pt x="11645898" y="3724589"/>
                </a:cubicBezTo>
                <a:cubicBezTo>
                  <a:pt x="11645898" y="3717647"/>
                  <a:pt x="11645898" y="3717647"/>
                  <a:pt x="11645898" y="3717647"/>
                </a:cubicBezTo>
                <a:close/>
                <a:moveTo>
                  <a:pt x="11196257" y="3717646"/>
                </a:moveTo>
                <a:cubicBezTo>
                  <a:pt x="11214171" y="3717646"/>
                  <a:pt x="11221336" y="3735113"/>
                  <a:pt x="11221336" y="3752578"/>
                </a:cubicBezTo>
                <a:lnTo>
                  <a:pt x="11167595" y="3752578"/>
                </a:lnTo>
                <a:cubicBezTo>
                  <a:pt x="11167595" y="3735113"/>
                  <a:pt x="11178343" y="3717646"/>
                  <a:pt x="11196257" y="3717646"/>
                </a:cubicBezTo>
                <a:close/>
                <a:moveTo>
                  <a:pt x="11648585" y="3710930"/>
                </a:moveTo>
                <a:cubicBezTo>
                  <a:pt x="11711759" y="3710930"/>
                  <a:pt x="11767914" y="3731889"/>
                  <a:pt x="11813539" y="3766821"/>
                </a:cubicBezTo>
                <a:cubicBezTo>
                  <a:pt x="11820558" y="3773808"/>
                  <a:pt x="11820558" y="3777301"/>
                  <a:pt x="11817049" y="3780794"/>
                </a:cubicBezTo>
                <a:cubicBezTo>
                  <a:pt x="11817049" y="3780794"/>
                  <a:pt x="11817049" y="3780794"/>
                  <a:pt x="11788972" y="3812234"/>
                </a:cubicBezTo>
                <a:cubicBezTo>
                  <a:pt x="11785462" y="3815726"/>
                  <a:pt x="11781952" y="3815726"/>
                  <a:pt x="11774933" y="3812234"/>
                </a:cubicBezTo>
                <a:cubicBezTo>
                  <a:pt x="11739837" y="3784288"/>
                  <a:pt x="11694210" y="3766821"/>
                  <a:pt x="11648585" y="3766821"/>
                </a:cubicBezTo>
                <a:cubicBezTo>
                  <a:pt x="11599450" y="3766821"/>
                  <a:pt x="11557334" y="3784288"/>
                  <a:pt x="11522236" y="3812234"/>
                </a:cubicBezTo>
                <a:cubicBezTo>
                  <a:pt x="11515217" y="3815726"/>
                  <a:pt x="11511708" y="3815726"/>
                  <a:pt x="11508198" y="3812234"/>
                </a:cubicBezTo>
                <a:cubicBezTo>
                  <a:pt x="11508198" y="3812234"/>
                  <a:pt x="11508198" y="3812234"/>
                  <a:pt x="11480121" y="3780794"/>
                </a:cubicBezTo>
                <a:cubicBezTo>
                  <a:pt x="11476611" y="3777301"/>
                  <a:pt x="11476611" y="3773808"/>
                  <a:pt x="11483630" y="3766821"/>
                </a:cubicBezTo>
                <a:cubicBezTo>
                  <a:pt x="11529256" y="3731889"/>
                  <a:pt x="11585411" y="3710930"/>
                  <a:pt x="11648585" y="3710930"/>
                </a:cubicBezTo>
                <a:close/>
                <a:moveTo>
                  <a:pt x="11196481" y="3710929"/>
                </a:moveTo>
                <a:cubicBezTo>
                  <a:pt x="11172113" y="3710929"/>
                  <a:pt x="11158189" y="3728443"/>
                  <a:pt x="11158189" y="3759969"/>
                </a:cubicBezTo>
                <a:cubicBezTo>
                  <a:pt x="11158189" y="3787991"/>
                  <a:pt x="11168632" y="3809008"/>
                  <a:pt x="11199962" y="3809008"/>
                </a:cubicBezTo>
                <a:cubicBezTo>
                  <a:pt x="11206924" y="3809008"/>
                  <a:pt x="11220848" y="3805505"/>
                  <a:pt x="11227810" y="3802002"/>
                </a:cubicBezTo>
                <a:lnTo>
                  <a:pt x="11227810" y="3791494"/>
                </a:lnTo>
                <a:cubicBezTo>
                  <a:pt x="11220848" y="3794997"/>
                  <a:pt x="11210404" y="3798499"/>
                  <a:pt x="11199962" y="3798499"/>
                </a:cubicBezTo>
                <a:cubicBezTo>
                  <a:pt x="11179076" y="3798499"/>
                  <a:pt x="11168632" y="3780985"/>
                  <a:pt x="11168632" y="3763472"/>
                </a:cubicBezTo>
                <a:cubicBezTo>
                  <a:pt x="11168632" y="3763472"/>
                  <a:pt x="11168632" y="3763472"/>
                  <a:pt x="11234772" y="3763472"/>
                </a:cubicBezTo>
                <a:cubicBezTo>
                  <a:pt x="11234772" y="3763472"/>
                  <a:pt x="11234772" y="3763472"/>
                  <a:pt x="11234772" y="3756466"/>
                </a:cubicBezTo>
                <a:cubicBezTo>
                  <a:pt x="11234772" y="3731946"/>
                  <a:pt x="11224329" y="3710929"/>
                  <a:pt x="11196481" y="3710929"/>
                </a:cubicBezTo>
                <a:close/>
                <a:moveTo>
                  <a:pt x="10947253" y="3674653"/>
                </a:moveTo>
                <a:lnTo>
                  <a:pt x="10947253" y="3685401"/>
                </a:lnTo>
                <a:lnTo>
                  <a:pt x="10986216" y="3685401"/>
                </a:lnTo>
                <a:lnTo>
                  <a:pt x="10986216" y="3804977"/>
                </a:lnTo>
                <a:lnTo>
                  <a:pt x="10999652" y="3804977"/>
                </a:lnTo>
                <a:lnTo>
                  <a:pt x="10999652" y="3685401"/>
                </a:lnTo>
                <a:lnTo>
                  <a:pt x="11038614" y="3685401"/>
                </a:lnTo>
                <a:lnTo>
                  <a:pt x="11038614" y="3674653"/>
                </a:lnTo>
                <a:close/>
                <a:moveTo>
                  <a:pt x="11060111" y="3663904"/>
                </a:moveTo>
                <a:lnTo>
                  <a:pt x="11060111" y="3804977"/>
                </a:lnTo>
                <a:cubicBezTo>
                  <a:pt x="11060111" y="3804977"/>
                  <a:pt x="11060111" y="3804977"/>
                  <a:pt x="11070476" y="3804977"/>
                </a:cubicBezTo>
                <a:cubicBezTo>
                  <a:pt x="11070476" y="3804977"/>
                  <a:pt x="11070476" y="3804977"/>
                  <a:pt x="11070476" y="3755601"/>
                </a:cubicBezTo>
                <a:cubicBezTo>
                  <a:pt x="11070476" y="3737967"/>
                  <a:pt x="11077385" y="3716807"/>
                  <a:pt x="11098115" y="3716807"/>
                </a:cubicBezTo>
                <a:cubicBezTo>
                  <a:pt x="11118844" y="3716807"/>
                  <a:pt x="11118844" y="3730914"/>
                  <a:pt x="11118844" y="3748548"/>
                </a:cubicBezTo>
                <a:cubicBezTo>
                  <a:pt x="11118844" y="3748548"/>
                  <a:pt x="11118844" y="3748548"/>
                  <a:pt x="11118844" y="3804977"/>
                </a:cubicBezTo>
                <a:cubicBezTo>
                  <a:pt x="11118844" y="3804977"/>
                  <a:pt x="11118844" y="3804977"/>
                  <a:pt x="11132662" y="3804977"/>
                </a:cubicBezTo>
                <a:cubicBezTo>
                  <a:pt x="11132662" y="3804977"/>
                  <a:pt x="11132662" y="3804977"/>
                  <a:pt x="11132662" y="3748548"/>
                </a:cubicBezTo>
                <a:cubicBezTo>
                  <a:pt x="11132662" y="3723860"/>
                  <a:pt x="11125753" y="3709753"/>
                  <a:pt x="11101569" y="3709753"/>
                </a:cubicBezTo>
                <a:cubicBezTo>
                  <a:pt x="11087750" y="3709753"/>
                  <a:pt x="11077385" y="3716807"/>
                  <a:pt x="11070476" y="3727387"/>
                </a:cubicBezTo>
                <a:cubicBezTo>
                  <a:pt x="11070476" y="3727387"/>
                  <a:pt x="11070476" y="3727387"/>
                  <a:pt x="11070476" y="3663904"/>
                </a:cubicBezTo>
                <a:cubicBezTo>
                  <a:pt x="11070476" y="3663904"/>
                  <a:pt x="11070476" y="3663904"/>
                  <a:pt x="11060111" y="3663904"/>
                </a:cubicBezTo>
                <a:close/>
                <a:moveTo>
                  <a:pt x="11638739" y="3639721"/>
                </a:moveTo>
                <a:cubicBezTo>
                  <a:pt x="11628222" y="3657342"/>
                  <a:pt x="11624716" y="3674963"/>
                  <a:pt x="11624716" y="3692584"/>
                </a:cubicBezTo>
                <a:cubicBezTo>
                  <a:pt x="11621210" y="3692584"/>
                  <a:pt x="11603681" y="3696108"/>
                  <a:pt x="11600176" y="3696108"/>
                </a:cubicBezTo>
                <a:cubicBezTo>
                  <a:pt x="11596669" y="3678487"/>
                  <a:pt x="11586152" y="3660866"/>
                  <a:pt x="11575635" y="3650294"/>
                </a:cubicBezTo>
                <a:cubicBezTo>
                  <a:pt x="11575635" y="3650294"/>
                  <a:pt x="11575635" y="3650294"/>
                  <a:pt x="11572129" y="3650294"/>
                </a:cubicBezTo>
                <a:cubicBezTo>
                  <a:pt x="11565117" y="3650294"/>
                  <a:pt x="11558106" y="3653818"/>
                  <a:pt x="11551094" y="3653818"/>
                </a:cubicBezTo>
                <a:cubicBezTo>
                  <a:pt x="11551094" y="3653818"/>
                  <a:pt x="11551094" y="3653818"/>
                  <a:pt x="11551094" y="3657342"/>
                </a:cubicBezTo>
                <a:cubicBezTo>
                  <a:pt x="11547588" y="3664391"/>
                  <a:pt x="11547588" y="3671439"/>
                  <a:pt x="11547588" y="3682011"/>
                </a:cubicBezTo>
                <a:cubicBezTo>
                  <a:pt x="11547588" y="3692584"/>
                  <a:pt x="11547588" y="3699632"/>
                  <a:pt x="11551094" y="3710205"/>
                </a:cubicBezTo>
                <a:cubicBezTo>
                  <a:pt x="11547588" y="3710205"/>
                  <a:pt x="11530059" y="3717253"/>
                  <a:pt x="11530059" y="3717253"/>
                </a:cubicBezTo>
                <a:cubicBezTo>
                  <a:pt x="11519542" y="3703156"/>
                  <a:pt x="11505518" y="3689060"/>
                  <a:pt x="11491495" y="3682011"/>
                </a:cubicBezTo>
                <a:cubicBezTo>
                  <a:pt x="11484484" y="3682011"/>
                  <a:pt x="11477472" y="3689060"/>
                  <a:pt x="11470460" y="3692584"/>
                </a:cubicBezTo>
                <a:cubicBezTo>
                  <a:pt x="11470460" y="3710205"/>
                  <a:pt x="11473966" y="3727826"/>
                  <a:pt x="11484484" y="3745446"/>
                </a:cubicBezTo>
                <a:cubicBezTo>
                  <a:pt x="11480978" y="3745446"/>
                  <a:pt x="11470460" y="3756019"/>
                  <a:pt x="11466954" y="3756019"/>
                </a:cubicBezTo>
                <a:cubicBezTo>
                  <a:pt x="11456437" y="3745446"/>
                  <a:pt x="11438908" y="3734874"/>
                  <a:pt x="11421379" y="3731350"/>
                </a:cubicBezTo>
                <a:cubicBezTo>
                  <a:pt x="11414367" y="3734874"/>
                  <a:pt x="11407356" y="3741922"/>
                  <a:pt x="11403850" y="3745446"/>
                </a:cubicBezTo>
                <a:cubicBezTo>
                  <a:pt x="11403850" y="3745446"/>
                  <a:pt x="11403850" y="3745446"/>
                  <a:pt x="11403850" y="3748970"/>
                </a:cubicBezTo>
                <a:cubicBezTo>
                  <a:pt x="11407356" y="3763068"/>
                  <a:pt x="11417873" y="3780688"/>
                  <a:pt x="11431896" y="3794785"/>
                </a:cubicBezTo>
                <a:cubicBezTo>
                  <a:pt x="11428390" y="3794785"/>
                  <a:pt x="11417873" y="3812406"/>
                  <a:pt x="11417873" y="3812406"/>
                </a:cubicBezTo>
                <a:cubicBezTo>
                  <a:pt x="11400344" y="3805357"/>
                  <a:pt x="11382815" y="3798309"/>
                  <a:pt x="11365286" y="3798309"/>
                </a:cubicBezTo>
                <a:cubicBezTo>
                  <a:pt x="11361780" y="3805357"/>
                  <a:pt x="11354768" y="3812406"/>
                  <a:pt x="11354768" y="3819454"/>
                </a:cubicBezTo>
                <a:cubicBezTo>
                  <a:pt x="11361780" y="3833551"/>
                  <a:pt x="11375803" y="3847647"/>
                  <a:pt x="11389827" y="3858221"/>
                </a:cubicBezTo>
                <a:cubicBezTo>
                  <a:pt x="11389827" y="3861745"/>
                  <a:pt x="11382815" y="3875841"/>
                  <a:pt x="11382815" y="3879365"/>
                </a:cubicBezTo>
                <a:cubicBezTo>
                  <a:pt x="11365286" y="3872317"/>
                  <a:pt x="11344251" y="3872317"/>
                  <a:pt x="11330228" y="3879365"/>
                </a:cubicBezTo>
                <a:cubicBezTo>
                  <a:pt x="11326722" y="3886414"/>
                  <a:pt x="11323216" y="3893462"/>
                  <a:pt x="11323216" y="3900510"/>
                </a:cubicBezTo>
                <a:cubicBezTo>
                  <a:pt x="11333733" y="3914607"/>
                  <a:pt x="11351262" y="3921655"/>
                  <a:pt x="11368791" y="3928704"/>
                </a:cubicBezTo>
                <a:cubicBezTo>
                  <a:pt x="11368791" y="3932228"/>
                  <a:pt x="11365286" y="3946324"/>
                  <a:pt x="11365286" y="3949848"/>
                </a:cubicBezTo>
                <a:cubicBezTo>
                  <a:pt x="11347757" y="3949848"/>
                  <a:pt x="11330228" y="3956897"/>
                  <a:pt x="11316205" y="3963946"/>
                </a:cubicBezTo>
                <a:cubicBezTo>
                  <a:pt x="11316205" y="3963946"/>
                  <a:pt x="11316205" y="3963946"/>
                  <a:pt x="11312698" y="3963946"/>
                </a:cubicBezTo>
                <a:cubicBezTo>
                  <a:pt x="11312698" y="3967470"/>
                  <a:pt x="11312698" y="3970994"/>
                  <a:pt x="11312698" y="3978042"/>
                </a:cubicBezTo>
                <a:cubicBezTo>
                  <a:pt x="11312698" y="3981566"/>
                  <a:pt x="11312698" y="3985090"/>
                  <a:pt x="11312698" y="3988615"/>
                </a:cubicBezTo>
                <a:cubicBezTo>
                  <a:pt x="11312698" y="3988615"/>
                  <a:pt x="11312698" y="3988615"/>
                  <a:pt x="11316205" y="3988615"/>
                </a:cubicBezTo>
                <a:cubicBezTo>
                  <a:pt x="11330228" y="3999188"/>
                  <a:pt x="11347757" y="4002712"/>
                  <a:pt x="11365286" y="4002712"/>
                </a:cubicBezTo>
                <a:cubicBezTo>
                  <a:pt x="11365286" y="4006236"/>
                  <a:pt x="11368791" y="4023857"/>
                  <a:pt x="11368791" y="4023857"/>
                </a:cubicBezTo>
                <a:cubicBezTo>
                  <a:pt x="11351262" y="4030905"/>
                  <a:pt x="11333733" y="4041477"/>
                  <a:pt x="11323216" y="4052050"/>
                </a:cubicBezTo>
                <a:cubicBezTo>
                  <a:pt x="11323216" y="4052050"/>
                  <a:pt x="11323216" y="4052050"/>
                  <a:pt x="11323216" y="4055574"/>
                </a:cubicBezTo>
                <a:cubicBezTo>
                  <a:pt x="11323216" y="4059099"/>
                  <a:pt x="11326722" y="4069671"/>
                  <a:pt x="11330228" y="4076719"/>
                </a:cubicBezTo>
                <a:cubicBezTo>
                  <a:pt x="11347757" y="4080243"/>
                  <a:pt x="11365286" y="4080243"/>
                  <a:pt x="11382815" y="4076719"/>
                </a:cubicBezTo>
                <a:cubicBezTo>
                  <a:pt x="11382815" y="4076719"/>
                  <a:pt x="11389827" y="4094340"/>
                  <a:pt x="11393332" y="4097865"/>
                </a:cubicBezTo>
                <a:cubicBezTo>
                  <a:pt x="11375803" y="4104913"/>
                  <a:pt x="11361780" y="4119009"/>
                  <a:pt x="11354768" y="4133106"/>
                </a:cubicBezTo>
                <a:cubicBezTo>
                  <a:pt x="11354768" y="4133106"/>
                  <a:pt x="11354768" y="4133106"/>
                  <a:pt x="11354768" y="4136630"/>
                </a:cubicBezTo>
                <a:cubicBezTo>
                  <a:pt x="11358274" y="4140154"/>
                  <a:pt x="11361780" y="4150727"/>
                  <a:pt x="11365286" y="4154251"/>
                </a:cubicBezTo>
                <a:cubicBezTo>
                  <a:pt x="11382815" y="4154251"/>
                  <a:pt x="11400344" y="4150727"/>
                  <a:pt x="11417873" y="4140154"/>
                </a:cubicBezTo>
                <a:cubicBezTo>
                  <a:pt x="11417873" y="4143679"/>
                  <a:pt x="11428390" y="4157775"/>
                  <a:pt x="11431896" y="4161300"/>
                </a:cubicBezTo>
                <a:cubicBezTo>
                  <a:pt x="11417873" y="4171872"/>
                  <a:pt x="11410861" y="4189492"/>
                  <a:pt x="11403850" y="4207114"/>
                </a:cubicBezTo>
                <a:cubicBezTo>
                  <a:pt x="11410861" y="4210638"/>
                  <a:pt x="11414367" y="4217686"/>
                  <a:pt x="11421379" y="4221210"/>
                </a:cubicBezTo>
                <a:cubicBezTo>
                  <a:pt x="11438908" y="4217686"/>
                  <a:pt x="11456437" y="4210638"/>
                  <a:pt x="11466954" y="4196542"/>
                </a:cubicBezTo>
                <a:cubicBezTo>
                  <a:pt x="11470460" y="4196542"/>
                  <a:pt x="11484484" y="4210638"/>
                  <a:pt x="11484484" y="4210638"/>
                </a:cubicBezTo>
                <a:cubicBezTo>
                  <a:pt x="11477472" y="4224734"/>
                  <a:pt x="11473966" y="4245880"/>
                  <a:pt x="11473966" y="4259976"/>
                </a:cubicBezTo>
                <a:cubicBezTo>
                  <a:pt x="11473966" y="4259976"/>
                  <a:pt x="11473966" y="4263501"/>
                  <a:pt x="11473966" y="4263501"/>
                </a:cubicBezTo>
                <a:cubicBezTo>
                  <a:pt x="11477472" y="4267025"/>
                  <a:pt x="11484484" y="4270549"/>
                  <a:pt x="11491495" y="4274073"/>
                </a:cubicBezTo>
                <a:cubicBezTo>
                  <a:pt x="11491495" y="4274073"/>
                  <a:pt x="11491495" y="4274073"/>
                  <a:pt x="11495001" y="4274073"/>
                </a:cubicBezTo>
                <a:cubicBezTo>
                  <a:pt x="11509024" y="4267025"/>
                  <a:pt x="11523047" y="4252928"/>
                  <a:pt x="11530059" y="4235307"/>
                </a:cubicBezTo>
                <a:cubicBezTo>
                  <a:pt x="11533564" y="4238831"/>
                  <a:pt x="11547588" y="4242356"/>
                  <a:pt x="11551094" y="4245880"/>
                </a:cubicBezTo>
                <a:cubicBezTo>
                  <a:pt x="11547588" y="4252928"/>
                  <a:pt x="11547588" y="4263501"/>
                  <a:pt x="11547588" y="4270549"/>
                </a:cubicBezTo>
                <a:cubicBezTo>
                  <a:pt x="11547588" y="4281121"/>
                  <a:pt x="11547588" y="4288170"/>
                  <a:pt x="11551094" y="4298743"/>
                </a:cubicBezTo>
                <a:cubicBezTo>
                  <a:pt x="11558106" y="4302267"/>
                  <a:pt x="11565117" y="4302267"/>
                  <a:pt x="11572129" y="4305791"/>
                </a:cubicBezTo>
                <a:cubicBezTo>
                  <a:pt x="11572129" y="4305791"/>
                  <a:pt x="11572129" y="4305791"/>
                  <a:pt x="11575635" y="4305791"/>
                </a:cubicBezTo>
                <a:cubicBezTo>
                  <a:pt x="11586152" y="4291694"/>
                  <a:pt x="11596669" y="4274073"/>
                  <a:pt x="11600176" y="4259976"/>
                </a:cubicBezTo>
                <a:cubicBezTo>
                  <a:pt x="11603681" y="4259976"/>
                  <a:pt x="11621210" y="4259976"/>
                  <a:pt x="11624716" y="4259976"/>
                </a:cubicBezTo>
                <a:cubicBezTo>
                  <a:pt x="11624716" y="4281121"/>
                  <a:pt x="11628222" y="4298743"/>
                  <a:pt x="11638739" y="4312839"/>
                </a:cubicBezTo>
                <a:cubicBezTo>
                  <a:pt x="11645751" y="4312839"/>
                  <a:pt x="11656268" y="4312839"/>
                  <a:pt x="11659774" y="4312839"/>
                </a:cubicBezTo>
                <a:cubicBezTo>
                  <a:pt x="11659774" y="4312839"/>
                  <a:pt x="11659774" y="4312839"/>
                  <a:pt x="11663280" y="4312839"/>
                </a:cubicBezTo>
                <a:cubicBezTo>
                  <a:pt x="11670291" y="4298743"/>
                  <a:pt x="11677303" y="4281121"/>
                  <a:pt x="11677303" y="4259976"/>
                </a:cubicBezTo>
                <a:cubicBezTo>
                  <a:pt x="11677303" y="4259976"/>
                  <a:pt x="11694832" y="4259976"/>
                  <a:pt x="11698339" y="4259976"/>
                </a:cubicBezTo>
                <a:cubicBezTo>
                  <a:pt x="11701844" y="4274073"/>
                  <a:pt x="11712361" y="4291694"/>
                  <a:pt x="11722879" y="4305791"/>
                </a:cubicBezTo>
                <a:cubicBezTo>
                  <a:pt x="11722879" y="4305791"/>
                  <a:pt x="11722879" y="4305791"/>
                  <a:pt x="11726385" y="4305791"/>
                </a:cubicBezTo>
                <a:cubicBezTo>
                  <a:pt x="11733396" y="4302267"/>
                  <a:pt x="11740408" y="4302267"/>
                  <a:pt x="11747420" y="4298743"/>
                </a:cubicBezTo>
                <a:cubicBezTo>
                  <a:pt x="11750925" y="4288170"/>
                  <a:pt x="11750925" y="4281121"/>
                  <a:pt x="11750925" y="4270549"/>
                </a:cubicBezTo>
                <a:cubicBezTo>
                  <a:pt x="11750925" y="4263501"/>
                  <a:pt x="11750925" y="4252928"/>
                  <a:pt x="11747420" y="4245880"/>
                </a:cubicBezTo>
                <a:cubicBezTo>
                  <a:pt x="11750925" y="4242356"/>
                  <a:pt x="11764949" y="4235307"/>
                  <a:pt x="11768454" y="4235307"/>
                </a:cubicBezTo>
                <a:cubicBezTo>
                  <a:pt x="11778972" y="4252928"/>
                  <a:pt x="11789490" y="4263501"/>
                  <a:pt x="11807019" y="4274073"/>
                </a:cubicBezTo>
                <a:cubicBezTo>
                  <a:pt x="11814030" y="4270549"/>
                  <a:pt x="11821042" y="4267025"/>
                  <a:pt x="11824547" y="4263501"/>
                </a:cubicBezTo>
                <a:cubicBezTo>
                  <a:pt x="11824547" y="4263501"/>
                  <a:pt x="11824547" y="4263501"/>
                  <a:pt x="11828054" y="4263501"/>
                </a:cubicBezTo>
                <a:cubicBezTo>
                  <a:pt x="11828054" y="4263501"/>
                  <a:pt x="11828054" y="4259976"/>
                  <a:pt x="11828054" y="4259976"/>
                </a:cubicBezTo>
                <a:cubicBezTo>
                  <a:pt x="11828054" y="4242356"/>
                  <a:pt x="11821042" y="4224734"/>
                  <a:pt x="11814030" y="4210638"/>
                </a:cubicBezTo>
                <a:cubicBezTo>
                  <a:pt x="11814030" y="4207114"/>
                  <a:pt x="11828054" y="4196542"/>
                  <a:pt x="11831559" y="4196542"/>
                </a:cubicBezTo>
                <a:cubicBezTo>
                  <a:pt x="11842076" y="4207114"/>
                  <a:pt x="11859606" y="4217686"/>
                  <a:pt x="11877135" y="4221210"/>
                </a:cubicBezTo>
                <a:cubicBezTo>
                  <a:pt x="11884146" y="4217686"/>
                  <a:pt x="11891158" y="4210638"/>
                  <a:pt x="11894664" y="4207114"/>
                </a:cubicBezTo>
                <a:cubicBezTo>
                  <a:pt x="11894664" y="4207114"/>
                  <a:pt x="11894664" y="4207114"/>
                  <a:pt x="11894664" y="4203590"/>
                </a:cubicBezTo>
                <a:cubicBezTo>
                  <a:pt x="11891158" y="4189492"/>
                  <a:pt x="11880641" y="4171872"/>
                  <a:pt x="11866617" y="4157775"/>
                </a:cubicBezTo>
                <a:cubicBezTo>
                  <a:pt x="11870123" y="4157775"/>
                  <a:pt x="11880641" y="4143679"/>
                  <a:pt x="11880641" y="4140154"/>
                </a:cubicBezTo>
                <a:cubicBezTo>
                  <a:pt x="11898170" y="4150727"/>
                  <a:pt x="11915699" y="4154251"/>
                  <a:pt x="11933228" y="4154251"/>
                </a:cubicBezTo>
                <a:cubicBezTo>
                  <a:pt x="11936734" y="4147203"/>
                  <a:pt x="11940239" y="4140154"/>
                  <a:pt x="11943746" y="4136630"/>
                </a:cubicBezTo>
                <a:cubicBezTo>
                  <a:pt x="11943746" y="4136630"/>
                  <a:pt x="11943746" y="4136630"/>
                  <a:pt x="11943746" y="4133106"/>
                </a:cubicBezTo>
                <a:cubicBezTo>
                  <a:pt x="11936734" y="4119009"/>
                  <a:pt x="11922710" y="4104913"/>
                  <a:pt x="11908688" y="4094340"/>
                </a:cubicBezTo>
                <a:cubicBezTo>
                  <a:pt x="11908688" y="4094340"/>
                  <a:pt x="11915699" y="4076719"/>
                  <a:pt x="11915699" y="4076719"/>
                </a:cubicBezTo>
                <a:cubicBezTo>
                  <a:pt x="11933228" y="4080243"/>
                  <a:pt x="11950757" y="4080243"/>
                  <a:pt x="11968286" y="4076719"/>
                </a:cubicBezTo>
                <a:cubicBezTo>
                  <a:pt x="11968286" y="4076719"/>
                  <a:pt x="11968286" y="4076719"/>
                  <a:pt x="11968286" y="4073195"/>
                </a:cubicBezTo>
                <a:cubicBezTo>
                  <a:pt x="11971792" y="4069671"/>
                  <a:pt x="11975298" y="4059099"/>
                  <a:pt x="11975298" y="4052050"/>
                </a:cubicBezTo>
                <a:cubicBezTo>
                  <a:pt x="11961275" y="4037953"/>
                  <a:pt x="11947251" y="4030905"/>
                  <a:pt x="11929722" y="4023857"/>
                </a:cubicBezTo>
                <a:cubicBezTo>
                  <a:pt x="11929722" y="4023857"/>
                  <a:pt x="11929722" y="4006236"/>
                  <a:pt x="11933228" y="4002712"/>
                </a:cubicBezTo>
                <a:cubicBezTo>
                  <a:pt x="11950757" y="4002712"/>
                  <a:pt x="11968286" y="3999188"/>
                  <a:pt x="11982310" y="3988615"/>
                </a:cubicBezTo>
                <a:cubicBezTo>
                  <a:pt x="11985815" y="3985090"/>
                  <a:pt x="11985815" y="3981566"/>
                  <a:pt x="11985815" y="3978042"/>
                </a:cubicBezTo>
                <a:cubicBezTo>
                  <a:pt x="11985815" y="3974518"/>
                  <a:pt x="11985815" y="3970994"/>
                  <a:pt x="11982310" y="3967470"/>
                </a:cubicBezTo>
                <a:cubicBezTo>
                  <a:pt x="11982310" y="3967470"/>
                  <a:pt x="11982310" y="3967470"/>
                  <a:pt x="11982310" y="3963946"/>
                </a:cubicBezTo>
                <a:cubicBezTo>
                  <a:pt x="11968286" y="3956897"/>
                  <a:pt x="11950757" y="3949848"/>
                  <a:pt x="11933228" y="3949848"/>
                </a:cubicBezTo>
                <a:cubicBezTo>
                  <a:pt x="11933228" y="3949848"/>
                  <a:pt x="11929722" y="3932228"/>
                  <a:pt x="11929722" y="3928704"/>
                </a:cubicBezTo>
                <a:cubicBezTo>
                  <a:pt x="11947251" y="3925180"/>
                  <a:pt x="11964780" y="3914607"/>
                  <a:pt x="11975298" y="3904035"/>
                </a:cubicBezTo>
                <a:cubicBezTo>
                  <a:pt x="11975298" y="3904035"/>
                  <a:pt x="11975298" y="3904035"/>
                  <a:pt x="11975298" y="3900510"/>
                </a:cubicBezTo>
                <a:cubicBezTo>
                  <a:pt x="11975298" y="3893462"/>
                  <a:pt x="11971792" y="3886414"/>
                  <a:pt x="11968286" y="3879365"/>
                </a:cubicBezTo>
                <a:cubicBezTo>
                  <a:pt x="11950757" y="3875841"/>
                  <a:pt x="11933228" y="3875841"/>
                  <a:pt x="11915699" y="3879365"/>
                </a:cubicBezTo>
                <a:cubicBezTo>
                  <a:pt x="11915699" y="3875841"/>
                  <a:pt x="11908688" y="3861745"/>
                  <a:pt x="11908688" y="3858221"/>
                </a:cubicBezTo>
                <a:cubicBezTo>
                  <a:pt x="11922710" y="3847647"/>
                  <a:pt x="11936734" y="3837075"/>
                  <a:pt x="11943746" y="3819454"/>
                </a:cubicBezTo>
                <a:cubicBezTo>
                  <a:pt x="11943746" y="3812406"/>
                  <a:pt x="11936734" y="3805357"/>
                  <a:pt x="11933228" y="3801833"/>
                </a:cubicBezTo>
                <a:cubicBezTo>
                  <a:pt x="11933228" y="3801833"/>
                  <a:pt x="11933228" y="3801833"/>
                  <a:pt x="11933228" y="3798309"/>
                </a:cubicBezTo>
                <a:cubicBezTo>
                  <a:pt x="11915699" y="3798309"/>
                  <a:pt x="11898170" y="3805357"/>
                  <a:pt x="11880641" y="3812406"/>
                </a:cubicBezTo>
                <a:cubicBezTo>
                  <a:pt x="11880641" y="3812406"/>
                  <a:pt x="11870123" y="3798309"/>
                  <a:pt x="11866617" y="3794785"/>
                </a:cubicBezTo>
                <a:cubicBezTo>
                  <a:pt x="11880641" y="3780688"/>
                  <a:pt x="11891158" y="3766592"/>
                  <a:pt x="11894664" y="3748970"/>
                </a:cubicBezTo>
                <a:cubicBezTo>
                  <a:pt x="11891158" y="3741922"/>
                  <a:pt x="11884146" y="3734874"/>
                  <a:pt x="11877135" y="3731350"/>
                </a:cubicBezTo>
                <a:cubicBezTo>
                  <a:pt x="11859606" y="3734874"/>
                  <a:pt x="11845583" y="3745446"/>
                  <a:pt x="11831559" y="3759544"/>
                </a:cubicBezTo>
                <a:cubicBezTo>
                  <a:pt x="11828054" y="3756019"/>
                  <a:pt x="11814030" y="3745446"/>
                  <a:pt x="11814030" y="3745446"/>
                </a:cubicBezTo>
                <a:cubicBezTo>
                  <a:pt x="11821042" y="3727826"/>
                  <a:pt x="11828054" y="3710205"/>
                  <a:pt x="11828054" y="3692584"/>
                </a:cubicBezTo>
                <a:cubicBezTo>
                  <a:pt x="11821042" y="3689060"/>
                  <a:pt x="11814030" y="3682011"/>
                  <a:pt x="11807019" y="3682011"/>
                </a:cubicBezTo>
                <a:cubicBezTo>
                  <a:pt x="11792995" y="3689060"/>
                  <a:pt x="11778972" y="3703156"/>
                  <a:pt x="11768454" y="3717253"/>
                </a:cubicBezTo>
                <a:cubicBezTo>
                  <a:pt x="11764949" y="3717253"/>
                  <a:pt x="11750925" y="3710205"/>
                  <a:pt x="11747420" y="3710205"/>
                </a:cubicBezTo>
                <a:cubicBezTo>
                  <a:pt x="11750925" y="3699632"/>
                  <a:pt x="11750925" y="3692584"/>
                  <a:pt x="11750925" y="3682011"/>
                </a:cubicBezTo>
                <a:cubicBezTo>
                  <a:pt x="11750925" y="3671439"/>
                  <a:pt x="11750925" y="3664391"/>
                  <a:pt x="11747420" y="3657342"/>
                </a:cubicBezTo>
                <a:cubicBezTo>
                  <a:pt x="11747420" y="3657342"/>
                  <a:pt x="11747420" y="3657342"/>
                  <a:pt x="11747420" y="3653818"/>
                </a:cubicBezTo>
                <a:cubicBezTo>
                  <a:pt x="11740408" y="3653818"/>
                  <a:pt x="11733396" y="3650294"/>
                  <a:pt x="11726385" y="3650294"/>
                </a:cubicBezTo>
                <a:cubicBezTo>
                  <a:pt x="11726385" y="3650294"/>
                  <a:pt x="11726385" y="3650294"/>
                  <a:pt x="11722879" y="3650294"/>
                </a:cubicBezTo>
                <a:cubicBezTo>
                  <a:pt x="11712361" y="3660866"/>
                  <a:pt x="11701844" y="3678487"/>
                  <a:pt x="11698339" y="3696108"/>
                </a:cubicBezTo>
                <a:cubicBezTo>
                  <a:pt x="11694832" y="3696108"/>
                  <a:pt x="11677303" y="3692584"/>
                  <a:pt x="11673798" y="3692584"/>
                </a:cubicBezTo>
                <a:cubicBezTo>
                  <a:pt x="11673798" y="3674963"/>
                  <a:pt x="11670291" y="3657342"/>
                  <a:pt x="11659774" y="3639721"/>
                </a:cubicBezTo>
                <a:cubicBezTo>
                  <a:pt x="11652763" y="3639721"/>
                  <a:pt x="11645751" y="3639721"/>
                  <a:pt x="11638739" y="3639721"/>
                </a:cubicBezTo>
                <a:close/>
                <a:moveTo>
                  <a:pt x="0" y="0"/>
                </a:moveTo>
                <a:lnTo>
                  <a:pt x="12192000" y="0"/>
                </a:lnTo>
                <a:lnTo>
                  <a:pt x="12192000" y="4454665"/>
                </a:lnTo>
                <a:lnTo>
                  <a:pt x="0" y="4454665"/>
                </a:lnTo>
                <a:close/>
              </a:path>
            </a:pathLst>
          </a:custGeom>
        </p:spPr>
        <p:txBody>
          <a:bodyPr wrap="square">
            <a:noAutofit/>
          </a:bodyPr>
          <a:lstStyle/>
          <a:p>
            <a:endParaRPr lang="en-US" dirty="0"/>
          </a:p>
        </p:txBody>
      </p:sp>
      <p:sp>
        <p:nvSpPr>
          <p:cNvPr id="31" name="Rectangle 30">
            <a:extLst>
              <a:ext uri="{FF2B5EF4-FFF2-40B4-BE49-F238E27FC236}">
                <a16:creationId xmlns:a16="http://schemas.microsoft.com/office/drawing/2014/main" id="{9E9DC1D0-3644-45DF-A146-AEC5F8D9A0AF}"/>
              </a:ext>
            </a:extLst>
          </p:cNvPr>
          <p:cNvSpPr/>
          <p:nvPr userDrawn="1"/>
        </p:nvSpPr>
        <p:spPr>
          <a:xfrm>
            <a:off x="0" y="0"/>
            <a:ext cx="12192000" cy="16002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3" name="Text Placeholder 11">
            <a:extLst>
              <a:ext uri="{FF2B5EF4-FFF2-40B4-BE49-F238E27FC236}">
                <a16:creationId xmlns:a16="http://schemas.microsoft.com/office/drawing/2014/main" id="{9D3472EC-3332-4840-B3B3-3F529B60B0CF}"/>
              </a:ext>
            </a:extLst>
          </p:cNvPr>
          <p:cNvSpPr>
            <a:spLocks noGrp="1"/>
          </p:cNvSpPr>
          <p:nvPr>
            <p:ph type="body" sz="quarter" idx="14" hasCustomPrompt="1"/>
          </p:nvPr>
        </p:nvSpPr>
        <p:spPr>
          <a:xfrm>
            <a:off x="353998" y="165499"/>
            <a:ext cx="11065935" cy="635000"/>
          </a:xfrm>
        </p:spPr>
        <p:txBody>
          <a:bodyPr>
            <a:normAutofit/>
          </a:bodyPr>
          <a:lstStyle>
            <a:lvl1pPr marL="0" indent="0" algn="l">
              <a:buNone/>
              <a:defRPr sz="3300" b="1" cap="all" baseline="0">
                <a:solidFill>
                  <a:schemeClr val="bg1"/>
                </a:solidFill>
                <a:latin typeface="Arial Narrow" panose="020B0606020202030204" pitchFamily="34" charset="0"/>
              </a:defRPr>
            </a:lvl1pPr>
            <a:lvl2pPr marL="0" indent="0" algn="ctr">
              <a:buNone/>
              <a:defRPr sz="1500">
                <a:solidFill>
                  <a:schemeClr val="bg1"/>
                </a:solidFill>
              </a:defRPr>
            </a:lvl2pPr>
            <a:lvl3pPr>
              <a:defRPr sz="1350"/>
            </a:lvl3pPr>
            <a:lvl4pPr>
              <a:defRPr sz="1200"/>
            </a:lvl4pPr>
            <a:lvl5pPr>
              <a:defRPr sz="12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353998" y="968232"/>
            <a:ext cx="11065935" cy="465667"/>
          </a:xfrm>
        </p:spPr>
        <p:txBody>
          <a:bodyPr/>
          <a:lstStyle>
            <a:lvl1pPr marL="0" indent="0" algn="l">
              <a:buNone/>
              <a:defRPr sz="1800">
                <a:solidFill>
                  <a:srgbClr val="33333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11" name="Freeform: Shape 10">
            <a:extLst>
              <a:ext uri="{FF2B5EF4-FFF2-40B4-BE49-F238E27FC236}">
                <a16:creationId xmlns:a16="http://schemas.microsoft.com/office/drawing/2014/main" id="{1AF19689-A240-4FF8-816D-3346000307FE}"/>
              </a:ext>
            </a:extLst>
          </p:cNvPr>
          <p:cNvSpPr/>
          <p:nvPr userDrawn="1"/>
        </p:nvSpPr>
        <p:spPr>
          <a:xfrm>
            <a:off x="0" y="1581666"/>
            <a:ext cx="12192000" cy="5276335"/>
          </a:xfrm>
          <a:custGeom>
            <a:avLst/>
            <a:gdLst>
              <a:gd name="connsiteX0" fmla="*/ 11946675 w 12192000"/>
              <a:gd name="connsiteY0" fmla="*/ 4274241 h 4454665"/>
              <a:gd name="connsiteX1" fmla="*/ 11952788 w 12192000"/>
              <a:gd name="connsiteY1" fmla="*/ 4274241 h 4454665"/>
              <a:gd name="connsiteX2" fmla="*/ 11958183 w 12192000"/>
              <a:gd name="connsiteY2" fmla="*/ 4274816 h 4454665"/>
              <a:gd name="connsiteX3" fmla="*/ 11960461 w 12192000"/>
              <a:gd name="connsiteY3" fmla="*/ 4276559 h 4454665"/>
              <a:gd name="connsiteX4" fmla="*/ 11961281 w 12192000"/>
              <a:gd name="connsiteY4" fmla="*/ 4279206 h 4454665"/>
              <a:gd name="connsiteX5" fmla="*/ 11959578 w 12192000"/>
              <a:gd name="connsiteY5" fmla="*/ 4282898 h 4454665"/>
              <a:gd name="connsiteX6" fmla="*/ 11953198 w 12192000"/>
              <a:gd name="connsiteY6" fmla="*/ 4284293 h 4454665"/>
              <a:gd name="connsiteX7" fmla="*/ 11946675 w 12192000"/>
              <a:gd name="connsiteY7" fmla="*/ 4284293 h 4454665"/>
              <a:gd name="connsiteX8" fmla="*/ 11941300 w 12192000"/>
              <a:gd name="connsiteY8" fmla="*/ 4269729 h 4454665"/>
              <a:gd name="connsiteX9" fmla="*/ 11941300 w 12192000"/>
              <a:gd name="connsiteY9" fmla="*/ 4303043 h 4454665"/>
              <a:gd name="connsiteX10" fmla="*/ 11946675 w 12192000"/>
              <a:gd name="connsiteY10" fmla="*/ 4303043 h 4454665"/>
              <a:gd name="connsiteX11" fmla="*/ 11946675 w 12192000"/>
              <a:gd name="connsiteY11" fmla="*/ 4288889 h 4454665"/>
              <a:gd name="connsiteX12" fmla="*/ 11949834 w 12192000"/>
              <a:gd name="connsiteY12" fmla="*/ 4288889 h 4454665"/>
              <a:gd name="connsiteX13" fmla="*/ 11954142 w 12192000"/>
              <a:gd name="connsiteY13" fmla="*/ 4290037 h 4454665"/>
              <a:gd name="connsiteX14" fmla="*/ 11959762 w 12192000"/>
              <a:gd name="connsiteY14" fmla="*/ 4297791 h 4454665"/>
              <a:gd name="connsiteX15" fmla="*/ 11962717 w 12192000"/>
              <a:gd name="connsiteY15" fmla="*/ 4303043 h 4454665"/>
              <a:gd name="connsiteX16" fmla="*/ 11969281 w 12192000"/>
              <a:gd name="connsiteY16" fmla="*/ 4303043 h 4454665"/>
              <a:gd name="connsiteX17" fmla="*/ 11965220 w 12192000"/>
              <a:gd name="connsiteY17" fmla="*/ 4296519 h 4454665"/>
              <a:gd name="connsiteX18" fmla="*/ 11960296 w 12192000"/>
              <a:gd name="connsiteY18" fmla="*/ 4289914 h 4454665"/>
              <a:gd name="connsiteX19" fmla="*/ 11957466 w 12192000"/>
              <a:gd name="connsiteY19" fmla="*/ 4288150 h 4454665"/>
              <a:gd name="connsiteX20" fmla="*/ 11964378 w 12192000"/>
              <a:gd name="connsiteY20" fmla="*/ 4285114 h 4454665"/>
              <a:gd name="connsiteX21" fmla="*/ 11966983 w 12192000"/>
              <a:gd name="connsiteY21" fmla="*/ 4278755 h 4454665"/>
              <a:gd name="connsiteX22" fmla="*/ 11965424 w 12192000"/>
              <a:gd name="connsiteY22" fmla="*/ 4273872 h 4454665"/>
              <a:gd name="connsiteX23" fmla="*/ 11961239 w 12192000"/>
              <a:gd name="connsiteY23" fmla="*/ 4270652 h 4454665"/>
              <a:gd name="connsiteX24" fmla="*/ 11952747 w 12192000"/>
              <a:gd name="connsiteY24" fmla="*/ 4269729 h 4454665"/>
              <a:gd name="connsiteX25" fmla="*/ 10902089 w 12192000"/>
              <a:gd name="connsiteY25" fmla="*/ 4267158 h 4454665"/>
              <a:gd name="connsiteX26" fmla="*/ 10905603 w 12192000"/>
              <a:gd name="connsiteY26" fmla="*/ 4267158 h 4454665"/>
              <a:gd name="connsiteX27" fmla="*/ 10905603 w 12192000"/>
              <a:gd name="connsiteY27" fmla="*/ 4270699 h 4454665"/>
              <a:gd name="connsiteX28" fmla="*/ 10877492 w 12192000"/>
              <a:gd name="connsiteY28" fmla="*/ 4306121 h 4454665"/>
              <a:gd name="connsiteX29" fmla="*/ 10859922 w 12192000"/>
              <a:gd name="connsiteY29" fmla="*/ 4288411 h 4454665"/>
              <a:gd name="connsiteX30" fmla="*/ 10902089 w 12192000"/>
              <a:gd name="connsiteY30" fmla="*/ 4267158 h 4454665"/>
              <a:gd name="connsiteX31" fmla="*/ 11954881 w 12192000"/>
              <a:gd name="connsiteY31" fmla="*/ 4260087 h 4454665"/>
              <a:gd name="connsiteX32" fmla="*/ 11967558 w 12192000"/>
              <a:gd name="connsiteY32" fmla="*/ 4263431 h 4454665"/>
              <a:gd name="connsiteX33" fmla="*/ 11977220 w 12192000"/>
              <a:gd name="connsiteY33" fmla="*/ 4272990 h 4454665"/>
              <a:gd name="connsiteX34" fmla="*/ 11980687 w 12192000"/>
              <a:gd name="connsiteY34" fmla="*/ 4285934 h 4454665"/>
              <a:gd name="connsiteX35" fmla="*/ 11977282 w 12192000"/>
              <a:gd name="connsiteY35" fmla="*/ 4298755 h 4454665"/>
              <a:gd name="connsiteX36" fmla="*/ 11967722 w 12192000"/>
              <a:gd name="connsiteY36" fmla="*/ 4308315 h 4454665"/>
              <a:gd name="connsiteX37" fmla="*/ 11954881 w 12192000"/>
              <a:gd name="connsiteY37" fmla="*/ 4311741 h 4454665"/>
              <a:gd name="connsiteX38" fmla="*/ 11942039 w 12192000"/>
              <a:gd name="connsiteY38" fmla="*/ 4308315 h 4454665"/>
              <a:gd name="connsiteX39" fmla="*/ 11932459 w 12192000"/>
              <a:gd name="connsiteY39" fmla="*/ 4298755 h 4454665"/>
              <a:gd name="connsiteX40" fmla="*/ 11929033 w 12192000"/>
              <a:gd name="connsiteY40" fmla="*/ 4285934 h 4454665"/>
              <a:gd name="connsiteX41" fmla="*/ 11932521 w 12192000"/>
              <a:gd name="connsiteY41" fmla="*/ 4272990 h 4454665"/>
              <a:gd name="connsiteX42" fmla="*/ 11942183 w 12192000"/>
              <a:gd name="connsiteY42" fmla="*/ 4263431 h 4454665"/>
              <a:gd name="connsiteX43" fmla="*/ 11954881 w 12192000"/>
              <a:gd name="connsiteY43" fmla="*/ 4260087 h 4454665"/>
              <a:gd name="connsiteX44" fmla="*/ 11954881 w 12192000"/>
              <a:gd name="connsiteY44" fmla="*/ 4254959 h 4454665"/>
              <a:gd name="connsiteX45" fmla="*/ 11939660 w 12192000"/>
              <a:gd name="connsiteY45" fmla="*/ 4258959 h 4454665"/>
              <a:gd name="connsiteX46" fmla="*/ 11928069 w 12192000"/>
              <a:gd name="connsiteY46" fmla="*/ 4270406 h 4454665"/>
              <a:gd name="connsiteX47" fmla="*/ 11923904 w 12192000"/>
              <a:gd name="connsiteY47" fmla="*/ 4285934 h 4454665"/>
              <a:gd name="connsiteX48" fmla="*/ 11928007 w 12192000"/>
              <a:gd name="connsiteY48" fmla="*/ 4301320 h 4454665"/>
              <a:gd name="connsiteX49" fmla="*/ 11939474 w 12192000"/>
              <a:gd name="connsiteY49" fmla="*/ 4312787 h 4454665"/>
              <a:gd name="connsiteX50" fmla="*/ 11954881 w 12192000"/>
              <a:gd name="connsiteY50" fmla="*/ 4316869 h 4454665"/>
              <a:gd name="connsiteX51" fmla="*/ 11970287 w 12192000"/>
              <a:gd name="connsiteY51" fmla="*/ 4312787 h 4454665"/>
              <a:gd name="connsiteX52" fmla="*/ 11981733 w 12192000"/>
              <a:gd name="connsiteY52" fmla="*/ 4301320 h 4454665"/>
              <a:gd name="connsiteX53" fmla="*/ 11985815 w 12192000"/>
              <a:gd name="connsiteY53" fmla="*/ 4285934 h 4454665"/>
              <a:gd name="connsiteX54" fmla="*/ 11981671 w 12192000"/>
              <a:gd name="connsiteY54" fmla="*/ 4270406 h 4454665"/>
              <a:gd name="connsiteX55" fmla="*/ 11970101 w 12192000"/>
              <a:gd name="connsiteY55" fmla="*/ 4258959 h 4454665"/>
              <a:gd name="connsiteX56" fmla="*/ 11954881 w 12192000"/>
              <a:gd name="connsiteY56" fmla="*/ 4254959 h 4454665"/>
              <a:gd name="connsiteX57" fmla="*/ 11091685 w 12192000"/>
              <a:gd name="connsiteY57" fmla="*/ 4225507 h 4454665"/>
              <a:gd name="connsiteX58" fmla="*/ 11123259 w 12192000"/>
              <a:gd name="connsiteY58" fmla="*/ 4265814 h 4454665"/>
              <a:gd name="connsiteX59" fmla="*/ 11091685 w 12192000"/>
              <a:gd name="connsiteY59" fmla="*/ 4306120 h 4454665"/>
              <a:gd name="connsiteX60" fmla="*/ 11060111 w 12192000"/>
              <a:gd name="connsiteY60" fmla="*/ 4265814 h 4454665"/>
              <a:gd name="connsiteX61" fmla="*/ 11091685 w 12192000"/>
              <a:gd name="connsiteY61" fmla="*/ 4225507 h 4454665"/>
              <a:gd name="connsiteX62" fmla="*/ 10781998 w 12192000"/>
              <a:gd name="connsiteY62" fmla="*/ 4225507 h 4454665"/>
              <a:gd name="connsiteX63" fmla="*/ 10810212 w 12192000"/>
              <a:gd name="connsiteY63" fmla="*/ 4265814 h 4454665"/>
              <a:gd name="connsiteX64" fmla="*/ 10781998 w 12192000"/>
              <a:gd name="connsiteY64" fmla="*/ 4306120 h 4454665"/>
              <a:gd name="connsiteX65" fmla="*/ 10753783 w 12192000"/>
              <a:gd name="connsiteY65" fmla="*/ 4265814 h 4454665"/>
              <a:gd name="connsiteX66" fmla="*/ 10781998 w 12192000"/>
              <a:gd name="connsiteY66" fmla="*/ 4225507 h 4454665"/>
              <a:gd name="connsiteX67" fmla="*/ 10469622 w 12192000"/>
              <a:gd name="connsiteY67" fmla="*/ 4225507 h 4454665"/>
              <a:gd name="connsiteX68" fmla="*/ 10501196 w 12192000"/>
              <a:gd name="connsiteY68" fmla="*/ 4265814 h 4454665"/>
              <a:gd name="connsiteX69" fmla="*/ 10469622 w 12192000"/>
              <a:gd name="connsiteY69" fmla="*/ 4306120 h 4454665"/>
              <a:gd name="connsiteX70" fmla="*/ 10438048 w 12192000"/>
              <a:gd name="connsiteY70" fmla="*/ 4265814 h 4454665"/>
              <a:gd name="connsiteX71" fmla="*/ 10469622 w 12192000"/>
              <a:gd name="connsiteY71" fmla="*/ 4225507 h 4454665"/>
              <a:gd name="connsiteX72" fmla="*/ 11014562 w 12192000"/>
              <a:gd name="connsiteY72" fmla="*/ 4220260 h 4454665"/>
              <a:gd name="connsiteX73" fmla="*/ 11014562 w 12192000"/>
              <a:gd name="connsiteY73" fmla="*/ 4316220 h 4454665"/>
              <a:gd name="connsiteX74" fmla="*/ 11026851 w 12192000"/>
              <a:gd name="connsiteY74" fmla="*/ 4316220 h 4454665"/>
              <a:gd name="connsiteX75" fmla="*/ 11026851 w 12192000"/>
              <a:gd name="connsiteY75" fmla="*/ 4220260 h 4454665"/>
              <a:gd name="connsiteX76" fmla="*/ 11158189 w 12192000"/>
              <a:gd name="connsiteY76" fmla="*/ 4218790 h 4454665"/>
              <a:gd name="connsiteX77" fmla="*/ 11158189 w 12192000"/>
              <a:gd name="connsiteY77" fmla="*/ 4243173 h 4454665"/>
              <a:gd name="connsiteX78" fmla="*/ 11158189 w 12192000"/>
              <a:gd name="connsiteY78" fmla="*/ 4312838 h 4454665"/>
              <a:gd name="connsiteX79" fmla="*/ 11172009 w 12192000"/>
              <a:gd name="connsiteY79" fmla="*/ 4312838 h 4454665"/>
              <a:gd name="connsiteX80" fmla="*/ 11172009 w 12192000"/>
              <a:gd name="connsiteY80" fmla="*/ 4260589 h 4454665"/>
              <a:gd name="connsiteX81" fmla="*/ 11199648 w 12192000"/>
              <a:gd name="connsiteY81" fmla="*/ 4225756 h 4454665"/>
              <a:gd name="connsiteX82" fmla="*/ 11220377 w 12192000"/>
              <a:gd name="connsiteY82" fmla="*/ 4257106 h 4454665"/>
              <a:gd name="connsiteX83" fmla="*/ 11220377 w 12192000"/>
              <a:gd name="connsiteY83" fmla="*/ 4312838 h 4454665"/>
              <a:gd name="connsiteX84" fmla="*/ 11230741 w 12192000"/>
              <a:gd name="connsiteY84" fmla="*/ 4312838 h 4454665"/>
              <a:gd name="connsiteX85" fmla="*/ 11230741 w 12192000"/>
              <a:gd name="connsiteY85" fmla="*/ 4253622 h 4454665"/>
              <a:gd name="connsiteX86" fmla="*/ 11199648 w 12192000"/>
              <a:gd name="connsiteY86" fmla="*/ 4218790 h 4454665"/>
              <a:gd name="connsiteX87" fmla="*/ 11168554 w 12192000"/>
              <a:gd name="connsiteY87" fmla="*/ 4236206 h 4454665"/>
              <a:gd name="connsiteX88" fmla="*/ 11168554 w 12192000"/>
              <a:gd name="connsiteY88" fmla="*/ 4218790 h 4454665"/>
              <a:gd name="connsiteX89" fmla="*/ 11158189 w 12192000"/>
              <a:gd name="connsiteY89" fmla="*/ 4218790 h 4454665"/>
              <a:gd name="connsiteX90" fmla="*/ 11088997 w 12192000"/>
              <a:gd name="connsiteY90" fmla="*/ 4218790 h 4454665"/>
              <a:gd name="connsiteX91" fmla="*/ 11045332 w 12192000"/>
              <a:gd name="connsiteY91" fmla="*/ 4267830 h 4454665"/>
              <a:gd name="connsiteX92" fmla="*/ 11088997 w 12192000"/>
              <a:gd name="connsiteY92" fmla="*/ 4316869 h 4454665"/>
              <a:gd name="connsiteX93" fmla="*/ 11132662 w 12192000"/>
              <a:gd name="connsiteY93" fmla="*/ 4267830 h 4454665"/>
              <a:gd name="connsiteX94" fmla="*/ 11088997 w 12192000"/>
              <a:gd name="connsiteY94" fmla="*/ 4218790 h 4454665"/>
              <a:gd name="connsiteX95" fmla="*/ 10883851 w 12192000"/>
              <a:gd name="connsiteY95" fmla="*/ 4218790 h 4454665"/>
              <a:gd name="connsiteX96" fmla="*/ 10855700 w 12192000"/>
              <a:gd name="connsiteY96" fmla="*/ 4222293 h 4454665"/>
              <a:gd name="connsiteX97" fmla="*/ 10855700 w 12192000"/>
              <a:gd name="connsiteY97" fmla="*/ 4236304 h 4454665"/>
              <a:gd name="connsiteX98" fmla="*/ 10883851 w 12192000"/>
              <a:gd name="connsiteY98" fmla="*/ 4225796 h 4454665"/>
              <a:gd name="connsiteX99" fmla="*/ 10904964 w 12192000"/>
              <a:gd name="connsiteY99" fmla="*/ 4250316 h 4454665"/>
              <a:gd name="connsiteX100" fmla="*/ 10904964 w 12192000"/>
              <a:gd name="connsiteY100" fmla="*/ 4257321 h 4454665"/>
              <a:gd name="connsiteX101" fmla="*/ 10845144 w 12192000"/>
              <a:gd name="connsiteY101" fmla="*/ 4288846 h 4454665"/>
              <a:gd name="connsiteX102" fmla="*/ 10876813 w 12192000"/>
              <a:gd name="connsiteY102" fmla="*/ 4316869 h 4454665"/>
              <a:gd name="connsiteX103" fmla="*/ 10904964 w 12192000"/>
              <a:gd name="connsiteY103" fmla="*/ 4299355 h 4454665"/>
              <a:gd name="connsiteX104" fmla="*/ 10908483 w 12192000"/>
              <a:gd name="connsiteY104" fmla="*/ 4299355 h 4454665"/>
              <a:gd name="connsiteX105" fmla="*/ 10908483 w 12192000"/>
              <a:gd name="connsiteY105" fmla="*/ 4313366 h 4454665"/>
              <a:gd name="connsiteX106" fmla="*/ 10919039 w 12192000"/>
              <a:gd name="connsiteY106" fmla="*/ 4313366 h 4454665"/>
              <a:gd name="connsiteX107" fmla="*/ 10919039 w 12192000"/>
              <a:gd name="connsiteY107" fmla="*/ 4295852 h 4454665"/>
              <a:gd name="connsiteX108" fmla="*/ 10919039 w 12192000"/>
              <a:gd name="connsiteY108" fmla="*/ 4253819 h 4454665"/>
              <a:gd name="connsiteX109" fmla="*/ 10883851 w 12192000"/>
              <a:gd name="connsiteY109" fmla="*/ 4218790 h 4454665"/>
              <a:gd name="connsiteX110" fmla="*/ 10642268 w 12192000"/>
              <a:gd name="connsiteY110" fmla="*/ 4218790 h 4454665"/>
              <a:gd name="connsiteX111" fmla="*/ 10642268 w 12192000"/>
              <a:gd name="connsiteY111" fmla="*/ 4243173 h 4454665"/>
              <a:gd name="connsiteX112" fmla="*/ 10642268 w 12192000"/>
              <a:gd name="connsiteY112" fmla="*/ 4312838 h 4454665"/>
              <a:gd name="connsiteX113" fmla="*/ 10656343 w 12192000"/>
              <a:gd name="connsiteY113" fmla="*/ 4312838 h 4454665"/>
              <a:gd name="connsiteX114" fmla="*/ 10656343 w 12192000"/>
              <a:gd name="connsiteY114" fmla="*/ 4260589 h 4454665"/>
              <a:gd name="connsiteX115" fmla="*/ 10684494 w 12192000"/>
              <a:gd name="connsiteY115" fmla="*/ 4225756 h 4454665"/>
              <a:gd name="connsiteX116" fmla="*/ 10705607 w 12192000"/>
              <a:gd name="connsiteY116" fmla="*/ 4257106 h 4454665"/>
              <a:gd name="connsiteX117" fmla="*/ 10705607 w 12192000"/>
              <a:gd name="connsiteY117" fmla="*/ 4312838 h 4454665"/>
              <a:gd name="connsiteX118" fmla="*/ 10716163 w 12192000"/>
              <a:gd name="connsiteY118" fmla="*/ 4312838 h 4454665"/>
              <a:gd name="connsiteX119" fmla="*/ 10716163 w 12192000"/>
              <a:gd name="connsiteY119" fmla="*/ 4253622 h 4454665"/>
              <a:gd name="connsiteX120" fmla="*/ 10684494 w 12192000"/>
              <a:gd name="connsiteY120" fmla="*/ 4218790 h 4454665"/>
              <a:gd name="connsiteX121" fmla="*/ 10652824 w 12192000"/>
              <a:gd name="connsiteY121" fmla="*/ 4236206 h 4454665"/>
              <a:gd name="connsiteX122" fmla="*/ 10652824 w 12192000"/>
              <a:gd name="connsiteY122" fmla="*/ 4218790 h 4454665"/>
              <a:gd name="connsiteX123" fmla="*/ 10642268 w 12192000"/>
              <a:gd name="connsiteY123" fmla="*/ 4218790 h 4454665"/>
              <a:gd name="connsiteX124" fmla="*/ 10540159 w 12192000"/>
              <a:gd name="connsiteY124" fmla="*/ 4218790 h 4454665"/>
              <a:gd name="connsiteX125" fmla="*/ 10540159 w 12192000"/>
              <a:gd name="connsiteY125" fmla="*/ 4281840 h 4454665"/>
              <a:gd name="connsiteX126" fmla="*/ 10571828 w 12192000"/>
              <a:gd name="connsiteY126" fmla="*/ 4316869 h 4454665"/>
              <a:gd name="connsiteX127" fmla="*/ 10603498 w 12192000"/>
              <a:gd name="connsiteY127" fmla="*/ 4299355 h 4454665"/>
              <a:gd name="connsiteX128" fmla="*/ 10603498 w 12192000"/>
              <a:gd name="connsiteY128" fmla="*/ 4313366 h 4454665"/>
              <a:gd name="connsiteX129" fmla="*/ 10614054 w 12192000"/>
              <a:gd name="connsiteY129" fmla="*/ 4313366 h 4454665"/>
              <a:gd name="connsiteX130" fmla="*/ 10614054 w 12192000"/>
              <a:gd name="connsiteY130" fmla="*/ 4292349 h 4454665"/>
              <a:gd name="connsiteX131" fmla="*/ 10614054 w 12192000"/>
              <a:gd name="connsiteY131" fmla="*/ 4218790 h 4454665"/>
              <a:gd name="connsiteX132" fmla="*/ 10599979 w 12192000"/>
              <a:gd name="connsiteY132" fmla="*/ 4218790 h 4454665"/>
              <a:gd name="connsiteX133" fmla="*/ 10599979 w 12192000"/>
              <a:gd name="connsiteY133" fmla="*/ 4271332 h 4454665"/>
              <a:gd name="connsiteX134" fmla="*/ 10571828 w 12192000"/>
              <a:gd name="connsiteY134" fmla="*/ 4306360 h 4454665"/>
              <a:gd name="connsiteX135" fmla="*/ 10550715 w 12192000"/>
              <a:gd name="connsiteY135" fmla="*/ 4278338 h 4454665"/>
              <a:gd name="connsiteX136" fmla="*/ 10550715 w 12192000"/>
              <a:gd name="connsiteY136" fmla="*/ 4218790 h 4454665"/>
              <a:gd name="connsiteX137" fmla="*/ 10540159 w 12192000"/>
              <a:gd name="connsiteY137" fmla="*/ 4218790 h 4454665"/>
              <a:gd name="connsiteX138" fmla="*/ 10471637 w 12192000"/>
              <a:gd name="connsiteY138" fmla="*/ 4218790 h 4454665"/>
              <a:gd name="connsiteX139" fmla="*/ 10427300 w 12192000"/>
              <a:gd name="connsiteY139" fmla="*/ 4267830 h 4454665"/>
              <a:gd name="connsiteX140" fmla="*/ 10471637 w 12192000"/>
              <a:gd name="connsiteY140" fmla="*/ 4316869 h 4454665"/>
              <a:gd name="connsiteX141" fmla="*/ 10515975 w 12192000"/>
              <a:gd name="connsiteY141" fmla="*/ 4267830 h 4454665"/>
              <a:gd name="connsiteX142" fmla="*/ 10471637 w 12192000"/>
              <a:gd name="connsiteY142" fmla="*/ 4218790 h 4454665"/>
              <a:gd name="connsiteX143" fmla="*/ 11655303 w 12192000"/>
              <a:gd name="connsiteY143" fmla="*/ 4204011 h 4454665"/>
              <a:gd name="connsiteX144" fmla="*/ 11659333 w 12192000"/>
              <a:gd name="connsiteY144" fmla="*/ 4214760 h 4454665"/>
              <a:gd name="connsiteX145" fmla="*/ 11663364 w 12192000"/>
              <a:gd name="connsiteY145" fmla="*/ 4221478 h 4454665"/>
              <a:gd name="connsiteX146" fmla="*/ 11648585 w 12192000"/>
              <a:gd name="connsiteY146" fmla="*/ 4221478 h 4454665"/>
              <a:gd name="connsiteX147" fmla="*/ 11652616 w 12192000"/>
              <a:gd name="connsiteY147" fmla="*/ 4214760 h 4454665"/>
              <a:gd name="connsiteX148" fmla="*/ 11659446 w 12192000"/>
              <a:gd name="connsiteY148" fmla="*/ 4193263 h 4454665"/>
              <a:gd name="connsiteX149" fmla="*/ 11649032 w 12192000"/>
              <a:gd name="connsiteY149" fmla="*/ 4196777 h 4454665"/>
              <a:gd name="connsiteX150" fmla="*/ 11645562 w 12192000"/>
              <a:gd name="connsiteY150" fmla="*/ 4214347 h 4454665"/>
              <a:gd name="connsiteX151" fmla="*/ 11635149 w 12192000"/>
              <a:gd name="connsiteY151" fmla="*/ 4235429 h 4454665"/>
              <a:gd name="connsiteX152" fmla="*/ 11645562 w 12192000"/>
              <a:gd name="connsiteY152" fmla="*/ 4238943 h 4454665"/>
              <a:gd name="connsiteX153" fmla="*/ 11645562 w 12192000"/>
              <a:gd name="connsiteY153" fmla="*/ 4228402 h 4454665"/>
              <a:gd name="connsiteX154" fmla="*/ 11666387 w 12192000"/>
              <a:gd name="connsiteY154" fmla="*/ 4228402 h 4454665"/>
              <a:gd name="connsiteX155" fmla="*/ 11666387 w 12192000"/>
              <a:gd name="connsiteY155" fmla="*/ 4235429 h 4454665"/>
              <a:gd name="connsiteX156" fmla="*/ 11676800 w 12192000"/>
              <a:gd name="connsiteY156" fmla="*/ 4235429 h 4454665"/>
              <a:gd name="connsiteX157" fmla="*/ 11666387 w 12192000"/>
              <a:gd name="connsiteY157" fmla="*/ 4214347 h 4454665"/>
              <a:gd name="connsiteX158" fmla="*/ 11659446 w 12192000"/>
              <a:gd name="connsiteY158" fmla="*/ 4196777 h 4454665"/>
              <a:gd name="connsiteX159" fmla="*/ 11659446 w 12192000"/>
              <a:gd name="connsiteY159" fmla="*/ 4193263 h 4454665"/>
              <a:gd name="connsiteX160" fmla="*/ 10964451 w 12192000"/>
              <a:gd name="connsiteY160" fmla="*/ 4193262 h 4454665"/>
              <a:gd name="connsiteX161" fmla="*/ 10953971 w 12192000"/>
              <a:gd name="connsiteY161" fmla="*/ 4196794 h 4454665"/>
              <a:gd name="connsiteX162" fmla="*/ 10953971 w 12192000"/>
              <a:gd name="connsiteY162" fmla="*/ 4217983 h 4454665"/>
              <a:gd name="connsiteX163" fmla="*/ 10936505 w 12192000"/>
              <a:gd name="connsiteY163" fmla="*/ 4217983 h 4454665"/>
              <a:gd name="connsiteX164" fmla="*/ 10936505 w 12192000"/>
              <a:gd name="connsiteY164" fmla="*/ 4228578 h 4454665"/>
              <a:gd name="connsiteX165" fmla="*/ 10953971 w 12192000"/>
              <a:gd name="connsiteY165" fmla="*/ 4228578 h 4454665"/>
              <a:gd name="connsiteX166" fmla="*/ 10953971 w 12192000"/>
              <a:gd name="connsiteY166" fmla="*/ 4285084 h 4454665"/>
              <a:gd name="connsiteX167" fmla="*/ 10974931 w 12192000"/>
              <a:gd name="connsiteY167" fmla="*/ 4316868 h 4454665"/>
              <a:gd name="connsiteX168" fmla="*/ 10988904 w 12192000"/>
              <a:gd name="connsiteY168" fmla="*/ 4313337 h 4454665"/>
              <a:gd name="connsiteX169" fmla="*/ 10988904 w 12192000"/>
              <a:gd name="connsiteY169" fmla="*/ 4302742 h 4454665"/>
              <a:gd name="connsiteX170" fmla="*/ 10978424 w 12192000"/>
              <a:gd name="connsiteY170" fmla="*/ 4306273 h 4454665"/>
              <a:gd name="connsiteX171" fmla="*/ 10964451 w 12192000"/>
              <a:gd name="connsiteY171" fmla="*/ 4292147 h 4454665"/>
              <a:gd name="connsiteX172" fmla="*/ 10964451 w 12192000"/>
              <a:gd name="connsiteY172" fmla="*/ 4228578 h 4454665"/>
              <a:gd name="connsiteX173" fmla="*/ 10985410 w 12192000"/>
              <a:gd name="connsiteY173" fmla="*/ 4228578 h 4454665"/>
              <a:gd name="connsiteX174" fmla="*/ 10985410 w 12192000"/>
              <a:gd name="connsiteY174" fmla="*/ 4217983 h 4454665"/>
              <a:gd name="connsiteX175" fmla="*/ 10964451 w 12192000"/>
              <a:gd name="connsiteY175" fmla="*/ 4217983 h 4454665"/>
              <a:gd name="connsiteX176" fmla="*/ 10964451 w 12192000"/>
              <a:gd name="connsiteY176" fmla="*/ 4193262 h 4454665"/>
              <a:gd name="connsiteX177" fmla="*/ 11599881 w 12192000"/>
              <a:gd name="connsiteY177" fmla="*/ 4190576 h 4454665"/>
              <a:gd name="connsiteX178" fmla="*/ 11589469 w 12192000"/>
              <a:gd name="connsiteY178" fmla="*/ 4232742 h 4454665"/>
              <a:gd name="connsiteX179" fmla="*/ 11599881 w 12192000"/>
              <a:gd name="connsiteY179" fmla="*/ 4232742 h 4454665"/>
              <a:gd name="connsiteX180" fmla="*/ 11603352 w 12192000"/>
              <a:gd name="connsiteY180" fmla="*/ 4208146 h 4454665"/>
              <a:gd name="connsiteX181" fmla="*/ 11617236 w 12192000"/>
              <a:gd name="connsiteY181" fmla="*/ 4236256 h 4454665"/>
              <a:gd name="connsiteX182" fmla="*/ 11624178 w 12192000"/>
              <a:gd name="connsiteY182" fmla="*/ 4236256 h 4454665"/>
              <a:gd name="connsiteX183" fmla="*/ 11631119 w 12192000"/>
              <a:gd name="connsiteY183" fmla="*/ 4194090 h 4454665"/>
              <a:gd name="connsiteX184" fmla="*/ 11624178 w 12192000"/>
              <a:gd name="connsiteY184" fmla="*/ 4194090 h 4454665"/>
              <a:gd name="connsiteX185" fmla="*/ 11620707 w 12192000"/>
              <a:gd name="connsiteY185" fmla="*/ 4222201 h 4454665"/>
              <a:gd name="connsiteX186" fmla="*/ 11606824 w 12192000"/>
              <a:gd name="connsiteY186" fmla="*/ 4190576 h 4454665"/>
              <a:gd name="connsiteX187" fmla="*/ 11599881 w 12192000"/>
              <a:gd name="connsiteY187" fmla="*/ 4190576 h 4454665"/>
              <a:gd name="connsiteX188" fmla="*/ 11709044 w 12192000"/>
              <a:gd name="connsiteY188" fmla="*/ 4186546 h 4454665"/>
              <a:gd name="connsiteX189" fmla="*/ 11674112 w 12192000"/>
              <a:gd name="connsiteY189" fmla="*/ 4193647 h 4454665"/>
              <a:gd name="connsiteX190" fmla="*/ 11674112 w 12192000"/>
              <a:gd name="connsiteY190" fmla="*/ 4200749 h 4454665"/>
              <a:gd name="connsiteX191" fmla="*/ 11688084 w 12192000"/>
              <a:gd name="connsiteY191" fmla="*/ 4200749 h 4454665"/>
              <a:gd name="connsiteX192" fmla="*/ 11695071 w 12192000"/>
              <a:gd name="connsiteY192" fmla="*/ 4236257 h 4454665"/>
              <a:gd name="connsiteX193" fmla="*/ 11702057 w 12192000"/>
              <a:gd name="connsiteY193" fmla="*/ 4232706 h 4454665"/>
              <a:gd name="connsiteX194" fmla="*/ 11695071 w 12192000"/>
              <a:gd name="connsiteY194" fmla="*/ 4197198 h 4454665"/>
              <a:gd name="connsiteX195" fmla="*/ 11709044 w 12192000"/>
              <a:gd name="connsiteY195" fmla="*/ 4193647 h 4454665"/>
              <a:gd name="connsiteX196" fmla="*/ 11564748 w 12192000"/>
              <a:gd name="connsiteY196" fmla="*/ 4186546 h 4454665"/>
              <a:gd name="connsiteX197" fmla="*/ 11575228 w 12192000"/>
              <a:gd name="connsiteY197" fmla="*/ 4189905 h 4454665"/>
              <a:gd name="connsiteX198" fmla="*/ 11578720 w 12192000"/>
              <a:gd name="connsiteY198" fmla="*/ 4193264 h 4454665"/>
              <a:gd name="connsiteX199" fmla="*/ 11578720 w 12192000"/>
              <a:gd name="connsiteY199" fmla="*/ 4196622 h 4454665"/>
              <a:gd name="connsiteX200" fmla="*/ 11571734 w 12192000"/>
              <a:gd name="connsiteY200" fmla="*/ 4199981 h 4454665"/>
              <a:gd name="connsiteX201" fmla="*/ 11561254 w 12192000"/>
              <a:gd name="connsiteY201" fmla="*/ 4196622 h 4454665"/>
              <a:gd name="connsiteX202" fmla="*/ 11564748 w 12192000"/>
              <a:gd name="connsiteY202" fmla="*/ 4193264 h 4454665"/>
              <a:gd name="connsiteX203" fmla="*/ 11564748 w 12192000"/>
              <a:gd name="connsiteY203" fmla="*/ 4186546 h 4454665"/>
              <a:gd name="connsiteX204" fmla="*/ 11014562 w 12192000"/>
              <a:gd name="connsiteY204" fmla="*/ 4184660 h 4454665"/>
              <a:gd name="connsiteX205" fmla="*/ 11014562 w 12192000"/>
              <a:gd name="connsiteY205" fmla="*/ 4198354 h 4454665"/>
              <a:gd name="connsiteX206" fmla="*/ 11026851 w 12192000"/>
              <a:gd name="connsiteY206" fmla="*/ 4198354 h 4454665"/>
              <a:gd name="connsiteX207" fmla="*/ 11026851 w 12192000"/>
              <a:gd name="connsiteY207" fmla="*/ 4184660 h 4454665"/>
              <a:gd name="connsiteX208" fmla="*/ 11715762 w 12192000"/>
              <a:gd name="connsiteY208" fmla="*/ 4182514 h 4454665"/>
              <a:gd name="connsiteX209" fmla="*/ 11729582 w 12192000"/>
              <a:gd name="connsiteY209" fmla="*/ 4225508 h 4454665"/>
              <a:gd name="connsiteX210" fmla="*/ 11739946 w 12192000"/>
              <a:gd name="connsiteY210" fmla="*/ 4221925 h 4454665"/>
              <a:gd name="connsiteX211" fmla="*/ 11726127 w 12192000"/>
              <a:gd name="connsiteY211" fmla="*/ 4182514 h 4454665"/>
              <a:gd name="connsiteX212" fmla="*/ 11715762 w 12192000"/>
              <a:gd name="connsiteY212" fmla="*/ 4182514 h 4454665"/>
              <a:gd name="connsiteX213" fmla="*/ 10346688 w 12192000"/>
              <a:gd name="connsiteY213" fmla="*/ 4182514 h 4454665"/>
              <a:gd name="connsiteX214" fmla="*/ 10346688 w 12192000"/>
              <a:gd name="connsiteY214" fmla="*/ 4312838 h 4454665"/>
              <a:gd name="connsiteX215" fmla="*/ 10361467 w 12192000"/>
              <a:gd name="connsiteY215" fmla="*/ 4312838 h 4454665"/>
              <a:gd name="connsiteX216" fmla="*/ 10361467 w 12192000"/>
              <a:gd name="connsiteY216" fmla="*/ 4253722 h 4454665"/>
              <a:gd name="connsiteX217" fmla="*/ 10407148 w 12192000"/>
              <a:gd name="connsiteY217" fmla="*/ 4253722 h 4454665"/>
              <a:gd name="connsiteX218" fmla="*/ 10407148 w 12192000"/>
              <a:gd name="connsiteY218" fmla="*/ 4242974 h 4454665"/>
              <a:gd name="connsiteX219" fmla="*/ 10361467 w 12192000"/>
              <a:gd name="connsiteY219" fmla="*/ 4242974 h 4454665"/>
              <a:gd name="connsiteX220" fmla="*/ 10361467 w 12192000"/>
              <a:gd name="connsiteY220" fmla="*/ 4193262 h 4454665"/>
              <a:gd name="connsiteX221" fmla="*/ 10409835 w 12192000"/>
              <a:gd name="connsiteY221" fmla="*/ 4193262 h 4454665"/>
              <a:gd name="connsiteX222" fmla="*/ 10409835 w 12192000"/>
              <a:gd name="connsiteY222" fmla="*/ 4182514 h 4454665"/>
              <a:gd name="connsiteX223" fmla="*/ 11561143 w 12192000"/>
              <a:gd name="connsiteY223" fmla="*/ 4175797 h 4454665"/>
              <a:gd name="connsiteX224" fmla="*/ 11554200 w 12192000"/>
              <a:gd name="connsiteY224" fmla="*/ 4193264 h 4454665"/>
              <a:gd name="connsiteX225" fmla="*/ 11554200 w 12192000"/>
              <a:gd name="connsiteY225" fmla="*/ 4196756 h 4454665"/>
              <a:gd name="connsiteX226" fmla="*/ 11543788 w 12192000"/>
              <a:gd name="connsiteY226" fmla="*/ 4214223 h 4454665"/>
              <a:gd name="connsiteX227" fmla="*/ 11554200 w 12192000"/>
              <a:gd name="connsiteY227" fmla="*/ 4217716 h 4454665"/>
              <a:gd name="connsiteX228" fmla="*/ 11557671 w 12192000"/>
              <a:gd name="connsiteY228" fmla="*/ 4203743 h 4454665"/>
              <a:gd name="connsiteX229" fmla="*/ 11568084 w 12192000"/>
              <a:gd name="connsiteY229" fmla="*/ 4207237 h 4454665"/>
              <a:gd name="connsiteX230" fmla="*/ 11568084 w 12192000"/>
              <a:gd name="connsiteY230" fmla="*/ 4224702 h 4454665"/>
              <a:gd name="connsiteX231" fmla="*/ 11578497 w 12192000"/>
              <a:gd name="connsiteY231" fmla="*/ 4228196 h 4454665"/>
              <a:gd name="connsiteX232" fmla="*/ 11575026 w 12192000"/>
              <a:gd name="connsiteY232" fmla="*/ 4207237 h 4454665"/>
              <a:gd name="connsiteX233" fmla="*/ 11585438 w 12192000"/>
              <a:gd name="connsiteY233" fmla="*/ 4196756 h 4454665"/>
              <a:gd name="connsiteX234" fmla="*/ 11585438 w 12192000"/>
              <a:gd name="connsiteY234" fmla="*/ 4193264 h 4454665"/>
              <a:gd name="connsiteX235" fmla="*/ 11578497 w 12192000"/>
              <a:gd name="connsiteY235" fmla="*/ 4182784 h 4454665"/>
              <a:gd name="connsiteX236" fmla="*/ 11561143 w 12192000"/>
              <a:gd name="connsiteY236" fmla="*/ 4175797 h 4454665"/>
              <a:gd name="connsiteX237" fmla="*/ 11766241 w 12192000"/>
              <a:gd name="connsiteY237" fmla="*/ 4173090 h 4454665"/>
              <a:gd name="connsiteX238" fmla="*/ 11774878 w 12192000"/>
              <a:gd name="connsiteY238" fmla="*/ 4178821 h 4454665"/>
              <a:gd name="connsiteX239" fmla="*/ 11774878 w 12192000"/>
              <a:gd name="connsiteY239" fmla="*/ 4185874 h 4454665"/>
              <a:gd name="connsiteX240" fmla="*/ 11771423 w 12192000"/>
              <a:gd name="connsiteY240" fmla="*/ 4196455 h 4454665"/>
              <a:gd name="connsiteX241" fmla="*/ 11767968 w 12192000"/>
              <a:gd name="connsiteY241" fmla="*/ 4199982 h 4454665"/>
              <a:gd name="connsiteX242" fmla="*/ 11754149 w 12192000"/>
              <a:gd name="connsiteY242" fmla="*/ 4196455 h 4454665"/>
              <a:gd name="connsiteX243" fmla="*/ 11750694 w 12192000"/>
              <a:gd name="connsiteY243" fmla="*/ 4192929 h 4454665"/>
              <a:gd name="connsiteX244" fmla="*/ 11750694 w 12192000"/>
              <a:gd name="connsiteY244" fmla="*/ 4185874 h 4454665"/>
              <a:gd name="connsiteX245" fmla="*/ 11757604 w 12192000"/>
              <a:gd name="connsiteY245" fmla="*/ 4175294 h 4454665"/>
              <a:gd name="connsiteX246" fmla="*/ 11766241 w 12192000"/>
              <a:gd name="connsiteY246" fmla="*/ 4173090 h 4454665"/>
              <a:gd name="connsiteX247" fmla="*/ 10810738 w 12192000"/>
              <a:gd name="connsiteY247" fmla="*/ 4171765 h 4454665"/>
              <a:gd name="connsiteX248" fmla="*/ 10810738 w 12192000"/>
              <a:gd name="connsiteY248" fmla="*/ 4235469 h 4454665"/>
              <a:gd name="connsiteX249" fmla="*/ 10782231 w 12192000"/>
              <a:gd name="connsiteY249" fmla="*/ 4217773 h 4454665"/>
              <a:gd name="connsiteX250" fmla="*/ 10743034 w 12192000"/>
              <a:gd name="connsiteY250" fmla="*/ 4267321 h 4454665"/>
              <a:gd name="connsiteX251" fmla="*/ 10782231 w 12192000"/>
              <a:gd name="connsiteY251" fmla="*/ 4316868 h 4454665"/>
              <a:gd name="connsiteX252" fmla="*/ 10810738 w 12192000"/>
              <a:gd name="connsiteY252" fmla="*/ 4299172 h 4454665"/>
              <a:gd name="connsiteX253" fmla="*/ 10810738 w 12192000"/>
              <a:gd name="connsiteY253" fmla="*/ 4313329 h 4454665"/>
              <a:gd name="connsiteX254" fmla="*/ 10824991 w 12192000"/>
              <a:gd name="connsiteY254" fmla="*/ 4313329 h 4454665"/>
              <a:gd name="connsiteX255" fmla="*/ 10824991 w 12192000"/>
              <a:gd name="connsiteY255" fmla="*/ 4171765 h 4454665"/>
              <a:gd name="connsiteX256" fmla="*/ 10810738 w 12192000"/>
              <a:gd name="connsiteY256" fmla="*/ 4171765 h 4454665"/>
              <a:gd name="connsiteX257" fmla="*/ 11768161 w 12192000"/>
              <a:gd name="connsiteY257" fmla="*/ 4166249 h 4454665"/>
              <a:gd name="connsiteX258" fmla="*/ 11750694 w 12192000"/>
              <a:gd name="connsiteY258" fmla="*/ 4169272 h 4454665"/>
              <a:gd name="connsiteX259" fmla="*/ 11739946 w 12192000"/>
              <a:gd name="connsiteY259" fmla="*/ 4186546 h 4454665"/>
              <a:gd name="connsiteX260" fmla="*/ 11743528 w 12192000"/>
              <a:gd name="connsiteY260" fmla="*/ 4196911 h 4454665"/>
              <a:gd name="connsiteX261" fmla="*/ 11772191 w 12192000"/>
              <a:gd name="connsiteY261" fmla="*/ 4203821 h 4454665"/>
              <a:gd name="connsiteX262" fmla="*/ 11782939 w 12192000"/>
              <a:gd name="connsiteY262" fmla="*/ 4196911 h 4454665"/>
              <a:gd name="connsiteX263" fmla="*/ 11782939 w 12192000"/>
              <a:gd name="connsiteY263" fmla="*/ 4186546 h 4454665"/>
              <a:gd name="connsiteX264" fmla="*/ 11782939 w 12192000"/>
              <a:gd name="connsiteY264" fmla="*/ 4176182 h 4454665"/>
              <a:gd name="connsiteX265" fmla="*/ 11768161 w 12192000"/>
              <a:gd name="connsiteY265" fmla="*/ 4166249 h 4454665"/>
              <a:gd name="connsiteX266" fmla="*/ 11525909 w 12192000"/>
              <a:gd name="connsiteY266" fmla="*/ 4158331 h 4454665"/>
              <a:gd name="connsiteX267" fmla="*/ 11504825 w 12192000"/>
              <a:gd name="connsiteY267" fmla="*/ 4193263 h 4454665"/>
              <a:gd name="connsiteX268" fmla="*/ 11529423 w 12192000"/>
              <a:gd name="connsiteY268" fmla="*/ 4210729 h 4454665"/>
              <a:gd name="connsiteX269" fmla="*/ 11532937 w 12192000"/>
              <a:gd name="connsiteY269" fmla="*/ 4203743 h 4454665"/>
              <a:gd name="connsiteX270" fmla="*/ 11515367 w 12192000"/>
              <a:gd name="connsiteY270" fmla="*/ 4193263 h 4454665"/>
              <a:gd name="connsiteX271" fmla="*/ 11522395 w 12192000"/>
              <a:gd name="connsiteY271" fmla="*/ 4182784 h 4454665"/>
              <a:gd name="connsiteX272" fmla="*/ 11532937 w 12192000"/>
              <a:gd name="connsiteY272" fmla="*/ 4189770 h 4454665"/>
              <a:gd name="connsiteX273" fmla="*/ 11536450 w 12192000"/>
              <a:gd name="connsiteY273" fmla="*/ 4182784 h 4454665"/>
              <a:gd name="connsiteX274" fmla="*/ 11525909 w 12192000"/>
              <a:gd name="connsiteY274" fmla="*/ 4175797 h 4454665"/>
              <a:gd name="connsiteX275" fmla="*/ 11529423 w 12192000"/>
              <a:gd name="connsiteY275" fmla="*/ 4168811 h 4454665"/>
              <a:gd name="connsiteX276" fmla="*/ 11546992 w 12192000"/>
              <a:gd name="connsiteY276" fmla="*/ 4179290 h 4454665"/>
              <a:gd name="connsiteX277" fmla="*/ 11550506 w 12192000"/>
              <a:gd name="connsiteY277" fmla="*/ 4172303 h 4454665"/>
              <a:gd name="connsiteX278" fmla="*/ 11525909 w 12192000"/>
              <a:gd name="connsiteY278" fmla="*/ 4158331 h 4454665"/>
              <a:gd name="connsiteX279" fmla="*/ 11803361 w 12192000"/>
              <a:gd name="connsiteY279" fmla="*/ 4130117 h 4454665"/>
              <a:gd name="connsiteX280" fmla="*/ 11796375 w 12192000"/>
              <a:gd name="connsiteY280" fmla="*/ 4137170 h 4454665"/>
              <a:gd name="connsiteX281" fmla="*/ 11813840 w 12192000"/>
              <a:gd name="connsiteY281" fmla="*/ 4154804 h 4454665"/>
              <a:gd name="connsiteX282" fmla="*/ 11785895 w 12192000"/>
              <a:gd name="connsiteY282" fmla="*/ 4147751 h 4454665"/>
              <a:gd name="connsiteX283" fmla="*/ 11778908 w 12192000"/>
              <a:gd name="connsiteY283" fmla="*/ 4151277 h 4454665"/>
              <a:gd name="connsiteX284" fmla="*/ 11803361 w 12192000"/>
              <a:gd name="connsiteY284" fmla="*/ 4186546 h 4454665"/>
              <a:gd name="connsiteX285" fmla="*/ 11810348 w 12192000"/>
              <a:gd name="connsiteY285" fmla="*/ 4179492 h 4454665"/>
              <a:gd name="connsiteX286" fmla="*/ 11796375 w 12192000"/>
              <a:gd name="connsiteY286" fmla="*/ 4158331 h 4454665"/>
              <a:gd name="connsiteX287" fmla="*/ 11824320 w 12192000"/>
              <a:gd name="connsiteY287" fmla="*/ 4168911 h 4454665"/>
              <a:gd name="connsiteX288" fmla="*/ 11831307 w 12192000"/>
              <a:gd name="connsiteY288" fmla="*/ 4161858 h 4454665"/>
              <a:gd name="connsiteX289" fmla="*/ 11803361 w 12192000"/>
              <a:gd name="connsiteY289" fmla="*/ 4130117 h 4454665"/>
              <a:gd name="connsiteX290" fmla="*/ 11495008 w 12192000"/>
              <a:gd name="connsiteY290" fmla="*/ 4130117 h 4454665"/>
              <a:gd name="connsiteX291" fmla="*/ 11487980 w 12192000"/>
              <a:gd name="connsiteY291" fmla="*/ 4133630 h 4454665"/>
              <a:gd name="connsiteX292" fmla="*/ 11498522 w 12192000"/>
              <a:gd name="connsiteY292" fmla="*/ 4144172 h 4454665"/>
              <a:gd name="connsiteX293" fmla="*/ 11473924 w 12192000"/>
              <a:gd name="connsiteY293" fmla="*/ 4168769 h 4454665"/>
              <a:gd name="connsiteX294" fmla="*/ 11480952 w 12192000"/>
              <a:gd name="connsiteY294" fmla="*/ 4175797 h 4454665"/>
              <a:gd name="connsiteX295" fmla="*/ 11505548 w 12192000"/>
              <a:gd name="connsiteY295" fmla="*/ 4151200 h 4454665"/>
              <a:gd name="connsiteX296" fmla="*/ 11516090 w 12192000"/>
              <a:gd name="connsiteY296" fmla="*/ 4158227 h 4454665"/>
              <a:gd name="connsiteX297" fmla="*/ 11519604 w 12192000"/>
              <a:gd name="connsiteY297" fmla="*/ 4151200 h 4454665"/>
              <a:gd name="connsiteX298" fmla="*/ 11495008 w 12192000"/>
              <a:gd name="connsiteY298" fmla="*/ 4130117 h 4454665"/>
              <a:gd name="connsiteX299" fmla="*/ 11824589 w 12192000"/>
              <a:gd name="connsiteY299" fmla="*/ 4119368 h 4454665"/>
              <a:gd name="connsiteX300" fmla="*/ 11842055 w 12192000"/>
              <a:gd name="connsiteY300" fmla="*/ 4126086 h 4454665"/>
              <a:gd name="connsiteX301" fmla="*/ 11842055 w 12192000"/>
              <a:gd name="connsiteY301" fmla="*/ 4130117 h 4454665"/>
              <a:gd name="connsiteX302" fmla="*/ 11835337 w 12192000"/>
              <a:gd name="connsiteY302" fmla="*/ 4136835 h 4454665"/>
              <a:gd name="connsiteX303" fmla="*/ 11831307 w 12192000"/>
              <a:gd name="connsiteY303" fmla="*/ 4130117 h 4454665"/>
              <a:gd name="connsiteX304" fmla="*/ 11820942 w 12192000"/>
              <a:gd name="connsiteY304" fmla="*/ 4112650 h 4454665"/>
              <a:gd name="connsiteX305" fmla="*/ 11813840 w 12192000"/>
              <a:gd name="connsiteY305" fmla="*/ 4119592 h 4454665"/>
              <a:gd name="connsiteX306" fmla="*/ 11820942 w 12192000"/>
              <a:gd name="connsiteY306" fmla="*/ 4130004 h 4454665"/>
              <a:gd name="connsiteX307" fmla="*/ 11838696 w 12192000"/>
              <a:gd name="connsiteY307" fmla="*/ 4154300 h 4454665"/>
              <a:gd name="connsiteX308" fmla="*/ 11842247 w 12192000"/>
              <a:gd name="connsiteY308" fmla="*/ 4150830 h 4454665"/>
              <a:gd name="connsiteX309" fmla="*/ 11838696 w 12192000"/>
              <a:gd name="connsiteY309" fmla="*/ 4143888 h 4454665"/>
              <a:gd name="connsiteX310" fmla="*/ 11849349 w 12192000"/>
              <a:gd name="connsiteY310" fmla="*/ 4130004 h 4454665"/>
              <a:gd name="connsiteX311" fmla="*/ 11856450 w 12192000"/>
              <a:gd name="connsiteY311" fmla="*/ 4130004 h 4454665"/>
              <a:gd name="connsiteX312" fmla="*/ 11860002 w 12192000"/>
              <a:gd name="connsiteY312" fmla="*/ 4130004 h 4454665"/>
              <a:gd name="connsiteX313" fmla="*/ 11863552 w 12192000"/>
              <a:gd name="connsiteY313" fmla="*/ 4123062 h 4454665"/>
              <a:gd name="connsiteX314" fmla="*/ 11820942 w 12192000"/>
              <a:gd name="connsiteY314" fmla="*/ 4112650 h 4454665"/>
              <a:gd name="connsiteX315" fmla="*/ 11466198 w 12192000"/>
              <a:gd name="connsiteY315" fmla="*/ 4097871 h 4454665"/>
              <a:gd name="connsiteX316" fmla="*/ 11430930 w 12192000"/>
              <a:gd name="connsiteY316" fmla="*/ 4122951 h 4454665"/>
              <a:gd name="connsiteX317" fmla="*/ 11437984 w 12192000"/>
              <a:gd name="connsiteY317" fmla="*/ 4130117 h 4454665"/>
              <a:gd name="connsiteX318" fmla="*/ 11459145 w 12192000"/>
              <a:gd name="connsiteY318" fmla="*/ 4115786 h 4454665"/>
              <a:gd name="connsiteX319" fmla="*/ 11448564 w 12192000"/>
              <a:gd name="connsiteY319" fmla="*/ 4144447 h 4454665"/>
              <a:gd name="connsiteX320" fmla="*/ 11455618 w 12192000"/>
              <a:gd name="connsiteY320" fmla="*/ 4151613 h 4454665"/>
              <a:gd name="connsiteX321" fmla="*/ 11487359 w 12192000"/>
              <a:gd name="connsiteY321" fmla="*/ 4122951 h 4454665"/>
              <a:gd name="connsiteX322" fmla="*/ 11483833 w 12192000"/>
              <a:gd name="connsiteY322" fmla="*/ 4115786 h 4454665"/>
              <a:gd name="connsiteX323" fmla="*/ 11462672 w 12192000"/>
              <a:gd name="connsiteY323" fmla="*/ 4133699 h 4454665"/>
              <a:gd name="connsiteX324" fmla="*/ 11473252 w 12192000"/>
              <a:gd name="connsiteY324" fmla="*/ 4105037 h 4454665"/>
              <a:gd name="connsiteX325" fmla="*/ 11466198 w 12192000"/>
              <a:gd name="connsiteY325" fmla="*/ 4097871 h 4454665"/>
              <a:gd name="connsiteX326" fmla="*/ 11835338 w 12192000"/>
              <a:gd name="connsiteY326" fmla="*/ 4087123 h 4454665"/>
              <a:gd name="connsiteX327" fmla="*/ 11831307 w 12192000"/>
              <a:gd name="connsiteY327" fmla="*/ 4095184 h 4454665"/>
              <a:gd name="connsiteX328" fmla="*/ 11870270 w 12192000"/>
              <a:gd name="connsiteY328" fmla="*/ 4115338 h 4454665"/>
              <a:gd name="connsiteX329" fmla="*/ 11883706 w 12192000"/>
              <a:gd name="connsiteY329" fmla="*/ 4091154 h 4454665"/>
              <a:gd name="connsiteX330" fmla="*/ 11876988 w 12192000"/>
              <a:gd name="connsiteY330" fmla="*/ 4087123 h 4454665"/>
              <a:gd name="connsiteX331" fmla="*/ 11866239 w 12192000"/>
              <a:gd name="connsiteY331" fmla="*/ 4105933 h 4454665"/>
              <a:gd name="connsiteX332" fmla="*/ 11459634 w 12192000"/>
              <a:gd name="connsiteY332" fmla="*/ 4084436 h 4454665"/>
              <a:gd name="connsiteX333" fmla="*/ 11424212 w 12192000"/>
              <a:gd name="connsiteY333" fmla="*/ 4105598 h 4454665"/>
              <a:gd name="connsiteX334" fmla="*/ 11427754 w 12192000"/>
              <a:gd name="connsiteY334" fmla="*/ 4112651 h 4454665"/>
              <a:gd name="connsiteX335" fmla="*/ 11463176 w 12192000"/>
              <a:gd name="connsiteY335" fmla="*/ 4091490 h 4454665"/>
              <a:gd name="connsiteX336" fmla="*/ 11459634 w 12192000"/>
              <a:gd name="connsiteY336" fmla="*/ 4084436 h 4454665"/>
              <a:gd name="connsiteX337" fmla="*/ 11450927 w 12192000"/>
              <a:gd name="connsiteY337" fmla="*/ 4050826 h 4454665"/>
              <a:gd name="connsiteX338" fmla="*/ 11456192 w 12192000"/>
              <a:gd name="connsiteY338" fmla="*/ 4056557 h 4454665"/>
              <a:gd name="connsiteX339" fmla="*/ 11649257 w 12192000"/>
              <a:gd name="connsiteY339" fmla="*/ 4187050 h 4454665"/>
              <a:gd name="connsiteX340" fmla="*/ 11842320 w 12192000"/>
              <a:gd name="connsiteY340" fmla="*/ 4056557 h 4454665"/>
              <a:gd name="connsiteX341" fmla="*/ 11847586 w 12192000"/>
              <a:gd name="connsiteY341" fmla="*/ 4050826 h 4454665"/>
              <a:gd name="connsiteX342" fmla="*/ 11852851 w 12192000"/>
              <a:gd name="connsiteY342" fmla="*/ 4053030 h 4454665"/>
              <a:gd name="connsiteX343" fmla="*/ 11891464 w 12192000"/>
              <a:gd name="connsiteY343" fmla="*/ 4063611 h 4454665"/>
              <a:gd name="connsiteX344" fmla="*/ 11898484 w 12192000"/>
              <a:gd name="connsiteY344" fmla="*/ 4074191 h 4454665"/>
              <a:gd name="connsiteX345" fmla="*/ 11649257 w 12192000"/>
              <a:gd name="connsiteY345" fmla="*/ 4247006 h 4454665"/>
              <a:gd name="connsiteX346" fmla="*/ 11400028 w 12192000"/>
              <a:gd name="connsiteY346" fmla="*/ 4077719 h 4454665"/>
              <a:gd name="connsiteX347" fmla="*/ 11407049 w 12192000"/>
              <a:gd name="connsiteY347" fmla="*/ 4063611 h 4454665"/>
              <a:gd name="connsiteX348" fmla="*/ 11445662 w 12192000"/>
              <a:gd name="connsiteY348" fmla="*/ 4053030 h 4454665"/>
              <a:gd name="connsiteX349" fmla="*/ 11450927 w 12192000"/>
              <a:gd name="connsiteY349" fmla="*/ 4050826 h 4454665"/>
              <a:gd name="connsiteX350" fmla="*/ 11603442 w 12192000"/>
              <a:gd name="connsiteY350" fmla="*/ 4044988 h 4454665"/>
              <a:gd name="connsiteX351" fmla="*/ 11613922 w 12192000"/>
              <a:gd name="connsiteY351" fmla="*/ 4044988 h 4454665"/>
              <a:gd name="connsiteX352" fmla="*/ 11617414 w 12192000"/>
              <a:gd name="connsiteY352" fmla="*/ 4052079 h 4454665"/>
              <a:gd name="connsiteX353" fmla="*/ 11624401 w 12192000"/>
              <a:gd name="connsiteY353" fmla="*/ 4154898 h 4454665"/>
              <a:gd name="connsiteX354" fmla="*/ 11620908 w 12192000"/>
              <a:gd name="connsiteY354" fmla="*/ 4165535 h 4454665"/>
              <a:gd name="connsiteX355" fmla="*/ 11613922 w 12192000"/>
              <a:gd name="connsiteY355" fmla="*/ 4165535 h 4454665"/>
              <a:gd name="connsiteX356" fmla="*/ 11505632 w 12192000"/>
              <a:gd name="connsiteY356" fmla="*/ 4101715 h 4454665"/>
              <a:gd name="connsiteX357" fmla="*/ 11502138 w 12192000"/>
              <a:gd name="connsiteY357" fmla="*/ 4098170 h 4454665"/>
              <a:gd name="connsiteX358" fmla="*/ 11502138 w 12192000"/>
              <a:gd name="connsiteY358" fmla="*/ 4094625 h 4454665"/>
              <a:gd name="connsiteX359" fmla="*/ 11509124 w 12192000"/>
              <a:gd name="connsiteY359" fmla="*/ 4091080 h 4454665"/>
              <a:gd name="connsiteX360" fmla="*/ 11603442 w 12192000"/>
              <a:gd name="connsiteY360" fmla="*/ 4044988 h 4454665"/>
              <a:gd name="connsiteX361" fmla="*/ 11688084 w 12192000"/>
              <a:gd name="connsiteY361" fmla="*/ 4041442 h 4454665"/>
              <a:gd name="connsiteX362" fmla="*/ 11698565 w 12192000"/>
              <a:gd name="connsiteY362" fmla="*/ 4041442 h 4454665"/>
              <a:gd name="connsiteX363" fmla="*/ 11789388 w 12192000"/>
              <a:gd name="connsiteY363" fmla="*/ 4087353 h 4454665"/>
              <a:gd name="connsiteX364" fmla="*/ 11796375 w 12192000"/>
              <a:gd name="connsiteY364" fmla="*/ 4094417 h 4454665"/>
              <a:gd name="connsiteX365" fmla="*/ 11792882 w 12192000"/>
              <a:gd name="connsiteY365" fmla="*/ 4101480 h 4454665"/>
              <a:gd name="connsiteX366" fmla="*/ 11684592 w 12192000"/>
              <a:gd name="connsiteY366" fmla="*/ 4165049 h 4454665"/>
              <a:gd name="connsiteX367" fmla="*/ 11677605 w 12192000"/>
              <a:gd name="connsiteY367" fmla="*/ 4165049 h 4454665"/>
              <a:gd name="connsiteX368" fmla="*/ 11674112 w 12192000"/>
              <a:gd name="connsiteY368" fmla="*/ 4154454 h 4454665"/>
              <a:gd name="connsiteX369" fmla="*/ 11684592 w 12192000"/>
              <a:gd name="connsiteY369" fmla="*/ 4052038 h 4454665"/>
              <a:gd name="connsiteX370" fmla="*/ 11688084 w 12192000"/>
              <a:gd name="connsiteY370" fmla="*/ 4041442 h 4454665"/>
              <a:gd name="connsiteX371" fmla="*/ 10810283 w 12192000"/>
              <a:gd name="connsiteY371" fmla="*/ 4002478 h 4454665"/>
              <a:gd name="connsiteX372" fmla="*/ 10851862 w 12192000"/>
              <a:gd name="connsiteY372" fmla="*/ 4002478 h 4454665"/>
              <a:gd name="connsiteX373" fmla="*/ 10851862 w 12192000"/>
              <a:gd name="connsiteY373" fmla="*/ 4045088 h 4454665"/>
              <a:gd name="connsiteX374" fmla="*/ 10803353 w 12192000"/>
              <a:gd name="connsiteY374" fmla="*/ 4052190 h 4454665"/>
              <a:gd name="connsiteX375" fmla="*/ 10786028 w 12192000"/>
              <a:gd name="connsiteY375" fmla="*/ 4027334 h 4454665"/>
              <a:gd name="connsiteX376" fmla="*/ 10810283 w 12192000"/>
              <a:gd name="connsiteY376" fmla="*/ 4002478 h 4454665"/>
              <a:gd name="connsiteX377" fmla="*/ 10494479 w 12192000"/>
              <a:gd name="connsiteY377" fmla="*/ 3932613 h 4454665"/>
              <a:gd name="connsiteX378" fmla="*/ 10536128 w 12192000"/>
              <a:gd name="connsiteY378" fmla="*/ 3988885 h 4454665"/>
              <a:gd name="connsiteX379" fmla="*/ 10494479 w 12192000"/>
              <a:gd name="connsiteY379" fmla="*/ 4052189 h 4454665"/>
              <a:gd name="connsiteX380" fmla="*/ 10452829 w 12192000"/>
              <a:gd name="connsiteY380" fmla="*/ 3988885 h 4454665"/>
              <a:gd name="connsiteX381" fmla="*/ 10494479 w 12192000"/>
              <a:gd name="connsiteY381" fmla="*/ 3932613 h 4454665"/>
              <a:gd name="connsiteX382" fmla="*/ 11639005 w 12192000"/>
              <a:gd name="connsiteY382" fmla="*/ 3928584 h 4454665"/>
              <a:gd name="connsiteX383" fmla="*/ 11660034 w 12192000"/>
              <a:gd name="connsiteY383" fmla="*/ 3928584 h 4454665"/>
              <a:gd name="connsiteX384" fmla="*/ 11660034 w 12192000"/>
              <a:gd name="connsiteY384" fmla="*/ 3939224 h 4454665"/>
              <a:gd name="connsiteX385" fmla="*/ 11691578 w 12192000"/>
              <a:gd name="connsiteY385" fmla="*/ 3978241 h 4454665"/>
              <a:gd name="connsiteX386" fmla="*/ 11649519 w 12192000"/>
              <a:gd name="connsiteY386" fmla="*/ 4017258 h 4454665"/>
              <a:gd name="connsiteX387" fmla="*/ 11610966 w 12192000"/>
              <a:gd name="connsiteY387" fmla="*/ 3978241 h 4454665"/>
              <a:gd name="connsiteX388" fmla="*/ 11639005 w 12192000"/>
              <a:gd name="connsiteY388" fmla="*/ 3939224 h 4454665"/>
              <a:gd name="connsiteX389" fmla="*/ 11639005 w 12192000"/>
              <a:gd name="connsiteY389" fmla="*/ 3928584 h 4454665"/>
              <a:gd name="connsiteX390" fmla="*/ 11649257 w 12192000"/>
              <a:gd name="connsiteY390" fmla="*/ 3917835 h 4454665"/>
              <a:gd name="connsiteX391" fmla="*/ 11589469 w 12192000"/>
              <a:gd name="connsiteY391" fmla="*/ 3978295 h 4454665"/>
              <a:gd name="connsiteX392" fmla="*/ 11649257 w 12192000"/>
              <a:gd name="connsiteY392" fmla="*/ 4038755 h 4454665"/>
              <a:gd name="connsiteX393" fmla="*/ 11709045 w 12192000"/>
              <a:gd name="connsiteY393" fmla="*/ 3978295 h 4454665"/>
              <a:gd name="connsiteX394" fmla="*/ 11649257 w 12192000"/>
              <a:gd name="connsiteY394" fmla="*/ 3917835 h 4454665"/>
              <a:gd name="connsiteX395" fmla="*/ 11649257 w 12192000"/>
              <a:gd name="connsiteY395" fmla="*/ 3911118 h 4454665"/>
              <a:gd name="connsiteX396" fmla="*/ 11715763 w 12192000"/>
              <a:gd name="connsiteY396" fmla="*/ 3978295 h 4454665"/>
              <a:gd name="connsiteX397" fmla="*/ 11649257 w 12192000"/>
              <a:gd name="connsiteY397" fmla="*/ 4045473 h 4454665"/>
              <a:gd name="connsiteX398" fmla="*/ 11582751 w 12192000"/>
              <a:gd name="connsiteY398" fmla="*/ 3978295 h 4454665"/>
              <a:gd name="connsiteX399" fmla="*/ 11649257 w 12192000"/>
              <a:gd name="connsiteY399" fmla="*/ 3911118 h 4454665"/>
              <a:gd name="connsiteX400" fmla="*/ 11824549 w 12192000"/>
              <a:gd name="connsiteY400" fmla="*/ 3908431 h 4454665"/>
              <a:gd name="connsiteX401" fmla="*/ 11828050 w 12192000"/>
              <a:gd name="connsiteY401" fmla="*/ 3915484 h 4454665"/>
              <a:gd name="connsiteX402" fmla="*/ 11828050 w 12192000"/>
              <a:gd name="connsiteY402" fmla="*/ 4038923 h 4454665"/>
              <a:gd name="connsiteX403" fmla="*/ 11824549 w 12192000"/>
              <a:gd name="connsiteY403" fmla="*/ 4045977 h 4454665"/>
              <a:gd name="connsiteX404" fmla="*/ 11817546 w 12192000"/>
              <a:gd name="connsiteY404" fmla="*/ 4045977 h 4454665"/>
              <a:gd name="connsiteX405" fmla="*/ 11730012 w 12192000"/>
              <a:gd name="connsiteY405" fmla="*/ 3986021 h 4454665"/>
              <a:gd name="connsiteX406" fmla="*/ 11726510 w 12192000"/>
              <a:gd name="connsiteY406" fmla="*/ 3978967 h 4454665"/>
              <a:gd name="connsiteX407" fmla="*/ 11730012 w 12192000"/>
              <a:gd name="connsiteY407" fmla="*/ 3968386 h 4454665"/>
              <a:gd name="connsiteX408" fmla="*/ 11814044 w 12192000"/>
              <a:gd name="connsiteY408" fmla="*/ 3911957 h 4454665"/>
              <a:gd name="connsiteX409" fmla="*/ 11824549 w 12192000"/>
              <a:gd name="connsiteY409" fmla="*/ 3908431 h 4454665"/>
              <a:gd name="connsiteX410" fmla="*/ 11473964 w 12192000"/>
              <a:gd name="connsiteY410" fmla="*/ 3908431 h 4454665"/>
              <a:gd name="connsiteX411" fmla="*/ 11480967 w 12192000"/>
              <a:gd name="connsiteY411" fmla="*/ 3911957 h 4454665"/>
              <a:gd name="connsiteX412" fmla="*/ 11568501 w 12192000"/>
              <a:gd name="connsiteY412" fmla="*/ 3968386 h 4454665"/>
              <a:gd name="connsiteX413" fmla="*/ 11572002 w 12192000"/>
              <a:gd name="connsiteY413" fmla="*/ 3978967 h 4454665"/>
              <a:gd name="connsiteX414" fmla="*/ 11568501 w 12192000"/>
              <a:gd name="connsiteY414" fmla="*/ 3986021 h 4454665"/>
              <a:gd name="connsiteX415" fmla="*/ 11480967 w 12192000"/>
              <a:gd name="connsiteY415" fmla="*/ 4045977 h 4454665"/>
              <a:gd name="connsiteX416" fmla="*/ 11473964 w 12192000"/>
              <a:gd name="connsiteY416" fmla="*/ 4045977 h 4454665"/>
              <a:gd name="connsiteX417" fmla="*/ 11466961 w 12192000"/>
              <a:gd name="connsiteY417" fmla="*/ 4042450 h 4454665"/>
              <a:gd name="connsiteX418" fmla="*/ 11466961 w 12192000"/>
              <a:gd name="connsiteY418" fmla="*/ 3915484 h 4454665"/>
              <a:gd name="connsiteX419" fmla="*/ 11473964 w 12192000"/>
              <a:gd name="connsiteY419" fmla="*/ 3908431 h 4454665"/>
              <a:gd name="connsiteX420" fmla="*/ 11070316 w 12192000"/>
              <a:gd name="connsiteY420" fmla="*/ 3897682 h 4454665"/>
              <a:gd name="connsiteX421" fmla="*/ 11070316 w 12192000"/>
              <a:gd name="connsiteY421" fmla="*/ 3904735 h 4454665"/>
              <a:gd name="connsiteX422" fmla="*/ 11112166 w 12192000"/>
              <a:gd name="connsiteY422" fmla="*/ 4066969 h 4454665"/>
              <a:gd name="connsiteX423" fmla="*/ 11133091 w 12192000"/>
              <a:gd name="connsiteY423" fmla="*/ 4088130 h 4454665"/>
              <a:gd name="connsiteX424" fmla="*/ 11143554 w 12192000"/>
              <a:gd name="connsiteY424" fmla="*/ 4088130 h 4454665"/>
              <a:gd name="connsiteX425" fmla="*/ 11140066 w 12192000"/>
              <a:gd name="connsiteY425" fmla="*/ 4095183 h 4454665"/>
              <a:gd name="connsiteX426" fmla="*/ 11112166 w 12192000"/>
              <a:gd name="connsiteY426" fmla="*/ 4116344 h 4454665"/>
              <a:gd name="connsiteX427" fmla="*/ 11077291 w 12192000"/>
              <a:gd name="connsiteY427" fmla="*/ 4112818 h 4454665"/>
              <a:gd name="connsiteX428" fmla="*/ 11073804 w 12192000"/>
              <a:gd name="connsiteY428" fmla="*/ 4116344 h 4454665"/>
              <a:gd name="connsiteX429" fmla="*/ 11070316 w 12192000"/>
              <a:gd name="connsiteY429" fmla="*/ 4119871 h 4454665"/>
              <a:gd name="connsiteX430" fmla="*/ 11070316 w 12192000"/>
              <a:gd name="connsiteY430" fmla="*/ 4141032 h 4454665"/>
              <a:gd name="connsiteX431" fmla="*/ 11077291 w 12192000"/>
              <a:gd name="connsiteY431" fmla="*/ 4148086 h 4454665"/>
              <a:gd name="connsiteX432" fmla="*/ 11122628 w 12192000"/>
              <a:gd name="connsiteY432" fmla="*/ 4151612 h 4454665"/>
              <a:gd name="connsiteX433" fmla="*/ 11126116 w 12192000"/>
              <a:gd name="connsiteY433" fmla="*/ 4151612 h 4454665"/>
              <a:gd name="connsiteX434" fmla="*/ 11181916 w 12192000"/>
              <a:gd name="connsiteY434" fmla="*/ 4098710 h 4454665"/>
              <a:gd name="connsiteX435" fmla="*/ 11213303 w 12192000"/>
              <a:gd name="connsiteY435" fmla="*/ 3968218 h 4454665"/>
              <a:gd name="connsiteX436" fmla="*/ 11227253 w 12192000"/>
              <a:gd name="connsiteY436" fmla="*/ 3925896 h 4454665"/>
              <a:gd name="connsiteX437" fmla="*/ 11230741 w 12192000"/>
              <a:gd name="connsiteY437" fmla="*/ 3904735 h 4454665"/>
              <a:gd name="connsiteX438" fmla="*/ 11230741 w 12192000"/>
              <a:gd name="connsiteY438" fmla="*/ 3897682 h 4454665"/>
              <a:gd name="connsiteX439" fmla="*/ 11223766 w 12192000"/>
              <a:gd name="connsiteY439" fmla="*/ 3897682 h 4454665"/>
              <a:gd name="connsiteX440" fmla="*/ 11195866 w 12192000"/>
              <a:gd name="connsiteY440" fmla="*/ 3897682 h 4454665"/>
              <a:gd name="connsiteX441" fmla="*/ 11188891 w 12192000"/>
              <a:gd name="connsiteY441" fmla="*/ 3901208 h 4454665"/>
              <a:gd name="connsiteX442" fmla="*/ 11150528 w 12192000"/>
              <a:gd name="connsiteY442" fmla="*/ 4045808 h 4454665"/>
              <a:gd name="connsiteX443" fmla="*/ 11147041 w 12192000"/>
              <a:gd name="connsiteY443" fmla="*/ 4045808 h 4454665"/>
              <a:gd name="connsiteX444" fmla="*/ 11112166 w 12192000"/>
              <a:gd name="connsiteY444" fmla="*/ 3901208 h 4454665"/>
              <a:gd name="connsiteX445" fmla="*/ 11105191 w 12192000"/>
              <a:gd name="connsiteY445" fmla="*/ 3897682 h 4454665"/>
              <a:gd name="connsiteX446" fmla="*/ 11077291 w 12192000"/>
              <a:gd name="connsiteY446" fmla="*/ 3897682 h 4454665"/>
              <a:gd name="connsiteX447" fmla="*/ 11070316 w 12192000"/>
              <a:gd name="connsiteY447" fmla="*/ 3897682 h 4454665"/>
              <a:gd name="connsiteX448" fmla="*/ 11038289 w 12192000"/>
              <a:gd name="connsiteY448" fmla="*/ 3893651 h 4454665"/>
              <a:gd name="connsiteX449" fmla="*/ 10985474 w 12192000"/>
              <a:gd name="connsiteY449" fmla="*/ 3914757 h 4454665"/>
              <a:gd name="connsiteX450" fmla="*/ 10985474 w 12192000"/>
              <a:gd name="connsiteY450" fmla="*/ 3904204 h 4454665"/>
              <a:gd name="connsiteX451" fmla="*/ 10978433 w 12192000"/>
              <a:gd name="connsiteY451" fmla="*/ 3897169 h 4454665"/>
              <a:gd name="connsiteX452" fmla="*/ 10950264 w 12192000"/>
              <a:gd name="connsiteY452" fmla="*/ 3897169 h 4454665"/>
              <a:gd name="connsiteX453" fmla="*/ 10943222 w 12192000"/>
              <a:gd name="connsiteY453" fmla="*/ 3904204 h 4454665"/>
              <a:gd name="connsiteX454" fmla="*/ 10943222 w 12192000"/>
              <a:gd name="connsiteY454" fmla="*/ 4080087 h 4454665"/>
              <a:gd name="connsiteX455" fmla="*/ 10950264 w 12192000"/>
              <a:gd name="connsiteY455" fmla="*/ 4087122 h 4454665"/>
              <a:gd name="connsiteX456" fmla="*/ 10978433 w 12192000"/>
              <a:gd name="connsiteY456" fmla="*/ 4087122 h 4454665"/>
              <a:gd name="connsiteX457" fmla="*/ 10985474 w 12192000"/>
              <a:gd name="connsiteY457" fmla="*/ 4080087 h 4454665"/>
              <a:gd name="connsiteX458" fmla="*/ 10985474 w 12192000"/>
              <a:gd name="connsiteY458" fmla="*/ 3956969 h 4454665"/>
              <a:gd name="connsiteX459" fmla="*/ 11038289 w 12192000"/>
              <a:gd name="connsiteY459" fmla="*/ 3935863 h 4454665"/>
              <a:gd name="connsiteX460" fmla="*/ 11045332 w 12192000"/>
              <a:gd name="connsiteY460" fmla="*/ 3928828 h 4454665"/>
              <a:gd name="connsiteX461" fmla="*/ 11045332 w 12192000"/>
              <a:gd name="connsiteY461" fmla="*/ 3900687 h 4454665"/>
              <a:gd name="connsiteX462" fmla="*/ 11041811 w 12192000"/>
              <a:gd name="connsiteY462" fmla="*/ 3897169 h 4454665"/>
              <a:gd name="connsiteX463" fmla="*/ 11038289 w 12192000"/>
              <a:gd name="connsiteY463" fmla="*/ 3893651 h 4454665"/>
              <a:gd name="connsiteX464" fmla="*/ 10831647 w 12192000"/>
              <a:gd name="connsiteY464" fmla="*/ 3889620 h 4454665"/>
              <a:gd name="connsiteX465" fmla="*/ 10761417 w 12192000"/>
              <a:gd name="connsiteY465" fmla="*/ 3896691 h 4454665"/>
              <a:gd name="connsiteX466" fmla="*/ 10754394 w 12192000"/>
              <a:gd name="connsiteY466" fmla="*/ 3903763 h 4454665"/>
              <a:gd name="connsiteX467" fmla="*/ 10754394 w 12192000"/>
              <a:gd name="connsiteY467" fmla="*/ 3928512 h 4454665"/>
              <a:gd name="connsiteX468" fmla="*/ 10757905 w 12192000"/>
              <a:gd name="connsiteY468" fmla="*/ 3935584 h 4454665"/>
              <a:gd name="connsiteX469" fmla="*/ 10761417 w 12192000"/>
              <a:gd name="connsiteY469" fmla="*/ 3935584 h 4454665"/>
              <a:gd name="connsiteX470" fmla="*/ 10828136 w 12192000"/>
              <a:gd name="connsiteY470" fmla="*/ 3932048 h 4454665"/>
              <a:gd name="connsiteX471" fmla="*/ 10852717 w 12192000"/>
              <a:gd name="connsiteY471" fmla="*/ 3956798 h 4454665"/>
              <a:gd name="connsiteX472" fmla="*/ 10852717 w 12192000"/>
              <a:gd name="connsiteY472" fmla="*/ 3967405 h 4454665"/>
              <a:gd name="connsiteX473" fmla="*/ 10803555 w 12192000"/>
              <a:gd name="connsiteY473" fmla="*/ 3970941 h 4454665"/>
              <a:gd name="connsiteX474" fmla="*/ 10740347 w 12192000"/>
              <a:gd name="connsiteY474" fmla="*/ 4031046 h 4454665"/>
              <a:gd name="connsiteX475" fmla="*/ 10796532 w 12192000"/>
              <a:gd name="connsiteY475" fmla="*/ 4091152 h 4454665"/>
              <a:gd name="connsiteX476" fmla="*/ 10859740 w 12192000"/>
              <a:gd name="connsiteY476" fmla="*/ 4077009 h 4454665"/>
              <a:gd name="connsiteX477" fmla="*/ 10887833 w 12192000"/>
              <a:gd name="connsiteY477" fmla="*/ 4091152 h 4454665"/>
              <a:gd name="connsiteX478" fmla="*/ 10894855 w 12192000"/>
              <a:gd name="connsiteY478" fmla="*/ 4087616 h 4454665"/>
              <a:gd name="connsiteX479" fmla="*/ 10894855 w 12192000"/>
              <a:gd name="connsiteY479" fmla="*/ 4084081 h 4454665"/>
              <a:gd name="connsiteX480" fmla="*/ 10894855 w 12192000"/>
              <a:gd name="connsiteY480" fmla="*/ 3956798 h 4454665"/>
              <a:gd name="connsiteX481" fmla="*/ 10831647 w 12192000"/>
              <a:gd name="connsiteY481" fmla="*/ 3889620 h 4454665"/>
              <a:gd name="connsiteX482" fmla="*/ 10495822 w 12192000"/>
              <a:gd name="connsiteY482" fmla="*/ 3889619 h 4454665"/>
              <a:gd name="connsiteX483" fmla="*/ 10409835 w 12192000"/>
              <a:gd name="connsiteY483" fmla="*/ 3990386 h 4454665"/>
              <a:gd name="connsiteX484" fmla="*/ 10495822 w 12192000"/>
              <a:gd name="connsiteY484" fmla="*/ 4091152 h 4454665"/>
              <a:gd name="connsiteX485" fmla="*/ 10581809 w 12192000"/>
              <a:gd name="connsiteY485" fmla="*/ 3990386 h 4454665"/>
              <a:gd name="connsiteX486" fmla="*/ 10495822 w 12192000"/>
              <a:gd name="connsiteY486" fmla="*/ 3889619 h 4454665"/>
              <a:gd name="connsiteX487" fmla="*/ 10241892 w 12192000"/>
              <a:gd name="connsiteY487" fmla="*/ 3865436 h 4454665"/>
              <a:gd name="connsiteX488" fmla="*/ 10273241 w 12192000"/>
              <a:gd name="connsiteY488" fmla="*/ 3865436 h 4454665"/>
              <a:gd name="connsiteX489" fmla="*/ 10290657 w 12192000"/>
              <a:gd name="connsiteY489" fmla="*/ 3865436 h 4454665"/>
              <a:gd name="connsiteX490" fmla="*/ 10335940 w 12192000"/>
              <a:gd name="connsiteY490" fmla="*/ 3904400 h 4454665"/>
              <a:gd name="connsiteX491" fmla="*/ 10287174 w 12192000"/>
              <a:gd name="connsiteY491" fmla="*/ 3943362 h 4454665"/>
              <a:gd name="connsiteX492" fmla="*/ 10241892 w 12192000"/>
              <a:gd name="connsiteY492" fmla="*/ 3943362 h 4454665"/>
              <a:gd name="connsiteX493" fmla="*/ 10241892 w 12192000"/>
              <a:gd name="connsiteY493" fmla="*/ 3865436 h 4454665"/>
              <a:gd name="connsiteX494" fmla="*/ 10659063 w 12192000"/>
              <a:gd name="connsiteY494" fmla="*/ 3852001 h 4454665"/>
              <a:gd name="connsiteX495" fmla="*/ 10627410 w 12192000"/>
              <a:gd name="connsiteY495" fmla="*/ 3859035 h 4454665"/>
              <a:gd name="connsiteX496" fmla="*/ 10623893 w 12192000"/>
              <a:gd name="connsiteY496" fmla="*/ 3866069 h 4454665"/>
              <a:gd name="connsiteX497" fmla="*/ 10623893 w 12192000"/>
              <a:gd name="connsiteY497" fmla="*/ 3897721 h 4454665"/>
              <a:gd name="connsiteX498" fmla="*/ 10606308 w 12192000"/>
              <a:gd name="connsiteY498" fmla="*/ 3897721 h 4454665"/>
              <a:gd name="connsiteX499" fmla="*/ 10599275 w 12192000"/>
              <a:gd name="connsiteY499" fmla="*/ 3904755 h 4454665"/>
              <a:gd name="connsiteX500" fmla="*/ 10599275 w 12192000"/>
              <a:gd name="connsiteY500" fmla="*/ 3929373 h 4454665"/>
              <a:gd name="connsiteX501" fmla="*/ 10606308 w 12192000"/>
              <a:gd name="connsiteY501" fmla="*/ 3936407 h 4454665"/>
              <a:gd name="connsiteX502" fmla="*/ 10623893 w 12192000"/>
              <a:gd name="connsiteY502" fmla="*/ 3936407 h 4454665"/>
              <a:gd name="connsiteX503" fmla="*/ 10623893 w 12192000"/>
              <a:gd name="connsiteY503" fmla="*/ 4020814 h 4454665"/>
              <a:gd name="connsiteX504" fmla="*/ 10680164 w 12192000"/>
              <a:gd name="connsiteY504" fmla="*/ 4091152 h 4454665"/>
              <a:gd name="connsiteX505" fmla="*/ 10711817 w 12192000"/>
              <a:gd name="connsiteY505" fmla="*/ 4087636 h 4454665"/>
              <a:gd name="connsiteX506" fmla="*/ 10718851 w 12192000"/>
              <a:gd name="connsiteY506" fmla="*/ 4080601 h 4454665"/>
              <a:gd name="connsiteX507" fmla="*/ 10718851 w 12192000"/>
              <a:gd name="connsiteY507" fmla="*/ 4055983 h 4454665"/>
              <a:gd name="connsiteX508" fmla="*/ 10711817 w 12192000"/>
              <a:gd name="connsiteY508" fmla="*/ 4048949 h 4454665"/>
              <a:gd name="connsiteX509" fmla="*/ 10687198 w 12192000"/>
              <a:gd name="connsiteY509" fmla="*/ 4048949 h 4454665"/>
              <a:gd name="connsiteX510" fmla="*/ 10666096 w 12192000"/>
              <a:gd name="connsiteY510" fmla="*/ 4013780 h 4454665"/>
              <a:gd name="connsiteX511" fmla="*/ 10666096 w 12192000"/>
              <a:gd name="connsiteY511" fmla="*/ 3936407 h 4454665"/>
              <a:gd name="connsiteX512" fmla="*/ 10711817 w 12192000"/>
              <a:gd name="connsiteY512" fmla="*/ 3936407 h 4454665"/>
              <a:gd name="connsiteX513" fmla="*/ 10718851 w 12192000"/>
              <a:gd name="connsiteY513" fmla="*/ 3929373 h 4454665"/>
              <a:gd name="connsiteX514" fmla="*/ 10718851 w 12192000"/>
              <a:gd name="connsiteY514" fmla="*/ 3904755 h 4454665"/>
              <a:gd name="connsiteX515" fmla="*/ 10711817 w 12192000"/>
              <a:gd name="connsiteY515" fmla="*/ 3897721 h 4454665"/>
              <a:gd name="connsiteX516" fmla="*/ 10666096 w 12192000"/>
              <a:gd name="connsiteY516" fmla="*/ 3897721 h 4454665"/>
              <a:gd name="connsiteX517" fmla="*/ 10666096 w 12192000"/>
              <a:gd name="connsiteY517" fmla="*/ 3859035 h 4454665"/>
              <a:gd name="connsiteX518" fmla="*/ 10662580 w 12192000"/>
              <a:gd name="connsiteY518" fmla="*/ 3852001 h 4454665"/>
              <a:gd name="connsiteX519" fmla="*/ 10659063 w 12192000"/>
              <a:gd name="connsiteY519" fmla="*/ 3852001 h 4454665"/>
              <a:gd name="connsiteX520" fmla="*/ 10283668 w 12192000"/>
              <a:gd name="connsiteY520" fmla="*/ 3823787 h 4454665"/>
              <a:gd name="connsiteX521" fmla="*/ 10203208 w 12192000"/>
              <a:gd name="connsiteY521" fmla="*/ 3827298 h 4454665"/>
              <a:gd name="connsiteX522" fmla="*/ 10196211 w 12192000"/>
              <a:gd name="connsiteY522" fmla="*/ 3834320 h 4454665"/>
              <a:gd name="connsiteX523" fmla="*/ 10196211 w 12192000"/>
              <a:gd name="connsiteY523" fmla="*/ 4080100 h 4454665"/>
              <a:gd name="connsiteX524" fmla="*/ 10203208 w 12192000"/>
              <a:gd name="connsiteY524" fmla="*/ 4087122 h 4454665"/>
              <a:gd name="connsiteX525" fmla="*/ 10234693 w 12192000"/>
              <a:gd name="connsiteY525" fmla="*/ 4087122 h 4454665"/>
              <a:gd name="connsiteX526" fmla="*/ 10241689 w 12192000"/>
              <a:gd name="connsiteY526" fmla="*/ 4080100 h 4454665"/>
              <a:gd name="connsiteX527" fmla="*/ 10241689 w 12192000"/>
              <a:gd name="connsiteY527" fmla="*/ 3981788 h 4454665"/>
              <a:gd name="connsiteX528" fmla="*/ 10290665 w 12192000"/>
              <a:gd name="connsiteY528" fmla="*/ 3985299 h 4454665"/>
              <a:gd name="connsiteX529" fmla="*/ 10336143 w 12192000"/>
              <a:gd name="connsiteY529" fmla="*/ 4083611 h 4454665"/>
              <a:gd name="connsiteX530" fmla="*/ 10343139 w 12192000"/>
              <a:gd name="connsiteY530" fmla="*/ 4087122 h 4454665"/>
              <a:gd name="connsiteX531" fmla="*/ 10374624 w 12192000"/>
              <a:gd name="connsiteY531" fmla="*/ 4087122 h 4454665"/>
              <a:gd name="connsiteX532" fmla="*/ 10381620 w 12192000"/>
              <a:gd name="connsiteY532" fmla="*/ 4083611 h 4454665"/>
              <a:gd name="connsiteX533" fmla="*/ 10381620 w 12192000"/>
              <a:gd name="connsiteY533" fmla="*/ 4076589 h 4454665"/>
              <a:gd name="connsiteX534" fmla="*/ 10336143 w 12192000"/>
              <a:gd name="connsiteY534" fmla="*/ 3971255 h 4454665"/>
              <a:gd name="connsiteX535" fmla="*/ 10381620 w 12192000"/>
              <a:gd name="connsiteY535" fmla="*/ 3904543 h 4454665"/>
              <a:gd name="connsiteX536" fmla="*/ 10290665 w 12192000"/>
              <a:gd name="connsiteY536" fmla="*/ 3823787 h 4454665"/>
              <a:gd name="connsiteX537" fmla="*/ 10283668 w 12192000"/>
              <a:gd name="connsiteY537" fmla="*/ 3823787 h 4454665"/>
              <a:gd name="connsiteX538" fmla="*/ 11839186 w 12192000"/>
              <a:gd name="connsiteY538" fmla="*/ 3792865 h 4454665"/>
              <a:gd name="connsiteX539" fmla="*/ 11845722 w 12192000"/>
              <a:gd name="connsiteY539" fmla="*/ 3798596 h 4454665"/>
              <a:gd name="connsiteX540" fmla="*/ 11908470 w 12192000"/>
              <a:gd name="connsiteY540" fmla="*/ 4038420 h 4454665"/>
              <a:gd name="connsiteX541" fmla="*/ 11898012 w 12192000"/>
              <a:gd name="connsiteY541" fmla="*/ 4041947 h 4454665"/>
              <a:gd name="connsiteX542" fmla="*/ 11859666 w 12192000"/>
              <a:gd name="connsiteY542" fmla="*/ 4031366 h 4454665"/>
              <a:gd name="connsiteX543" fmla="*/ 11852694 w 12192000"/>
              <a:gd name="connsiteY543" fmla="*/ 4020786 h 4454665"/>
              <a:gd name="connsiteX544" fmla="*/ 11807377 w 12192000"/>
              <a:gd name="connsiteY544" fmla="*/ 3840918 h 4454665"/>
              <a:gd name="connsiteX545" fmla="*/ 11807377 w 12192000"/>
              <a:gd name="connsiteY545" fmla="*/ 3826811 h 4454665"/>
              <a:gd name="connsiteX546" fmla="*/ 11835264 w 12192000"/>
              <a:gd name="connsiteY546" fmla="*/ 3795069 h 4454665"/>
              <a:gd name="connsiteX547" fmla="*/ 11839186 w 12192000"/>
              <a:gd name="connsiteY547" fmla="*/ 3792865 h 4454665"/>
              <a:gd name="connsiteX548" fmla="*/ 11458923 w 12192000"/>
              <a:gd name="connsiteY548" fmla="*/ 3792865 h 4454665"/>
              <a:gd name="connsiteX549" fmla="*/ 11462885 w 12192000"/>
              <a:gd name="connsiteY549" fmla="*/ 3795069 h 4454665"/>
              <a:gd name="connsiteX550" fmla="*/ 11494585 w 12192000"/>
              <a:gd name="connsiteY550" fmla="*/ 3826811 h 4454665"/>
              <a:gd name="connsiteX551" fmla="*/ 11491063 w 12192000"/>
              <a:gd name="connsiteY551" fmla="*/ 3840918 h 4454665"/>
              <a:gd name="connsiteX552" fmla="*/ 11445274 w 12192000"/>
              <a:gd name="connsiteY552" fmla="*/ 4020786 h 4454665"/>
              <a:gd name="connsiteX553" fmla="*/ 11438229 w 12192000"/>
              <a:gd name="connsiteY553" fmla="*/ 4031366 h 4454665"/>
              <a:gd name="connsiteX554" fmla="*/ 11399484 w 12192000"/>
              <a:gd name="connsiteY554" fmla="*/ 4041947 h 4454665"/>
              <a:gd name="connsiteX555" fmla="*/ 11388917 w 12192000"/>
              <a:gd name="connsiteY555" fmla="*/ 4038420 h 4454665"/>
              <a:gd name="connsiteX556" fmla="*/ 11452318 w 12192000"/>
              <a:gd name="connsiteY556" fmla="*/ 3798596 h 4454665"/>
              <a:gd name="connsiteX557" fmla="*/ 11458923 w 12192000"/>
              <a:gd name="connsiteY557" fmla="*/ 3792865 h 4454665"/>
              <a:gd name="connsiteX558" fmla="*/ 11677605 w 12192000"/>
              <a:gd name="connsiteY558" fmla="*/ 3787511 h 4454665"/>
              <a:gd name="connsiteX559" fmla="*/ 11684592 w 12192000"/>
              <a:gd name="connsiteY559" fmla="*/ 3787511 h 4454665"/>
              <a:gd name="connsiteX560" fmla="*/ 11792882 w 12192000"/>
              <a:gd name="connsiteY560" fmla="*/ 3851080 h 4454665"/>
              <a:gd name="connsiteX561" fmla="*/ 11796375 w 12192000"/>
              <a:gd name="connsiteY561" fmla="*/ 3858144 h 4454665"/>
              <a:gd name="connsiteX562" fmla="*/ 11789388 w 12192000"/>
              <a:gd name="connsiteY562" fmla="*/ 3865207 h 4454665"/>
              <a:gd name="connsiteX563" fmla="*/ 11698565 w 12192000"/>
              <a:gd name="connsiteY563" fmla="*/ 3911118 h 4454665"/>
              <a:gd name="connsiteX564" fmla="*/ 11688084 w 12192000"/>
              <a:gd name="connsiteY564" fmla="*/ 3911118 h 4454665"/>
              <a:gd name="connsiteX565" fmla="*/ 11681098 w 12192000"/>
              <a:gd name="connsiteY565" fmla="*/ 3900523 h 4454665"/>
              <a:gd name="connsiteX566" fmla="*/ 11674112 w 12192000"/>
              <a:gd name="connsiteY566" fmla="*/ 3798107 h 4454665"/>
              <a:gd name="connsiteX567" fmla="*/ 11677605 w 12192000"/>
              <a:gd name="connsiteY567" fmla="*/ 3787511 h 4454665"/>
              <a:gd name="connsiteX568" fmla="*/ 11613922 w 12192000"/>
              <a:gd name="connsiteY568" fmla="*/ 3787511 h 4454665"/>
              <a:gd name="connsiteX569" fmla="*/ 11620908 w 12192000"/>
              <a:gd name="connsiteY569" fmla="*/ 3787511 h 4454665"/>
              <a:gd name="connsiteX570" fmla="*/ 11624401 w 12192000"/>
              <a:gd name="connsiteY570" fmla="*/ 3798107 h 4454665"/>
              <a:gd name="connsiteX571" fmla="*/ 11613922 w 12192000"/>
              <a:gd name="connsiteY571" fmla="*/ 3904054 h 4454665"/>
              <a:gd name="connsiteX572" fmla="*/ 11610428 w 12192000"/>
              <a:gd name="connsiteY572" fmla="*/ 3911118 h 4454665"/>
              <a:gd name="connsiteX573" fmla="*/ 11599949 w 12192000"/>
              <a:gd name="connsiteY573" fmla="*/ 3911118 h 4454665"/>
              <a:gd name="connsiteX574" fmla="*/ 11509124 w 12192000"/>
              <a:gd name="connsiteY574" fmla="*/ 3865207 h 4454665"/>
              <a:gd name="connsiteX575" fmla="*/ 11502138 w 12192000"/>
              <a:gd name="connsiteY575" fmla="*/ 3858144 h 4454665"/>
              <a:gd name="connsiteX576" fmla="*/ 11505632 w 12192000"/>
              <a:gd name="connsiteY576" fmla="*/ 3851080 h 4454665"/>
              <a:gd name="connsiteX577" fmla="*/ 11613922 w 12192000"/>
              <a:gd name="connsiteY577" fmla="*/ 3787511 h 4454665"/>
              <a:gd name="connsiteX578" fmla="*/ 11532772 w 12192000"/>
              <a:gd name="connsiteY578" fmla="*/ 3752579 h 4454665"/>
              <a:gd name="connsiteX579" fmla="*/ 11539758 w 12192000"/>
              <a:gd name="connsiteY579" fmla="*/ 3759969 h 4454665"/>
              <a:gd name="connsiteX580" fmla="*/ 11536265 w 12192000"/>
              <a:gd name="connsiteY580" fmla="*/ 3763664 h 4454665"/>
              <a:gd name="connsiteX581" fmla="*/ 11529278 w 12192000"/>
              <a:gd name="connsiteY581" fmla="*/ 3767359 h 4454665"/>
              <a:gd name="connsiteX582" fmla="*/ 11525785 w 12192000"/>
              <a:gd name="connsiteY582" fmla="*/ 3759969 h 4454665"/>
              <a:gd name="connsiteX583" fmla="*/ 11522292 w 12192000"/>
              <a:gd name="connsiteY583" fmla="*/ 3759969 h 4454665"/>
              <a:gd name="connsiteX584" fmla="*/ 11532772 w 12192000"/>
              <a:gd name="connsiteY584" fmla="*/ 3752579 h 4454665"/>
              <a:gd name="connsiteX585" fmla="*/ 11529297 w 12192000"/>
              <a:gd name="connsiteY585" fmla="*/ 3745382 h 4454665"/>
              <a:gd name="connsiteX586" fmla="*/ 11511543 w 12192000"/>
              <a:gd name="connsiteY586" fmla="*/ 3756034 h 4454665"/>
              <a:gd name="connsiteX587" fmla="*/ 11515094 w 12192000"/>
              <a:gd name="connsiteY587" fmla="*/ 3759585 h 4454665"/>
              <a:gd name="connsiteX588" fmla="*/ 11532848 w 12192000"/>
              <a:gd name="connsiteY588" fmla="*/ 3791543 h 4454665"/>
              <a:gd name="connsiteX589" fmla="*/ 11539950 w 12192000"/>
              <a:gd name="connsiteY589" fmla="*/ 3787991 h 4454665"/>
              <a:gd name="connsiteX590" fmla="*/ 11532848 w 12192000"/>
              <a:gd name="connsiteY590" fmla="*/ 3773788 h 4454665"/>
              <a:gd name="connsiteX591" fmla="*/ 11539950 w 12192000"/>
              <a:gd name="connsiteY591" fmla="*/ 3770238 h 4454665"/>
              <a:gd name="connsiteX592" fmla="*/ 11554153 w 12192000"/>
              <a:gd name="connsiteY592" fmla="*/ 3780890 h 4454665"/>
              <a:gd name="connsiteX593" fmla="*/ 11561255 w 12192000"/>
              <a:gd name="connsiteY593" fmla="*/ 3777339 h 4454665"/>
              <a:gd name="connsiteX594" fmla="*/ 11547052 w 12192000"/>
              <a:gd name="connsiteY594" fmla="*/ 3763136 h 4454665"/>
              <a:gd name="connsiteX595" fmla="*/ 11547052 w 12192000"/>
              <a:gd name="connsiteY595" fmla="*/ 3759585 h 4454665"/>
              <a:gd name="connsiteX596" fmla="*/ 11529297 w 12192000"/>
              <a:gd name="connsiteY596" fmla="*/ 3745382 h 4454665"/>
              <a:gd name="connsiteX597" fmla="*/ 11750205 w 12192000"/>
              <a:gd name="connsiteY597" fmla="*/ 3739144 h 4454665"/>
              <a:gd name="connsiteX598" fmla="*/ 11753748 w 12192000"/>
              <a:gd name="connsiteY598" fmla="*/ 3763328 h 4454665"/>
              <a:gd name="connsiteX599" fmla="*/ 11746663 w 12192000"/>
              <a:gd name="connsiteY599" fmla="*/ 3780602 h 4454665"/>
              <a:gd name="connsiteX600" fmla="*/ 11753748 w 12192000"/>
              <a:gd name="connsiteY600" fmla="*/ 3787511 h 4454665"/>
              <a:gd name="connsiteX601" fmla="*/ 11760832 w 12192000"/>
              <a:gd name="connsiteY601" fmla="*/ 3770237 h 4454665"/>
              <a:gd name="connsiteX602" fmla="*/ 11785626 w 12192000"/>
              <a:gd name="connsiteY602" fmla="*/ 3756418 h 4454665"/>
              <a:gd name="connsiteX603" fmla="*/ 11778543 w 12192000"/>
              <a:gd name="connsiteY603" fmla="*/ 3752963 h 4454665"/>
              <a:gd name="connsiteX604" fmla="*/ 11760832 w 12192000"/>
              <a:gd name="connsiteY604" fmla="*/ 3759873 h 4454665"/>
              <a:gd name="connsiteX605" fmla="*/ 11757290 w 12192000"/>
              <a:gd name="connsiteY605" fmla="*/ 3742598 h 4454665"/>
              <a:gd name="connsiteX606" fmla="*/ 11750205 w 12192000"/>
              <a:gd name="connsiteY606" fmla="*/ 3739144 h 4454665"/>
              <a:gd name="connsiteX607" fmla="*/ 11715224 w 12192000"/>
              <a:gd name="connsiteY607" fmla="*/ 3735114 h 4454665"/>
              <a:gd name="connsiteX608" fmla="*/ 11725705 w 12192000"/>
              <a:gd name="connsiteY608" fmla="*/ 3738473 h 4454665"/>
              <a:gd name="connsiteX609" fmla="*/ 11729197 w 12192000"/>
              <a:gd name="connsiteY609" fmla="*/ 3741832 h 4454665"/>
              <a:gd name="connsiteX610" fmla="*/ 11722211 w 12192000"/>
              <a:gd name="connsiteY610" fmla="*/ 3748549 h 4454665"/>
              <a:gd name="connsiteX611" fmla="*/ 11711731 w 12192000"/>
              <a:gd name="connsiteY611" fmla="*/ 3745190 h 4454665"/>
              <a:gd name="connsiteX612" fmla="*/ 11711731 w 12192000"/>
              <a:gd name="connsiteY612" fmla="*/ 3741832 h 4454665"/>
              <a:gd name="connsiteX613" fmla="*/ 11715224 w 12192000"/>
              <a:gd name="connsiteY613" fmla="*/ 3735114 h 4454665"/>
              <a:gd name="connsiteX614" fmla="*/ 11582079 w 12192000"/>
              <a:gd name="connsiteY614" fmla="*/ 3734609 h 4454665"/>
              <a:gd name="connsiteX615" fmla="*/ 11596187 w 12192000"/>
              <a:gd name="connsiteY615" fmla="*/ 3745190 h 4454665"/>
              <a:gd name="connsiteX616" fmla="*/ 11582079 w 12192000"/>
              <a:gd name="connsiteY616" fmla="*/ 3759297 h 4454665"/>
              <a:gd name="connsiteX617" fmla="*/ 11567972 w 12192000"/>
              <a:gd name="connsiteY617" fmla="*/ 3748717 h 4454665"/>
              <a:gd name="connsiteX618" fmla="*/ 11567972 w 12192000"/>
              <a:gd name="connsiteY618" fmla="*/ 3745190 h 4454665"/>
              <a:gd name="connsiteX619" fmla="*/ 11582079 w 12192000"/>
              <a:gd name="connsiteY619" fmla="*/ 3734609 h 4454665"/>
              <a:gd name="connsiteX620" fmla="*/ 11670081 w 12192000"/>
              <a:gd name="connsiteY620" fmla="*/ 3728395 h 4454665"/>
              <a:gd name="connsiteX621" fmla="*/ 11673440 w 12192000"/>
              <a:gd name="connsiteY621" fmla="*/ 3738875 h 4454665"/>
              <a:gd name="connsiteX622" fmla="*/ 11676799 w 12192000"/>
              <a:gd name="connsiteY622" fmla="*/ 3745862 h 4454665"/>
              <a:gd name="connsiteX623" fmla="*/ 11663363 w 12192000"/>
              <a:gd name="connsiteY623" fmla="*/ 3745862 h 4454665"/>
              <a:gd name="connsiteX624" fmla="*/ 11666722 w 12192000"/>
              <a:gd name="connsiteY624" fmla="*/ 3738875 h 4454665"/>
              <a:gd name="connsiteX625" fmla="*/ 11670081 w 12192000"/>
              <a:gd name="connsiteY625" fmla="*/ 3728395 h 4454665"/>
              <a:gd name="connsiteX626" fmla="*/ 11578609 w 12192000"/>
              <a:gd name="connsiteY626" fmla="*/ 3727879 h 4454665"/>
              <a:gd name="connsiteX627" fmla="*/ 11561254 w 12192000"/>
              <a:gd name="connsiteY627" fmla="*/ 3745449 h 4454665"/>
              <a:gd name="connsiteX628" fmla="*/ 11561254 w 12192000"/>
              <a:gd name="connsiteY628" fmla="*/ 3748962 h 4454665"/>
              <a:gd name="connsiteX629" fmla="*/ 11582079 w 12192000"/>
              <a:gd name="connsiteY629" fmla="*/ 3766532 h 4454665"/>
              <a:gd name="connsiteX630" fmla="*/ 11602904 w 12192000"/>
              <a:gd name="connsiteY630" fmla="*/ 3745449 h 4454665"/>
              <a:gd name="connsiteX631" fmla="*/ 11578609 w 12192000"/>
              <a:gd name="connsiteY631" fmla="*/ 3727879 h 4454665"/>
              <a:gd name="connsiteX632" fmla="*/ 11708922 w 12192000"/>
              <a:gd name="connsiteY632" fmla="*/ 3724365 h 4454665"/>
              <a:gd name="connsiteX633" fmla="*/ 11705380 w 12192000"/>
              <a:gd name="connsiteY633" fmla="*/ 3742119 h 4454665"/>
              <a:gd name="connsiteX634" fmla="*/ 11698296 w 12192000"/>
              <a:gd name="connsiteY634" fmla="*/ 3763424 h 4454665"/>
              <a:gd name="connsiteX635" fmla="*/ 11708922 w 12192000"/>
              <a:gd name="connsiteY635" fmla="*/ 3766975 h 4454665"/>
              <a:gd name="connsiteX636" fmla="*/ 11712464 w 12192000"/>
              <a:gd name="connsiteY636" fmla="*/ 3752772 h 4454665"/>
              <a:gd name="connsiteX637" fmla="*/ 11719548 w 12192000"/>
              <a:gd name="connsiteY637" fmla="*/ 3752772 h 4454665"/>
              <a:gd name="connsiteX638" fmla="*/ 11723090 w 12192000"/>
              <a:gd name="connsiteY638" fmla="*/ 3770526 h 4454665"/>
              <a:gd name="connsiteX639" fmla="*/ 11730175 w 12192000"/>
              <a:gd name="connsiteY639" fmla="*/ 3774077 h 4454665"/>
              <a:gd name="connsiteX640" fmla="*/ 11726632 w 12192000"/>
              <a:gd name="connsiteY640" fmla="*/ 3756323 h 4454665"/>
              <a:gd name="connsiteX641" fmla="*/ 11737259 w 12192000"/>
              <a:gd name="connsiteY641" fmla="*/ 3742119 h 4454665"/>
              <a:gd name="connsiteX642" fmla="*/ 11730175 w 12192000"/>
              <a:gd name="connsiteY642" fmla="*/ 3731467 h 4454665"/>
              <a:gd name="connsiteX643" fmla="*/ 11708922 w 12192000"/>
              <a:gd name="connsiteY643" fmla="*/ 3724365 h 4454665"/>
              <a:gd name="connsiteX644" fmla="*/ 11666295 w 12192000"/>
              <a:gd name="connsiteY644" fmla="*/ 3717647 h 4454665"/>
              <a:gd name="connsiteX645" fmla="*/ 11659211 w 12192000"/>
              <a:gd name="connsiteY645" fmla="*/ 3738731 h 4454665"/>
              <a:gd name="connsiteX646" fmla="*/ 11648585 w 12192000"/>
              <a:gd name="connsiteY646" fmla="*/ 3759814 h 4454665"/>
              <a:gd name="connsiteX647" fmla="*/ 11655669 w 12192000"/>
              <a:gd name="connsiteY647" fmla="*/ 3759814 h 4454665"/>
              <a:gd name="connsiteX648" fmla="*/ 11659211 w 12192000"/>
              <a:gd name="connsiteY648" fmla="*/ 3752786 h 4454665"/>
              <a:gd name="connsiteX649" fmla="*/ 11676922 w 12192000"/>
              <a:gd name="connsiteY649" fmla="*/ 3752786 h 4454665"/>
              <a:gd name="connsiteX650" fmla="*/ 11680464 w 12192000"/>
              <a:gd name="connsiteY650" fmla="*/ 3759814 h 4454665"/>
              <a:gd name="connsiteX651" fmla="*/ 11687548 w 12192000"/>
              <a:gd name="connsiteY651" fmla="*/ 3763328 h 4454665"/>
              <a:gd name="connsiteX652" fmla="*/ 11680464 w 12192000"/>
              <a:gd name="connsiteY652" fmla="*/ 3738731 h 4454665"/>
              <a:gd name="connsiteX653" fmla="*/ 11676922 w 12192000"/>
              <a:gd name="connsiteY653" fmla="*/ 3717647 h 4454665"/>
              <a:gd name="connsiteX654" fmla="*/ 11666295 w 12192000"/>
              <a:gd name="connsiteY654" fmla="*/ 3717647 h 4454665"/>
              <a:gd name="connsiteX655" fmla="*/ 11645898 w 12192000"/>
              <a:gd name="connsiteY655" fmla="*/ 3717647 h 4454665"/>
              <a:gd name="connsiteX656" fmla="*/ 11606934 w 12192000"/>
              <a:gd name="connsiteY656" fmla="*/ 3721118 h 4454665"/>
              <a:gd name="connsiteX657" fmla="*/ 11606934 w 12192000"/>
              <a:gd name="connsiteY657" fmla="*/ 3728059 h 4454665"/>
              <a:gd name="connsiteX658" fmla="*/ 11621103 w 12192000"/>
              <a:gd name="connsiteY658" fmla="*/ 3724589 h 4454665"/>
              <a:gd name="connsiteX659" fmla="*/ 11624645 w 12192000"/>
              <a:gd name="connsiteY659" fmla="*/ 3759297 h 4454665"/>
              <a:gd name="connsiteX660" fmla="*/ 11635271 w 12192000"/>
              <a:gd name="connsiteY660" fmla="*/ 3759297 h 4454665"/>
              <a:gd name="connsiteX661" fmla="*/ 11631729 w 12192000"/>
              <a:gd name="connsiteY661" fmla="*/ 3724589 h 4454665"/>
              <a:gd name="connsiteX662" fmla="*/ 11645898 w 12192000"/>
              <a:gd name="connsiteY662" fmla="*/ 3724589 h 4454665"/>
              <a:gd name="connsiteX663" fmla="*/ 11645898 w 12192000"/>
              <a:gd name="connsiteY663" fmla="*/ 3717647 h 4454665"/>
              <a:gd name="connsiteX664" fmla="*/ 11196257 w 12192000"/>
              <a:gd name="connsiteY664" fmla="*/ 3717646 h 4454665"/>
              <a:gd name="connsiteX665" fmla="*/ 11221336 w 12192000"/>
              <a:gd name="connsiteY665" fmla="*/ 3752578 h 4454665"/>
              <a:gd name="connsiteX666" fmla="*/ 11167595 w 12192000"/>
              <a:gd name="connsiteY666" fmla="*/ 3752578 h 4454665"/>
              <a:gd name="connsiteX667" fmla="*/ 11196257 w 12192000"/>
              <a:gd name="connsiteY667" fmla="*/ 3717646 h 4454665"/>
              <a:gd name="connsiteX668" fmla="*/ 11648585 w 12192000"/>
              <a:gd name="connsiteY668" fmla="*/ 3710930 h 4454665"/>
              <a:gd name="connsiteX669" fmla="*/ 11813539 w 12192000"/>
              <a:gd name="connsiteY669" fmla="*/ 3766821 h 4454665"/>
              <a:gd name="connsiteX670" fmla="*/ 11817049 w 12192000"/>
              <a:gd name="connsiteY670" fmla="*/ 3780794 h 4454665"/>
              <a:gd name="connsiteX671" fmla="*/ 11788972 w 12192000"/>
              <a:gd name="connsiteY671" fmla="*/ 3812234 h 4454665"/>
              <a:gd name="connsiteX672" fmla="*/ 11774933 w 12192000"/>
              <a:gd name="connsiteY672" fmla="*/ 3812234 h 4454665"/>
              <a:gd name="connsiteX673" fmla="*/ 11648585 w 12192000"/>
              <a:gd name="connsiteY673" fmla="*/ 3766821 h 4454665"/>
              <a:gd name="connsiteX674" fmla="*/ 11522236 w 12192000"/>
              <a:gd name="connsiteY674" fmla="*/ 3812234 h 4454665"/>
              <a:gd name="connsiteX675" fmla="*/ 11508198 w 12192000"/>
              <a:gd name="connsiteY675" fmla="*/ 3812234 h 4454665"/>
              <a:gd name="connsiteX676" fmla="*/ 11480121 w 12192000"/>
              <a:gd name="connsiteY676" fmla="*/ 3780794 h 4454665"/>
              <a:gd name="connsiteX677" fmla="*/ 11483630 w 12192000"/>
              <a:gd name="connsiteY677" fmla="*/ 3766821 h 4454665"/>
              <a:gd name="connsiteX678" fmla="*/ 11648585 w 12192000"/>
              <a:gd name="connsiteY678" fmla="*/ 3710930 h 4454665"/>
              <a:gd name="connsiteX679" fmla="*/ 11196481 w 12192000"/>
              <a:gd name="connsiteY679" fmla="*/ 3710929 h 4454665"/>
              <a:gd name="connsiteX680" fmla="*/ 11158189 w 12192000"/>
              <a:gd name="connsiteY680" fmla="*/ 3759969 h 4454665"/>
              <a:gd name="connsiteX681" fmla="*/ 11199962 w 12192000"/>
              <a:gd name="connsiteY681" fmla="*/ 3809008 h 4454665"/>
              <a:gd name="connsiteX682" fmla="*/ 11227810 w 12192000"/>
              <a:gd name="connsiteY682" fmla="*/ 3802002 h 4454665"/>
              <a:gd name="connsiteX683" fmla="*/ 11227810 w 12192000"/>
              <a:gd name="connsiteY683" fmla="*/ 3791494 h 4454665"/>
              <a:gd name="connsiteX684" fmla="*/ 11199962 w 12192000"/>
              <a:gd name="connsiteY684" fmla="*/ 3798499 h 4454665"/>
              <a:gd name="connsiteX685" fmla="*/ 11168632 w 12192000"/>
              <a:gd name="connsiteY685" fmla="*/ 3763472 h 4454665"/>
              <a:gd name="connsiteX686" fmla="*/ 11234772 w 12192000"/>
              <a:gd name="connsiteY686" fmla="*/ 3763472 h 4454665"/>
              <a:gd name="connsiteX687" fmla="*/ 11234772 w 12192000"/>
              <a:gd name="connsiteY687" fmla="*/ 3756466 h 4454665"/>
              <a:gd name="connsiteX688" fmla="*/ 11196481 w 12192000"/>
              <a:gd name="connsiteY688" fmla="*/ 3710929 h 4454665"/>
              <a:gd name="connsiteX689" fmla="*/ 10947253 w 12192000"/>
              <a:gd name="connsiteY689" fmla="*/ 3674653 h 4454665"/>
              <a:gd name="connsiteX690" fmla="*/ 10947253 w 12192000"/>
              <a:gd name="connsiteY690" fmla="*/ 3685401 h 4454665"/>
              <a:gd name="connsiteX691" fmla="*/ 10986216 w 12192000"/>
              <a:gd name="connsiteY691" fmla="*/ 3685401 h 4454665"/>
              <a:gd name="connsiteX692" fmla="*/ 10986216 w 12192000"/>
              <a:gd name="connsiteY692" fmla="*/ 3804977 h 4454665"/>
              <a:gd name="connsiteX693" fmla="*/ 10999652 w 12192000"/>
              <a:gd name="connsiteY693" fmla="*/ 3804977 h 4454665"/>
              <a:gd name="connsiteX694" fmla="*/ 10999652 w 12192000"/>
              <a:gd name="connsiteY694" fmla="*/ 3685401 h 4454665"/>
              <a:gd name="connsiteX695" fmla="*/ 11038614 w 12192000"/>
              <a:gd name="connsiteY695" fmla="*/ 3685401 h 4454665"/>
              <a:gd name="connsiteX696" fmla="*/ 11038614 w 12192000"/>
              <a:gd name="connsiteY696" fmla="*/ 3674653 h 4454665"/>
              <a:gd name="connsiteX697" fmla="*/ 11060111 w 12192000"/>
              <a:gd name="connsiteY697" fmla="*/ 3663904 h 4454665"/>
              <a:gd name="connsiteX698" fmla="*/ 11060111 w 12192000"/>
              <a:gd name="connsiteY698" fmla="*/ 3804977 h 4454665"/>
              <a:gd name="connsiteX699" fmla="*/ 11070476 w 12192000"/>
              <a:gd name="connsiteY699" fmla="*/ 3804977 h 4454665"/>
              <a:gd name="connsiteX700" fmla="*/ 11070476 w 12192000"/>
              <a:gd name="connsiteY700" fmla="*/ 3755601 h 4454665"/>
              <a:gd name="connsiteX701" fmla="*/ 11098115 w 12192000"/>
              <a:gd name="connsiteY701" fmla="*/ 3716807 h 4454665"/>
              <a:gd name="connsiteX702" fmla="*/ 11118844 w 12192000"/>
              <a:gd name="connsiteY702" fmla="*/ 3748548 h 4454665"/>
              <a:gd name="connsiteX703" fmla="*/ 11118844 w 12192000"/>
              <a:gd name="connsiteY703" fmla="*/ 3804977 h 4454665"/>
              <a:gd name="connsiteX704" fmla="*/ 11132662 w 12192000"/>
              <a:gd name="connsiteY704" fmla="*/ 3804977 h 4454665"/>
              <a:gd name="connsiteX705" fmla="*/ 11132662 w 12192000"/>
              <a:gd name="connsiteY705" fmla="*/ 3748548 h 4454665"/>
              <a:gd name="connsiteX706" fmla="*/ 11101569 w 12192000"/>
              <a:gd name="connsiteY706" fmla="*/ 3709753 h 4454665"/>
              <a:gd name="connsiteX707" fmla="*/ 11070476 w 12192000"/>
              <a:gd name="connsiteY707" fmla="*/ 3727387 h 4454665"/>
              <a:gd name="connsiteX708" fmla="*/ 11070476 w 12192000"/>
              <a:gd name="connsiteY708" fmla="*/ 3663904 h 4454665"/>
              <a:gd name="connsiteX709" fmla="*/ 11060111 w 12192000"/>
              <a:gd name="connsiteY709" fmla="*/ 3663904 h 4454665"/>
              <a:gd name="connsiteX710" fmla="*/ 11638739 w 12192000"/>
              <a:gd name="connsiteY710" fmla="*/ 3639721 h 4454665"/>
              <a:gd name="connsiteX711" fmla="*/ 11624716 w 12192000"/>
              <a:gd name="connsiteY711" fmla="*/ 3692584 h 4454665"/>
              <a:gd name="connsiteX712" fmla="*/ 11600176 w 12192000"/>
              <a:gd name="connsiteY712" fmla="*/ 3696108 h 4454665"/>
              <a:gd name="connsiteX713" fmla="*/ 11575635 w 12192000"/>
              <a:gd name="connsiteY713" fmla="*/ 3650294 h 4454665"/>
              <a:gd name="connsiteX714" fmla="*/ 11572129 w 12192000"/>
              <a:gd name="connsiteY714" fmla="*/ 3650294 h 4454665"/>
              <a:gd name="connsiteX715" fmla="*/ 11551094 w 12192000"/>
              <a:gd name="connsiteY715" fmla="*/ 3653818 h 4454665"/>
              <a:gd name="connsiteX716" fmla="*/ 11551094 w 12192000"/>
              <a:gd name="connsiteY716" fmla="*/ 3657342 h 4454665"/>
              <a:gd name="connsiteX717" fmla="*/ 11547588 w 12192000"/>
              <a:gd name="connsiteY717" fmla="*/ 3682011 h 4454665"/>
              <a:gd name="connsiteX718" fmla="*/ 11551094 w 12192000"/>
              <a:gd name="connsiteY718" fmla="*/ 3710205 h 4454665"/>
              <a:gd name="connsiteX719" fmla="*/ 11530059 w 12192000"/>
              <a:gd name="connsiteY719" fmla="*/ 3717253 h 4454665"/>
              <a:gd name="connsiteX720" fmla="*/ 11491495 w 12192000"/>
              <a:gd name="connsiteY720" fmla="*/ 3682011 h 4454665"/>
              <a:gd name="connsiteX721" fmla="*/ 11470460 w 12192000"/>
              <a:gd name="connsiteY721" fmla="*/ 3692584 h 4454665"/>
              <a:gd name="connsiteX722" fmla="*/ 11484484 w 12192000"/>
              <a:gd name="connsiteY722" fmla="*/ 3745446 h 4454665"/>
              <a:gd name="connsiteX723" fmla="*/ 11466954 w 12192000"/>
              <a:gd name="connsiteY723" fmla="*/ 3756019 h 4454665"/>
              <a:gd name="connsiteX724" fmla="*/ 11421379 w 12192000"/>
              <a:gd name="connsiteY724" fmla="*/ 3731350 h 4454665"/>
              <a:gd name="connsiteX725" fmla="*/ 11403850 w 12192000"/>
              <a:gd name="connsiteY725" fmla="*/ 3745446 h 4454665"/>
              <a:gd name="connsiteX726" fmla="*/ 11403850 w 12192000"/>
              <a:gd name="connsiteY726" fmla="*/ 3748970 h 4454665"/>
              <a:gd name="connsiteX727" fmla="*/ 11431896 w 12192000"/>
              <a:gd name="connsiteY727" fmla="*/ 3794785 h 4454665"/>
              <a:gd name="connsiteX728" fmla="*/ 11417873 w 12192000"/>
              <a:gd name="connsiteY728" fmla="*/ 3812406 h 4454665"/>
              <a:gd name="connsiteX729" fmla="*/ 11365286 w 12192000"/>
              <a:gd name="connsiteY729" fmla="*/ 3798309 h 4454665"/>
              <a:gd name="connsiteX730" fmla="*/ 11354768 w 12192000"/>
              <a:gd name="connsiteY730" fmla="*/ 3819454 h 4454665"/>
              <a:gd name="connsiteX731" fmla="*/ 11389827 w 12192000"/>
              <a:gd name="connsiteY731" fmla="*/ 3858221 h 4454665"/>
              <a:gd name="connsiteX732" fmla="*/ 11382815 w 12192000"/>
              <a:gd name="connsiteY732" fmla="*/ 3879365 h 4454665"/>
              <a:gd name="connsiteX733" fmla="*/ 11330228 w 12192000"/>
              <a:gd name="connsiteY733" fmla="*/ 3879365 h 4454665"/>
              <a:gd name="connsiteX734" fmla="*/ 11323216 w 12192000"/>
              <a:gd name="connsiteY734" fmla="*/ 3900510 h 4454665"/>
              <a:gd name="connsiteX735" fmla="*/ 11368791 w 12192000"/>
              <a:gd name="connsiteY735" fmla="*/ 3928704 h 4454665"/>
              <a:gd name="connsiteX736" fmla="*/ 11365286 w 12192000"/>
              <a:gd name="connsiteY736" fmla="*/ 3949848 h 4454665"/>
              <a:gd name="connsiteX737" fmla="*/ 11316205 w 12192000"/>
              <a:gd name="connsiteY737" fmla="*/ 3963946 h 4454665"/>
              <a:gd name="connsiteX738" fmla="*/ 11312698 w 12192000"/>
              <a:gd name="connsiteY738" fmla="*/ 3963946 h 4454665"/>
              <a:gd name="connsiteX739" fmla="*/ 11312698 w 12192000"/>
              <a:gd name="connsiteY739" fmla="*/ 3978042 h 4454665"/>
              <a:gd name="connsiteX740" fmla="*/ 11312698 w 12192000"/>
              <a:gd name="connsiteY740" fmla="*/ 3988615 h 4454665"/>
              <a:gd name="connsiteX741" fmla="*/ 11316205 w 12192000"/>
              <a:gd name="connsiteY741" fmla="*/ 3988615 h 4454665"/>
              <a:gd name="connsiteX742" fmla="*/ 11365286 w 12192000"/>
              <a:gd name="connsiteY742" fmla="*/ 4002712 h 4454665"/>
              <a:gd name="connsiteX743" fmla="*/ 11368791 w 12192000"/>
              <a:gd name="connsiteY743" fmla="*/ 4023857 h 4454665"/>
              <a:gd name="connsiteX744" fmla="*/ 11323216 w 12192000"/>
              <a:gd name="connsiteY744" fmla="*/ 4052050 h 4454665"/>
              <a:gd name="connsiteX745" fmla="*/ 11323216 w 12192000"/>
              <a:gd name="connsiteY745" fmla="*/ 4055574 h 4454665"/>
              <a:gd name="connsiteX746" fmla="*/ 11330228 w 12192000"/>
              <a:gd name="connsiteY746" fmla="*/ 4076719 h 4454665"/>
              <a:gd name="connsiteX747" fmla="*/ 11382815 w 12192000"/>
              <a:gd name="connsiteY747" fmla="*/ 4076719 h 4454665"/>
              <a:gd name="connsiteX748" fmla="*/ 11393332 w 12192000"/>
              <a:gd name="connsiteY748" fmla="*/ 4097865 h 4454665"/>
              <a:gd name="connsiteX749" fmla="*/ 11354768 w 12192000"/>
              <a:gd name="connsiteY749" fmla="*/ 4133106 h 4454665"/>
              <a:gd name="connsiteX750" fmla="*/ 11354768 w 12192000"/>
              <a:gd name="connsiteY750" fmla="*/ 4136630 h 4454665"/>
              <a:gd name="connsiteX751" fmla="*/ 11365286 w 12192000"/>
              <a:gd name="connsiteY751" fmla="*/ 4154251 h 4454665"/>
              <a:gd name="connsiteX752" fmla="*/ 11417873 w 12192000"/>
              <a:gd name="connsiteY752" fmla="*/ 4140154 h 4454665"/>
              <a:gd name="connsiteX753" fmla="*/ 11431896 w 12192000"/>
              <a:gd name="connsiteY753" fmla="*/ 4161300 h 4454665"/>
              <a:gd name="connsiteX754" fmla="*/ 11403850 w 12192000"/>
              <a:gd name="connsiteY754" fmla="*/ 4207114 h 4454665"/>
              <a:gd name="connsiteX755" fmla="*/ 11421379 w 12192000"/>
              <a:gd name="connsiteY755" fmla="*/ 4221210 h 4454665"/>
              <a:gd name="connsiteX756" fmla="*/ 11466954 w 12192000"/>
              <a:gd name="connsiteY756" fmla="*/ 4196542 h 4454665"/>
              <a:gd name="connsiteX757" fmla="*/ 11484484 w 12192000"/>
              <a:gd name="connsiteY757" fmla="*/ 4210638 h 4454665"/>
              <a:gd name="connsiteX758" fmla="*/ 11473966 w 12192000"/>
              <a:gd name="connsiteY758" fmla="*/ 4259976 h 4454665"/>
              <a:gd name="connsiteX759" fmla="*/ 11473966 w 12192000"/>
              <a:gd name="connsiteY759" fmla="*/ 4263501 h 4454665"/>
              <a:gd name="connsiteX760" fmla="*/ 11491495 w 12192000"/>
              <a:gd name="connsiteY760" fmla="*/ 4274073 h 4454665"/>
              <a:gd name="connsiteX761" fmla="*/ 11495001 w 12192000"/>
              <a:gd name="connsiteY761" fmla="*/ 4274073 h 4454665"/>
              <a:gd name="connsiteX762" fmla="*/ 11530059 w 12192000"/>
              <a:gd name="connsiteY762" fmla="*/ 4235307 h 4454665"/>
              <a:gd name="connsiteX763" fmla="*/ 11551094 w 12192000"/>
              <a:gd name="connsiteY763" fmla="*/ 4245880 h 4454665"/>
              <a:gd name="connsiteX764" fmla="*/ 11547588 w 12192000"/>
              <a:gd name="connsiteY764" fmla="*/ 4270549 h 4454665"/>
              <a:gd name="connsiteX765" fmla="*/ 11551094 w 12192000"/>
              <a:gd name="connsiteY765" fmla="*/ 4298743 h 4454665"/>
              <a:gd name="connsiteX766" fmla="*/ 11572129 w 12192000"/>
              <a:gd name="connsiteY766" fmla="*/ 4305791 h 4454665"/>
              <a:gd name="connsiteX767" fmla="*/ 11575635 w 12192000"/>
              <a:gd name="connsiteY767" fmla="*/ 4305791 h 4454665"/>
              <a:gd name="connsiteX768" fmla="*/ 11600176 w 12192000"/>
              <a:gd name="connsiteY768" fmla="*/ 4259976 h 4454665"/>
              <a:gd name="connsiteX769" fmla="*/ 11624716 w 12192000"/>
              <a:gd name="connsiteY769" fmla="*/ 4259976 h 4454665"/>
              <a:gd name="connsiteX770" fmla="*/ 11638739 w 12192000"/>
              <a:gd name="connsiteY770" fmla="*/ 4312839 h 4454665"/>
              <a:gd name="connsiteX771" fmla="*/ 11659774 w 12192000"/>
              <a:gd name="connsiteY771" fmla="*/ 4312839 h 4454665"/>
              <a:gd name="connsiteX772" fmla="*/ 11663280 w 12192000"/>
              <a:gd name="connsiteY772" fmla="*/ 4312839 h 4454665"/>
              <a:gd name="connsiteX773" fmla="*/ 11677303 w 12192000"/>
              <a:gd name="connsiteY773" fmla="*/ 4259976 h 4454665"/>
              <a:gd name="connsiteX774" fmla="*/ 11698339 w 12192000"/>
              <a:gd name="connsiteY774" fmla="*/ 4259976 h 4454665"/>
              <a:gd name="connsiteX775" fmla="*/ 11722879 w 12192000"/>
              <a:gd name="connsiteY775" fmla="*/ 4305791 h 4454665"/>
              <a:gd name="connsiteX776" fmla="*/ 11726385 w 12192000"/>
              <a:gd name="connsiteY776" fmla="*/ 4305791 h 4454665"/>
              <a:gd name="connsiteX777" fmla="*/ 11747420 w 12192000"/>
              <a:gd name="connsiteY777" fmla="*/ 4298743 h 4454665"/>
              <a:gd name="connsiteX778" fmla="*/ 11750925 w 12192000"/>
              <a:gd name="connsiteY778" fmla="*/ 4270549 h 4454665"/>
              <a:gd name="connsiteX779" fmla="*/ 11747420 w 12192000"/>
              <a:gd name="connsiteY779" fmla="*/ 4245880 h 4454665"/>
              <a:gd name="connsiteX780" fmla="*/ 11768454 w 12192000"/>
              <a:gd name="connsiteY780" fmla="*/ 4235307 h 4454665"/>
              <a:gd name="connsiteX781" fmla="*/ 11807019 w 12192000"/>
              <a:gd name="connsiteY781" fmla="*/ 4274073 h 4454665"/>
              <a:gd name="connsiteX782" fmla="*/ 11824547 w 12192000"/>
              <a:gd name="connsiteY782" fmla="*/ 4263501 h 4454665"/>
              <a:gd name="connsiteX783" fmla="*/ 11828054 w 12192000"/>
              <a:gd name="connsiteY783" fmla="*/ 4263501 h 4454665"/>
              <a:gd name="connsiteX784" fmla="*/ 11828054 w 12192000"/>
              <a:gd name="connsiteY784" fmla="*/ 4259976 h 4454665"/>
              <a:gd name="connsiteX785" fmla="*/ 11814030 w 12192000"/>
              <a:gd name="connsiteY785" fmla="*/ 4210638 h 4454665"/>
              <a:gd name="connsiteX786" fmla="*/ 11831559 w 12192000"/>
              <a:gd name="connsiteY786" fmla="*/ 4196542 h 4454665"/>
              <a:gd name="connsiteX787" fmla="*/ 11877135 w 12192000"/>
              <a:gd name="connsiteY787" fmla="*/ 4221210 h 4454665"/>
              <a:gd name="connsiteX788" fmla="*/ 11894664 w 12192000"/>
              <a:gd name="connsiteY788" fmla="*/ 4207114 h 4454665"/>
              <a:gd name="connsiteX789" fmla="*/ 11894664 w 12192000"/>
              <a:gd name="connsiteY789" fmla="*/ 4203590 h 4454665"/>
              <a:gd name="connsiteX790" fmla="*/ 11866617 w 12192000"/>
              <a:gd name="connsiteY790" fmla="*/ 4157775 h 4454665"/>
              <a:gd name="connsiteX791" fmla="*/ 11880641 w 12192000"/>
              <a:gd name="connsiteY791" fmla="*/ 4140154 h 4454665"/>
              <a:gd name="connsiteX792" fmla="*/ 11933228 w 12192000"/>
              <a:gd name="connsiteY792" fmla="*/ 4154251 h 4454665"/>
              <a:gd name="connsiteX793" fmla="*/ 11943746 w 12192000"/>
              <a:gd name="connsiteY793" fmla="*/ 4136630 h 4454665"/>
              <a:gd name="connsiteX794" fmla="*/ 11943746 w 12192000"/>
              <a:gd name="connsiteY794" fmla="*/ 4133106 h 4454665"/>
              <a:gd name="connsiteX795" fmla="*/ 11908688 w 12192000"/>
              <a:gd name="connsiteY795" fmla="*/ 4094340 h 4454665"/>
              <a:gd name="connsiteX796" fmla="*/ 11915699 w 12192000"/>
              <a:gd name="connsiteY796" fmla="*/ 4076719 h 4454665"/>
              <a:gd name="connsiteX797" fmla="*/ 11968286 w 12192000"/>
              <a:gd name="connsiteY797" fmla="*/ 4076719 h 4454665"/>
              <a:gd name="connsiteX798" fmla="*/ 11968286 w 12192000"/>
              <a:gd name="connsiteY798" fmla="*/ 4073195 h 4454665"/>
              <a:gd name="connsiteX799" fmla="*/ 11975298 w 12192000"/>
              <a:gd name="connsiteY799" fmla="*/ 4052050 h 4454665"/>
              <a:gd name="connsiteX800" fmla="*/ 11929722 w 12192000"/>
              <a:gd name="connsiteY800" fmla="*/ 4023857 h 4454665"/>
              <a:gd name="connsiteX801" fmla="*/ 11933228 w 12192000"/>
              <a:gd name="connsiteY801" fmla="*/ 4002712 h 4454665"/>
              <a:gd name="connsiteX802" fmla="*/ 11982310 w 12192000"/>
              <a:gd name="connsiteY802" fmla="*/ 3988615 h 4454665"/>
              <a:gd name="connsiteX803" fmla="*/ 11985815 w 12192000"/>
              <a:gd name="connsiteY803" fmla="*/ 3978042 h 4454665"/>
              <a:gd name="connsiteX804" fmla="*/ 11982310 w 12192000"/>
              <a:gd name="connsiteY804" fmla="*/ 3967470 h 4454665"/>
              <a:gd name="connsiteX805" fmla="*/ 11982310 w 12192000"/>
              <a:gd name="connsiteY805" fmla="*/ 3963946 h 4454665"/>
              <a:gd name="connsiteX806" fmla="*/ 11933228 w 12192000"/>
              <a:gd name="connsiteY806" fmla="*/ 3949848 h 4454665"/>
              <a:gd name="connsiteX807" fmla="*/ 11929722 w 12192000"/>
              <a:gd name="connsiteY807" fmla="*/ 3928704 h 4454665"/>
              <a:gd name="connsiteX808" fmla="*/ 11975298 w 12192000"/>
              <a:gd name="connsiteY808" fmla="*/ 3904035 h 4454665"/>
              <a:gd name="connsiteX809" fmla="*/ 11975298 w 12192000"/>
              <a:gd name="connsiteY809" fmla="*/ 3900510 h 4454665"/>
              <a:gd name="connsiteX810" fmla="*/ 11968286 w 12192000"/>
              <a:gd name="connsiteY810" fmla="*/ 3879365 h 4454665"/>
              <a:gd name="connsiteX811" fmla="*/ 11915699 w 12192000"/>
              <a:gd name="connsiteY811" fmla="*/ 3879365 h 4454665"/>
              <a:gd name="connsiteX812" fmla="*/ 11908688 w 12192000"/>
              <a:gd name="connsiteY812" fmla="*/ 3858221 h 4454665"/>
              <a:gd name="connsiteX813" fmla="*/ 11943746 w 12192000"/>
              <a:gd name="connsiteY813" fmla="*/ 3819454 h 4454665"/>
              <a:gd name="connsiteX814" fmla="*/ 11933228 w 12192000"/>
              <a:gd name="connsiteY814" fmla="*/ 3801833 h 4454665"/>
              <a:gd name="connsiteX815" fmla="*/ 11933228 w 12192000"/>
              <a:gd name="connsiteY815" fmla="*/ 3798309 h 4454665"/>
              <a:gd name="connsiteX816" fmla="*/ 11880641 w 12192000"/>
              <a:gd name="connsiteY816" fmla="*/ 3812406 h 4454665"/>
              <a:gd name="connsiteX817" fmla="*/ 11866617 w 12192000"/>
              <a:gd name="connsiteY817" fmla="*/ 3794785 h 4454665"/>
              <a:gd name="connsiteX818" fmla="*/ 11894664 w 12192000"/>
              <a:gd name="connsiteY818" fmla="*/ 3748970 h 4454665"/>
              <a:gd name="connsiteX819" fmla="*/ 11877135 w 12192000"/>
              <a:gd name="connsiteY819" fmla="*/ 3731350 h 4454665"/>
              <a:gd name="connsiteX820" fmla="*/ 11831559 w 12192000"/>
              <a:gd name="connsiteY820" fmla="*/ 3759544 h 4454665"/>
              <a:gd name="connsiteX821" fmla="*/ 11814030 w 12192000"/>
              <a:gd name="connsiteY821" fmla="*/ 3745446 h 4454665"/>
              <a:gd name="connsiteX822" fmla="*/ 11828054 w 12192000"/>
              <a:gd name="connsiteY822" fmla="*/ 3692584 h 4454665"/>
              <a:gd name="connsiteX823" fmla="*/ 11807019 w 12192000"/>
              <a:gd name="connsiteY823" fmla="*/ 3682011 h 4454665"/>
              <a:gd name="connsiteX824" fmla="*/ 11768454 w 12192000"/>
              <a:gd name="connsiteY824" fmla="*/ 3717253 h 4454665"/>
              <a:gd name="connsiteX825" fmla="*/ 11747420 w 12192000"/>
              <a:gd name="connsiteY825" fmla="*/ 3710205 h 4454665"/>
              <a:gd name="connsiteX826" fmla="*/ 11750925 w 12192000"/>
              <a:gd name="connsiteY826" fmla="*/ 3682011 h 4454665"/>
              <a:gd name="connsiteX827" fmla="*/ 11747420 w 12192000"/>
              <a:gd name="connsiteY827" fmla="*/ 3657342 h 4454665"/>
              <a:gd name="connsiteX828" fmla="*/ 11747420 w 12192000"/>
              <a:gd name="connsiteY828" fmla="*/ 3653818 h 4454665"/>
              <a:gd name="connsiteX829" fmla="*/ 11726385 w 12192000"/>
              <a:gd name="connsiteY829" fmla="*/ 3650294 h 4454665"/>
              <a:gd name="connsiteX830" fmla="*/ 11722879 w 12192000"/>
              <a:gd name="connsiteY830" fmla="*/ 3650294 h 4454665"/>
              <a:gd name="connsiteX831" fmla="*/ 11698339 w 12192000"/>
              <a:gd name="connsiteY831" fmla="*/ 3696108 h 4454665"/>
              <a:gd name="connsiteX832" fmla="*/ 11673798 w 12192000"/>
              <a:gd name="connsiteY832" fmla="*/ 3692584 h 4454665"/>
              <a:gd name="connsiteX833" fmla="*/ 11659774 w 12192000"/>
              <a:gd name="connsiteY833" fmla="*/ 3639721 h 4454665"/>
              <a:gd name="connsiteX834" fmla="*/ 11638739 w 12192000"/>
              <a:gd name="connsiteY834" fmla="*/ 3639721 h 4454665"/>
              <a:gd name="connsiteX835" fmla="*/ 0 w 12192000"/>
              <a:gd name="connsiteY835" fmla="*/ 0 h 4454665"/>
              <a:gd name="connsiteX836" fmla="*/ 12192000 w 12192000"/>
              <a:gd name="connsiteY836" fmla="*/ 0 h 4454665"/>
              <a:gd name="connsiteX837" fmla="*/ 12192000 w 12192000"/>
              <a:gd name="connsiteY837" fmla="*/ 4454665 h 4454665"/>
              <a:gd name="connsiteX838" fmla="*/ 0 w 12192000"/>
              <a:gd name="connsiteY838" fmla="*/ 4454665 h 44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4454665">
                <a:moveTo>
                  <a:pt x="11946675" y="4274241"/>
                </a:moveTo>
                <a:lnTo>
                  <a:pt x="11952788" y="4274241"/>
                </a:lnTo>
                <a:cubicBezTo>
                  <a:pt x="11955414" y="4274241"/>
                  <a:pt x="11957212" y="4274433"/>
                  <a:pt x="11958183" y="4274816"/>
                </a:cubicBezTo>
                <a:cubicBezTo>
                  <a:pt x="11959154" y="4275199"/>
                  <a:pt x="11959913" y="4275780"/>
                  <a:pt x="11960461" y="4276559"/>
                </a:cubicBezTo>
                <a:cubicBezTo>
                  <a:pt x="11961008" y="4277339"/>
                  <a:pt x="11961281" y="4278222"/>
                  <a:pt x="11961281" y="4279206"/>
                </a:cubicBezTo>
                <a:cubicBezTo>
                  <a:pt x="11961281" y="4280738"/>
                  <a:pt x="11960713" y="4281968"/>
                  <a:pt x="11959578" y="4282898"/>
                </a:cubicBezTo>
                <a:cubicBezTo>
                  <a:pt x="11958443" y="4283829"/>
                  <a:pt x="11956316" y="4284293"/>
                  <a:pt x="11953198" y="4284293"/>
                </a:cubicBezTo>
                <a:lnTo>
                  <a:pt x="11946675" y="4284293"/>
                </a:lnTo>
                <a:close/>
                <a:moveTo>
                  <a:pt x="11941300" y="4269729"/>
                </a:moveTo>
                <a:lnTo>
                  <a:pt x="11941300" y="4303043"/>
                </a:lnTo>
                <a:lnTo>
                  <a:pt x="11946675" y="4303043"/>
                </a:lnTo>
                <a:lnTo>
                  <a:pt x="11946675" y="4288889"/>
                </a:lnTo>
                <a:lnTo>
                  <a:pt x="11949834" y="4288889"/>
                </a:lnTo>
                <a:cubicBezTo>
                  <a:pt x="11951722" y="4288889"/>
                  <a:pt x="11953158" y="4289271"/>
                  <a:pt x="11954142" y="4290037"/>
                </a:cubicBezTo>
                <a:cubicBezTo>
                  <a:pt x="11955564" y="4291076"/>
                  <a:pt x="11957438" y="4293661"/>
                  <a:pt x="11959762" y="4297791"/>
                </a:cubicBezTo>
                <a:lnTo>
                  <a:pt x="11962717" y="4303043"/>
                </a:lnTo>
                <a:lnTo>
                  <a:pt x="11969281" y="4303043"/>
                </a:lnTo>
                <a:lnTo>
                  <a:pt x="11965220" y="4296519"/>
                </a:lnTo>
                <a:cubicBezTo>
                  <a:pt x="11963277" y="4293428"/>
                  <a:pt x="11961636" y="4291227"/>
                  <a:pt x="11960296" y="4289914"/>
                </a:cubicBezTo>
                <a:cubicBezTo>
                  <a:pt x="11959585" y="4289231"/>
                  <a:pt x="11958641" y="4288642"/>
                  <a:pt x="11957466" y="4288150"/>
                </a:cubicBezTo>
                <a:cubicBezTo>
                  <a:pt x="11960337" y="4287931"/>
                  <a:pt x="11962642" y="4286919"/>
                  <a:pt x="11964378" y="4285114"/>
                </a:cubicBezTo>
                <a:cubicBezTo>
                  <a:pt x="11966115" y="4283309"/>
                  <a:pt x="11966983" y="4281189"/>
                  <a:pt x="11966983" y="4278755"/>
                </a:cubicBezTo>
                <a:cubicBezTo>
                  <a:pt x="11966983" y="4277032"/>
                  <a:pt x="11966464" y="4275404"/>
                  <a:pt x="11965424" y="4273872"/>
                </a:cubicBezTo>
                <a:cubicBezTo>
                  <a:pt x="11964385" y="4272340"/>
                  <a:pt x="11962990" y="4271267"/>
                  <a:pt x="11961239" y="4270652"/>
                </a:cubicBezTo>
                <a:cubicBezTo>
                  <a:pt x="11959489" y="4270036"/>
                  <a:pt x="11956658" y="4269729"/>
                  <a:pt x="11952747" y="4269729"/>
                </a:cubicBezTo>
                <a:close/>
                <a:moveTo>
                  <a:pt x="10902089" y="4267158"/>
                </a:moveTo>
                <a:cubicBezTo>
                  <a:pt x="10902089" y="4267158"/>
                  <a:pt x="10902089" y="4267158"/>
                  <a:pt x="10905603" y="4267158"/>
                </a:cubicBezTo>
                <a:lnTo>
                  <a:pt x="10905603" y="4270699"/>
                </a:lnTo>
                <a:cubicBezTo>
                  <a:pt x="10905603" y="4281326"/>
                  <a:pt x="10905603" y="4306121"/>
                  <a:pt x="10877492" y="4306121"/>
                </a:cubicBezTo>
                <a:cubicBezTo>
                  <a:pt x="10866950" y="4306121"/>
                  <a:pt x="10859922" y="4302579"/>
                  <a:pt x="10859922" y="4288411"/>
                </a:cubicBezTo>
                <a:cubicBezTo>
                  <a:pt x="10859922" y="4267158"/>
                  <a:pt x="10884520" y="4267158"/>
                  <a:pt x="10902089" y="4267158"/>
                </a:cubicBezTo>
                <a:close/>
                <a:moveTo>
                  <a:pt x="11954881" y="4260087"/>
                </a:moveTo>
                <a:cubicBezTo>
                  <a:pt x="11959202" y="4260087"/>
                  <a:pt x="11963428" y="4261202"/>
                  <a:pt x="11967558" y="4263431"/>
                </a:cubicBezTo>
                <a:cubicBezTo>
                  <a:pt x="11971688" y="4265660"/>
                  <a:pt x="11974909" y="4268847"/>
                  <a:pt x="11977220" y="4272990"/>
                </a:cubicBezTo>
                <a:cubicBezTo>
                  <a:pt x="11979531" y="4277134"/>
                  <a:pt x="11980687" y="4281449"/>
                  <a:pt x="11980687" y="4285934"/>
                </a:cubicBezTo>
                <a:cubicBezTo>
                  <a:pt x="11980687" y="4290393"/>
                  <a:pt x="11979552" y="4294667"/>
                  <a:pt x="11977282" y="4298755"/>
                </a:cubicBezTo>
                <a:cubicBezTo>
                  <a:pt x="11975012" y="4302845"/>
                  <a:pt x="11971825" y="4306031"/>
                  <a:pt x="11967722" y="4308315"/>
                </a:cubicBezTo>
                <a:cubicBezTo>
                  <a:pt x="11963619" y="4310599"/>
                  <a:pt x="11959339" y="4311741"/>
                  <a:pt x="11954881" y="4311741"/>
                </a:cubicBezTo>
                <a:cubicBezTo>
                  <a:pt x="11950422" y="4311741"/>
                  <a:pt x="11946142" y="4310599"/>
                  <a:pt x="11942039" y="4308315"/>
                </a:cubicBezTo>
                <a:cubicBezTo>
                  <a:pt x="11937936" y="4306031"/>
                  <a:pt x="11934742" y="4302845"/>
                  <a:pt x="11932459" y="4298755"/>
                </a:cubicBezTo>
                <a:cubicBezTo>
                  <a:pt x="11930175" y="4294667"/>
                  <a:pt x="11929033" y="4290393"/>
                  <a:pt x="11929033" y="4285934"/>
                </a:cubicBezTo>
                <a:cubicBezTo>
                  <a:pt x="11929033" y="4281449"/>
                  <a:pt x="11930195" y="4277134"/>
                  <a:pt x="11932521" y="4272990"/>
                </a:cubicBezTo>
                <a:cubicBezTo>
                  <a:pt x="11934846" y="4268847"/>
                  <a:pt x="11938066" y="4265660"/>
                  <a:pt x="11942183" y="4263431"/>
                </a:cubicBezTo>
                <a:cubicBezTo>
                  <a:pt x="11946299" y="4261202"/>
                  <a:pt x="11950532" y="4260087"/>
                  <a:pt x="11954881" y="4260087"/>
                </a:cubicBezTo>
                <a:close/>
                <a:moveTo>
                  <a:pt x="11954881" y="4254959"/>
                </a:moveTo>
                <a:cubicBezTo>
                  <a:pt x="11949684" y="4254959"/>
                  <a:pt x="11944610" y="4256292"/>
                  <a:pt x="11939660" y="4258959"/>
                </a:cubicBezTo>
                <a:cubicBezTo>
                  <a:pt x="11934709" y="4261625"/>
                  <a:pt x="11930845" y="4265441"/>
                  <a:pt x="11928069" y="4270406"/>
                </a:cubicBezTo>
                <a:cubicBezTo>
                  <a:pt x="11925293" y="4275369"/>
                  <a:pt x="11923904" y="4280546"/>
                  <a:pt x="11923904" y="4285934"/>
                </a:cubicBezTo>
                <a:cubicBezTo>
                  <a:pt x="11923904" y="4291268"/>
                  <a:pt x="11925272" y="4296397"/>
                  <a:pt x="11928007" y="4301320"/>
                </a:cubicBezTo>
                <a:cubicBezTo>
                  <a:pt x="11930743" y="4306243"/>
                  <a:pt x="11934565" y="4310066"/>
                  <a:pt x="11939474" y="4312787"/>
                </a:cubicBezTo>
                <a:cubicBezTo>
                  <a:pt x="11944385" y="4315508"/>
                  <a:pt x="11949519" y="4316869"/>
                  <a:pt x="11954881" y="4316869"/>
                </a:cubicBezTo>
                <a:cubicBezTo>
                  <a:pt x="11960242" y="4316869"/>
                  <a:pt x="11965376" y="4315508"/>
                  <a:pt x="11970287" y="4312787"/>
                </a:cubicBezTo>
                <a:cubicBezTo>
                  <a:pt x="11975196" y="4310066"/>
                  <a:pt x="11979011" y="4306243"/>
                  <a:pt x="11981733" y="4301320"/>
                </a:cubicBezTo>
                <a:cubicBezTo>
                  <a:pt x="11984454" y="4296397"/>
                  <a:pt x="11985815" y="4291268"/>
                  <a:pt x="11985815" y="4285934"/>
                </a:cubicBezTo>
                <a:cubicBezTo>
                  <a:pt x="11985815" y="4280546"/>
                  <a:pt x="11984434" y="4275369"/>
                  <a:pt x="11981671" y="4270406"/>
                </a:cubicBezTo>
                <a:cubicBezTo>
                  <a:pt x="11978909" y="4265441"/>
                  <a:pt x="11975052" y="4261625"/>
                  <a:pt x="11970101" y="4258959"/>
                </a:cubicBezTo>
                <a:cubicBezTo>
                  <a:pt x="11965151" y="4256292"/>
                  <a:pt x="11960077" y="4254959"/>
                  <a:pt x="11954881" y="4254959"/>
                </a:cubicBezTo>
                <a:close/>
                <a:moveTo>
                  <a:pt x="11091685" y="4225507"/>
                </a:moveTo>
                <a:cubicBezTo>
                  <a:pt x="11109123" y="4225507"/>
                  <a:pt x="11123259" y="4243553"/>
                  <a:pt x="11123259" y="4265814"/>
                </a:cubicBezTo>
                <a:cubicBezTo>
                  <a:pt x="11123259" y="4288075"/>
                  <a:pt x="11109123" y="4306120"/>
                  <a:pt x="11091685" y="4306120"/>
                </a:cubicBezTo>
                <a:cubicBezTo>
                  <a:pt x="11074247" y="4306120"/>
                  <a:pt x="11060111" y="4288075"/>
                  <a:pt x="11060111" y="4265814"/>
                </a:cubicBezTo>
                <a:cubicBezTo>
                  <a:pt x="11060111" y="4243553"/>
                  <a:pt x="11074247" y="4225507"/>
                  <a:pt x="11091685" y="4225507"/>
                </a:cubicBezTo>
                <a:close/>
                <a:moveTo>
                  <a:pt x="10781998" y="4225507"/>
                </a:moveTo>
                <a:cubicBezTo>
                  <a:pt x="10797580" y="4225507"/>
                  <a:pt x="10810212" y="4243553"/>
                  <a:pt x="10810212" y="4265814"/>
                </a:cubicBezTo>
                <a:cubicBezTo>
                  <a:pt x="10810212" y="4288075"/>
                  <a:pt x="10797580" y="4306120"/>
                  <a:pt x="10781998" y="4306120"/>
                </a:cubicBezTo>
                <a:cubicBezTo>
                  <a:pt x="10766415" y="4306120"/>
                  <a:pt x="10753783" y="4288075"/>
                  <a:pt x="10753783" y="4265814"/>
                </a:cubicBezTo>
                <a:cubicBezTo>
                  <a:pt x="10753783" y="4243553"/>
                  <a:pt x="10766415" y="4225507"/>
                  <a:pt x="10781998" y="4225507"/>
                </a:cubicBezTo>
                <a:close/>
                <a:moveTo>
                  <a:pt x="10469622" y="4225507"/>
                </a:moveTo>
                <a:cubicBezTo>
                  <a:pt x="10487060" y="4225507"/>
                  <a:pt x="10501196" y="4243553"/>
                  <a:pt x="10501196" y="4265814"/>
                </a:cubicBezTo>
                <a:cubicBezTo>
                  <a:pt x="10501196" y="4288075"/>
                  <a:pt x="10487060" y="4306120"/>
                  <a:pt x="10469622" y="4306120"/>
                </a:cubicBezTo>
                <a:cubicBezTo>
                  <a:pt x="10452185" y="4306120"/>
                  <a:pt x="10438048" y="4288075"/>
                  <a:pt x="10438048" y="4265814"/>
                </a:cubicBezTo>
                <a:cubicBezTo>
                  <a:pt x="10438048" y="4243553"/>
                  <a:pt x="10452185" y="4225507"/>
                  <a:pt x="10469622" y="4225507"/>
                </a:cubicBezTo>
                <a:close/>
                <a:moveTo>
                  <a:pt x="11014562" y="4220260"/>
                </a:moveTo>
                <a:lnTo>
                  <a:pt x="11014562" y="4316220"/>
                </a:lnTo>
                <a:lnTo>
                  <a:pt x="11026851" y="4316220"/>
                </a:lnTo>
                <a:lnTo>
                  <a:pt x="11026851" y="4220260"/>
                </a:lnTo>
                <a:close/>
                <a:moveTo>
                  <a:pt x="11158189" y="4218790"/>
                </a:moveTo>
                <a:cubicBezTo>
                  <a:pt x="11158189" y="4225756"/>
                  <a:pt x="11158189" y="4236206"/>
                  <a:pt x="11158189" y="4243173"/>
                </a:cubicBezTo>
                <a:lnTo>
                  <a:pt x="11158189" y="4312838"/>
                </a:lnTo>
                <a:cubicBezTo>
                  <a:pt x="11158189" y="4312838"/>
                  <a:pt x="11158189" y="4312838"/>
                  <a:pt x="11172009" y="4312838"/>
                </a:cubicBezTo>
                <a:cubicBezTo>
                  <a:pt x="11172009" y="4312838"/>
                  <a:pt x="11172009" y="4312838"/>
                  <a:pt x="11172009" y="4260589"/>
                </a:cubicBezTo>
                <a:cubicBezTo>
                  <a:pt x="11172009" y="4246656"/>
                  <a:pt x="11178918" y="4225756"/>
                  <a:pt x="11199648" y="4225756"/>
                </a:cubicBezTo>
                <a:cubicBezTo>
                  <a:pt x="11213466" y="4225756"/>
                  <a:pt x="11220377" y="4239689"/>
                  <a:pt x="11220377" y="4257106"/>
                </a:cubicBezTo>
                <a:cubicBezTo>
                  <a:pt x="11220377" y="4257106"/>
                  <a:pt x="11220377" y="4257106"/>
                  <a:pt x="11220377" y="4312838"/>
                </a:cubicBezTo>
                <a:cubicBezTo>
                  <a:pt x="11220377" y="4312838"/>
                  <a:pt x="11220377" y="4312838"/>
                  <a:pt x="11230741" y="4312838"/>
                </a:cubicBezTo>
                <a:cubicBezTo>
                  <a:pt x="11230741" y="4312838"/>
                  <a:pt x="11230741" y="4312838"/>
                  <a:pt x="11230741" y="4253622"/>
                </a:cubicBezTo>
                <a:cubicBezTo>
                  <a:pt x="11230741" y="4232723"/>
                  <a:pt x="11223831" y="4218790"/>
                  <a:pt x="11199648" y="4218790"/>
                </a:cubicBezTo>
                <a:cubicBezTo>
                  <a:pt x="11182373" y="4218790"/>
                  <a:pt x="11175464" y="4229239"/>
                  <a:pt x="11168554" y="4236206"/>
                </a:cubicBezTo>
                <a:cubicBezTo>
                  <a:pt x="11168554" y="4236206"/>
                  <a:pt x="11168554" y="4236206"/>
                  <a:pt x="11168554" y="4218790"/>
                </a:cubicBezTo>
                <a:cubicBezTo>
                  <a:pt x="11168554" y="4218790"/>
                  <a:pt x="11168554" y="4218790"/>
                  <a:pt x="11158189" y="4218790"/>
                </a:cubicBezTo>
                <a:close/>
                <a:moveTo>
                  <a:pt x="11088997" y="4218790"/>
                </a:moveTo>
                <a:cubicBezTo>
                  <a:pt x="11064881" y="4218790"/>
                  <a:pt x="11045332" y="4240745"/>
                  <a:pt x="11045332" y="4267830"/>
                </a:cubicBezTo>
                <a:cubicBezTo>
                  <a:pt x="11045332" y="4294914"/>
                  <a:pt x="11064881" y="4316869"/>
                  <a:pt x="11088997" y="4316869"/>
                </a:cubicBezTo>
                <a:cubicBezTo>
                  <a:pt x="11113113" y="4316869"/>
                  <a:pt x="11132662" y="4294914"/>
                  <a:pt x="11132662" y="4267830"/>
                </a:cubicBezTo>
                <a:cubicBezTo>
                  <a:pt x="11132662" y="4240745"/>
                  <a:pt x="11113113" y="4218790"/>
                  <a:pt x="11088997" y="4218790"/>
                </a:cubicBezTo>
                <a:close/>
                <a:moveTo>
                  <a:pt x="10883851" y="4218790"/>
                </a:moveTo>
                <a:cubicBezTo>
                  <a:pt x="10876813" y="4218790"/>
                  <a:pt x="10862738" y="4218790"/>
                  <a:pt x="10855700" y="4222293"/>
                </a:cubicBezTo>
                <a:cubicBezTo>
                  <a:pt x="10855700" y="4222293"/>
                  <a:pt x="10855700" y="4222293"/>
                  <a:pt x="10855700" y="4236304"/>
                </a:cubicBezTo>
                <a:cubicBezTo>
                  <a:pt x="10866257" y="4229299"/>
                  <a:pt x="10873294" y="4225796"/>
                  <a:pt x="10883851" y="4225796"/>
                </a:cubicBezTo>
                <a:cubicBezTo>
                  <a:pt x="10901445" y="4225796"/>
                  <a:pt x="10904964" y="4236304"/>
                  <a:pt x="10904964" y="4250316"/>
                </a:cubicBezTo>
                <a:cubicBezTo>
                  <a:pt x="10904964" y="4250316"/>
                  <a:pt x="10904964" y="4250316"/>
                  <a:pt x="10904964" y="4257321"/>
                </a:cubicBezTo>
                <a:cubicBezTo>
                  <a:pt x="10880332" y="4257321"/>
                  <a:pt x="10845144" y="4257321"/>
                  <a:pt x="10845144" y="4288846"/>
                </a:cubicBezTo>
                <a:cubicBezTo>
                  <a:pt x="10845144" y="4299355"/>
                  <a:pt x="10848663" y="4316869"/>
                  <a:pt x="10876813" y="4316869"/>
                </a:cubicBezTo>
                <a:cubicBezTo>
                  <a:pt x="10887370" y="4316869"/>
                  <a:pt x="10901445" y="4309863"/>
                  <a:pt x="10904964" y="4299355"/>
                </a:cubicBezTo>
                <a:cubicBezTo>
                  <a:pt x="10904964" y="4299355"/>
                  <a:pt x="10904964" y="4299355"/>
                  <a:pt x="10908483" y="4299355"/>
                </a:cubicBezTo>
                <a:lnTo>
                  <a:pt x="10908483" y="4313366"/>
                </a:lnTo>
                <a:cubicBezTo>
                  <a:pt x="10908483" y="4313366"/>
                  <a:pt x="10908483" y="4313366"/>
                  <a:pt x="10919039" y="4313366"/>
                </a:cubicBezTo>
                <a:cubicBezTo>
                  <a:pt x="10919039" y="4309863"/>
                  <a:pt x="10919039" y="4302858"/>
                  <a:pt x="10919039" y="4295852"/>
                </a:cubicBezTo>
                <a:cubicBezTo>
                  <a:pt x="10919039" y="4295852"/>
                  <a:pt x="10919039" y="4295852"/>
                  <a:pt x="10919039" y="4253819"/>
                </a:cubicBezTo>
                <a:cubicBezTo>
                  <a:pt x="10919039" y="4229299"/>
                  <a:pt x="10908483" y="4218790"/>
                  <a:pt x="10883851" y="4218790"/>
                </a:cubicBezTo>
                <a:close/>
                <a:moveTo>
                  <a:pt x="10642268" y="4218790"/>
                </a:moveTo>
                <a:cubicBezTo>
                  <a:pt x="10642268" y="4225756"/>
                  <a:pt x="10642268" y="4236206"/>
                  <a:pt x="10642268" y="4243173"/>
                </a:cubicBezTo>
                <a:lnTo>
                  <a:pt x="10642268" y="4312838"/>
                </a:lnTo>
                <a:cubicBezTo>
                  <a:pt x="10642268" y="4312838"/>
                  <a:pt x="10642268" y="4312838"/>
                  <a:pt x="10656343" y="4312838"/>
                </a:cubicBezTo>
                <a:cubicBezTo>
                  <a:pt x="10656343" y="4312838"/>
                  <a:pt x="10656343" y="4312838"/>
                  <a:pt x="10656343" y="4260589"/>
                </a:cubicBezTo>
                <a:cubicBezTo>
                  <a:pt x="10656343" y="4246656"/>
                  <a:pt x="10663381" y="4225756"/>
                  <a:pt x="10684494" y="4225756"/>
                </a:cubicBezTo>
                <a:cubicBezTo>
                  <a:pt x="10698569" y="4225756"/>
                  <a:pt x="10705607" y="4239689"/>
                  <a:pt x="10705607" y="4257106"/>
                </a:cubicBezTo>
                <a:cubicBezTo>
                  <a:pt x="10705607" y="4257106"/>
                  <a:pt x="10705607" y="4257106"/>
                  <a:pt x="10705607" y="4312838"/>
                </a:cubicBezTo>
                <a:cubicBezTo>
                  <a:pt x="10705607" y="4312838"/>
                  <a:pt x="10705607" y="4312838"/>
                  <a:pt x="10716163" y="4312838"/>
                </a:cubicBezTo>
                <a:cubicBezTo>
                  <a:pt x="10716163" y="4312838"/>
                  <a:pt x="10716163" y="4312838"/>
                  <a:pt x="10716163" y="4253622"/>
                </a:cubicBezTo>
                <a:cubicBezTo>
                  <a:pt x="10716163" y="4232723"/>
                  <a:pt x="10709125" y="4218790"/>
                  <a:pt x="10684494" y="4218790"/>
                </a:cubicBezTo>
                <a:cubicBezTo>
                  <a:pt x="10666900" y="4218790"/>
                  <a:pt x="10659862" y="4229239"/>
                  <a:pt x="10652824" y="4236206"/>
                </a:cubicBezTo>
                <a:cubicBezTo>
                  <a:pt x="10652824" y="4236206"/>
                  <a:pt x="10652824" y="4236206"/>
                  <a:pt x="10652824" y="4218790"/>
                </a:cubicBezTo>
                <a:cubicBezTo>
                  <a:pt x="10652824" y="4218790"/>
                  <a:pt x="10652824" y="4218790"/>
                  <a:pt x="10642268" y="4218790"/>
                </a:cubicBezTo>
                <a:close/>
                <a:moveTo>
                  <a:pt x="10540159" y="4218790"/>
                </a:moveTo>
                <a:cubicBezTo>
                  <a:pt x="10540159" y="4218790"/>
                  <a:pt x="10540159" y="4218790"/>
                  <a:pt x="10540159" y="4281840"/>
                </a:cubicBezTo>
                <a:cubicBezTo>
                  <a:pt x="10540159" y="4302858"/>
                  <a:pt x="10547196" y="4316869"/>
                  <a:pt x="10571828" y="4316869"/>
                </a:cubicBezTo>
                <a:cubicBezTo>
                  <a:pt x="10589422" y="4316869"/>
                  <a:pt x="10596460" y="4306360"/>
                  <a:pt x="10603498" y="4299355"/>
                </a:cubicBezTo>
                <a:cubicBezTo>
                  <a:pt x="10603498" y="4299355"/>
                  <a:pt x="10603498" y="4299355"/>
                  <a:pt x="10603498" y="4313366"/>
                </a:cubicBezTo>
                <a:cubicBezTo>
                  <a:pt x="10603498" y="4313366"/>
                  <a:pt x="10603498" y="4313366"/>
                  <a:pt x="10614054" y="4313366"/>
                </a:cubicBezTo>
                <a:cubicBezTo>
                  <a:pt x="10614054" y="4306360"/>
                  <a:pt x="10614054" y="4299355"/>
                  <a:pt x="10614054" y="4292349"/>
                </a:cubicBezTo>
                <a:lnTo>
                  <a:pt x="10614054" y="4218790"/>
                </a:lnTo>
                <a:cubicBezTo>
                  <a:pt x="10614054" y="4218790"/>
                  <a:pt x="10614054" y="4218790"/>
                  <a:pt x="10599979" y="4218790"/>
                </a:cubicBezTo>
                <a:cubicBezTo>
                  <a:pt x="10599979" y="4218790"/>
                  <a:pt x="10599979" y="4218790"/>
                  <a:pt x="10599979" y="4271332"/>
                </a:cubicBezTo>
                <a:cubicBezTo>
                  <a:pt x="10599979" y="4288846"/>
                  <a:pt x="10592941" y="4306360"/>
                  <a:pt x="10571828" y="4306360"/>
                </a:cubicBezTo>
                <a:cubicBezTo>
                  <a:pt x="10557753" y="4306360"/>
                  <a:pt x="10550715" y="4295852"/>
                  <a:pt x="10550715" y="4278338"/>
                </a:cubicBezTo>
                <a:cubicBezTo>
                  <a:pt x="10550715" y="4278338"/>
                  <a:pt x="10550715" y="4278338"/>
                  <a:pt x="10550715" y="4218790"/>
                </a:cubicBezTo>
                <a:cubicBezTo>
                  <a:pt x="10550715" y="4218790"/>
                  <a:pt x="10550715" y="4218790"/>
                  <a:pt x="10540159" y="4218790"/>
                </a:cubicBezTo>
                <a:close/>
                <a:moveTo>
                  <a:pt x="10471637" y="4218790"/>
                </a:moveTo>
                <a:cubicBezTo>
                  <a:pt x="10447151" y="4218790"/>
                  <a:pt x="10427300" y="4240745"/>
                  <a:pt x="10427300" y="4267830"/>
                </a:cubicBezTo>
                <a:cubicBezTo>
                  <a:pt x="10427300" y="4294914"/>
                  <a:pt x="10447151" y="4316869"/>
                  <a:pt x="10471637" y="4316869"/>
                </a:cubicBezTo>
                <a:cubicBezTo>
                  <a:pt x="10496124" y="4316869"/>
                  <a:pt x="10515975" y="4294914"/>
                  <a:pt x="10515975" y="4267830"/>
                </a:cubicBezTo>
                <a:cubicBezTo>
                  <a:pt x="10515975" y="4240745"/>
                  <a:pt x="10496124" y="4218790"/>
                  <a:pt x="10471637" y="4218790"/>
                </a:cubicBezTo>
                <a:close/>
                <a:moveTo>
                  <a:pt x="11655303" y="4204011"/>
                </a:moveTo>
                <a:lnTo>
                  <a:pt x="11659333" y="4214760"/>
                </a:lnTo>
                <a:lnTo>
                  <a:pt x="11663364" y="4221478"/>
                </a:lnTo>
                <a:lnTo>
                  <a:pt x="11648585" y="4221478"/>
                </a:lnTo>
                <a:lnTo>
                  <a:pt x="11652616" y="4214760"/>
                </a:lnTo>
                <a:close/>
                <a:moveTo>
                  <a:pt x="11659446" y="4193263"/>
                </a:moveTo>
                <a:cubicBezTo>
                  <a:pt x="11659446" y="4193263"/>
                  <a:pt x="11659446" y="4193263"/>
                  <a:pt x="11649032" y="4196777"/>
                </a:cubicBezTo>
                <a:cubicBezTo>
                  <a:pt x="11649032" y="4196777"/>
                  <a:pt x="11649032" y="4196777"/>
                  <a:pt x="11645562" y="4214347"/>
                </a:cubicBezTo>
                <a:cubicBezTo>
                  <a:pt x="11645562" y="4214347"/>
                  <a:pt x="11645562" y="4214347"/>
                  <a:pt x="11635149" y="4235429"/>
                </a:cubicBezTo>
                <a:cubicBezTo>
                  <a:pt x="11638620" y="4235429"/>
                  <a:pt x="11642091" y="4235429"/>
                  <a:pt x="11645562" y="4238943"/>
                </a:cubicBezTo>
                <a:cubicBezTo>
                  <a:pt x="11645562" y="4238943"/>
                  <a:pt x="11645562" y="4238943"/>
                  <a:pt x="11645562" y="4228402"/>
                </a:cubicBezTo>
                <a:cubicBezTo>
                  <a:pt x="11645562" y="4228402"/>
                  <a:pt x="11645562" y="4228402"/>
                  <a:pt x="11666387" y="4228402"/>
                </a:cubicBezTo>
                <a:cubicBezTo>
                  <a:pt x="11666387" y="4228402"/>
                  <a:pt x="11666387" y="4228402"/>
                  <a:pt x="11666387" y="4235429"/>
                </a:cubicBezTo>
                <a:cubicBezTo>
                  <a:pt x="11669858" y="4235429"/>
                  <a:pt x="11673329" y="4235429"/>
                  <a:pt x="11676800" y="4235429"/>
                </a:cubicBezTo>
                <a:cubicBezTo>
                  <a:pt x="11676800" y="4235429"/>
                  <a:pt x="11676800" y="4235429"/>
                  <a:pt x="11666387" y="4214347"/>
                </a:cubicBezTo>
                <a:lnTo>
                  <a:pt x="11659446" y="4196777"/>
                </a:lnTo>
                <a:cubicBezTo>
                  <a:pt x="11659446" y="4196777"/>
                  <a:pt x="11659446" y="4196777"/>
                  <a:pt x="11659446" y="4193263"/>
                </a:cubicBezTo>
                <a:close/>
                <a:moveTo>
                  <a:pt x="10964451" y="4193262"/>
                </a:moveTo>
                <a:cubicBezTo>
                  <a:pt x="10964451" y="4193262"/>
                  <a:pt x="10964451" y="4193262"/>
                  <a:pt x="10953971" y="4196794"/>
                </a:cubicBezTo>
                <a:cubicBezTo>
                  <a:pt x="10953971" y="4196794"/>
                  <a:pt x="10953971" y="4196794"/>
                  <a:pt x="10953971" y="4217983"/>
                </a:cubicBezTo>
                <a:cubicBezTo>
                  <a:pt x="10953971" y="4217983"/>
                  <a:pt x="10953971" y="4217983"/>
                  <a:pt x="10936505" y="4217983"/>
                </a:cubicBezTo>
                <a:cubicBezTo>
                  <a:pt x="10936505" y="4217983"/>
                  <a:pt x="10936505" y="4217983"/>
                  <a:pt x="10936505" y="4228578"/>
                </a:cubicBezTo>
                <a:cubicBezTo>
                  <a:pt x="10936505" y="4228578"/>
                  <a:pt x="10936505" y="4228578"/>
                  <a:pt x="10953971" y="4228578"/>
                </a:cubicBezTo>
                <a:cubicBezTo>
                  <a:pt x="10953971" y="4228578"/>
                  <a:pt x="10953971" y="4228578"/>
                  <a:pt x="10953971" y="4285084"/>
                </a:cubicBezTo>
                <a:cubicBezTo>
                  <a:pt x="10953971" y="4302742"/>
                  <a:pt x="10953971" y="4316868"/>
                  <a:pt x="10974931" y="4316868"/>
                </a:cubicBezTo>
                <a:cubicBezTo>
                  <a:pt x="10981917" y="4316868"/>
                  <a:pt x="10985410" y="4316868"/>
                  <a:pt x="10988904" y="4313337"/>
                </a:cubicBezTo>
                <a:cubicBezTo>
                  <a:pt x="10988904" y="4313337"/>
                  <a:pt x="10988904" y="4313337"/>
                  <a:pt x="10988904" y="4302742"/>
                </a:cubicBezTo>
                <a:cubicBezTo>
                  <a:pt x="10985410" y="4306273"/>
                  <a:pt x="10981917" y="4306273"/>
                  <a:pt x="10978424" y="4306273"/>
                </a:cubicBezTo>
                <a:cubicBezTo>
                  <a:pt x="10967944" y="4306273"/>
                  <a:pt x="10964451" y="4299211"/>
                  <a:pt x="10964451" y="4292147"/>
                </a:cubicBezTo>
                <a:cubicBezTo>
                  <a:pt x="10964451" y="4292147"/>
                  <a:pt x="10964451" y="4292147"/>
                  <a:pt x="10964451" y="4228578"/>
                </a:cubicBezTo>
                <a:cubicBezTo>
                  <a:pt x="10964451" y="4228578"/>
                  <a:pt x="10964451" y="4228578"/>
                  <a:pt x="10985410" y="4228578"/>
                </a:cubicBezTo>
                <a:lnTo>
                  <a:pt x="10985410" y="4217983"/>
                </a:lnTo>
                <a:cubicBezTo>
                  <a:pt x="10985410" y="4217983"/>
                  <a:pt x="10985410" y="4217983"/>
                  <a:pt x="10964451" y="4217983"/>
                </a:cubicBezTo>
                <a:cubicBezTo>
                  <a:pt x="10964451" y="4217983"/>
                  <a:pt x="10964451" y="4217983"/>
                  <a:pt x="10964451" y="4193262"/>
                </a:cubicBezTo>
                <a:close/>
                <a:moveTo>
                  <a:pt x="11599881" y="4190576"/>
                </a:moveTo>
                <a:cubicBezTo>
                  <a:pt x="11589469" y="4232742"/>
                  <a:pt x="11589469" y="4232742"/>
                  <a:pt x="11589469" y="4232742"/>
                </a:cubicBezTo>
                <a:cubicBezTo>
                  <a:pt x="11592940" y="4232742"/>
                  <a:pt x="11596410" y="4232742"/>
                  <a:pt x="11599881" y="4232742"/>
                </a:cubicBezTo>
                <a:cubicBezTo>
                  <a:pt x="11603352" y="4208146"/>
                  <a:pt x="11603352" y="4208146"/>
                  <a:pt x="11603352" y="4208146"/>
                </a:cubicBezTo>
                <a:cubicBezTo>
                  <a:pt x="11617236" y="4236256"/>
                  <a:pt x="11617236" y="4236256"/>
                  <a:pt x="11617236" y="4236256"/>
                </a:cubicBezTo>
                <a:cubicBezTo>
                  <a:pt x="11620707" y="4236256"/>
                  <a:pt x="11624178" y="4236256"/>
                  <a:pt x="11624178" y="4236256"/>
                </a:cubicBezTo>
                <a:cubicBezTo>
                  <a:pt x="11631119" y="4194090"/>
                  <a:pt x="11631119" y="4194090"/>
                  <a:pt x="11631119" y="4194090"/>
                </a:cubicBezTo>
                <a:cubicBezTo>
                  <a:pt x="11627648" y="4194090"/>
                  <a:pt x="11624178" y="4194090"/>
                  <a:pt x="11624178" y="4194090"/>
                </a:cubicBezTo>
                <a:cubicBezTo>
                  <a:pt x="11620707" y="4222201"/>
                  <a:pt x="11620707" y="4222201"/>
                  <a:pt x="11620707" y="4222201"/>
                </a:cubicBezTo>
                <a:cubicBezTo>
                  <a:pt x="11606824" y="4190576"/>
                  <a:pt x="11606824" y="4190576"/>
                  <a:pt x="11606824" y="4190576"/>
                </a:cubicBezTo>
                <a:cubicBezTo>
                  <a:pt x="11603352" y="4190576"/>
                  <a:pt x="11603352" y="4190576"/>
                  <a:pt x="11599881" y="4190576"/>
                </a:cubicBezTo>
                <a:close/>
                <a:moveTo>
                  <a:pt x="11709044" y="4186546"/>
                </a:moveTo>
                <a:cubicBezTo>
                  <a:pt x="11695071" y="4190097"/>
                  <a:pt x="11684592" y="4193647"/>
                  <a:pt x="11674112" y="4193647"/>
                </a:cubicBezTo>
                <a:cubicBezTo>
                  <a:pt x="11674112" y="4200749"/>
                  <a:pt x="11674112" y="4200749"/>
                  <a:pt x="11674112" y="4200749"/>
                </a:cubicBezTo>
                <a:cubicBezTo>
                  <a:pt x="11681098" y="4200749"/>
                  <a:pt x="11684592" y="4200749"/>
                  <a:pt x="11688084" y="4200749"/>
                </a:cubicBezTo>
                <a:cubicBezTo>
                  <a:pt x="11695071" y="4236257"/>
                  <a:pt x="11695071" y="4236257"/>
                  <a:pt x="11695071" y="4236257"/>
                </a:cubicBezTo>
                <a:cubicBezTo>
                  <a:pt x="11702057" y="4232706"/>
                  <a:pt x="11702057" y="4232706"/>
                  <a:pt x="11702057" y="4232706"/>
                </a:cubicBezTo>
                <a:cubicBezTo>
                  <a:pt x="11695071" y="4197198"/>
                  <a:pt x="11695071" y="4197198"/>
                  <a:pt x="11695071" y="4197198"/>
                </a:cubicBezTo>
                <a:cubicBezTo>
                  <a:pt x="11702057" y="4197198"/>
                  <a:pt x="11705551" y="4197198"/>
                  <a:pt x="11709044" y="4193647"/>
                </a:cubicBezTo>
                <a:close/>
                <a:moveTo>
                  <a:pt x="11564748" y="4186546"/>
                </a:moveTo>
                <a:cubicBezTo>
                  <a:pt x="11564748" y="4186546"/>
                  <a:pt x="11564748" y="4186546"/>
                  <a:pt x="11575228" y="4189905"/>
                </a:cubicBezTo>
                <a:cubicBezTo>
                  <a:pt x="11578720" y="4189905"/>
                  <a:pt x="11578720" y="4193264"/>
                  <a:pt x="11578720" y="4193264"/>
                </a:cubicBezTo>
                <a:cubicBezTo>
                  <a:pt x="11578720" y="4193264"/>
                  <a:pt x="11578720" y="4196622"/>
                  <a:pt x="11578720" y="4196622"/>
                </a:cubicBezTo>
                <a:cubicBezTo>
                  <a:pt x="11578720" y="4196622"/>
                  <a:pt x="11575228" y="4199981"/>
                  <a:pt x="11571734" y="4199981"/>
                </a:cubicBezTo>
                <a:cubicBezTo>
                  <a:pt x="11571734" y="4199981"/>
                  <a:pt x="11571734" y="4199981"/>
                  <a:pt x="11561254" y="4196622"/>
                </a:cubicBezTo>
                <a:cubicBezTo>
                  <a:pt x="11561254" y="4196622"/>
                  <a:pt x="11561254" y="4196622"/>
                  <a:pt x="11564748" y="4193264"/>
                </a:cubicBezTo>
                <a:cubicBezTo>
                  <a:pt x="11564748" y="4193264"/>
                  <a:pt x="11564748" y="4193264"/>
                  <a:pt x="11564748" y="4186546"/>
                </a:cubicBezTo>
                <a:close/>
                <a:moveTo>
                  <a:pt x="11014562" y="4184660"/>
                </a:moveTo>
                <a:lnTo>
                  <a:pt x="11014562" y="4198354"/>
                </a:lnTo>
                <a:lnTo>
                  <a:pt x="11026851" y="4198354"/>
                </a:lnTo>
                <a:lnTo>
                  <a:pt x="11026851" y="4184660"/>
                </a:lnTo>
                <a:close/>
                <a:moveTo>
                  <a:pt x="11715762" y="4182514"/>
                </a:moveTo>
                <a:cubicBezTo>
                  <a:pt x="11729582" y="4225508"/>
                  <a:pt x="11729582" y="4225508"/>
                  <a:pt x="11729582" y="4225508"/>
                </a:cubicBezTo>
                <a:cubicBezTo>
                  <a:pt x="11733036" y="4221925"/>
                  <a:pt x="11736491" y="4221925"/>
                  <a:pt x="11739946" y="4221925"/>
                </a:cubicBezTo>
                <a:cubicBezTo>
                  <a:pt x="11726127" y="4182514"/>
                  <a:pt x="11726127" y="4182514"/>
                  <a:pt x="11726127" y="4182514"/>
                </a:cubicBezTo>
                <a:cubicBezTo>
                  <a:pt x="11722671" y="4182514"/>
                  <a:pt x="11719217" y="4182514"/>
                  <a:pt x="11715762" y="4182514"/>
                </a:cubicBezTo>
                <a:close/>
                <a:moveTo>
                  <a:pt x="10346688" y="4182514"/>
                </a:moveTo>
                <a:lnTo>
                  <a:pt x="10346688" y="4312838"/>
                </a:lnTo>
                <a:lnTo>
                  <a:pt x="10361467" y="4312838"/>
                </a:lnTo>
                <a:lnTo>
                  <a:pt x="10361467" y="4253722"/>
                </a:lnTo>
                <a:lnTo>
                  <a:pt x="10407148" y="4253722"/>
                </a:lnTo>
                <a:lnTo>
                  <a:pt x="10407148" y="4242974"/>
                </a:lnTo>
                <a:lnTo>
                  <a:pt x="10361467" y="4242974"/>
                </a:lnTo>
                <a:lnTo>
                  <a:pt x="10361467" y="4193262"/>
                </a:lnTo>
                <a:lnTo>
                  <a:pt x="10409835" y="4193262"/>
                </a:lnTo>
                <a:lnTo>
                  <a:pt x="10409835" y="4182514"/>
                </a:lnTo>
                <a:close/>
                <a:moveTo>
                  <a:pt x="11561143" y="4175797"/>
                </a:moveTo>
                <a:cubicBezTo>
                  <a:pt x="11561143" y="4175797"/>
                  <a:pt x="11561143" y="4175797"/>
                  <a:pt x="11554200" y="4193264"/>
                </a:cubicBezTo>
                <a:cubicBezTo>
                  <a:pt x="11554200" y="4193264"/>
                  <a:pt x="11554200" y="4193264"/>
                  <a:pt x="11554200" y="4196756"/>
                </a:cubicBezTo>
                <a:cubicBezTo>
                  <a:pt x="11554200" y="4196756"/>
                  <a:pt x="11554200" y="4196756"/>
                  <a:pt x="11543788" y="4214223"/>
                </a:cubicBezTo>
                <a:cubicBezTo>
                  <a:pt x="11547259" y="4217716"/>
                  <a:pt x="11550730" y="4217716"/>
                  <a:pt x="11554200" y="4217716"/>
                </a:cubicBezTo>
                <a:cubicBezTo>
                  <a:pt x="11554200" y="4217716"/>
                  <a:pt x="11554200" y="4217716"/>
                  <a:pt x="11557671" y="4203743"/>
                </a:cubicBezTo>
                <a:cubicBezTo>
                  <a:pt x="11557671" y="4203743"/>
                  <a:pt x="11557671" y="4203743"/>
                  <a:pt x="11568084" y="4207237"/>
                </a:cubicBezTo>
                <a:cubicBezTo>
                  <a:pt x="11568084" y="4207237"/>
                  <a:pt x="11568084" y="4207237"/>
                  <a:pt x="11568084" y="4224702"/>
                </a:cubicBezTo>
                <a:cubicBezTo>
                  <a:pt x="11571555" y="4224702"/>
                  <a:pt x="11575026" y="4228196"/>
                  <a:pt x="11578497" y="4228196"/>
                </a:cubicBezTo>
                <a:cubicBezTo>
                  <a:pt x="11578497" y="4228196"/>
                  <a:pt x="11578497" y="4228196"/>
                  <a:pt x="11575026" y="4207237"/>
                </a:cubicBezTo>
                <a:cubicBezTo>
                  <a:pt x="11581968" y="4207237"/>
                  <a:pt x="11585438" y="4200250"/>
                  <a:pt x="11585438" y="4196756"/>
                </a:cubicBezTo>
                <a:cubicBezTo>
                  <a:pt x="11585438" y="4196756"/>
                  <a:pt x="11585438" y="4193264"/>
                  <a:pt x="11585438" y="4193264"/>
                </a:cubicBezTo>
                <a:cubicBezTo>
                  <a:pt x="11585438" y="4189770"/>
                  <a:pt x="11585438" y="4186277"/>
                  <a:pt x="11578497" y="4182784"/>
                </a:cubicBezTo>
                <a:cubicBezTo>
                  <a:pt x="11578497" y="4182784"/>
                  <a:pt x="11578497" y="4182784"/>
                  <a:pt x="11561143" y="4175797"/>
                </a:cubicBezTo>
                <a:close/>
                <a:moveTo>
                  <a:pt x="11766241" y="4173090"/>
                </a:moveTo>
                <a:cubicBezTo>
                  <a:pt x="11769696" y="4173531"/>
                  <a:pt x="11773151" y="4175294"/>
                  <a:pt x="11774878" y="4178821"/>
                </a:cubicBezTo>
                <a:cubicBezTo>
                  <a:pt x="11774878" y="4182348"/>
                  <a:pt x="11774878" y="4185874"/>
                  <a:pt x="11774878" y="4185874"/>
                </a:cubicBezTo>
                <a:cubicBezTo>
                  <a:pt x="11774878" y="4189401"/>
                  <a:pt x="11774878" y="4192929"/>
                  <a:pt x="11771423" y="4196455"/>
                </a:cubicBezTo>
                <a:cubicBezTo>
                  <a:pt x="11771423" y="4196455"/>
                  <a:pt x="11771423" y="4196455"/>
                  <a:pt x="11767968" y="4199982"/>
                </a:cubicBezTo>
                <a:cubicBezTo>
                  <a:pt x="11764514" y="4199982"/>
                  <a:pt x="11757604" y="4199982"/>
                  <a:pt x="11754149" y="4196455"/>
                </a:cubicBezTo>
                <a:cubicBezTo>
                  <a:pt x="11750694" y="4196455"/>
                  <a:pt x="11750694" y="4192929"/>
                  <a:pt x="11750694" y="4192929"/>
                </a:cubicBezTo>
                <a:cubicBezTo>
                  <a:pt x="11750694" y="4192929"/>
                  <a:pt x="11750694" y="4189401"/>
                  <a:pt x="11750694" y="4185874"/>
                </a:cubicBezTo>
                <a:cubicBezTo>
                  <a:pt x="11750694" y="4182348"/>
                  <a:pt x="11750694" y="4178821"/>
                  <a:pt x="11757604" y="4175294"/>
                </a:cubicBezTo>
                <a:cubicBezTo>
                  <a:pt x="11759332" y="4173531"/>
                  <a:pt x="11762786" y="4172649"/>
                  <a:pt x="11766241" y="4173090"/>
                </a:cubicBezTo>
                <a:close/>
                <a:moveTo>
                  <a:pt x="10810738" y="4171765"/>
                </a:moveTo>
                <a:cubicBezTo>
                  <a:pt x="10810738" y="4171765"/>
                  <a:pt x="10810738" y="4171765"/>
                  <a:pt x="10810738" y="4235469"/>
                </a:cubicBezTo>
                <a:cubicBezTo>
                  <a:pt x="10810738" y="4228391"/>
                  <a:pt x="10800048" y="4217773"/>
                  <a:pt x="10782231" y="4217773"/>
                </a:cubicBezTo>
                <a:cubicBezTo>
                  <a:pt x="10753724" y="4217773"/>
                  <a:pt x="10743034" y="4239008"/>
                  <a:pt x="10743034" y="4267321"/>
                </a:cubicBezTo>
                <a:cubicBezTo>
                  <a:pt x="10743034" y="4295634"/>
                  <a:pt x="10753724" y="4316868"/>
                  <a:pt x="10782231" y="4316868"/>
                </a:cubicBezTo>
                <a:cubicBezTo>
                  <a:pt x="10796484" y="4316868"/>
                  <a:pt x="10803611" y="4313329"/>
                  <a:pt x="10810738" y="4299172"/>
                </a:cubicBezTo>
                <a:cubicBezTo>
                  <a:pt x="10810738" y="4299172"/>
                  <a:pt x="10810738" y="4299172"/>
                  <a:pt x="10810738" y="4313329"/>
                </a:cubicBezTo>
                <a:cubicBezTo>
                  <a:pt x="10810738" y="4313329"/>
                  <a:pt x="10810738" y="4313329"/>
                  <a:pt x="10824991" y="4313329"/>
                </a:cubicBezTo>
                <a:lnTo>
                  <a:pt x="10824991" y="4171765"/>
                </a:lnTo>
                <a:cubicBezTo>
                  <a:pt x="10824991" y="4171765"/>
                  <a:pt x="10824991" y="4171765"/>
                  <a:pt x="10810738" y="4171765"/>
                </a:cubicBezTo>
                <a:close/>
                <a:moveTo>
                  <a:pt x="11768161" y="4166249"/>
                </a:moveTo>
                <a:cubicBezTo>
                  <a:pt x="11762338" y="4164954"/>
                  <a:pt x="11756068" y="4165817"/>
                  <a:pt x="11750694" y="4169272"/>
                </a:cubicBezTo>
                <a:cubicBezTo>
                  <a:pt x="11743528" y="4172727"/>
                  <a:pt x="11739946" y="4179637"/>
                  <a:pt x="11739946" y="4186546"/>
                </a:cubicBezTo>
                <a:cubicBezTo>
                  <a:pt x="11739946" y="4190001"/>
                  <a:pt x="11743528" y="4193456"/>
                  <a:pt x="11743528" y="4196911"/>
                </a:cubicBezTo>
                <a:cubicBezTo>
                  <a:pt x="11750694" y="4207276"/>
                  <a:pt x="11765025" y="4210730"/>
                  <a:pt x="11772191" y="4203821"/>
                </a:cubicBezTo>
                <a:cubicBezTo>
                  <a:pt x="11779357" y="4203821"/>
                  <a:pt x="11779357" y="4200366"/>
                  <a:pt x="11782939" y="4196911"/>
                </a:cubicBezTo>
                <a:cubicBezTo>
                  <a:pt x="11782939" y="4193456"/>
                  <a:pt x="11782939" y="4190001"/>
                  <a:pt x="11782939" y="4186546"/>
                </a:cubicBezTo>
                <a:cubicBezTo>
                  <a:pt x="11782939" y="4183092"/>
                  <a:pt x="11782939" y="4179637"/>
                  <a:pt x="11782939" y="4176182"/>
                </a:cubicBezTo>
                <a:cubicBezTo>
                  <a:pt x="11779357" y="4170999"/>
                  <a:pt x="11773982" y="4167545"/>
                  <a:pt x="11768161" y="4166249"/>
                </a:cubicBezTo>
                <a:close/>
                <a:moveTo>
                  <a:pt x="11525909" y="4158331"/>
                </a:moveTo>
                <a:cubicBezTo>
                  <a:pt x="11504825" y="4193263"/>
                  <a:pt x="11504825" y="4193263"/>
                  <a:pt x="11504825" y="4193263"/>
                </a:cubicBezTo>
                <a:cubicBezTo>
                  <a:pt x="11511853" y="4200249"/>
                  <a:pt x="11518881" y="4203743"/>
                  <a:pt x="11529423" y="4210729"/>
                </a:cubicBezTo>
                <a:cubicBezTo>
                  <a:pt x="11532937" y="4203743"/>
                  <a:pt x="11532937" y="4203743"/>
                  <a:pt x="11532937" y="4203743"/>
                </a:cubicBezTo>
                <a:cubicBezTo>
                  <a:pt x="11515367" y="4193263"/>
                  <a:pt x="11515367" y="4193263"/>
                  <a:pt x="11515367" y="4193263"/>
                </a:cubicBezTo>
                <a:cubicBezTo>
                  <a:pt x="11522395" y="4182784"/>
                  <a:pt x="11522395" y="4182784"/>
                  <a:pt x="11522395" y="4182784"/>
                </a:cubicBezTo>
                <a:cubicBezTo>
                  <a:pt x="11532937" y="4189770"/>
                  <a:pt x="11532937" y="4189770"/>
                  <a:pt x="11532937" y="4189770"/>
                </a:cubicBezTo>
                <a:cubicBezTo>
                  <a:pt x="11536450" y="4182784"/>
                  <a:pt x="11536450" y="4182784"/>
                  <a:pt x="11536450" y="4182784"/>
                </a:cubicBezTo>
                <a:cubicBezTo>
                  <a:pt x="11532937" y="4182784"/>
                  <a:pt x="11529423" y="4179290"/>
                  <a:pt x="11525909" y="4175797"/>
                </a:cubicBezTo>
                <a:lnTo>
                  <a:pt x="11529423" y="4168811"/>
                </a:lnTo>
                <a:cubicBezTo>
                  <a:pt x="11536450" y="4172303"/>
                  <a:pt x="11539964" y="4175797"/>
                  <a:pt x="11546992" y="4179290"/>
                </a:cubicBezTo>
                <a:cubicBezTo>
                  <a:pt x="11550506" y="4172303"/>
                  <a:pt x="11550506" y="4172303"/>
                  <a:pt x="11550506" y="4172303"/>
                </a:cubicBezTo>
                <a:cubicBezTo>
                  <a:pt x="11543478" y="4168811"/>
                  <a:pt x="11532937" y="4161824"/>
                  <a:pt x="11525909" y="4158331"/>
                </a:cubicBezTo>
                <a:close/>
                <a:moveTo>
                  <a:pt x="11803361" y="4130117"/>
                </a:moveTo>
                <a:cubicBezTo>
                  <a:pt x="11799868" y="4133643"/>
                  <a:pt x="11799868" y="4133643"/>
                  <a:pt x="11796375" y="4137170"/>
                </a:cubicBezTo>
                <a:cubicBezTo>
                  <a:pt x="11813840" y="4154804"/>
                  <a:pt x="11813840" y="4154804"/>
                  <a:pt x="11813840" y="4154804"/>
                </a:cubicBezTo>
                <a:cubicBezTo>
                  <a:pt x="11785895" y="4147751"/>
                  <a:pt x="11785895" y="4147751"/>
                  <a:pt x="11785895" y="4147751"/>
                </a:cubicBezTo>
                <a:cubicBezTo>
                  <a:pt x="11782402" y="4147751"/>
                  <a:pt x="11782402" y="4151277"/>
                  <a:pt x="11778908" y="4151277"/>
                </a:cubicBezTo>
                <a:cubicBezTo>
                  <a:pt x="11803361" y="4186546"/>
                  <a:pt x="11803361" y="4186546"/>
                  <a:pt x="11803361" y="4186546"/>
                </a:cubicBezTo>
                <a:cubicBezTo>
                  <a:pt x="11806854" y="4183019"/>
                  <a:pt x="11806854" y="4183019"/>
                  <a:pt x="11810348" y="4179492"/>
                </a:cubicBezTo>
                <a:cubicBezTo>
                  <a:pt x="11796375" y="4158331"/>
                  <a:pt x="11796375" y="4158331"/>
                  <a:pt x="11796375" y="4158331"/>
                </a:cubicBezTo>
                <a:cubicBezTo>
                  <a:pt x="11824320" y="4168911"/>
                  <a:pt x="11824320" y="4168911"/>
                  <a:pt x="11824320" y="4168911"/>
                </a:cubicBezTo>
                <a:cubicBezTo>
                  <a:pt x="11827814" y="4165385"/>
                  <a:pt x="11827814" y="4165385"/>
                  <a:pt x="11831307" y="4161858"/>
                </a:cubicBezTo>
                <a:cubicBezTo>
                  <a:pt x="11803361" y="4130117"/>
                  <a:pt x="11803361" y="4130117"/>
                  <a:pt x="11803361" y="4130117"/>
                </a:cubicBezTo>
                <a:close/>
                <a:moveTo>
                  <a:pt x="11495008" y="4130117"/>
                </a:moveTo>
                <a:cubicBezTo>
                  <a:pt x="11495008" y="4130117"/>
                  <a:pt x="11495008" y="4130117"/>
                  <a:pt x="11487980" y="4133630"/>
                </a:cubicBezTo>
                <a:cubicBezTo>
                  <a:pt x="11491494" y="4137144"/>
                  <a:pt x="11495008" y="4140658"/>
                  <a:pt x="11498522" y="4144172"/>
                </a:cubicBezTo>
                <a:cubicBezTo>
                  <a:pt x="11498522" y="4144172"/>
                  <a:pt x="11498522" y="4144172"/>
                  <a:pt x="11473924" y="4168769"/>
                </a:cubicBezTo>
                <a:cubicBezTo>
                  <a:pt x="11473924" y="4168769"/>
                  <a:pt x="11473924" y="4168769"/>
                  <a:pt x="11480952" y="4175797"/>
                </a:cubicBezTo>
                <a:cubicBezTo>
                  <a:pt x="11480952" y="4175797"/>
                  <a:pt x="11480952" y="4175797"/>
                  <a:pt x="11505548" y="4151200"/>
                </a:cubicBezTo>
                <a:cubicBezTo>
                  <a:pt x="11509062" y="4151200"/>
                  <a:pt x="11512576" y="4154713"/>
                  <a:pt x="11516090" y="4158227"/>
                </a:cubicBezTo>
                <a:cubicBezTo>
                  <a:pt x="11516090" y="4158227"/>
                  <a:pt x="11516090" y="4158227"/>
                  <a:pt x="11519604" y="4151200"/>
                </a:cubicBezTo>
                <a:cubicBezTo>
                  <a:pt x="11509062" y="4144172"/>
                  <a:pt x="11502036" y="4137144"/>
                  <a:pt x="11495008" y="4130117"/>
                </a:cubicBezTo>
                <a:close/>
                <a:moveTo>
                  <a:pt x="11824589" y="4119368"/>
                </a:moveTo>
                <a:lnTo>
                  <a:pt x="11842055" y="4126086"/>
                </a:lnTo>
                <a:lnTo>
                  <a:pt x="11842055" y="4130117"/>
                </a:lnTo>
                <a:lnTo>
                  <a:pt x="11835337" y="4136835"/>
                </a:lnTo>
                <a:lnTo>
                  <a:pt x="11831307" y="4130117"/>
                </a:lnTo>
                <a:close/>
                <a:moveTo>
                  <a:pt x="11820942" y="4112650"/>
                </a:moveTo>
                <a:lnTo>
                  <a:pt x="11813840" y="4119592"/>
                </a:lnTo>
                <a:cubicBezTo>
                  <a:pt x="11813840" y="4119592"/>
                  <a:pt x="11813840" y="4119592"/>
                  <a:pt x="11820942" y="4130004"/>
                </a:cubicBezTo>
                <a:cubicBezTo>
                  <a:pt x="11820942" y="4130004"/>
                  <a:pt x="11820942" y="4130004"/>
                  <a:pt x="11838696" y="4154300"/>
                </a:cubicBezTo>
                <a:cubicBezTo>
                  <a:pt x="11838696" y="4154300"/>
                  <a:pt x="11842247" y="4150830"/>
                  <a:pt x="11842247" y="4150830"/>
                </a:cubicBezTo>
                <a:cubicBezTo>
                  <a:pt x="11842247" y="4150830"/>
                  <a:pt x="11842247" y="4150830"/>
                  <a:pt x="11838696" y="4143888"/>
                </a:cubicBezTo>
                <a:cubicBezTo>
                  <a:pt x="11838696" y="4143888"/>
                  <a:pt x="11838696" y="4143888"/>
                  <a:pt x="11849349" y="4130004"/>
                </a:cubicBezTo>
                <a:cubicBezTo>
                  <a:pt x="11849349" y="4130004"/>
                  <a:pt x="11849349" y="4130004"/>
                  <a:pt x="11856450" y="4130004"/>
                </a:cubicBezTo>
                <a:cubicBezTo>
                  <a:pt x="11860002" y="4130004"/>
                  <a:pt x="11860002" y="4130004"/>
                  <a:pt x="11860002" y="4130004"/>
                </a:cubicBezTo>
                <a:cubicBezTo>
                  <a:pt x="11860002" y="4126533"/>
                  <a:pt x="11863552" y="4126533"/>
                  <a:pt x="11863552" y="4123062"/>
                </a:cubicBezTo>
                <a:cubicBezTo>
                  <a:pt x="11863552" y="4123062"/>
                  <a:pt x="11863552" y="4123062"/>
                  <a:pt x="11820942" y="4112650"/>
                </a:cubicBezTo>
                <a:close/>
                <a:moveTo>
                  <a:pt x="11466198" y="4097871"/>
                </a:moveTo>
                <a:cubicBezTo>
                  <a:pt x="11430930" y="4122951"/>
                  <a:pt x="11430930" y="4122951"/>
                  <a:pt x="11430930" y="4122951"/>
                </a:cubicBezTo>
                <a:cubicBezTo>
                  <a:pt x="11434457" y="4126534"/>
                  <a:pt x="11434457" y="4126534"/>
                  <a:pt x="11437984" y="4130117"/>
                </a:cubicBezTo>
                <a:cubicBezTo>
                  <a:pt x="11459145" y="4115786"/>
                  <a:pt x="11459145" y="4115786"/>
                  <a:pt x="11459145" y="4115786"/>
                </a:cubicBezTo>
                <a:cubicBezTo>
                  <a:pt x="11448564" y="4144447"/>
                  <a:pt x="11448564" y="4144447"/>
                  <a:pt x="11448564" y="4144447"/>
                </a:cubicBezTo>
                <a:cubicBezTo>
                  <a:pt x="11452091" y="4148031"/>
                  <a:pt x="11452091" y="4148031"/>
                  <a:pt x="11455618" y="4151613"/>
                </a:cubicBezTo>
                <a:cubicBezTo>
                  <a:pt x="11487359" y="4122951"/>
                  <a:pt x="11487359" y="4122951"/>
                  <a:pt x="11487359" y="4122951"/>
                </a:cubicBezTo>
                <a:cubicBezTo>
                  <a:pt x="11487359" y="4119368"/>
                  <a:pt x="11483833" y="4119368"/>
                  <a:pt x="11483833" y="4115786"/>
                </a:cubicBezTo>
                <a:cubicBezTo>
                  <a:pt x="11462672" y="4133699"/>
                  <a:pt x="11462672" y="4133699"/>
                  <a:pt x="11462672" y="4133699"/>
                </a:cubicBezTo>
                <a:cubicBezTo>
                  <a:pt x="11473252" y="4105037"/>
                  <a:pt x="11473252" y="4105037"/>
                  <a:pt x="11473252" y="4105037"/>
                </a:cubicBezTo>
                <a:cubicBezTo>
                  <a:pt x="11469725" y="4101454"/>
                  <a:pt x="11469725" y="4101454"/>
                  <a:pt x="11466198" y="4097871"/>
                </a:cubicBezTo>
                <a:close/>
                <a:moveTo>
                  <a:pt x="11835338" y="4087123"/>
                </a:moveTo>
                <a:lnTo>
                  <a:pt x="11831307" y="4095184"/>
                </a:lnTo>
                <a:lnTo>
                  <a:pt x="11870270" y="4115338"/>
                </a:lnTo>
                <a:lnTo>
                  <a:pt x="11883706" y="4091154"/>
                </a:lnTo>
                <a:lnTo>
                  <a:pt x="11876988" y="4087123"/>
                </a:lnTo>
                <a:lnTo>
                  <a:pt x="11866239" y="4105933"/>
                </a:lnTo>
                <a:close/>
                <a:moveTo>
                  <a:pt x="11459634" y="4084436"/>
                </a:moveTo>
                <a:cubicBezTo>
                  <a:pt x="11424212" y="4105598"/>
                  <a:pt x="11424212" y="4105598"/>
                  <a:pt x="11424212" y="4105598"/>
                </a:cubicBezTo>
                <a:cubicBezTo>
                  <a:pt x="11424212" y="4105598"/>
                  <a:pt x="11424212" y="4109124"/>
                  <a:pt x="11427754" y="4112651"/>
                </a:cubicBezTo>
                <a:cubicBezTo>
                  <a:pt x="11463176" y="4091490"/>
                  <a:pt x="11463176" y="4091490"/>
                  <a:pt x="11463176" y="4091490"/>
                </a:cubicBezTo>
                <a:cubicBezTo>
                  <a:pt x="11463176" y="4087963"/>
                  <a:pt x="11459634" y="4087963"/>
                  <a:pt x="11459634" y="4084436"/>
                </a:cubicBezTo>
                <a:close/>
                <a:moveTo>
                  <a:pt x="11450927" y="4050826"/>
                </a:moveTo>
                <a:cubicBezTo>
                  <a:pt x="11452683" y="4051267"/>
                  <a:pt x="11454437" y="4053030"/>
                  <a:pt x="11456192" y="4056557"/>
                </a:cubicBezTo>
                <a:cubicBezTo>
                  <a:pt x="11487785" y="4134148"/>
                  <a:pt x="11561500" y="4187050"/>
                  <a:pt x="11649257" y="4187050"/>
                </a:cubicBezTo>
                <a:cubicBezTo>
                  <a:pt x="11737012" y="4187050"/>
                  <a:pt x="11810728" y="4134148"/>
                  <a:pt x="11842320" y="4056557"/>
                </a:cubicBezTo>
                <a:cubicBezTo>
                  <a:pt x="11844075" y="4053030"/>
                  <a:pt x="11845831" y="4051267"/>
                  <a:pt x="11847586" y="4050826"/>
                </a:cubicBezTo>
                <a:cubicBezTo>
                  <a:pt x="11849340" y="4050386"/>
                  <a:pt x="11851096" y="4051267"/>
                  <a:pt x="11852851" y="4053030"/>
                </a:cubicBezTo>
                <a:cubicBezTo>
                  <a:pt x="11852851" y="4053030"/>
                  <a:pt x="11852851" y="4053030"/>
                  <a:pt x="11891464" y="4063611"/>
                </a:cubicBezTo>
                <a:cubicBezTo>
                  <a:pt x="11894974" y="4067138"/>
                  <a:pt x="11898484" y="4070664"/>
                  <a:pt x="11898484" y="4074191"/>
                </a:cubicBezTo>
                <a:cubicBezTo>
                  <a:pt x="11859871" y="4176469"/>
                  <a:pt x="11761585" y="4247006"/>
                  <a:pt x="11649257" y="4247006"/>
                </a:cubicBezTo>
                <a:cubicBezTo>
                  <a:pt x="11536929" y="4247006"/>
                  <a:pt x="11438641" y="4176469"/>
                  <a:pt x="11400028" y="4077719"/>
                </a:cubicBezTo>
                <a:cubicBezTo>
                  <a:pt x="11400028" y="4070664"/>
                  <a:pt x="11400028" y="4067138"/>
                  <a:pt x="11407049" y="4063611"/>
                </a:cubicBezTo>
                <a:cubicBezTo>
                  <a:pt x="11407049" y="4063611"/>
                  <a:pt x="11407049" y="4063611"/>
                  <a:pt x="11445662" y="4053030"/>
                </a:cubicBezTo>
                <a:cubicBezTo>
                  <a:pt x="11447417" y="4051267"/>
                  <a:pt x="11449172" y="4050386"/>
                  <a:pt x="11450927" y="4050826"/>
                </a:cubicBezTo>
                <a:close/>
                <a:moveTo>
                  <a:pt x="11603442" y="4044988"/>
                </a:moveTo>
                <a:cubicBezTo>
                  <a:pt x="11606935" y="4041442"/>
                  <a:pt x="11610428" y="4041442"/>
                  <a:pt x="11613922" y="4044988"/>
                </a:cubicBezTo>
                <a:cubicBezTo>
                  <a:pt x="11613922" y="4044988"/>
                  <a:pt x="11617414" y="4048534"/>
                  <a:pt x="11617414" y="4052079"/>
                </a:cubicBezTo>
                <a:cubicBezTo>
                  <a:pt x="11617414" y="4052079"/>
                  <a:pt x="11624401" y="4154898"/>
                  <a:pt x="11624401" y="4154898"/>
                </a:cubicBezTo>
                <a:cubicBezTo>
                  <a:pt x="11624401" y="4161989"/>
                  <a:pt x="11624401" y="4165535"/>
                  <a:pt x="11620908" y="4165535"/>
                </a:cubicBezTo>
                <a:cubicBezTo>
                  <a:pt x="11620908" y="4169080"/>
                  <a:pt x="11617414" y="4169080"/>
                  <a:pt x="11613922" y="4165535"/>
                </a:cubicBezTo>
                <a:cubicBezTo>
                  <a:pt x="11568509" y="4154898"/>
                  <a:pt x="11537070" y="4137171"/>
                  <a:pt x="11505632" y="4101715"/>
                </a:cubicBezTo>
                <a:cubicBezTo>
                  <a:pt x="11502138" y="4101715"/>
                  <a:pt x="11502138" y="4098170"/>
                  <a:pt x="11502138" y="4098170"/>
                </a:cubicBezTo>
                <a:cubicBezTo>
                  <a:pt x="11502138" y="4094625"/>
                  <a:pt x="11502138" y="4094625"/>
                  <a:pt x="11502138" y="4094625"/>
                </a:cubicBezTo>
                <a:cubicBezTo>
                  <a:pt x="11502138" y="4091080"/>
                  <a:pt x="11505632" y="4091080"/>
                  <a:pt x="11509124" y="4091080"/>
                </a:cubicBezTo>
                <a:cubicBezTo>
                  <a:pt x="11509124" y="4091080"/>
                  <a:pt x="11509124" y="4091080"/>
                  <a:pt x="11603442" y="4044988"/>
                </a:cubicBezTo>
                <a:close/>
                <a:moveTo>
                  <a:pt x="11688084" y="4041442"/>
                </a:moveTo>
                <a:cubicBezTo>
                  <a:pt x="11691578" y="4041442"/>
                  <a:pt x="11695071" y="4041442"/>
                  <a:pt x="11698565" y="4041442"/>
                </a:cubicBezTo>
                <a:cubicBezTo>
                  <a:pt x="11698565" y="4041442"/>
                  <a:pt x="11698565" y="4041442"/>
                  <a:pt x="11789388" y="4087353"/>
                </a:cubicBezTo>
                <a:cubicBezTo>
                  <a:pt x="11792882" y="4090885"/>
                  <a:pt x="11796375" y="4090885"/>
                  <a:pt x="11796375" y="4094417"/>
                </a:cubicBezTo>
                <a:cubicBezTo>
                  <a:pt x="11796375" y="4097948"/>
                  <a:pt x="11796375" y="4097948"/>
                  <a:pt x="11792882" y="4101480"/>
                </a:cubicBezTo>
                <a:cubicBezTo>
                  <a:pt x="11761442" y="4136796"/>
                  <a:pt x="11730003" y="4154454"/>
                  <a:pt x="11684592" y="4165049"/>
                </a:cubicBezTo>
                <a:cubicBezTo>
                  <a:pt x="11681098" y="4165049"/>
                  <a:pt x="11677605" y="4165049"/>
                  <a:pt x="11677605" y="4165049"/>
                </a:cubicBezTo>
                <a:cubicBezTo>
                  <a:pt x="11674112" y="4161517"/>
                  <a:pt x="11674112" y="4157985"/>
                  <a:pt x="11674112" y="4154454"/>
                </a:cubicBezTo>
                <a:cubicBezTo>
                  <a:pt x="11674112" y="4154454"/>
                  <a:pt x="11674112" y="4154454"/>
                  <a:pt x="11684592" y="4052038"/>
                </a:cubicBezTo>
                <a:cubicBezTo>
                  <a:pt x="11684592" y="4048506"/>
                  <a:pt x="11684592" y="4044974"/>
                  <a:pt x="11688084" y="4041442"/>
                </a:cubicBezTo>
                <a:close/>
                <a:moveTo>
                  <a:pt x="10810283" y="4002478"/>
                </a:moveTo>
                <a:lnTo>
                  <a:pt x="10851862" y="4002478"/>
                </a:lnTo>
                <a:cubicBezTo>
                  <a:pt x="10851862" y="4002478"/>
                  <a:pt x="10851862" y="4002478"/>
                  <a:pt x="10851862" y="4045088"/>
                </a:cubicBezTo>
                <a:cubicBezTo>
                  <a:pt x="10851862" y="4045088"/>
                  <a:pt x="10824142" y="4052190"/>
                  <a:pt x="10803353" y="4052190"/>
                </a:cubicBezTo>
                <a:cubicBezTo>
                  <a:pt x="10786028" y="4052190"/>
                  <a:pt x="10786028" y="4037987"/>
                  <a:pt x="10786028" y="4027334"/>
                </a:cubicBezTo>
                <a:cubicBezTo>
                  <a:pt x="10786028" y="4013131"/>
                  <a:pt x="10792958" y="4006029"/>
                  <a:pt x="10810283" y="4002478"/>
                </a:cubicBezTo>
                <a:close/>
                <a:moveTo>
                  <a:pt x="10494479" y="3932613"/>
                </a:moveTo>
                <a:cubicBezTo>
                  <a:pt x="10525716" y="3932613"/>
                  <a:pt x="10536128" y="3946681"/>
                  <a:pt x="10536128" y="3988885"/>
                </a:cubicBezTo>
                <a:cubicBezTo>
                  <a:pt x="10536128" y="4027570"/>
                  <a:pt x="10529187" y="4052189"/>
                  <a:pt x="10494479" y="4052189"/>
                </a:cubicBezTo>
                <a:cubicBezTo>
                  <a:pt x="10459770" y="4052189"/>
                  <a:pt x="10452829" y="4031088"/>
                  <a:pt x="10452829" y="3988885"/>
                </a:cubicBezTo>
                <a:cubicBezTo>
                  <a:pt x="10452829" y="3946681"/>
                  <a:pt x="10463241" y="3932613"/>
                  <a:pt x="10494479" y="3932613"/>
                </a:cubicBezTo>
                <a:close/>
                <a:moveTo>
                  <a:pt x="11639005" y="3928584"/>
                </a:moveTo>
                <a:cubicBezTo>
                  <a:pt x="11639005" y="3928584"/>
                  <a:pt x="11639005" y="3928584"/>
                  <a:pt x="11660034" y="3928584"/>
                </a:cubicBezTo>
                <a:cubicBezTo>
                  <a:pt x="11660034" y="3928584"/>
                  <a:pt x="11660034" y="3935677"/>
                  <a:pt x="11660034" y="3939224"/>
                </a:cubicBezTo>
                <a:cubicBezTo>
                  <a:pt x="11677559" y="3942771"/>
                  <a:pt x="11691578" y="3960506"/>
                  <a:pt x="11691578" y="3978241"/>
                </a:cubicBezTo>
                <a:cubicBezTo>
                  <a:pt x="11691578" y="3999523"/>
                  <a:pt x="11670549" y="4017258"/>
                  <a:pt x="11649519" y="4017258"/>
                </a:cubicBezTo>
                <a:cubicBezTo>
                  <a:pt x="11628490" y="4017258"/>
                  <a:pt x="11610966" y="3999523"/>
                  <a:pt x="11610966" y="3978241"/>
                </a:cubicBezTo>
                <a:cubicBezTo>
                  <a:pt x="11610966" y="3960506"/>
                  <a:pt x="11621480" y="3942771"/>
                  <a:pt x="11639005" y="3939224"/>
                </a:cubicBezTo>
                <a:cubicBezTo>
                  <a:pt x="11639005" y="3939224"/>
                  <a:pt x="11639005" y="3928584"/>
                  <a:pt x="11639005" y="3928584"/>
                </a:cubicBezTo>
                <a:close/>
                <a:moveTo>
                  <a:pt x="11649257" y="3917835"/>
                </a:moveTo>
                <a:cubicBezTo>
                  <a:pt x="11616236" y="3917835"/>
                  <a:pt x="11589469" y="3944904"/>
                  <a:pt x="11589469" y="3978295"/>
                </a:cubicBezTo>
                <a:cubicBezTo>
                  <a:pt x="11589469" y="4011686"/>
                  <a:pt x="11616236" y="4038755"/>
                  <a:pt x="11649257" y="4038755"/>
                </a:cubicBezTo>
                <a:cubicBezTo>
                  <a:pt x="11682277" y="4038755"/>
                  <a:pt x="11709045" y="4011686"/>
                  <a:pt x="11709045" y="3978295"/>
                </a:cubicBezTo>
                <a:cubicBezTo>
                  <a:pt x="11709045" y="3944904"/>
                  <a:pt x="11682277" y="3917835"/>
                  <a:pt x="11649257" y="3917835"/>
                </a:cubicBezTo>
                <a:close/>
                <a:moveTo>
                  <a:pt x="11649257" y="3911118"/>
                </a:moveTo>
                <a:cubicBezTo>
                  <a:pt x="11685987" y="3911118"/>
                  <a:pt x="11715763" y="3941194"/>
                  <a:pt x="11715763" y="3978295"/>
                </a:cubicBezTo>
                <a:cubicBezTo>
                  <a:pt x="11715763" y="4015397"/>
                  <a:pt x="11685987" y="4045473"/>
                  <a:pt x="11649257" y="4045473"/>
                </a:cubicBezTo>
                <a:cubicBezTo>
                  <a:pt x="11612526" y="4045473"/>
                  <a:pt x="11582751" y="4015397"/>
                  <a:pt x="11582751" y="3978295"/>
                </a:cubicBezTo>
                <a:cubicBezTo>
                  <a:pt x="11582751" y="3941194"/>
                  <a:pt x="11612526" y="3911118"/>
                  <a:pt x="11649257" y="3911118"/>
                </a:cubicBezTo>
                <a:close/>
                <a:moveTo>
                  <a:pt x="11824549" y="3908431"/>
                </a:moveTo>
                <a:cubicBezTo>
                  <a:pt x="11828050" y="3908431"/>
                  <a:pt x="11828050" y="3911957"/>
                  <a:pt x="11828050" y="3915484"/>
                </a:cubicBezTo>
                <a:cubicBezTo>
                  <a:pt x="11842055" y="3957806"/>
                  <a:pt x="11842055" y="3996601"/>
                  <a:pt x="11828050" y="4038923"/>
                </a:cubicBezTo>
                <a:cubicBezTo>
                  <a:pt x="11828050" y="4045977"/>
                  <a:pt x="11828050" y="4045977"/>
                  <a:pt x="11824549" y="4045977"/>
                </a:cubicBezTo>
                <a:cubicBezTo>
                  <a:pt x="11821047" y="4049504"/>
                  <a:pt x="11817546" y="4045977"/>
                  <a:pt x="11817546" y="4045977"/>
                </a:cubicBezTo>
                <a:lnTo>
                  <a:pt x="11730012" y="3986021"/>
                </a:lnTo>
                <a:cubicBezTo>
                  <a:pt x="11726510" y="3982494"/>
                  <a:pt x="11726510" y="3978967"/>
                  <a:pt x="11726510" y="3978967"/>
                </a:cubicBezTo>
                <a:cubicBezTo>
                  <a:pt x="11726510" y="3975441"/>
                  <a:pt x="11726510" y="3971914"/>
                  <a:pt x="11730012" y="3968386"/>
                </a:cubicBezTo>
                <a:cubicBezTo>
                  <a:pt x="11730012" y="3968386"/>
                  <a:pt x="11730012" y="3968386"/>
                  <a:pt x="11814044" y="3911957"/>
                </a:cubicBezTo>
                <a:cubicBezTo>
                  <a:pt x="11821047" y="3908431"/>
                  <a:pt x="11824549" y="3908431"/>
                  <a:pt x="11824549" y="3908431"/>
                </a:cubicBezTo>
                <a:close/>
                <a:moveTo>
                  <a:pt x="11473964" y="3908431"/>
                </a:moveTo>
                <a:cubicBezTo>
                  <a:pt x="11477466" y="3908431"/>
                  <a:pt x="11480967" y="3908431"/>
                  <a:pt x="11480967" y="3911957"/>
                </a:cubicBezTo>
                <a:lnTo>
                  <a:pt x="11568501" y="3968386"/>
                </a:lnTo>
                <a:cubicBezTo>
                  <a:pt x="11572002" y="3971914"/>
                  <a:pt x="11572002" y="3975441"/>
                  <a:pt x="11572002" y="3978967"/>
                </a:cubicBezTo>
                <a:cubicBezTo>
                  <a:pt x="11572002" y="3982494"/>
                  <a:pt x="11572002" y="3986021"/>
                  <a:pt x="11568501" y="3986021"/>
                </a:cubicBezTo>
                <a:cubicBezTo>
                  <a:pt x="11568501" y="3986021"/>
                  <a:pt x="11568501" y="3986021"/>
                  <a:pt x="11480967" y="4045977"/>
                </a:cubicBezTo>
                <a:cubicBezTo>
                  <a:pt x="11477466" y="4045977"/>
                  <a:pt x="11473964" y="4049504"/>
                  <a:pt x="11473964" y="4045977"/>
                </a:cubicBezTo>
                <a:cubicBezTo>
                  <a:pt x="11470463" y="4045977"/>
                  <a:pt x="11470463" y="4042450"/>
                  <a:pt x="11466961" y="4042450"/>
                </a:cubicBezTo>
                <a:cubicBezTo>
                  <a:pt x="11456457" y="3996601"/>
                  <a:pt x="11456457" y="3957806"/>
                  <a:pt x="11466961" y="3915484"/>
                </a:cubicBezTo>
                <a:cubicBezTo>
                  <a:pt x="11470463" y="3911957"/>
                  <a:pt x="11470463" y="3908431"/>
                  <a:pt x="11473964" y="3908431"/>
                </a:cubicBezTo>
                <a:close/>
                <a:moveTo>
                  <a:pt x="11070316" y="3897682"/>
                </a:moveTo>
                <a:cubicBezTo>
                  <a:pt x="11070316" y="3901208"/>
                  <a:pt x="11066828" y="3901208"/>
                  <a:pt x="11070316" y="3904735"/>
                </a:cubicBezTo>
                <a:cubicBezTo>
                  <a:pt x="11112166" y="4066969"/>
                  <a:pt x="11112166" y="4066969"/>
                  <a:pt x="11112166" y="4066969"/>
                </a:cubicBezTo>
                <a:cubicBezTo>
                  <a:pt x="11112166" y="4074023"/>
                  <a:pt x="11119141" y="4088130"/>
                  <a:pt x="11133091" y="4088130"/>
                </a:cubicBezTo>
                <a:cubicBezTo>
                  <a:pt x="11143554" y="4088130"/>
                  <a:pt x="11143554" y="4088130"/>
                  <a:pt x="11143554" y="4088130"/>
                </a:cubicBezTo>
                <a:cubicBezTo>
                  <a:pt x="11140066" y="4091657"/>
                  <a:pt x="11140066" y="4091657"/>
                  <a:pt x="11140066" y="4095183"/>
                </a:cubicBezTo>
                <a:cubicBezTo>
                  <a:pt x="11136578" y="4105763"/>
                  <a:pt x="11133091" y="4116344"/>
                  <a:pt x="11112166" y="4116344"/>
                </a:cubicBezTo>
                <a:cubicBezTo>
                  <a:pt x="11077291" y="4112818"/>
                  <a:pt x="11077291" y="4112818"/>
                  <a:pt x="11077291" y="4112818"/>
                </a:cubicBezTo>
                <a:cubicBezTo>
                  <a:pt x="11077291" y="4112818"/>
                  <a:pt x="11073804" y="4112818"/>
                  <a:pt x="11073804" y="4116344"/>
                </a:cubicBezTo>
                <a:cubicBezTo>
                  <a:pt x="11070316" y="4116344"/>
                  <a:pt x="11070316" y="4119871"/>
                  <a:pt x="11070316" y="4119871"/>
                </a:cubicBezTo>
                <a:cubicBezTo>
                  <a:pt x="11070316" y="4141032"/>
                  <a:pt x="11070316" y="4141032"/>
                  <a:pt x="11070316" y="4141032"/>
                </a:cubicBezTo>
                <a:cubicBezTo>
                  <a:pt x="11070316" y="4144559"/>
                  <a:pt x="11073804" y="4144559"/>
                  <a:pt x="11077291" y="4148086"/>
                </a:cubicBezTo>
                <a:cubicBezTo>
                  <a:pt x="11087754" y="4148086"/>
                  <a:pt x="11108678" y="4151612"/>
                  <a:pt x="11122628" y="4151612"/>
                </a:cubicBezTo>
                <a:cubicBezTo>
                  <a:pt x="11126116" y="4151612"/>
                  <a:pt x="11126116" y="4151612"/>
                  <a:pt x="11126116" y="4151612"/>
                </a:cubicBezTo>
                <a:cubicBezTo>
                  <a:pt x="11154016" y="4151612"/>
                  <a:pt x="11171453" y="4133978"/>
                  <a:pt x="11181916" y="4098710"/>
                </a:cubicBezTo>
                <a:cubicBezTo>
                  <a:pt x="11192378" y="4059915"/>
                  <a:pt x="11206329" y="4007013"/>
                  <a:pt x="11213303" y="3968218"/>
                </a:cubicBezTo>
                <a:cubicBezTo>
                  <a:pt x="11220279" y="3950584"/>
                  <a:pt x="11223766" y="3936476"/>
                  <a:pt x="11227253" y="3925896"/>
                </a:cubicBezTo>
                <a:cubicBezTo>
                  <a:pt x="11230741" y="3904735"/>
                  <a:pt x="11230741" y="3904735"/>
                  <a:pt x="11230741" y="3904735"/>
                </a:cubicBezTo>
                <a:cubicBezTo>
                  <a:pt x="11230741" y="3901208"/>
                  <a:pt x="11230741" y="3901208"/>
                  <a:pt x="11230741" y="3897682"/>
                </a:cubicBezTo>
                <a:cubicBezTo>
                  <a:pt x="11227253" y="3897682"/>
                  <a:pt x="11227253" y="3897682"/>
                  <a:pt x="11223766" y="3897682"/>
                </a:cubicBezTo>
                <a:cubicBezTo>
                  <a:pt x="11195866" y="3897682"/>
                  <a:pt x="11195866" y="3897682"/>
                  <a:pt x="11195866" y="3897682"/>
                </a:cubicBezTo>
                <a:cubicBezTo>
                  <a:pt x="11192378" y="3897682"/>
                  <a:pt x="11188891" y="3897682"/>
                  <a:pt x="11188891" y="3901208"/>
                </a:cubicBezTo>
                <a:cubicBezTo>
                  <a:pt x="11150528" y="4045808"/>
                  <a:pt x="11150528" y="4045808"/>
                  <a:pt x="11150528" y="4045808"/>
                </a:cubicBezTo>
                <a:cubicBezTo>
                  <a:pt x="11147041" y="4045808"/>
                  <a:pt x="11147041" y="4045808"/>
                  <a:pt x="11147041" y="4045808"/>
                </a:cubicBezTo>
                <a:cubicBezTo>
                  <a:pt x="11112166" y="3901208"/>
                  <a:pt x="11112166" y="3901208"/>
                  <a:pt x="11112166" y="3901208"/>
                </a:cubicBezTo>
                <a:cubicBezTo>
                  <a:pt x="11108678" y="3897682"/>
                  <a:pt x="11108678" y="3897682"/>
                  <a:pt x="11105191" y="3897682"/>
                </a:cubicBezTo>
                <a:cubicBezTo>
                  <a:pt x="11077291" y="3897682"/>
                  <a:pt x="11077291" y="3897682"/>
                  <a:pt x="11077291" y="3897682"/>
                </a:cubicBezTo>
                <a:cubicBezTo>
                  <a:pt x="11073804" y="3897682"/>
                  <a:pt x="11070316" y="3897682"/>
                  <a:pt x="11070316" y="3897682"/>
                </a:cubicBezTo>
                <a:close/>
                <a:moveTo>
                  <a:pt x="11038289" y="3893651"/>
                </a:moveTo>
                <a:cubicBezTo>
                  <a:pt x="11017163" y="3893651"/>
                  <a:pt x="10999559" y="3907722"/>
                  <a:pt x="10985474" y="3914757"/>
                </a:cubicBezTo>
                <a:cubicBezTo>
                  <a:pt x="10985474" y="3904204"/>
                  <a:pt x="10985474" y="3904204"/>
                  <a:pt x="10985474" y="3904204"/>
                </a:cubicBezTo>
                <a:cubicBezTo>
                  <a:pt x="10985474" y="3897169"/>
                  <a:pt x="10981954" y="3897169"/>
                  <a:pt x="10978433" y="3897169"/>
                </a:cubicBezTo>
                <a:cubicBezTo>
                  <a:pt x="10950264" y="3897169"/>
                  <a:pt x="10950264" y="3897169"/>
                  <a:pt x="10950264" y="3897169"/>
                </a:cubicBezTo>
                <a:cubicBezTo>
                  <a:pt x="10946743" y="3897169"/>
                  <a:pt x="10943222" y="3897169"/>
                  <a:pt x="10943222" y="3904204"/>
                </a:cubicBezTo>
                <a:cubicBezTo>
                  <a:pt x="10943222" y="4080087"/>
                  <a:pt x="10943222" y="4080087"/>
                  <a:pt x="10943222" y="4080087"/>
                </a:cubicBezTo>
                <a:cubicBezTo>
                  <a:pt x="10943222" y="4083605"/>
                  <a:pt x="10946743" y="4087122"/>
                  <a:pt x="10950264" y="4087122"/>
                </a:cubicBezTo>
                <a:cubicBezTo>
                  <a:pt x="10978433" y="4087122"/>
                  <a:pt x="10978433" y="4087122"/>
                  <a:pt x="10978433" y="4087122"/>
                </a:cubicBezTo>
                <a:cubicBezTo>
                  <a:pt x="10981954" y="4087122"/>
                  <a:pt x="10985474" y="4083605"/>
                  <a:pt x="10985474" y="4080087"/>
                </a:cubicBezTo>
                <a:cubicBezTo>
                  <a:pt x="10985474" y="3956969"/>
                  <a:pt x="10985474" y="3956969"/>
                  <a:pt x="10985474" y="3956969"/>
                </a:cubicBezTo>
                <a:cubicBezTo>
                  <a:pt x="10992517" y="3953451"/>
                  <a:pt x="11013643" y="3935863"/>
                  <a:pt x="11038289" y="3935863"/>
                </a:cubicBezTo>
                <a:cubicBezTo>
                  <a:pt x="11041811" y="3932345"/>
                  <a:pt x="11045332" y="3932345"/>
                  <a:pt x="11045332" y="3928828"/>
                </a:cubicBezTo>
                <a:cubicBezTo>
                  <a:pt x="11045332" y="3900687"/>
                  <a:pt x="11045332" y="3900687"/>
                  <a:pt x="11045332" y="3900687"/>
                </a:cubicBezTo>
                <a:cubicBezTo>
                  <a:pt x="11045332" y="3900687"/>
                  <a:pt x="11045332" y="3897169"/>
                  <a:pt x="11041811" y="3897169"/>
                </a:cubicBezTo>
                <a:cubicBezTo>
                  <a:pt x="11041811" y="3893651"/>
                  <a:pt x="11038289" y="3893651"/>
                  <a:pt x="11038289" y="3893651"/>
                </a:cubicBezTo>
                <a:close/>
                <a:moveTo>
                  <a:pt x="10831647" y="3889620"/>
                </a:moveTo>
                <a:cubicBezTo>
                  <a:pt x="10810578" y="3889620"/>
                  <a:pt x="10775463" y="3896691"/>
                  <a:pt x="10761417" y="3896691"/>
                </a:cubicBezTo>
                <a:cubicBezTo>
                  <a:pt x="10757905" y="3896691"/>
                  <a:pt x="10754394" y="3900227"/>
                  <a:pt x="10754394" y="3903763"/>
                </a:cubicBezTo>
                <a:cubicBezTo>
                  <a:pt x="10754394" y="3903763"/>
                  <a:pt x="10754394" y="3903763"/>
                  <a:pt x="10754394" y="3928512"/>
                </a:cubicBezTo>
                <a:cubicBezTo>
                  <a:pt x="10754394" y="3932048"/>
                  <a:pt x="10754394" y="3932048"/>
                  <a:pt x="10757905" y="3935584"/>
                </a:cubicBezTo>
                <a:cubicBezTo>
                  <a:pt x="10757905" y="3935584"/>
                  <a:pt x="10761417" y="3935584"/>
                  <a:pt x="10761417" y="3935584"/>
                </a:cubicBezTo>
                <a:cubicBezTo>
                  <a:pt x="10778974" y="3935584"/>
                  <a:pt x="10807067" y="3932048"/>
                  <a:pt x="10828136" y="3932048"/>
                </a:cubicBezTo>
                <a:cubicBezTo>
                  <a:pt x="10842182" y="3932048"/>
                  <a:pt x="10852717" y="3942655"/>
                  <a:pt x="10852717" y="3956798"/>
                </a:cubicBezTo>
                <a:cubicBezTo>
                  <a:pt x="10852717" y="3956798"/>
                  <a:pt x="10852717" y="3956798"/>
                  <a:pt x="10852717" y="3967405"/>
                </a:cubicBezTo>
                <a:cubicBezTo>
                  <a:pt x="10852717" y="3967405"/>
                  <a:pt x="10852717" y="3967405"/>
                  <a:pt x="10803555" y="3970941"/>
                </a:cubicBezTo>
                <a:cubicBezTo>
                  <a:pt x="10761417" y="3974476"/>
                  <a:pt x="10740347" y="3992154"/>
                  <a:pt x="10740347" y="4031046"/>
                </a:cubicBezTo>
                <a:cubicBezTo>
                  <a:pt x="10740347" y="4069938"/>
                  <a:pt x="10761417" y="4091152"/>
                  <a:pt x="10796532" y="4091152"/>
                </a:cubicBezTo>
                <a:cubicBezTo>
                  <a:pt x="10824625" y="4091152"/>
                  <a:pt x="10859740" y="4077009"/>
                  <a:pt x="10859740" y="4077009"/>
                </a:cubicBezTo>
                <a:cubicBezTo>
                  <a:pt x="10866763" y="4084081"/>
                  <a:pt x="10873786" y="4087616"/>
                  <a:pt x="10887833" y="4091152"/>
                </a:cubicBezTo>
                <a:cubicBezTo>
                  <a:pt x="10891344" y="4091152"/>
                  <a:pt x="10891344" y="4091152"/>
                  <a:pt x="10894855" y="4087616"/>
                </a:cubicBezTo>
                <a:cubicBezTo>
                  <a:pt x="10894855" y="4087616"/>
                  <a:pt x="10894855" y="4084081"/>
                  <a:pt x="10894855" y="4084081"/>
                </a:cubicBezTo>
                <a:cubicBezTo>
                  <a:pt x="10894855" y="4084081"/>
                  <a:pt x="10894855" y="4084081"/>
                  <a:pt x="10894855" y="3956798"/>
                </a:cubicBezTo>
                <a:cubicBezTo>
                  <a:pt x="10894855" y="3910834"/>
                  <a:pt x="10873786" y="3889620"/>
                  <a:pt x="10831647" y="3889620"/>
                </a:cubicBezTo>
                <a:close/>
                <a:moveTo>
                  <a:pt x="10495822" y="3889619"/>
                </a:moveTo>
                <a:cubicBezTo>
                  <a:pt x="10448333" y="3889619"/>
                  <a:pt x="10409835" y="3934734"/>
                  <a:pt x="10409835" y="3990386"/>
                </a:cubicBezTo>
                <a:cubicBezTo>
                  <a:pt x="10409835" y="4046038"/>
                  <a:pt x="10448333" y="4091152"/>
                  <a:pt x="10495822" y="4091152"/>
                </a:cubicBezTo>
                <a:cubicBezTo>
                  <a:pt x="10543311" y="4091152"/>
                  <a:pt x="10581809" y="4046038"/>
                  <a:pt x="10581809" y="3990386"/>
                </a:cubicBezTo>
                <a:cubicBezTo>
                  <a:pt x="10581809" y="3934734"/>
                  <a:pt x="10543311" y="3889619"/>
                  <a:pt x="10495822" y="3889619"/>
                </a:cubicBezTo>
                <a:close/>
                <a:moveTo>
                  <a:pt x="10241892" y="3865436"/>
                </a:moveTo>
                <a:cubicBezTo>
                  <a:pt x="10248859" y="3865436"/>
                  <a:pt x="10255825" y="3865436"/>
                  <a:pt x="10273241" y="3865436"/>
                </a:cubicBezTo>
                <a:cubicBezTo>
                  <a:pt x="10273241" y="3865436"/>
                  <a:pt x="10273241" y="3865436"/>
                  <a:pt x="10290657" y="3865436"/>
                </a:cubicBezTo>
                <a:cubicBezTo>
                  <a:pt x="10322007" y="3865436"/>
                  <a:pt x="10335940" y="3886689"/>
                  <a:pt x="10335940" y="3904400"/>
                </a:cubicBezTo>
                <a:cubicBezTo>
                  <a:pt x="10335940" y="3929194"/>
                  <a:pt x="10318523" y="3943362"/>
                  <a:pt x="10287174" y="3943362"/>
                </a:cubicBezTo>
                <a:cubicBezTo>
                  <a:pt x="10266274" y="3943362"/>
                  <a:pt x="10248859" y="3943362"/>
                  <a:pt x="10241892" y="3943362"/>
                </a:cubicBezTo>
                <a:cubicBezTo>
                  <a:pt x="10241892" y="3943362"/>
                  <a:pt x="10241892" y="3943362"/>
                  <a:pt x="10241892" y="3865436"/>
                </a:cubicBezTo>
                <a:close/>
                <a:moveTo>
                  <a:pt x="10659063" y="3852001"/>
                </a:moveTo>
                <a:cubicBezTo>
                  <a:pt x="10659063" y="3852001"/>
                  <a:pt x="10659063" y="3852001"/>
                  <a:pt x="10627410" y="3859035"/>
                </a:cubicBezTo>
                <a:cubicBezTo>
                  <a:pt x="10623893" y="3859035"/>
                  <a:pt x="10623893" y="3862552"/>
                  <a:pt x="10623893" y="3866069"/>
                </a:cubicBezTo>
                <a:cubicBezTo>
                  <a:pt x="10623893" y="3866069"/>
                  <a:pt x="10623893" y="3866069"/>
                  <a:pt x="10623893" y="3897721"/>
                </a:cubicBezTo>
                <a:cubicBezTo>
                  <a:pt x="10623893" y="3897721"/>
                  <a:pt x="10623893" y="3897721"/>
                  <a:pt x="10606308" y="3897721"/>
                </a:cubicBezTo>
                <a:cubicBezTo>
                  <a:pt x="10602792" y="3897721"/>
                  <a:pt x="10599275" y="3897721"/>
                  <a:pt x="10599275" y="3904755"/>
                </a:cubicBezTo>
                <a:cubicBezTo>
                  <a:pt x="10599275" y="3904755"/>
                  <a:pt x="10599275" y="3904755"/>
                  <a:pt x="10599275" y="3929373"/>
                </a:cubicBezTo>
                <a:cubicBezTo>
                  <a:pt x="10599275" y="3932891"/>
                  <a:pt x="10602792" y="3936407"/>
                  <a:pt x="10606308" y="3936407"/>
                </a:cubicBezTo>
                <a:cubicBezTo>
                  <a:pt x="10606308" y="3936407"/>
                  <a:pt x="10606308" y="3936407"/>
                  <a:pt x="10623893" y="3936407"/>
                </a:cubicBezTo>
                <a:cubicBezTo>
                  <a:pt x="10623893" y="3936407"/>
                  <a:pt x="10623893" y="3936407"/>
                  <a:pt x="10623893" y="4020814"/>
                </a:cubicBezTo>
                <a:cubicBezTo>
                  <a:pt x="10623893" y="4073567"/>
                  <a:pt x="10637961" y="4091152"/>
                  <a:pt x="10680164" y="4091152"/>
                </a:cubicBezTo>
                <a:cubicBezTo>
                  <a:pt x="10690715" y="4091152"/>
                  <a:pt x="10701266" y="4087636"/>
                  <a:pt x="10711817" y="4087636"/>
                </a:cubicBezTo>
                <a:cubicBezTo>
                  <a:pt x="10715334" y="4087636"/>
                  <a:pt x="10718851" y="4084119"/>
                  <a:pt x="10718851" y="4080601"/>
                </a:cubicBezTo>
                <a:cubicBezTo>
                  <a:pt x="10718851" y="4080601"/>
                  <a:pt x="10718851" y="4080601"/>
                  <a:pt x="10718851" y="4055983"/>
                </a:cubicBezTo>
                <a:cubicBezTo>
                  <a:pt x="10718851" y="4052466"/>
                  <a:pt x="10715334" y="4048949"/>
                  <a:pt x="10711817" y="4048949"/>
                </a:cubicBezTo>
                <a:cubicBezTo>
                  <a:pt x="10704783" y="4048949"/>
                  <a:pt x="10694232" y="4048949"/>
                  <a:pt x="10687198" y="4048949"/>
                </a:cubicBezTo>
                <a:cubicBezTo>
                  <a:pt x="10666096" y="4048949"/>
                  <a:pt x="10666096" y="4041915"/>
                  <a:pt x="10666096" y="4013780"/>
                </a:cubicBezTo>
                <a:cubicBezTo>
                  <a:pt x="10666096" y="4013780"/>
                  <a:pt x="10666096" y="4013780"/>
                  <a:pt x="10666096" y="3936407"/>
                </a:cubicBezTo>
                <a:cubicBezTo>
                  <a:pt x="10666096" y="3936407"/>
                  <a:pt x="10666096" y="3936407"/>
                  <a:pt x="10711817" y="3936407"/>
                </a:cubicBezTo>
                <a:cubicBezTo>
                  <a:pt x="10715334" y="3936407"/>
                  <a:pt x="10718851" y="3932891"/>
                  <a:pt x="10718851" y="3929373"/>
                </a:cubicBezTo>
                <a:cubicBezTo>
                  <a:pt x="10718851" y="3929373"/>
                  <a:pt x="10718851" y="3929373"/>
                  <a:pt x="10718851" y="3904755"/>
                </a:cubicBezTo>
                <a:cubicBezTo>
                  <a:pt x="10718851" y="3897721"/>
                  <a:pt x="10715334" y="3897721"/>
                  <a:pt x="10711817" y="3897721"/>
                </a:cubicBezTo>
                <a:cubicBezTo>
                  <a:pt x="10711817" y="3897721"/>
                  <a:pt x="10711817" y="3897721"/>
                  <a:pt x="10666096" y="3897721"/>
                </a:cubicBezTo>
                <a:cubicBezTo>
                  <a:pt x="10666096" y="3897721"/>
                  <a:pt x="10666096" y="3897721"/>
                  <a:pt x="10666096" y="3859035"/>
                </a:cubicBezTo>
                <a:cubicBezTo>
                  <a:pt x="10666096" y="3855518"/>
                  <a:pt x="10666096" y="3855518"/>
                  <a:pt x="10662580" y="3852001"/>
                </a:cubicBezTo>
                <a:cubicBezTo>
                  <a:pt x="10662580" y="3852001"/>
                  <a:pt x="10659063" y="3852001"/>
                  <a:pt x="10659063" y="3852001"/>
                </a:cubicBezTo>
                <a:close/>
                <a:moveTo>
                  <a:pt x="10283668" y="3823787"/>
                </a:moveTo>
                <a:cubicBezTo>
                  <a:pt x="10273174" y="3823787"/>
                  <a:pt x="10241689" y="3823787"/>
                  <a:pt x="10203208" y="3827298"/>
                </a:cubicBezTo>
                <a:cubicBezTo>
                  <a:pt x="10199710" y="3827298"/>
                  <a:pt x="10196211" y="3830809"/>
                  <a:pt x="10196211" y="3834320"/>
                </a:cubicBezTo>
                <a:cubicBezTo>
                  <a:pt x="10196211" y="3834320"/>
                  <a:pt x="10196211" y="3834320"/>
                  <a:pt x="10196211" y="4080100"/>
                </a:cubicBezTo>
                <a:cubicBezTo>
                  <a:pt x="10196211" y="4083611"/>
                  <a:pt x="10199710" y="4087122"/>
                  <a:pt x="10203208" y="4087122"/>
                </a:cubicBezTo>
                <a:cubicBezTo>
                  <a:pt x="10203208" y="4087122"/>
                  <a:pt x="10203208" y="4087122"/>
                  <a:pt x="10234693" y="4087122"/>
                </a:cubicBezTo>
                <a:cubicBezTo>
                  <a:pt x="10238191" y="4087122"/>
                  <a:pt x="10241689" y="4083611"/>
                  <a:pt x="10241689" y="4080100"/>
                </a:cubicBezTo>
                <a:cubicBezTo>
                  <a:pt x="10241689" y="4080100"/>
                  <a:pt x="10241689" y="4080100"/>
                  <a:pt x="10241689" y="3981788"/>
                </a:cubicBezTo>
                <a:cubicBezTo>
                  <a:pt x="10252184" y="3985299"/>
                  <a:pt x="10269675" y="3985299"/>
                  <a:pt x="10290665" y="3985299"/>
                </a:cubicBezTo>
                <a:cubicBezTo>
                  <a:pt x="10290665" y="3985299"/>
                  <a:pt x="10290665" y="3985299"/>
                  <a:pt x="10336143" y="4083611"/>
                </a:cubicBezTo>
                <a:cubicBezTo>
                  <a:pt x="10336143" y="4083611"/>
                  <a:pt x="10339641" y="4087122"/>
                  <a:pt x="10343139" y="4087122"/>
                </a:cubicBezTo>
                <a:cubicBezTo>
                  <a:pt x="10343139" y="4087122"/>
                  <a:pt x="10343139" y="4087122"/>
                  <a:pt x="10374624" y="4087122"/>
                </a:cubicBezTo>
                <a:cubicBezTo>
                  <a:pt x="10378122" y="4087122"/>
                  <a:pt x="10381620" y="4083611"/>
                  <a:pt x="10381620" y="4083611"/>
                </a:cubicBezTo>
                <a:cubicBezTo>
                  <a:pt x="10381620" y="4080100"/>
                  <a:pt x="10381620" y="4080100"/>
                  <a:pt x="10381620" y="4076589"/>
                </a:cubicBezTo>
                <a:lnTo>
                  <a:pt x="10336143" y="3971255"/>
                </a:lnTo>
                <a:cubicBezTo>
                  <a:pt x="10367627" y="3957210"/>
                  <a:pt x="10381620" y="3936143"/>
                  <a:pt x="10381620" y="3904543"/>
                </a:cubicBezTo>
                <a:cubicBezTo>
                  <a:pt x="10381620" y="3865920"/>
                  <a:pt x="10364129" y="3823787"/>
                  <a:pt x="10290665" y="3823787"/>
                </a:cubicBezTo>
                <a:cubicBezTo>
                  <a:pt x="10290665" y="3823787"/>
                  <a:pt x="10287167" y="3823787"/>
                  <a:pt x="10283668" y="3823787"/>
                </a:cubicBezTo>
                <a:close/>
                <a:moveTo>
                  <a:pt x="11839186" y="3792865"/>
                </a:moveTo>
                <a:cubicBezTo>
                  <a:pt x="11841365" y="3793306"/>
                  <a:pt x="11843980" y="3795069"/>
                  <a:pt x="11845722" y="3798596"/>
                </a:cubicBezTo>
                <a:cubicBezTo>
                  <a:pt x="11901498" y="3855026"/>
                  <a:pt x="11929385" y="3946723"/>
                  <a:pt x="11908470" y="4038420"/>
                </a:cubicBezTo>
                <a:cubicBezTo>
                  <a:pt x="11908470" y="4041947"/>
                  <a:pt x="11904984" y="4045473"/>
                  <a:pt x="11898012" y="4041947"/>
                </a:cubicBezTo>
                <a:cubicBezTo>
                  <a:pt x="11898012" y="4041947"/>
                  <a:pt x="11898012" y="4041947"/>
                  <a:pt x="11859666" y="4031366"/>
                </a:cubicBezTo>
                <a:cubicBezTo>
                  <a:pt x="11856180" y="4031366"/>
                  <a:pt x="11852694" y="4027839"/>
                  <a:pt x="11852694" y="4020786"/>
                </a:cubicBezTo>
                <a:cubicBezTo>
                  <a:pt x="11866638" y="3946723"/>
                  <a:pt x="11849208" y="3886766"/>
                  <a:pt x="11807377" y="3840918"/>
                </a:cubicBezTo>
                <a:cubicBezTo>
                  <a:pt x="11800405" y="3837392"/>
                  <a:pt x="11800405" y="3830337"/>
                  <a:pt x="11807377" y="3826811"/>
                </a:cubicBezTo>
                <a:cubicBezTo>
                  <a:pt x="11807377" y="3826811"/>
                  <a:pt x="11807377" y="3826811"/>
                  <a:pt x="11835264" y="3795069"/>
                </a:cubicBezTo>
                <a:cubicBezTo>
                  <a:pt x="11835264" y="3793306"/>
                  <a:pt x="11837008" y="3792424"/>
                  <a:pt x="11839186" y="3792865"/>
                </a:cubicBezTo>
                <a:close/>
                <a:moveTo>
                  <a:pt x="11458923" y="3792865"/>
                </a:moveTo>
                <a:cubicBezTo>
                  <a:pt x="11461124" y="3792424"/>
                  <a:pt x="11462885" y="3793306"/>
                  <a:pt x="11462885" y="3795069"/>
                </a:cubicBezTo>
                <a:cubicBezTo>
                  <a:pt x="11462885" y="3795069"/>
                  <a:pt x="11462885" y="3795069"/>
                  <a:pt x="11494585" y="3826811"/>
                </a:cubicBezTo>
                <a:cubicBezTo>
                  <a:pt x="11498108" y="3830337"/>
                  <a:pt x="11498108" y="3837392"/>
                  <a:pt x="11491063" y="3840918"/>
                </a:cubicBezTo>
                <a:cubicBezTo>
                  <a:pt x="11448796" y="3886766"/>
                  <a:pt x="11431184" y="3946723"/>
                  <a:pt x="11445274" y="4020786"/>
                </a:cubicBezTo>
                <a:cubicBezTo>
                  <a:pt x="11445274" y="4027839"/>
                  <a:pt x="11441752" y="4031366"/>
                  <a:pt x="11438229" y="4031366"/>
                </a:cubicBezTo>
                <a:cubicBezTo>
                  <a:pt x="11438229" y="4031366"/>
                  <a:pt x="11438229" y="4031366"/>
                  <a:pt x="11399484" y="4041947"/>
                </a:cubicBezTo>
                <a:cubicBezTo>
                  <a:pt x="11392439" y="4045473"/>
                  <a:pt x="11388917" y="4041947"/>
                  <a:pt x="11388917" y="4038420"/>
                </a:cubicBezTo>
                <a:cubicBezTo>
                  <a:pt x="11367783" y="3946723"/>
                  <a:pt x="11395962" y="3855026"/>
                  <a:pt x="11452318" y="3798596"/>
                </a:cubicBezTo>
                <a:cubicBezTo>
                  <a:pt x="11454079" y="3795069"/>
                  <a:pt x="11456721" y="3793306"/>
                  <a:pt x="11458923" y="3792865"/>
                </a:cubicBezTo>
                <a:close/>
                <a:moveTo>
                  <a:pt x="11677605" y="3787511"/>
                </a:moveTo>
                <a:cubicBezTo>
                  <a:pt x="11681098" y="3787511"/>
                  <a:pt x="11681098" y="3787511"/>
                  <a:pt x="11684592" y="3787511"/>
                </a:cubicBezTo>
                <a:cubicBezTo>
                  <a:pt x="11730003" y="3798107"/>
                  <a:pt x="11761442" y="3815764"/>
                  <a:pt x="11792882" y="3851080"/>
                </a:cubicBezTo>
                <a:cubicBezTo>
                  <a:pt x="11796375" y="3854612"/>
                  <a:pt x="11796375" y="3854612"/>
                  <a:pt x="11796375" y="3858144"/>
                </a:cubicBezTo>
                <a:cubicBezTo>
                  <a:pt x="11796375" y="3861675"/>
                  <a:pt x="11792882" y="3861675"/>
                  <a:pt x="11789388" y="3865207"/>
                </a:cubicBezTo>
                <a:cubicBezTo>
                  <a:pt x="11789388" y="3865207"/>
                  <a:pt x="11789388" y="3865207"/>
                  <a:pt x="11698565" y="3911118"/>
                </a:cubicBezTo>
                <a:cubicBezTo>
                  <a:pt x="11695071" y="3911118"/>
                  <a:pt x="11691578" y="3911118"/>
                  <a:pt x="11688084" y="3911118"/>
                </a:cubicBezTo>
                <a:cubicBezTo>
                  <a:pt x="11684592" y="3907586"/>
                  <a:pt x="11684592" y="3904054"/>
                  <a:pt x="11681098" y="3900523"/>
                </a:cubicBezTo>
                <a:cubicBezTo>
                  <a:pt x="11681098" y="3900523"/>
                  <a:pt x="11681098" y="3900523"/>
                  <a:pt x="11674112" y="3798107"/>
                </a:cubicBezTo>
                <a:cubicBezTo>
                  <a:pt x="11674112" y="3794575"/>
                  <a:pt x="11674112" y="3791043"/>
                  <a:pt x="11677605" y="3787511"/>
                </a:cubicBezTo>
                <a:close/>
                <a:moveTo>
                  <a:pt x="11613922" y="3787511"/>
                </a:moveTo>
                <a:cubicBezTo>
                  <a:pt x="11617414" y="3787511"/>
                  <a:pt x="11617414" y="3787511"/>
                  <a:pt x="11620908" y="3787511"/>
                </a:cubicBezTo>
                <a:cubicBezTo>
                  <a:pt x="11620908" y="3791043"/>
                  <a:pt x="11624401" y="3794575"/>
                  <a:pt x="11624401" y="3798107"/>
                </a:cubicBezTo>
                <a:cubicBezTo>
                  <a:pt x="11624401" y="3798107"/>
                  <a:pt x="11624401" y="3798107"/>
                  <a:pt x="11613922" y="3904054"/>
                </a:cubicBezTo>
                <a:cubicBezTo>
                  <a:pt x="11613922" y="3907586"/>
                  <a:pt x="11613922" y="3911118"/>
                  <a:pt x="11610428" y="3911118"/>
                </a:cubicBezTo>
                <a:cubicBezTo>
                  <a:pt x="11606935" y="3911118"/>
                  <a:pt x="11603442" y="3911118"/>
                  <a:pt x="11599949" y="3911118"/>
                </a:cubicBezTo>
                <a:cubicBezTo>
                  <a:pt x="11599949" y="3911118"/>
                  <a:pt x="11599949" y="3911118"/>
                  <a:pt x="11509124" y="3865207"/>
                </a:cubicBezTo>
                <a:cubicBezTo>
                  <a:pt x="11505632" y="3865207"/>
                  <a:pt x="11502138" y="3861675"/>
                  <a:pt x="11502138" y="3858144"/>
                </a:cubicBezTo>
                <a:cubicBezTo>
                  <a:pt x="11502138" y="3858144"/>
                  <a:pt x="11502138" y="3854612"/>
                  <a:pt x="11505632" y="3851080"/>
                </a:cubicBezTo>
                <a:cubicBezTo>
                  <a:pt x="11537070" y="3819296"/>
                  <a:pt x="11568509" y="3798107"/>
                  <a:pt x="11613922" y="3787511"/>
                </a:cubicBezTo>
                <a:close/>
                <a:moveTo>
                  <a:pt x="11532772" y="3752579"/>
                </a:moveTo>
                <a:cubicBezTo>
                  <a:pt x="11536265" y="3752579"/>
                  <a:pt x="11539758" y="3756274"/>
                  <a:pt x="11539758" y="3759969"/>
                </a:cubicBezTo>
                <a:cubicBezTo>
                  <a:pt x="11539758" y="3763664"/>
                  <a:pt x="11539758" y="3763664"/>
                  <a:pt x="11536265" y="3763664"/>
                </a:cubicBezTo>
                <a:cubicBezTo>
                  <a:pt x="11536265" y="3763664"/>
                  <a:pt x="11536265" y="3763664"/>
                  <a:pt x="11529278" y="3767359"/>
                </a:cubicBezTo>
                <a:cubicBezTo>
                  <a:pt x="11529278" y="3767359"/>
                  <a:pt x="11529278" y="3767359"/>
                  <a:pt x="11525785" y="3759969"/>
                </a:cubicBezTo>
                <a:cubicBezTo>
                  <a:pt x="11525785" y="3759969"/>
                  <a:pt x="11525785" y="3759969"/>
                  <a:pt x="11522292" y="3759969"/>
                </a:cubicBezTo>
                <a:cubicBezTo>
                  <a:pt x="11525785" y="3756274"/>
                  <a:pt x="11529278" y="3756274"/>
                  <a:pt x="11532772" y="3752579"/>
                </a:cubicBezTo>
                <a:close/>
                <a:moveTo>
                  <a:pt x="11529297" y="3745382"/>
                </a:moveTo>
                <a:cubicBezTo>
                  <a:pt x="11525746" y="3748932"/>
                  <a:pt x="11518645" y="3752484"/>
                  <a:pt x="11511543" y="3756034"/>
                </a:cubicBezTo>
                <a:cubicBezTo>
                  <a:pt x="11511543" y="3756034"/>
                  <a:pt x="11511543" y="3756034"/>
                  <a:pt x="11515094" y="3759585"/>
                </a:cubicBezTo>
                <a:lnTo>
                  <a:pt x="11532848" y="3791543"/>
                </a:lnTo>
                <a:cubicBezTo>
                  <a:pt x="11536399" y="3791543"/>
                  <a:pt x="11536399" y="3787991"/>
                  <a:pt x="11539950" y="3787991"/>
                </a:cubicBezTo>
                <a:cubicBezTo>
                  <a:pt x="11539950" y="3787991"/>
                  <a:pt x="11539950" y="3787991"/>
                  <a:pt x="11532848" y="3773788"/>
                </a:cubicBezTo>
                <a:cubicBezTo>
                  <a:pt x="11532848" y="3773788"/>
                  <a:pt x="11532848" y="3773788"/>
                  <a:pt x="11539950" y="3770238"/>
                </a:cubicBezTo>
                <a:cubicBezTo>
                  <a:pt x="11539950" y="3770238"/>
                  <a:pt x="11539950" y="3770238"/>
                  <a:pt x="11554153" y="3780890"/>
                </a:cubicBezTo>
                <a:cubicBezTo>
                  <a:pt x="11557704" y="3777339"/>
                  <a:pt x="11557704" y="3777339"/>
                  <a:pt x="11561255" y="3777339"/>
                </a:cubicBezTo>
                <a:cubicBezTo>
                  <a:pt x="11561255" y="3777339"/>
                  <a:pt x="11561255" y="3777339"/>
                  <a:pt x="11547052" y="3763136"/>
                </a:cubicBezTo>
                <a:cubicBezTo>
                  <a:pt x="11547052" y="3763136"/>
                  <a:pt x="11547052" y="3763136"/>
                  <a:pt x="11547052" y="3759585"/>
                </a:cubicBezTo>
                <a:cubicBezTo>
                  <a:pt x="11550602" y="3752484"/>
                  <a:pt x="11539950" y="3741831"/>
                  <a:pt x="11529297" y="3745382"/>
                </a:cubicBezTo>
                <a:close/>
                <a:moveTo>
                  <a:pt x="11750205" y="3739144"/>
                </a:moveTo>
                <a:cubicBezTo>
                  <a:pt x="11753748" y="3763328"/>
                  <a:pt x="11753748" y="3763328"/>
                  <a:pt x="11753748" y="3763328"/>
                </a:cubicBezTo>
                <a:cubicBezTo>
                  <a:pt x="11746663" y="3780602"/>
                  <a:pt x="11746663" y="3780602"/>
                  <a:pt x="11746663" y="3780602"/>
                </a:cubicBezTo>
                <a:lnTo>
                  <a:pt x="11753748" y="3787511"/>
                </a:lnTo>
                <a:cubicBezTo>
                  <a:pt x="11760832" y="3770237"/>
                  <a:pt x="11760832" y="3770237"/>
                  <a:pt x="11760832" y="3770237"/>
                </a:cubicBezTo>
                <a:cubicBezTo>
                  <a:pt x="11785626" y="3756418"/>
                  <a:pt x="11785626" y="3756418"/>
                  <a:pt x="11785626" y="3756418"/>
                </a:cubicBezTo>
                <a:cubicBezTo>
                  <a:pt x="11785626" y="3756418"/>
                  <a:pt x="11782084" y="3752963"/>
                  <a:pt x="11778543" y="3752963"/>
                </a:cubicBezTo>
                <a:cubicBezTo>
                  <a:pt x="11760832" y="3759873"/>
                  <a:pt x="11760832" y="3759873"/>
                  <a:pt x="11760832" y="3759873"/>
                </a:cubicBezTo>
                <a:cubicBezTo>
                  <a:pt x="11757290" y="3742598"/>
                  <a:pt x="11757290" y="3742598"/>
                  <a:pt x="11757290" y="3742598"/>
                </a:cubicBezTo>
                <a:cubicBezTo>
                  <a:pt x="11753748" y="3739144"/>
                  <a:pt x="11753748" y="3739144"/>
                  <a:pt x="11750205" y="3739144"/>
                </a:cubicBezTo>
                <a:close/>
                <a:moveTo>
                  <a:pt x="11715224" y="3735114"/>
                </a:moveTo>
                <a:cubicBezTo>
                  <a:pt x="11718717" y="3735114"/>
                  <a:pt x="11722211" y="3735114"/>
                  <a:pt x="11725705" y="3738473"/>
                </a:cubicBezTo>
                <a:cubicBezTo>
                  <a:pt x="11725705" y="3738473"/>
                  <a:pt x="11729197" y="3738473"/>
                  <a:pt x="11729197" y="3741832"/>
                </a:cubicBezTo>
                <a:cubicBezTo>
                  <a:pt x="11729197" y="3745190"/>
                  <a:pt x="11725705" y="3748549"/>
                  <a:pt x="11722211" y="3748549"/>
                </a:cubicBezTo>
                <a:cubicBezTo>
                  <a:pt x="11722211" y="3748549"/>
                  <a:pt x="11722211" y="3748549"/>
                  <a:pt x="11711731" y="3745190"/>
                </a:cubicBezTo>
                <a:lnTo>
                  <a:pt x="11711731" y="3741832"/>
                </a:lnTo>
                <a:cubicBezTo>
                  <a:pt x="11711731" y="3741832"/>
                  <a:pt x="11711731" y="3741832"/>
                  <a:pt x="11715224" y="3735114"/>
                </a:cubicBezTo>
                <a:close/>
                <a:moveTo>
                  <a:pt x="11582079" y="3734609"/>
                </a:moveTo>
                <a:cubicBezTo>
                  <a:pt x="11589134" y="3731082"/>
                  <a:pt x="11596187" y="3738137"/>
                  <a:pt x="11596187" y="3745190"/>
                </a:cubicBezTo>
                <a:cubicBezTo>
                  <a:pt x="11596187" y="3752244"/>
                  <a:pt x="11589134" y="3759297"/>
                  <a:pt x="11582079" y="3759297"/>
                </a:cubicBezTo>
                <a:cubicBezTo>
                  <a:pt x="11575026" y="3759297"/>
                  <a:pt x="11567972" y="3755771"/>
                  <a:pt x="11567972" y="3748717"/>
                </a:cubicBezTo>
                <a:cubicBezTo>
                  <a:pt x="11567972" y="3748717"/>
                  <a:pt x="11567972" y="3748717"/>
                  <a:pt x="11567972" y="3745190"/>
                </a:cubicBezTo>
                <a:cubicBezTo>
                  <a:pt x="11567972" y="3738137"/>
                  <a:pt x="11575026" y="3734609"/>
                  <a:pt x="11582079" y="3734609"/>
                </a:cubicBezTo>
                <a:close/>
                <a:moveTo>
                  <a:pt x="11670081" y="3728395"/>
                </a:moveTo>
                <a:cubicBezTo>
                  <a:pt x="11670081" y="3728395"/>
                  <a:pt x="11670081" y="3728395"/>
                  <a:pt x="11673440" y="3738875"/>
                </a:cubicBezTo>
                <a:cubicBezTo>
                  <a:pt x="11673440" y="3738875"/>
                  <a:pt x="11673440" y="3738875"/>
                  <a:pt x="11676799" y="3745862"/>
                </a:cubicBezTo>
                <a:cubicBezTo>
                  <a:pt x="11673440" y="3745862"/>
                  <a:pt x="11666722" y="3745862"/>
                  <a:pt x="11663363" y="3745862"/>
                </a:cubicBezTo>
                <a:lnTo>
                  <a:pt x="11666722" y="3738875"/>
                </a:lnTo>
                <a:cubicBezTo>
                  <a:pt x="11666722" y="3738875"/>
                  <a:pt x="11666722" y="3738875"/>
                  <a:pt x="11670081" y="3728395"/>
                </a:cubicBezTo>
                <a:close/>
                <a:moveTo>
                  <a:pt x="11578609" y="3727879"/>
                </a:moveTo>
                <a:cubicBezTo>
                  <a:pt x="11568195" y="3727879"/>
                  <a:pt x="11561254" y="3734907"/>
                  <a:pt x="11561254" y="3745449"/>
                </a:cubicBezTo>
                <a:cubicBezTo>
                  <a:pt x="11561254" y="3748962"/>
                  <a:pt x="11561254" y="3748962"/>
                  <a:pt x="11561254" y="3748962"/>
                </a:cubicBezTo>
                <a:cubicBezTo>
                  <a:pt x="11561254" y="3759504"/>
                  <a:pt x="11571666" y="3770046"/>
                  <a:pt x="11582079" y="3766532"/>
                </a:cubicBezTo>
                <a:cubicBezTo>
                  <a:pt x="11595963" y="3766532"/>
                  <a:pt x="11602904" y="3759504"/>
                  <a:pt x="11602904" y="3745449"/>
                </a:cubicBezTo>
                <a:cubicBezTo>
                  <a:pt x="11602904" y="3734907"/>
                  <a:pt x="11592492" y="3724365"/>
                  <a:pt x="11578609" y="3727879"/>
                </a:cubicBezTo>
                <a:close/>
                <a:moveTo>
                  <a:pt x="11708922" y="3724365"/>
                </a:moveTo>
                <a:cubicBezTo>
                  <a:pt x="11708922" y="3724365"/>
                  <a:pt x="11708922" y="3724365"/>
                  <a:pt x="11705380" y="3742119"/>
                </a:cubicBezTo>
                <a:cubicBezTo>
                  <a:pt x="11705380" y="3742119"/>
                  <a:pt x="11705380" y="3742119"/>
                  <a:pt x="11698296" y="3763424"/>
                </a:cubicBezTo>
                <a:cubicBezTo>
                  <a:pt x="11701837" y="3766975"/>
                  <a:pt x="11705380" y="3766975"/>
                  <a:pt x="11708922" y="3766975"/>
                </a:cubicBezTo>
                <a:lnTo>
                  <a:pt x="11712464" y="3752772"/>
                </a:lnTo>
                <a:cubicBezTo>
                  <a:pt x="11712464" y="3752772"/>
                  <a:pt x="11712464" y="3752772"/>
                  <a:pt x="11719548" y="3752772"/>
                </a:cubicBezTo>
                <a:cubicBezTo>
                  <a:pt x="11719548" y="3752772"/>
                  <a:pt x="11719548" y="3752772"/>
                  <a:pt x="11723090" y="3770526"/>
                </a:cubicBezTo>
                <a:cubicBezTo>
                  <a:pt x="11726632" y="3774077"/>
                  <a:pt x="11726632" y="3774077"/>
                  <a:pt x="11730175" y="3774077"/>
                </a:cubicBezTo>
                <a:cubicBezTo>
                  <a:pt x="11730175" y="3774077"/>
                  <a:pt x="11730175" y="3774077"/>
                  <a:pt x="11726632" y="3756323"/>
                </a:cubicBezTo>
                <a:cubicBezTo>
                  <a:pt x="11733717" y="3752772"/>
                  <a:pt x="11737259" y="3745670"/>
                  <a:pt x="11737259" y="3742119"/>
                </a:cubicBezTo>
                <a:cubicBezTo>
                  <a:pt x="11737259" y="3735018"/>
                  <a:pt x="11733717" y="3731467"/>
                  <a:pt x="11730175" y="3731467"/>
                </a:cubicBezTo>
                <a:cubicBezTo>
                  <a:pt x="11723090" y="3727916"/>
                  <a:pt x="11716006" y="3724365"/>
                  <a:pt x="11708922" y="3724365"/>
                </a:cubicBezTo>
                <a:close/>
                <a:moveTo>
                  <a:pt x="11666295" y="3717647"/>
                </a:moveTo>
                <a:cubicBezTo>
                  <a:pt x="11666295" y="3717647"/>
                  <a:pt x="11666295" y="3717647"/>
                  <a:pt x="11659211" y="3738731"/>
                </a:cubicBezTo>
                <a:cubicBezTo>
                  <a:pt x="11659211" y="3738731"/>
                  <a:pt x="11659211" y="3738731"/>
                  <a:pt x="11648585" y="3759814"/>
                </a:cubicBezTo>
                <a:cubicBezTo>
                  <a:pt x="11652127" y="3759814"/>
                  <a:pt x="11652127" y="3759814"/>
                  <a:pt x="11655669" y="3759814"/>
                </a:cubicBezTo>
                <a:lnTo>
                  <a:pt x="11659211" y="3752786"/>
                </a:lnTo>
                <a:cubicBezTo>
                  <a:pt x="11666295" y="3752786"/>
                  <a:pt x="11669838" y="3752786"/>
                  <a:pt x="11676922" y="3752786"/>
                </a:cubicBezTo>
                <a:cubicBezTo>
                  <a:pt x="11676922" y="3752786"/>
                  <a:pt x="11676922" y="3752786"/>
                  <a:pt x="11680464" y="3759814"/>
                </a:cubicBezTo>
                <a:cubicBezTo>
                  <a:pt x="11684006" y="3759814"/>
                  <a:pt x="11684006" y="3763328"/>
                  <a:pt x="11687548" y="3763328"/>
                </a:cubicBezTo>
                <a:cubicBezTo>
                  <a:pt x="11687548" y="3763328"/>
                  <a:pt x="11687548" y="3763328"/>
                  <a:pt x="11680464" y="3738731"/>
                </a:cubicBezTo>
                <a:cubicBezTo>
                  <a:pt x="11680464" y="3738731"/>
                  <a:pt x="11680464" y="3738731"/>
                  <a:pt x="11676922" y="3717647"/>
                </a:cubicBezTo>
                <a:cubicBezTo>
                  <a:pt x="11676922" y="3717647"/>
                  <a:pt x="11676922" y="3717647"/>
                  <a:pt x="11666295" y="3717647"/>
                </a:cubicBezTo>
                <a:close/>
                <a:moveTo>
                  <a:pt x="11645898" y="3717647"/>
                </a:moveTo>
                <a:cubicBezTo>
                  <a:pt x="11628187" y="3717647"/>
                  <a:pt x="11621103" y="3717647"/>
                  <a:pt x="11606934" y="3721118"/>
                </a:cubicBezTo>
                <a:cubicBezTo>
                  <a:pt x="11606934" y="3728059"/>
                  <a:pt x="11606934" y="3728059"/>
                  <a:pt x="11606934" y="3728059"/>
                </a:cubicBezTo>
                <a:lnTo>
                  <a:pt x="11621103" y="3724589"/>
                </a:lnTo>
                <a:cubicBezTo>
                  <a:pt x="11624645" y="3759297"/>
                  <a:pt x="11624645" y="3759297"/>
                  <a:pt x="11624645" y="3759297"/>
                </a:cubicBezTo>
                <a:cubicBezTo>
                  <a:pt x="11635271" y="3759297"/>
                  <a:pt x="11635271" y="3759297"/>
                  <a:pt x="11635271" y="3759297"/>
                </a:cubicBezTo>
                <a:cubicBezTo>
                  <a:pt x="11631729" y="3724589"/>
                  <a:pt x="11631729" y="3724589"/>
                  <a:pt x="11631729" y="3724589"/>
                </a:cubicBezTo>
                <a:cubicBezTo>
                  <a:pt x="11645898" y="3724589"/>
                  <a:pt x="11645898" y="3724589"/>
                  <a:pt x="11645898" y="3724589"/>
                </a:cubicBezTo>
                <a:cubicBezTo>
                  <a:pt x="11645898" y="3717647"/>
                  <a:pt x="11645898" y="3717647"/>
                  <a:pt x="11645898" y="3717647"/>
                </a:cubicBezTo>
                <a:close/>
                <a:moveTo>
                  <a:pt x="11196257" y="3717646"/>
                </a:moveTo>
                <a:cubicBezTo>
                  <a:pt x="11214171" y="3717646"/>
                  <a:pt x="11221336" y="3735113"/>
                  <a:pt x="11221336" y="3752578"/>
                </a:cubicBezTo>
                <a:lnTo>
                  <a:pt x="11167595" y="3752578"/>
                </a:lnTo>
                <a:cubicBezTo>
                  <a:pt x="11167595" y="3735113"/>
                  <a:pt x="11178343" y="3717646"/>
                  <a:pt x="11196257" y="3717646"/>
                </a:cubicBezTo>
                <a:close/>
                <a:moveTo>
                  <a:pt x="11648585" y="3710930"/>
                </a:moveTo>
                <a:cubicBezTo>
                  <a:pt x="11711759" y="3710930"/>
                  <a:pt x="11767914" y="3731889"/>
                  <a:pt x="11813539" y="3766821"/>
                </a:cubicBezTo>
                <a:cubicBezTo>
                  <a:pt x="11820558" y="3773808"/>
                  <a:pt x="11820558" y="3777301"/>
                  <a:pt x="11817049" y="3780794"/>
                </a:cubicBezTo>
                <a:cubicBezTo>
                  <a:pt x="11817049" y="3780794"/>
                  <a:pt x="11817049" y="3780794"/>
                  <a:pt x="11788972" y="3812234"/>
                </a:cubicBezTo>
                <a:cubicBezTo>
                  <a:pt x="11785462" y="3815726"/>
                  <a:pt x="11781952" y="3815726"/>
                  <a:pt x="11774933" y="3812234"/>
                </a:cubicBezTo>
                <a:cubicBezTo>
                  <a:pt x="11739837" y="3784288"/>
                  <a:pt x="11694210" y="3766821"/>
                  <a:pt x="11648585" y="3766821"/>
                </a:cubicBezTo>
                <a:cubicBezTo>
                  <a:pt x="11599450" y="3766821"/>
                  <a:pt x="11557334" y="3784288"/>
                  <a:pt x="11522236" y="3812234"/>
                </a:cubicBezTo>
                <a:cubicBezTo>
                  <a:pt x="11515217" y="3815726"/>
                  <a:pt x="11511708" y="3815726"/>
                  <a:pt x="11508198" y="3812234"/>
                </a:cubicBezTo>
                <a:cubicBezTo>
                  <a:pt x="11508198" y="3812234"/>
                  <a:pt x="11508198" y="3812234"/>
                  <a:pt x="11480121" y="3780794"/>
                </a:cubicBezTo>
                <a:cubicBezTo>
                  <a:pt x="11476611" y="3777301"/>
                  <a:pt x="11476611" y="3773808"/>
                  <a:pt x="11483630" y="3766821"/>
                </a:cubicBezTo>
                <a:cubicBezTo>
                  <a:pt x="11529256" y="3731889"/>
                  <a:pt x="11585411" y="3710930"/>
                  <a:pt x="11648585" y="3710930"/>
                </a:cubicBezTo>
                <a:close/>
                <a:moveTo>
                  <a:pt x="11196481" y="3710929"/>
                </a:moveTo>
                <a:cubicBezTo>
                  <a:pt x="11172113" y="3710929"/>
                  <a:pt x="11158189" y="3728443"/>
                  <a:pt x="11158189" y="3759969"/>
                </a:cubicBezTo>
                <a:cubicBezTo>
                  <a:pt x="11158189" y="3787991"/>
                  <a:pt x="11168632" y="3809008"/>
                  <a:pt x="11199962" y="3809008"/>
                </a:cubicBezTo>
                <a:cubicBezTo>
                  <a:pt x="11206924" y="3809008"/>
                  <a:pt x="11220848" y="3805505"/>
                  <a:pt x="11227810" y="3802002"/>
                </a:cubicBezTo>
                <a:lnTo>
                  <a:pt x="11227810" y="3791494"/>
                </a:lnTo>
                <a:cubicBezTo>
                  <a:pt x="11220848" y="3794997"/>
                  <a:pt x="11210404" y="3798499"/>
                  <a:pt x="11199962" y="3798499"/>
                </a:cubicBezTo>
                <a:cubicBezTo>
                  <a:pt x="11179076" y="3798499"/>
                  <a:pt x="11168632" y="3780985"/>
                  <a:pt x="11168632" y="3763472"/>
                </a:cubicBezTo>
                <a:cubicBezTo>
                  <a:pt x="11168632" y="3763472"/>
                  <a:pt x="11168632" y="3763472"/>
                  <a:pt x="11234772" y="3763472"/>
                </a:cubicBezTo>
                <a:cubicBezTo>
                  <a:pt x="11234772" y="3763472"/>
                  <a:pt x="11234772" y="3763472"/>
                  <a:pt x="11234772" y="3756466"/>
                </a:cubicBezTo>
                <a:cubicBezTo>
                  <a:pt x="11234772" y="3731946"/>
                  <a:pt x="11224329" y="3710929"/>
                  <a:pt x="11196481" y="3710929"/>
                </a:cubicBezTo>
                <a:close/>
                <a:moveTo>
                  <a:pt x="10947253" y="3674653"/>
                </a:moveTo>
                <a:lnTo>
                  <a:pt x="10947253" y="3685401"/>
                </a:lnTo>
                <a:lnTo>
                  <a:pt x="10986216" y="3685401"/>
                </a:lnTo>
                <a:lnTo>
                  <a:pt x="10986216" y="3804977"/>
                </a:lnTo>
                <a:lnTo>
                  <a:pt x="10999652" y="3804977"/>
                </a:lnTo>
                <a:lnTo>
                  <a:pt x="10999652" y="3685401"/>
                </a:lnTo>
                <a:lnTo>
                  <a:pt x="11038614" y="3685401"/>
                </a:lnTo>
                <a:lnTo>
                  <a:pt x="11038614" y="3674653"/>
                </a:lnTo>
                <a:close/>
                <a:moveTo>
                  <a:pt x="11060111" y="3663904"/>
                </a:moveTo>
                <a:lnTo>
                  <a:pt x="11060111" y="3804977"/>
                </a:lnTo>
                <a:cubicBezTo>
                  <a:pt x="11060111" y="3804977"/>
                  <a:pt x="11060111" y="3804977"/>
                  <a:pt x="11070476" y="3804977"/>
                </a:cubicBezTo>
                <a:cubicBezTo>
                  <a:pt x="11070476" y="3804977"/>
                  <a:pt x="11070476" y="3804977"/>
                  <a:pt x="11070476" y="3755601"/>
                </a:cubicBezTo>
                <a:cubicBezTo>
                  <a:pt x="11070476" y="3737967"/>
                  <a:pt x="11077385" y="3716807"/>
                  <a:pt x="11098115" y="3716807"/>
                </a:cubicBezTo>
                <a:cubicBezTo>
                  <a:pt x="11118844" y="3716807"/>
                  <a:pt x="11118844" y="3730914"/>
                  <a:pt x="11118844" y="3748548"/>
                </a:cubicBezTo>
                <a:cubicBezTo>
                  <a:pt x="11118844" y="3748548"/>
                  <a:pt x="11118844" y="3748548"/>
                  <a:pt x="11118844" y="3804977"/>
                </a:cubicBezTo>
                <a:cubicBezTo>
                  <a:pt x="11118844" y="3804977"/>
                  <a:pt x="11118844" y="3804977"/>
                  <a:pt x="11132662" y="3804977"/>
                </a:cubicBezTo>
                <a:cubicBezTo>
                  <a:pt x="11132662" y="3804977"/>
                  <a:pt x="11132662" y="3804977"/>
                  <a:pt x="11132662" y="3748548"/>
                </a:cubicBezTo>
                <a:cubicBezTo>
                  <a:pt x="11132662" y="3723860"/>
                  <a:pt x="11125753" y="3709753"/>
                  <a:pt x="11101569" y="3709753"/>
                </a:cubicBezTo>
                <a:cubicBezTo>
                  <a:pt x="11087750" y="3709753"/>
                  <a:pt x="11077385" y="3716807"/>
                  <a:pt x="11070476" y="3727387"/>
                </a:cubicBezTo>
                <a:cubicBezTo>
                  <a:pt x="11070476" y="3727387"/>
                  <a:pt x="11070476" y="3727387"/>
                  <a:pt x="11070476" y="3663904"/>
                </a:cubicBezTo>
                <a:cubicBezTo>
                  <a:pt x="11070476" y="3663904"/>
                  <a:pt x="11070476" y="3663904"/>
                  <a:pt x="11060111" y="3663904"/>
                </a:cubicBezTo>
                <a:close/>
                <a:moveTo>
                  <a:pt x="11638739" y="3639721"/>
                </a:moveTo>
                <a:cubicBezTo>
                  <a:pt x="11628222" y="3657342"/>
                  <a:pt x="11624716" y="3674963"/>
                  <a:pt x="11624716" y="3692584"/>
                </a:cubicBezTo>
                <a:cubicBezTo>
                  <a:pt x="11621210" y="3692584"/>
                  <a:pt x="11603681" y="3696108"/>
                  <a:pt x="11600176" y="3696108"/>
                </a:cubicBezTo>
                <a:cubicBezTo>
                  <a:pt x="11596669" y="3678487"/>
                  <a:pt x="11586152" y="3660866"/>
                  <a:pt x="11575635" y="3650294"/>
                </a:cubicBezTo>
                <a:cubicBezTo>
                  <a:pt x="11575635" y="3650294"/>
                  <a:pt x="11575635" y="3650294"/>
                  <a:pt x="11572129" y="3650294"/>
                </a:cubicBezTo>
                <a:cubicBezTo>
                  <a:pt x="11565117" y="3650294"/>
                  <a:pt x="11558106" y="3653818"/>
                  <a:pt x="11551094" y="3653818"/>
                </a:cubicBezTo>
                <a:cubicBezTo>
                  <a:pt x="11551094" y="3653818"/>
                  <a:pt x="11551094" y="3653818"/>
                  <a:pt x="11551094" y="3657342"/>
                </a:cubicBezTo>
                <a:cubicBezTo>
                  <a:pt x="11547588" y="3664391"/>
                  <a:pt x="11547588" y="3671439"/>
                  <a:pt x="11547588" y="3682011"/>
                </a:cubicBezTo>
                <a:cubicBezTo>
                  <a:pt x="11547588" y="3692584"/>
                  <a:pt x="11547588" y="3699632"/>
                  <a:pt x="11551094" y="3710205"/>
                </a:cubicBezTo>
                <a:cubicBezTo>
                  <a:pt x="11547588" y="3710205"/>
                  <a:pt x="11530059" y="3717253"/>
                  <a:pt x="11530059" y="3717253"/>
                </a:cubicBezTo>
                <a:cubicBezTo>
                  <a:pt x="11519542" y="3703156"/>
                  <a:pt x="11505518" y="3689060"/>
                  <a:pt x="11491495" y="3682011"/>
                </a:cubicBezTo>
                <a:cubicBezTo>
                  <a:pt x="11484484" y="3682011"/>
                  <a:pt x="11477472" y="3689060"/>
                  <a:pt x="11470460" y="3692584"/>
                </a:cubicBezTo>
                <a:cubicBezTo>
                  <a:pt x="11470460" y="3710205"/>
                  <a:pt x="11473966" y="3727826"/>
                  <a:pt x="11484484" y="3745446"/>
                </a:cubicBezTo>
                <a:cubicBezTo>
                  <a:pt x="11480978" y="3745446"/>
                  <a:pt x="11470460" y="3756019"/>
                  <a:pt x="11466954" y="3756019"/>
                </a:cubicBezTo>
                <a:cubicBezTo>
                  <a:pt x="11456437" y="3745446"/>
                  <a:pt x="11438908" y="3734874"/>
                  <a:pt x="11421379" y="3731350"/>
                </a:cubicBezTo>
                <a:cubicBezTo>
                  <a:pt x="11414367" y="3734874"/>
                  <a:pt x="11407356" y="3741922"/>
                  <a:pt x="11403850" y="3745446"/>
                </a:cubicBezTo>
                <a:cubicBezTo>
                  <a:pt x="11403850" y="3745446"/>
                  <a:pt x="11403850" y="3745446"/>
                  <a:pt x="11403850" y="3748970"/>
                </a:cubicBezTo>
                <a:cubicBezTo>
                  <a:pt x="11407356" y="3763068"/>
                  <a:pt x="11417873" y="3780688"/>
                  <a:pt x="11431896" y="3794785"/>
                </a:cubicBezTo>
                <a:cubicBezTo>
                  <a:pt x="11428390" y="3794785"/>
                  <a:pt x="11417873" y="3812406"/>
                  <a:pt x="11417873" y="3812406"/>
                </a:cubicBezTo>
                <a:cubicBezTo>
                  <a:pt x="11400344" y="3805357"/>
                  <a:pt x="11382815" y="3798309"/>
                  <a:pt x="11365286" y="3798309"/>
                </a:cubicBezTo>
                <a:cubicBezTo>
                  <a:pt x="11361780" y="3805357"/>
                  <a:pt x="11354768" y="3812406"/>
                  <a:pt x="11354768" y="3819454"/>
                </a:cubicBezTo>
                <a:cubicBezTo>
                  <a:pt x="11361780" y="3833551"/>
                  <a:pt x="11375803" y="3847647"/>
                  <a:pt x="11389827" y="3858221"/>
                </a:cubicBezTo>
                <a:cubicBezTo>
                  <a:pt x="11389827" y="3861745"/>
                  <a:pt x="11382815" y="3875841"/>
                  <a:pt x="11382815" y="3879365"/>
                </a:cubicBezTo>
                <a:cubicBezTo>
                  <a:pt x="11365286" y="3872317"/>
                  <a:pt x="11344251" y="3872317"/>
                  <a:pt x="11330228" y="3879365"/>
                </a:cubicBezTo>
                <a:cubicBezTo>
                  <a:pt x="11326722" y="3886414"/>
                  <a:pt x="11323216" y="3893462"/>
                  <a:pt x="11323216" y="3900510"/>
                </a:cubicBezTo>
                <a:cubicBezTo>
                  <a:pt x="11333733" y="3914607"/>
                  <a:pt x="11351262" y="3921655"/>
                  <a:pt x="11368791" y="3928704"/>
                </a:cubicBezTo>
                <a:cubicBezTo>
                  <a:pt x="11368791" y="3932228"/>
                  <a:pt x="11365286" y="3946324"/>
                  <a:pt x="11365286" y="3949848"/>
                </a:cubicBezTo>
                <a:cubicBezTo>
                  <a:pt x="11347757" y="3949848"/>
                  <a:pt x="11330228" y="3956897"/>
                  <a:pt x="11316205" y="3963946"/>
                </a:cubicBezTo>
                <a:cubicBezTo>
                  <a:pt x="11316205" y="3963946"/>
                  <a:pt x="11316205" y="3963946"/>
                  <a:pt x="11312698" y="3963946"/>
                </a:cubicBezTo>
                <a:cubicBezTo>
                  <a:pt x="11312698" y="3967470"/>
                  <a:pt x="11312698" y="3970994"/>
                  <a:pt x="11312698" y="3978042"/>
                </a:cubicBezTo>
                <a:cubicBezTo>
                  <a:pt x="11312698" y="3981566"/>
                  <a:pt x="11312698" y="3985090"/>
                  <a:pt x="11312698" y="3988615"/>
                </a:cubicBezTo>
                <a:cubicBezTo>
                  <a:pt x="11312698" y="3988615"/>
                  <a:pt x="11312698" y="3988615"/>
                  <a:pt x="11316205" y="3988615"/>
                </a:cubicBezTo>
                <a:cubicBezTo>
                  <a:pt x="11330228" y="3999188"/>
                  <a:pt x="11347757" y="4002712"/>
                  <a:pt x="11365286" y="4002712"/>
                </a:cubicBezTo>
                <a:cubicBezTo>
                  <a:pt x="11365286" y="4006236"/>
                  <a:pt x="11368791" y="4023857"/>
                  <a:pt x="11368791" y="4023857"/>
                </a:cubicBezTo>
                <a:cubicBezTo>
                  <a:pt x="11351262" y="4030905"/>
                  <a:pt x="11333733" y="4041477"/>
                  <a:pt x="11323216" y="4052050"/>
                </a:cubicBezTo>
                <a:cubicBezTo>
                  <a:pt x="11323216" y="4052050"/>
                  <a:pt x="11323216" y="4052050"/>
                  <a:pt x="11323216" y="4055574"/>
                </a:cubicBezTo>
                <a:cubicBezTo>
                  <a:pt x="11323216" y="4059099"/>
                  <a:pt x="11326722" y="4069671"/>
                  <a:pt x="11330228" y="4076719"/>
                </a:cubicBezTo>
                <a:cubicBezTo>
                  <a:pt x="11347757" y="4080243"/>
                  <a:pt x="11365286" y="4080243"/>
                  <a:pt x="11382815" y="4076719"/>
                </a:cubicBezTo>
                <a:cubicBezTo>
                  <a:pt x="11382815" y="4076719"/>
                  <a:pt x="11389827" y="4094340"/>
                  <a:pt x="11393332" y="4097865"/>
                </a:cubicBezTo>
                <a:cubicBezTo>
                  <a:pt x="11375803" y="4104913"/>
                  <a:pt x="11361780" y="4119009"/>
                  <a:pt x="11354768" y="4133106"/>
                </a:cubicBezTo>
                <a:cubicBezTo>
                  <a:pt x="11354768" y="4133106"/>
                  <a:pt x="11354768" y="4133106"/>
                  <a:pt x="11354768" y="4136630"/>
                </a:cubicBezTo>
                <a:cubicBezTo>
                  <a:pt x="11358274" y="4140154"/>
                  <a:pt x="11361780" y="4150727"/>
                  <a:pt x="11365286" y="4154251"/>
                </a:cubicBezTo>
                <a:cubicBezTo>
                  <a:pt x="11382815" y="4154251"/>
                  <a:pt x="11400344" y="4150727"/>
                  <a:pt x="11417873" y="4140154"/>
                </a:cubicBezTo>
                <a:cubicBezTo>
                  <a:pt x="11417873" y="4143679"/>
                  <a:pt x="11428390" y="4157775"/>
                  <a:pt x="11431896" y="4161300"/>
                </a:cubicBezTo>
                <a:cubicBezTo>
                  <a:pt x="11417873" y="4171872"/>
                  <a:pt x="11410861" y="4189492"/>
                  <a:pt x="11403850" y="4207114"/>
                </a:cubicBezTo>
                <a:cubicBezTo>
                  <a:pt x="11410861" y="4210638"/>
                  <a:pt x="11414367" y="4217686"/>
                  <a:pt x="11421379" y="4221210"/>
                </a:cubicBezTo>
                <a:cubicBezTo>
                  <a:pt x="11438908" y="4217686"/>
                  <a:pt x="11456437" y="4210638"/>
                  <a:pt x="11466954" y="4196542"/>
                </a:cubicBezTo>
                <a:cubicBezTo>
                  <a:pt x="11470460" y="4196542"/>
                  <a:pt x="11484484" y="4210638"/>
                  <a:pt x="11484484" y="4210638"/>
                </a:cubicBezTo>
                <a:cubicBezTo>
                  <a:pt x="11477472" y="4224734"/>
                  <a:pt x="11473966" y="4245880"/>
                  <a:pt x="11473966" y="4259976"/>
                </a:cubicBezTo>
                <a:cubicBezTo>
                  <a:pt x="11473966" y="4259976"/>
                  <a:pt x="11473966" y="4263501"/>
                  <a:pt x="11473966" y="4263501"/>
                </a:cubicBezTo>
                <a:cubicBezTo>
                  <a:pt x="11477472" y="4267025"/>
                  <a:pt x="11484484" y="4270549"/>
                  <a:pt x="11491495" y="4274073"/>
                </a:cubicBezTo>
                <a:cubicBezTo>
                  <a:pt x="11491495" y="4274073"/>
                  <a:pt x="11491495" y="4274073"/>
                  <a:pt x="11495001" y="4274073"/>
                </a:cubicBezTo>
                <a:cubicBezTo>
                  <a:pt x="11509024" y="4267025"/>
                  <a:pt x="11523047" y="4252928"/>
                  <a:pt x="11530059" y="4235307"/>
                </a:cubicBezTo>
                <a:cubicBezTo>
                  <a:pt x="11533564" y="4238831"/>
                  <a:pt x="11547588" y="4242356"/>
                  <a:pt x="11551094" y="4245880"/>
                </a:cubicBezTo>
                <a:cubicBezTo>
                  <a:pt x="11547588" y="4252928"/>
                  <a:pt x="11547588" y="4263501"/>
                  <a:pt x="11547588" y="4270549"/>
                </a:cubicBezTo>
                <a:cubicBezTo>
                  <a:pt x="11547588" y="4281121"/>
                  <a:pt x="11547588" y="4288170"/>
                  <a:pt x="11551094" y="4298743"/>
                </a:cubicBezTo>
                <a:cubicBezTo>
                  <a:pt x="11558106" y="4302267"/>
                  <a:pt x="11565117" y="4302267"/>
                  <a:pt x="11572129" y="4305791"/>
                </a:cubicBezTo>
                <a:cubicBezTo>
                  <a:pt x="11572129" y="4305791"/>
                  <a:pt x="11572129" y="4305791"/>
                  <a:pt x="11575635" y="4305791"/>
                </a:cubicBezTo>
                <a:cubicBezTo>
                  <a:pt x="11586152" y="4291694"/>
                  <a:pt x="11596669" y="4274073"/>
                  <a:pt x="11600176" y="4259976"/>
                </a:cubicBezTo>
                <a:cubicBezTo>
                  <a:pt x="11603681" y="4259976"/>
                  <a:pt x="11621210" y="4259976"/>
                  <a:pt x="11624716" y="4259976"/>
                </a:cubicBezTo>
                <a:cubicBezTo>
                  <a:pt x="11624716" y="4281121"/>
                  <a:pt x="11628222" y="4298743"/>
                  <a:pt x="11638739" y="4312839"/>
                </a:cubicBezTo>
                <a:cubicBezTo>
                  <a:pt x="11645751" y="4312839"/>
                  <a:pt x="11656268" y="4312839"/>
                  <a:pt x="11659774" y="4312839"/>
                </a:cubicBezTo>
                <a:cubicBezTo>
                  <a:pt x="11659774" y="4312839"/>
                  <a:pt x="11659774" y="4312839"/>
                  <a:pt x="11663280" y="4312839"/>
                </a:cubicBezTo>
                <a:cubicBezTo>
                  <a:pt x="11670291" y="4298743"/>
                  <a:pt x="11677303" y="4281121"/>
                  <a:pt x="11677303" y="4259976"/>
                </a:cubicBezTo>
                <a:cubicBezTo>
                  <a:pt x="11677303" y="4259976"/>
                  <a:pt x="11694832" y="4259976"/>
                  <a:pt x="11698339" y="4259976"/>
                </a:cubicBezTo>
                <a:cubicBezTo>
                  <a:pt x="11701844" y="4274073"/>
                  <a:pt x="11712361" y="4291694"/>
                  <a:pt x="11722879" y="4305791"/>
                </a:cubicBezTo>
                <a:cubicBezTo>
                  <a:pt x="11722879" y="4305791"/>
                  <a:pt x="11722879" y="4305791"/>
                  <a:pt x="11726385" y="4305791"/>
                </a:cubicBezTo>
                <a:cubicBezTo>
                  <a:pt x="11733396" y="4302267"/>
                  <a:pt x="11740408" y="4302267"/>
                  <a:pt x="11747420" y="4298743"/>
                </a:cubicBezTo>
                <a:cubicBezTo>
                  <a:pt x="11750925" y="4288170"/>
                  <a:pt x="11750925" y="4281121"/>
                  <a:pt x="11750925" y="4270549"/>
                </a:cubicBezTo>
                <a:cubicBezTo>
                  <a:pt x="11750925" y="4263501"/>
                  <a:pt x="11750925" y="4252928"/>
                  <a:pt x="11747420" y="4245880"/>
                </a:cubicBezTo>
                <a:cubicBezTo>
                  <a:pt x="11750925" y="4242356"/>
                  <a:pt x="11764949" y="4235307"/>
                  <a:pt x="11768454" y="4235307"/>
                </a:cubicBezTo>
                <a:cubicBezTo>
                  <a:pt x="11778972" y="4252928"/>
                  <a:pt x="11789490" y="4263501"/>
                  <a:pt x="11807019" y="4274073"/>
                </a:cubicBezTo>
                <a:cubicBezTo>
                  <a:pt x="11814030" y="4270549"/>
                  <a:pt x="11821042" y="4267025"/>
                  <a:pt x="11824547" y="4263501"/>
                </a:cubicBezTo>
                <a:cubicBezTo>
                  <a:pt x="11824547" y="4263501"/>
                  <a:pt x="11824547" y="4263501"/>
                  <a:pt x="11828054" y="4263501"/>
                </a:cubicBezTo>
                <a:cubicBezTo>
                  <a:pt x="11828054" y="4263501"/>
                  <a:pt x="11828054" y="4259976"/>
                  <a:pt x="11828054" y="4259976"/>
                </a:cubicBezTo>
                <a:cubicBezTo>
                  <a:pt x="11828054" y="4242356"/>
                  <a:pt x="11821042" y="4224734"/>
                  <a:pt x="11814030" y="4210638"/>
                </a:cubicBezTo>
                <a:cubicBezTo>
                  <a:pt x="11814030" y="4207114"/>
                  <a:pt x="11828054" y="4196542"/>
                  <a:pt x="11831559" y="4196542"/>
                </a:cubicBezTo>
                <a:cubicBezTo>
                  <a:pt x="11842076" y="4207114"/>
                  <a:pt x="11859606" y="4217686"/>
                  <a:pt x="11877135" y="4221210"/>
                </a:cubicBezTo>
                <a:cubicBezTo>
                  <a:pt x="11884146" y="4217686"/>
                  <a:pt x="11891158" y="4210638"/>
                  <a:pt x="11894664" y="4207114"/>
                </a:cubicBezTo>
                <a:cubicBezTo>
                  <a:pt x="11894664" y="4207114"/>
                  <a:pt x="11894664" y="4207114"/>
                  <a:pt x="11894664" y="4203590"/>
                </a:cubicBezTo>
                <a:cubicBezTo>
                  <a:pt x="11891158" y="4189492"/>
                  <a:pt x="11880641" y="4171872"/>
                  <a:pt x="11866617" y="4157775"/>
                </a:cubicBezTo>
                <a:cubicBezTo>
                  <a:pt x="11870123" y="4157775"/>
                  <a:pt x="11880641" y="4143679"/>
                  <a:pt x="11880641" y="4140154"/>
                </a:cubicBezTo>
                <a:cubicBezTo>
                  <a:pt x="11898170" y="4150727"/>
                  <a:pt x="11915699" y="4154251"/>
                  <a:pt x="11933228" y="4154251"/>
                </a:cubicBezTo>
                <a:cubicBezTo>
                  <a:pt x="11936734" y="4147203"/>
                  <a:pt x="11940239" y="4140154"/>
                  <a:pt x="11943746" y="4136630"/>
                </a:cubicBezTo>
                <a:cubicBezTo>
                  <a:pt x="11943746" y="4136630"/>
                  <a:pt x="11943746" y="4136630"/>
                  <a:pt x="11943746" y="4133106"/>
                </a:cubicBezTo>
                <a:cubicBezTo>
                  <a:pt x="11936734" y="4119009"/>
                  <a:pt x="11922710" y="4104913"/>
                  <a:pt x="11908688" y="4094340"/>
                </a:cubicBezTo>
                <a:cubicBezTo>
                  <a:pt x="11908688" y="4094340"/>
                  <a:pt x="11915699" y="4076719"/>
                  <a:pt x="11915699" y="4076719"/>
                </a:cubicBezTo>
                <a:cubicBezTo>
                  <a:pt x="11933228" y="4080243"/>
                  <a:pt x="11950757" y="4080243"/>
                  <a:pt x="11968286" y="4076719"/>
                </a:cubicBezTo>
                <a:cubicBezTo>
                  <a:pt x="11968286" y="4076719"/>
                  <a:pt x="11968286" y="4076719"/>
                  <a:pt x="11968286" y="4073195"/>
                </a:cubicBezTo>
                <a:cubicBezTo>
                  <a:pt x="11971792" y="4069671"/>
                  <a:pt x="11975298" y="4059099"/>
                  <a:pt x="11975298" y="4052050"/>
                </a:cubicBezTo>
                <a:cubicBezTo>
                  <a:pt x="11961275" y="4037953"/>
                  <a:pt x="11947251" y="4030905"/>
                  <a:pt x="11929722" y="4023857"/>
                </a:cubicBezTo>
                <a:cubicBezTo>
                  <a:pt x="11929722" y="4023857"/>
                  <a:pt x="11929722" y="4006236"/>
                  <a:pt x="11933228" y="4002712"/>
                </a:cubicBezTo>
                <a:cubicBezTo>
                  <a:pt x="11950757" y="4002712"/>
                  <a:pt x="11968286" y="3999188"/>
                  <a:pt x="11982310" y="3988615"/>
                </a:cubicBezTo>
                <a:cubicBezTo>
                  <a:pt x="11985815" y="3985090"/>
                  <a:pt x="11985815" y="3981566"/>
                  <a:pt x="11985815" y="3978042"/>
                </a:cubicBezTo>
                <a:cubicBezTo>
                  <a:pt x="11985815" y="3974518"/>
                  <a:pt x="11985815" y="3970994"/>
                  <a:pt x="11982310" y="3967470"/>
                </a:cubicBezTo>
                <a:cubicBezTo>
                  <a:pt x="11982310" y="3967470"/>
                  <a:pt x="11982310" y="3967470"/>
                  <a:pt x="11982310" y="3963946"/>
                </a:cubicBezTo>
                <a:cubicBezTo>
                  <a:pt x="11968286" y="3956897"/>
                  <a:pt x="11950757" y="3949848"/>
                  <a:pt x="11933228" y="3949848"/>
                </a:cubicBezTo>
                <a:cubicBezTo>
                  <a:pt x="11933228" y="3949848"/>
                  <a:pt x="11929722" y="3932228"/>
                  <a:pt x="11929722" y="3928704"/>
                </a:cubicBezTo>
                <a:cubicBezTo>
                  <a:pt x="11947251" y="3925180"/>
                  <a:pt x="11964780" y="3914607"/>
                  <a:pt x="11975298" y="3904035"/>
                </a:cubicBezTo>
                <a:cubicBezTo>
                  <a:pt x="11975298" y="3904035"/>
                  <a:pt x="11975298" y="3904035"/>
                  <a:pt x="11975298" y="3900510"/>
                </a:cubicBezTo>
                <a:cubicBezTo>
                  <a:pt x="11975298" y="3893462"/>
                  <a:pt x="11971792" y="3886414"/>
                  <a:pt x="11968286" y="3879365"/>
                </a:cubicBezTo>
                <a:cubicBezTo>
                  <a:pt x="11950757" y="3875841"/>
                  <a:pt x="11933228" y="3875841"/>
                  <a:pt x="11915699" y="3879365"/>
                </a:cubicBezTo>
                <a:cubicBezTo>
                  <a:pt x="11915699" y="3875841"/>
                  <a:pt x="11908688" y="3861745"/>
                  <a:pt x="11908688" y="3858221"/>
                </a:cubicBezTo>
                <a:cubicBezTo>
                  <a:pt x="11922710" y="3847647"/>
                  <a:pt x="11936734" y="3837075"/>
                  <a:pt x="11943746" y="3819454"/>
                </a:cubicBezTo>
                <a:cubicBezTo>
                  <a:pt x="11943746" y="3812406"/>
                  <a:pt x="11936734" y="3805357"/>
                  <a:pt x="11933228" y="3801833"/>
                </a:cubicBezTo>
                <a:cubicBezTo>
                  <a:pt x="11933228" y="3801833"/>
                  <a:pt x="11933228" y="3801833"/>
                  <a:pt x="11933228" y="3798309"/>
                </a:cubicBezTo>
                <a:cubicBezTo>
                  <a:pt x="11915699" y="3798309"/>
                  <a:pt x="11898170" y="3805357"/>
                  <a:pt x="11880641" y="3812406"/>
                </a:cubicBezTo>
                <a:cubicBezTo>
                  <a:pt x="11880641" y="3812406"/>
                  <a:pt x="11870123" y="3798309"/>
                  <a:pt x="11866617" y="3794785"/>
                </a:cubicBezTo>
                <a:cubicBezTo>
                  <a:pt x="11880641" y="3780688"/>
                  <a:pt x="11891158" y="3766592"/>
                  <a:pt x="11894664" y="3748970"/>
                </a:cubicBezTo>
                <a:cubicBezTo>
                  <a:pt x="11891158" y="3741922"/>
                  <a:pt x="11884146" y="3734874"/>
                  <a:pt x="11877135" y="3731350"/>
                </a:cubicBezTo>
                <a:cubicBezTo>
                  <a:pt x="11859606" y="3734874"/>
                  <a:pt x="11845583" y="3745446"/>
                  <a:pt x="11831559" y="3759544"/>
                </a:cubicBezTo>
                <a:cubicBezTo>
                  <a:pt x="11828054" y="3756019"/>
                  <a:pt x="11814030" y="3745446"/>
                  <a:pt x="11814030" y="3745446"/>
                </a:cubicBezTo>
                <a:cubicBezTo>
                  <a:pt x="11821042" y="3727826"/>
                  <a:pt x="11828054" y="3710205"/>
                  <a:pt x="11828054" y="3692584"/>
                </a:cubicBezTo>
                <a:cubicBezTo>
                  <a:pt x="11821042" y="3689060"/>
                  <a:pt x="11814030" y="3682011"/>
                  <a:pt x="11807019" y="3682011"/>
                </a:cubicBezTo>
                <a:cubicBezTo>
                  <a:pt x="11792995" y="3689060"/>
                  <a:pt x="11778972" y="3703156"/>
                  <a:pt x="11768454" y="3717253"/>
                </a:cubicBezTo>
                <a:cubicBezTo>
                  <a:pt x="11764949" y="3717253"/>
                  <a:pt x="11750925" y="3710205"/>
                  <a:pt x="11747420" y="3710205"/>
                </a:cubicBezTo>
                <a:cubicBezTo>
                  <a:pt x="11750925" y="3699632"/>
                  <a:pt x="11750925" y="3692584"/>
                  <a:pt x="11750925" y="3682011"/>
                </a:cubicBezTo>
                <a:cubicBezTo>
                  <a:pt x="11750925" y="3671439"/>
                  <a:pt x="11750925" y="3664391"/>
                  <a:pt x="11747420" y="3657342"/>
                </a:cubicBezTo>
                <a:cubicBezTo>
                  <a:pt x="11747420" y="3657342"/>
                  <a:pt x="11747420" y="3657342"/>
                  <a:pt x="11747420" y="3653818"/>
                </a:cubicBezTo>
                <a:cubicBezTo>
                  <a:pt x="11740408" y="3653818"/>
                  <a:pt x="11733396" y="3650294"/>
                  <a:pt x="11726385" y="3650294"/>
                </a:cubicBezTo>
                <a:cubicBezTo>
                  <a:pt x="11726385" y="3650294"/>
                  <a:pt x="11726385" y="3650294"/>
                  <a:pt x="11722879" y="3650294"/>
                </a:cubicBezTo>
                <a:cubicBezTo>
                  <a:pt x="11712361" y="3660866"/>
                  <a:pt x="11701844" y="3678487"/>
                  <a:pt x="11698339" y="3696108"/>
                </a:cubicBezTo>
                <a:cubicBezTo>
                  <a:pt x="11694832" y="3696108"/>
                  <a:pt x="11677303" y="3692584"/>
                  <a:pt x="11673798" y="3692584"/>
                </a:cubicBezTo>
                <a:cubicBezTo>
                  <a:pt x="11673798" y="3674963"/>
                  <a:pt x="11670291" y="3657342"/>
                  <a:pt x="11659774" y="3639721"/>
                </a:cubicBezTo>
                <a:cubicBezTo>
                  <a:pt x="11652763" y="3639721"/>
                  <a:pt x="11645751" y="3639721"/>
                  <a:pt x="11638739" y="3639721"/>
                </a:cubicBezTo>
                <a:close/>
                <a:moveTo>
                  <a:pt x="0" y="0"/>
                </a:moveTo>
                <a:lnTo>
                  <a:pt x="12192000" y="0"/>
                </a:lnTo>
                <a:lnTo>
                  <a:pt x="12192000" y="4454665"/>
                </a:lnTo>
                <a:lnTo>
                  <a:pt x="0" y="4454665"/>
                </a:lnTo>
                <a:close/>
              </a:path>
            </a:pathLst>
          </a:custGeom>
          <a:solidFill>
            <a:srgbClr val="01B0E3">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p>
            <a:pPr lvl="0" indent="-171450">
              <a:lnSpc>
                <a:spcPct val="90000"/>
              </a:lnSpc>
              <a:spcBef>
                <a:spcPts val="750"/>
              </a:spcBef>
              <a:buFont typeface="Arial" panose="020B0604020202020204" pitchFamily="34" charset="0"/>
              <a:buChar char="•"/>
            </a:pPr>
            <a:r>
              <a:rPr lang="en-US" sz="1800" dirty="0">
                <a:solidFill>
                  <a:schemeClr val="bg1">
                    <a:alpha val="0"/>
                  </a:schemeClr>
                </a:solidFill>
              </a:rPr>
              <a:t>z</a:t>
            </a:r>
          </a:p>
        </p:txBody>
      </p:sp>
    </p:spTree>
    <p:extLst>
      <p:ext uri="{BB962C8B-B14F-4D97-AF65-F5344CB8AC3E}">
        <p14:creationId xmlns:p14="http://schemas.microsoft.com/office/powerpoint/2010/main" val="13507555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3B5555C6-768D-4D30-811A-F66CBE74CEF0}"/>
              </a:ext>
            </a:extLst>
          </p:cNvPr>
          <p:cNvSpPr>
            <a:spLocks noGrp="1"/>
          </p:cNvSpPr>
          <p:nvPr>
            <p:ph type="pic" sz="quarter" idx="13"/>
          </p:nvPr>
        </p:nvSpPr>
        <p:spPr>
          <a:xfrm>
            <a:off x="0" y="0"/>
            <a:ext cx="12192000" cy="5494638"/>
          </a:xfrm>
          <a:prstGeom prst="rect">
            <a:avLst/>
          </a:prstGeom>
        </p:spPr>
        <p:txBody>
          <a:bodyPr wrap="square">
            <a:noAutofit/>
          </a:bodyPr>
          <a:lstStyle/>
          <a:p>
            <a:endParaRPr lang="en-US" dirty="0"/>
          </a:p>
        </p:txBody>
      </p:sp>
      <p:sp>
        <p:nvSpPr>
          <p:cNvPr id="24" name="Rectangle 23">
            <a:extLst>
              <a:ext uri="{FF2B5EF4-FFF2-40B4-BE49-F238E27FC236}">
                <a16:creationId xmlns:a16="http://schemas.microsoft.com/office/drawing/2014/main" id="{109702C4-ABB0-4FA9-AC7F-FD0C1056D0BB}"/>
              </a:ext>
            </a:extLst>
          </p:cNvPr>
          <p:cNvSpPr/>
          <p:nvPr userDrawn="1"/>
        </p:nvSpPr>
        <p:spPr>
          <a:xfrm>
            <a:off x="0" y="0"/>
            <a:ext cx="12192000" cy="5494638"/>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5740" rtlCol="0" anchor="b"/>
          <a:lstStyle/>
          <a:p>
            <a:pPr algn="l"/>
            <a:r>
              <a:rPr lang="en-US" sz="1800" dirty="0">
                <a:solidFill>
                  <a:schemeClr val="lt1">
                    <a:alpha val="0"/>
                  </a:schemeClr>
                </a:solidFill>
              </a:rPr>
              <a:t>z</a:t>
            </a:r>
          </a:p>
        </p:txBody>
      </p:sp>
      <p:sp>
        <p:nvSpPr>
          <p:cNvPr id="27" name="Rectangle 26">
            <a:extLst>
              <a:ext uri="{FF2B5EF4-FFF2-40B4-BE49-F238E27FC236}">
                <a16:creationId xmlns:a16="http://schemas.microsoft.com/office/drawing/2014/main" id="{6D468973-885C-4EB1-BD5B-E7545B32CF5C}"/>
              </a:ext>
            </a:extLst>
          </p:cNvPr>
          <p:cNvSpPr/>
          <p:nvPr userDrawn="1"/>
        </p:nvSpPr>
        <p:spPr>
          <a:xfrm>
            <a:off x="0" y="5486400"/>
            <a:ext cx="12192000" cy="1371600"/>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3" name="Text Placeholder 11">
            <a:extLst>
              <a:ext uri="{FF2B5EF4-FFF2-40B4-BE49-F238E27FC236}">
                <a16:creationId xmlns:a16="http://schemas.microsoft.com/office/drawing/2014/main" id="{9D3472EC-3332-4840-B3B3-3F529B60B0CF}"/>
              </a:ext>
            </a:extLst>
          </p:cNvPr>
          <p:cNvSpPr>
            <a:spLocks noGrp="1"/>
          </p:cNvSpPr>
          <p:nvPr>
            <p:ph type="body" sz="quarter" idx="14" hasCustomPrompt="1"/>
          </p:nvPr>
        </p:nvSpPr>
        <p:spPr>
          <a:xfrm>
            <a:off x="321047" y="5528372"/>
            <a:ext cx="9733039" cy="635000"/>
          </a:xfrm>
        </p:spPr>
        <p:txBody>
          <a:bodyPr>
            <a:normAutofit/>
          </a:bodyPr>
          <a:lstStyle>
            <a:lvl1pPr marL="0" indent="0" algn="l">
              <a:buNone/>
              <a:defRPr sz="3300" b="1" cap="all" baseline="0">
                <a:solidFill>
                  <a:srgbClr val="01B0E3"/>
                </a:solidFill>
                <a:latin typeface="Arial Narrow" panose="020B0606020202030204" pitchFamily="34" charset="0"/>
              </a:defRPr>
            </a:lvl1pPr>
            <a:lvl2pPr marL="0" indent="0" algn="ctr">
              <a:buNone/>
              <a:defRPr sz="1500">
                <a:solidFill>
                  <a:schemeClr val="bg1"/>
                </a:solidFill>
              </a:defRPr>
            </a:lvl2pPr>
            <a:lvl3pPr>
              <a:defRPr sz="1350"/>
            </a:lvl3pPr>
            <a:lvl4pPr>
              <a:defRPr sz="1200"/>
            </a:lvl4pPr>
            <a:lvl5pPr>
              <a:defRPr sz="12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296334" y="6289916"/>
            <a:ext cx="9733039" cy="465667"/>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8" name="TextBox 7" hidden="1">
            <a:extLst>
              <a:ext uri="{FF2B5EF4-FFF2-40B4-BE49-F238E27FC236}">
                <a16:creationId xmlns:a16="http://schemas.microsoft.com/office/drawing/2014/main" id="{14C5DF7C-5C7E-463F-BC2C-54928278EB71}"/>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
        <p:nvSpPr>
          <p:cNvPr id="10" name="Freeform: Shape 9">
            <a:extLst>
              <a:ext uri="{FF2B5EF4-FFF2-40B4-BE49-F238E27FC236}">
                <a16:creationId xmlns:a16="http://schemas.microsoft.com/office/drawing/2014/main" id="{DC8C9AA1-7FD7-448C-922E-18DCDB044640}"/>
              </a:ext>
            </a:extLst>
          </p:cNvPr>
          <p:cNvSpPr/>
          <p:nvPr userDrawn="1"/>
        </p:nvSpPr>
        <p:spPr>
          <a:xfrm>
            <a:off x="10196211" y="6043056"/>
            <a:ext cx="1789604" cy="677148"/>
          </a:xfrm>
          <a:custGeom>
            <a:avLst/>
            <a:gdLst>
              <a:gd name="connsiteX0" fmla="*/ 2068305 w 2114552"/>
              <a:gd name="connsiteY0" fmla="*/ 749732 h 800100"/>
              <a:gd name="connsiteX1" fmla="*/ 2068305 w 2114552"/>
              <a:gd name="connsiteY1" fmla="*/ 761609 h 800100"/>
              <a:gd name="connsiteX2" fmla="*/ 2076013 w 2114552"/>
              <a:gd name="connsiteY2" fmla="*/ 761609 h 800100"/>
              <a:gd name="connsiteX3" fmla="*/ 2083551 w 2114552"/>
              <a:gd name="connsiteY3" fmla="*/ 759961 h 800100"/>
              <a:gd name="connsiteX4" fmla="*/ 2085563 w 2114552"/>
              <a:gd name="connsiteY4" fmla="*/ 755598 h 800100"/>
              <a:gd name="connsiteX5" fmla="*/ 2084594 w 2114552"/>
              <a:gd name="connsiteY5" fmla="*/ 752471 h 800100"/>
              <a:gd name="connsiteX6" fmla="*/ 2081903 w 2114552"/>
              <a:gd name="connsiteY6" fmla="*/ 750411 h 800100"/>
              <a:gd name="connsiteX7" fmla="*/ 2075528 w 2114552"/>
              <a:gd name="connsiteY7" fmla="*/ 749732 h 800100"/>
              <a:gd name="connsiteX8" fmla="*/ 2061954 w 2114552"/>
              <a:gd name="connsiteY8" fmla="*/ 744400 h 800100"/>
              <a:gd name="connsiteX9" fmla="*/ 2075480 w 2114552"/>
              <a:gd name="connsiteY9" fmla="*/ 744400 h 800100"/>
              <a:gd name="connsiteX10" fmla="*/ 2085514 w 2114552"/>
              <a:gd name="connsiteY10" fmla="*/ 745491 h 800100"/>
              <a:gd name="connsiteX11" fmla="*/ 2090459 w 2114552"/>
              <a:gd name="connsiteY11" fmla="*/ 749296 h 800100"/>
              <a:gd name="connsiteX12" fmla="*/ 2092301 w 2114552"/>
              <a:gd name="connsiteY12" fmla="*/ 755065 h 800100"/>
              <a:gd name="connsiteX13" fmla="*/ 2089223 w 2114552"/>
              <a:gd name="connsiteY13" fmla="*/ 762579 h 800100"/>
              <a:gd name="connsiteX14" fmla="*/ 2081055 w 2114552"/>
              <a:gd name="connsiteY14" fmla="*/ 766166 h 800100"/>
              <a:gd name="connsiteX15" fmla="*/ 2084400 w 2114552"/>
              <a:gd name="connsiteY15" fmla="*/ 768251 h 800100"/>
              <a:gd name="connsiteX16" fmla="*/ 2090217 w 2114552"/>
              <a:gd name="connsiteY16" fmla="*/ 776055 h 800100"/>
              <a:gd name="connsiteX17" fmla="*/ 2095016 w 2114552"/>
              <a:gd name="connsiteY17" fmla="*/ 783763 h 800100"/>
              <a:gd name="connsiteX18" fmla="*/ 2087260 w 2114552"/>
              <a:gd name="connsiteY18" fmla="*/ 783763 h 800100"/>
              <a:gd name="connsiteX19" fmla="*/ 2083769 w 2114552"/>
              <a:gd name="connsiteY19" fmla="*/ 777558 h 800100"/>
              <a:gd name="connsiteX20" fmla="*/ 2077128 w 2114552"/>
              <a:gd name="connsiteY20" fmla="*/ 768396 h 800100"/>
              <a:gd name="connsiteX21" fmla="*/ 2072038 w 2114552"/>
              <a:gd name="connsiteY21" fmla="*/ 767039 h 800100"/>
              <a:gd name="connsiteX22" fmla="*/ 2068305 w 2114552"/>
              <a:gd name="connsiteY22" fmla="*/ 767039 h 800100"/>
              <a:gd name="connsiteX23" fmla="*/ 2068305 w 2114552"/>
              <a:gd name="connsiteY23" fmla="*/ 783763 h 800100"/>
              <a:gd name="connsiteX24" fmla="*/ 2061954 w 2114552"/>
              <a:gd name="connsiteY24" fmla="*/ 783763 h 800100"/>
              <a:gd name="connsiteX25" fmla="*/ 834048 w 2114552"/>
              <a:gd name="connsiteY25" fmla="*/ 741362 h 800100"/>
              <a:gd name="connsiteX26" fmla="*/ 784225 w 2114552"/>
              <a:gd name="connsiteY26" fmla="*/ 766474 h 800100"/>
              <a:gd name="connsiteX27" fmla="*/ 804985 w 2114552"/>
              <a:gd name="connsiteY27" fmla="*/ 787400 h 800100"/>
              <a:gd name="connsiteX28" fmla="*/ 838200 w 2114552"/>
              <a:gd name="connsiteY28" fmla="*/ 745547 h 800100"/>
              <a:gd name="connsiteX29" fmla="*/ 838200 w 2114552"/>
              <a:gd name="connsiteY29" fmla="*/ 741362 h 800100"/>
              <a:gd name="connsiteX30" fmla="*/ 834048 w 2114552"/>
              <a:gd name="connsiteY30" fmla="*/ 741362 h 800100"/>
              <a:gd name="connsiteX31" fmla="*/ 2078001 w 2114552"/>
              <a:gd name="connsiteY31" fmla="*/ 733008 h 800100"/>
              <a:gd name="connsiteX32" fmla="*/ 2062997 w 2114552"/>
              <a:gd name="connsiteY32" fmla="*/ 736959 h 800100"/>
              <a:gd name="connsiteX33" fmla="*/ 2051581 w 2114552"/>
              <a:gd name="connsiteY33" fmla="*/ 748254 h 800100"/>
              <a:gd name="connsiteX34" fmla="*/ 2047460 w 2114552"/>
              <a:gd name="connsiteY34" fmla="*/ 763548 h 800100"/>
              <a:gd name="connsiteX35" fmla="*/ 2051508 w 2114552"/>
              <a:gd name="connsiteY35" fmla="*/ 778697 h 800100"/>
              <a:gd name="connsiteX36" fmla="*/ 2062827 w 2114552"/>
              <a:gd name="connsiteY36" fmla="*/ 789993 h 800100"/>
              <a:gd name="connsiteX37" fmla="*/ 2078001 w 2114552"/>
              <a:gd name="connsiteY37" fmla="*/ 794041 h 800100"/>
              <a:gd name="connsiteX38" fmla="*/ 2093174 w 2114552"/>
              <a:gd name="connsiteY38" fmla="*/ 789993 h 800100"/>
              <a:gd name="connsiteX39" fmla="*/ 2104469 w 2114552"/>
              <a:gd name="connsiteY39" fmla="*/ 778697 h 800100"/>
              <a:gd name="connsiteX40" fmla="*/ 2108493 w 2114552"/>
              <a:gd name="connsiteY40" fmla="*/ 763548 h 800100"/>
              <a:gd name="connsiteX41" fmla="*/ 2104397 w 2114552"/>
              <a:gd name="connsiteY41" fmla="*/ 748254 h 800100"/>
              <a:gd name="connsiteX42" fmla="*/ 2092980 w 2114552"/>
              <a:gd name="connsiteY42" fmla="*/ 736959 h 800100"/>
              <a:gd name="connsiteX43" fmla="*/ 2078001 w 2114552"/>
              <a:gd name="connsiteY43" fmla="*/ 733008 h 800100"/>
              <a:gd name="connsiteX44" fmla="*/ 2078001 w 2114552"/>
              <a:gd name="connsiteY44" fmla="*/ 726948 h 800100"/>
              <a:gd name="connsiteX45" fmla="*/ 2095985 w 2114552"/>
              <a:gd name="connsiteY45" fmla="*/ 731675 h 800100"/>
              <a:gd name="connsiteX46" fmla="*/ 2109656 w 2114552"/>
              <a:gd name="connsiteY46" fmla="*/ 745200 h 800100"/>
              <a:gd name="connsiteX47" fmla="*/ 2114552 w 2114552"/>
              <a:gd name="connsiteY47" fmla="*/ 763548 h 800100"/>
              <a:gd name="connsiteX48" fmla="*/ 2109729 w 2114552"/>
              <a:gd name="connsiteY48" fmla="*/ 781727 h 800100"/>
              <a:gd name="connsiteX49" fmla="*/ 2096204 w 2114552"/>
              <a:gd name="connsiteY49" fmla="*/ 795277 h 800100"/>
              <a:gd name="connsiteX50" fmla="*/ 2078001 w 2114552"/>
              <a:gd name="connsiteY50" fmla="*/ 800100 h 800100"/>
              <a:gd name="connsiteX51" fmla="*/ 2059797 w 2114552"/>
              <a:gd name="connsiteY51" fmla="*/ 795277 h 800100"/>
              <a:gd name="connsiteX52" fmla="*/ 2046248 w 2114552"/>
              <a:gd name="connsiteY52" fmla="*/ 781727 h 800100"/>
              <a:gd name="connsiteX53" fmla="*/ 2041400 w 2114552"/>
              <a:gd name="connsiteY53" fmla="*/ 763548 h 800100"/>
              <a:gd name="connsiteX54" fmla="*/ 2046321 w 2114552"/>
              <a:gd name="connsiteY54" fmla="*/ 745200 h 800100"/>
              <a:gd name="connsiteX55" fmla="*/ 2060016 w 2114552"/>
              <a:gd name="connsiteY55" fmla="*/ 731675 h 800100"/>
              <a:gd name="connsiteX56" fmla="*/ 2078001 w 2114552"/>
              <a:gd name="connsiteY56" fmla="*/ 726948 h 800100"/>
              <a:gd name="connsiteX57" fmla="*/ 1058070 w 2114552"/>
              <a:gd name="connsiteY57" fmla="*/ 692149 h 800100"/>
              <a:gd name="connsiteX58" fmla="*/ 1020763 w 2114552"/>
              <a:gd name="connsiteY58" fmla="*/ 739774 h 800100"/>
              <a:gd name="connsiteX59" fmla="*/ 1058070 w 2114552"/>
              <a:gd name="connsiteY59" fmla="*/ 787399 h 800100"/>
              <a:gd name="connsiteX60" fmla="*/ 1095377 w 2114552"/>
              <a:gd name="connsiteY60" fmla="*/ 739774 h 800100"/>
              <a:gd name="connsiteX61" fmla="*/ 1058070 w 2114552"/>
              <a:gd name="connsiteY61" fmla="*/ 692149 h 800100"/>
              <a:gd name="connsiteX62" fmla="*/ 692151 w 2114552"/>
              <a:gd name="connsiteY62" fmla="*/ 692149 h 800100"/>
              <a:gd name="connsiteX63" fmla="*/ 658813 w 2114552"/>
              <a:gd name="connsiteY63" fmla="*/ 739774 h 800100"/>
              <a:gd name="connsiteX64" fmla="*/ 692151 w 2114552"/>
              <a:gd name="connsiteY64" fmla="*/ 787399 h 800100"/>
              <a:gd name="connsiteX65" fmla="*/ 725489 w 2114552"/>
              <a:gd name="connsiteY65" fmla="*/ 739774 h 800100"/>
              <a:gd name="connsiteX66" fmla="*/ 692151 w 2114552"/>
              <a:gd name="connsiteY66" fmla="*/ 692149 h 800100"/>
              <a:gd name="connsiteX67" fmla="*/ 323056 w 2114552"/>
              <a:gd name="connsiteY67" fmla="*/ 692149 h 800100"/>
              <a:gd name="connsiteX68" fmla="*/ 285749 w 2114552"/>
              <a:gd name="connsiteY68" fmla="*/ 739774 h 800100"/>
              <a:gd name="connsiteX69" fmla="*/ 323056 w 2114552"/>
              <a:gd name="connsiteY69" fmla="*/ 787399 h 800100"/>
              <a:gd name="connsiteX70" fmla="*/ 360363 w 2114552"/>
              <a:gd name="connsiteY70" fmla="*/ 739774 h 800100"/>
              <a:gd name="connsiteX71" fmla="*/ 323056 w 2114552"/>
              <a:gd name="connsiteY71" fmla="*/ 692149 h 800100"/>
              <a:gd name="connsiteX72" fmla="*/ 966943 w 2114552"/>
              <a:gd name="connsiteY72" fmla="*/ 685949 h 800100"/>
              <a:gd name="connsiteX73" fmla="*/ 981464 w 2114552"/>
              <a:gd name="connsiteY73" fmla="*/ 685949 h 800100"/>
              <a:gd name="connsiteX74" fmla="*/ 981464 w 2114552"/>
              <a:gd name="connsiteY74" fmla="*/ 799333 h 800100"/>
              <a:gd name="connsiteX75" fmla="*/ 966943 w 2114552"/>
              <a:gd name="connsiteY75" fmla="*/ 799333 h 800100"/>
              <a:gd name="connsiteX76" fmla="*/ 1136650 w 2114552"/>
              <a:gd name="connsiteY76" fmla="*/ 684212 h 800100"/>
              <a:gd name="connsiteX77" fmla="*/ 1148897 w 2114552"/>
              <a:gd name="connsiteY77" fmla="*/ 684212 h 800100"/>
              <a:gd name="connsiteX78" fmla="*/ 1148897 w 2114552"/>
              <a:gd name="connsiteY78" fmla="*/ 704791 h 800100"/>
              <a:gd name="connsiteX79" fmla="*/ 1185636 w 2114552"/>
              <a:gd name="connsiteY79" fmla="*/ 684212 h 800100"/>
              <a:gd name="connsiteX80" fmla="*/ 1222375 w 2114552"/>
              <a:gd name="connsiteY80" fmla="*/ 725369 h 800100"/>
              <a:gd name="connsiteX81" fmla="*/ 1222375 w 2114552"/>
              <a:gd name="connsiteY81" fmla="*/ 795337 h 800100"/>
              <a:gd name="connsiteX82" fmla="*/ 1210129 w 2114552"/>
              <a:gd name="connsiteY82" fmla="*/ 795337 h 800100"/>
              <a:gd name="connsiteX83" fmla="*/ 1210129 w 2114552"/>
              <a:gd name="connsiteY83" fmla="*/ 729485 h 800100"/>
              <a:gd name="connsiteX84" fmla="*/ 1185636 w 2114552"/>
              <a:gd name="connsiteY84" fmla="*/ 692443 h 800100"/>
              <a:gd name="connsiteX85" fmla="*/ 1152979 w 2114552"/>
              <a:gd name="connsiteY85" fmla="*/ 733601 h 800100"/>
              <a:gd name="connsiteX86" fmla="*/ 1152979 w 2114552"/>
              <a:gd name="connsiteY86" fmla="*/ 795337 h 800100"/>
              <a:gd name="connsiteX87" fmla="*/ 1136650 w 2114552"/>
              <a:gd name="connsiteY87" fmla="*/ 795337 h 800100"/>
              <a:gd name="connsiteX88" fmla="*/ 1136650 w 2114552"/>
              <a:gd name="connsiteY88" fmla="*/ 713022 h 800100"/>
              <a:gd name="connsiteX89" fmla="*/ 1136650 w 2114552"/>
              <a:gd name="connsiteY89" fmla="*/ 684212 h 800100"/>
              <a:gd name="connsiteX90" fmla="*/ 1054894 w 2114552"/>
              <a:gd name="connsiteY90" fmla="*/ 684212 h 800100"/>
              <a:gd name="connsiteX91" fmla="*/ 1106488 w 2114552"/>
              <a:gd name="connsiteY91" fmla="*/ 742156 h 800100"/>
              <a:gd name="connsiteX92" fmla="*/ 1054894 w 2114552"/>
              <a:gd name="connsiteY92" fmla="*/ 800100 h 800100"/>
              <a:gd name="connsiteX93" fmla="*/ 1003300 w 2114552"/>
              <a:gd name="connsiteY93" fmla="*/ 742156 h 800100"/>
              <a:gd name="connsiteX94" fmla="*/ 1054894 w 2114552"/>
              <a:gd name="connsiteY94" fmla="*/ 684212 h 800100"/>
              <a:gd name="connsiteX95" fmla="*/ 812499 w 2114552"/>
              <a:gd name="connsiteY95" fmla="*/ 684212 h 800100"/>
              <a:gd name="connsiteX96" fmla="*/ 854076 w 2114552"/>
              <a:gd name="connsiteY96" fmla="*/ 725601 h 800100"/>
              <a:gd name="connsiteX97" fmla="*/ 854076 w 2114552"/>
              <a:gd name="connsiteY97" fmla="*/ 775267 h 800100"/>
              <a:gd name="connsiteX98" fmla="*/ 854076 w 2114552"/>
              <a:gd name="connsiteY98" fmla="*/ 795961 h 800100"/>
              <a:gd name="connsiteX99" fmla="*/ 841603 w 2114552"/>
              <a:gd name="connsiteY99" fmla="*/ 795961 h 800100"/>
              <a:gd name="connsiteX100" fmla="*/ 841603 w 2114552"/>
              <a:gd name="connsiteY100" fmla="*/ 779406 h 800100"/>
              <a:gd name="connsiteX101" fmla="*/ 837445 w 2114552"/>
              <a:gd name="connsiteY101" fmla="*/ 779406 h 800100"/>
              <a:gd name="connsiteX102" fmla="*/ 804183 w 2114552"/>
              <a:gd name="connsiteY102" fmla="*/ 800100 h 800100"/>
              <a:gd name="connsiteX103" fmla="*/ 766763 w 2114552"/>
              <a:gd name="connsiteY103" fmla="*/ 766989 h 800100"/>
              <a:gd name="connsiteX104" fmla="*/ 837445 w 2114552"/>
              <a:gd name="connsiteY104" fmla="*/ 729739 h 800100"/>
              <a:gd name="connsiteX105" fmla="*/ 837445 w 2114552"/>
              <a:gd name="connsiteY105" fmla="*/ 721462 h 800100"/>
              <a:gd name="connsiteX106" fmla="*/ 812499 w 2114552"/>
              <a:gd name="connsiteY106" fmla="*/ 692490 h 800100"/>
              <a:gd name="connsiteX107" fmla="*/ 779236 w 2114552"/>
              <a:gd name="connsiteY107" fmla="*/ 704906 h 800100"/>
              <a:gd name="connsiteX108" fmla="*/ 779236 w 2114552"/>
              <a:gd name="connsiteY108" fmla="*/ 688351 h 800100"/>
              <a:gd name="connsiteX109" fmla="*/ 812499 w 2114552"/>
              <a:gd name="connsiteY109" fmla="*/ 684212 h 800100"/>
              <a:gd name="connsiteX110" fmla="*/ 527050 w 2114552"/>
              <a:gd name="connsiteY110" fmla="*/ 684212 h 800100"/>
              <a:gd name="connsiteX111" fmla="*/ 539523 w 2114552"/>
              <a:gd name="connsiteY111" fmla="*/ 684212 h 800100"/>
              <a:gd name="connsiteX112" fmla="*/ 539523 w 2114552"/>
              <a:gd name="connsiteY112" fmla="*/ 704791 h 800100"/>
              <a:gd name="connsiteX113" fmla="*/ 576943 w 2114552"/>
              <a:gd name="connsiteY113" fmla="*/ 684212 h 800100"/>
              <a:gd name="connsiteX114" fmla="*/ 614363 w 2114552"/>
              <a:gd name="connsiteY114" fmla="*/ 725369 h 800100"/>
              <a:gd name="connsiteX115" fmla="*/ 614363 w 2114552"/>
              <a:gd name="connsiteY115" fmla="*/ 795337 h 800100"/>
              <a:gd name="connsiteX116" fmla="*/ 601890 w 2114552"/>
              <a:gd name="connsiteY116" fmla="*/ 795337 h 800100"/>
              <a:gd name="connsiteX117" fmla="*/ 601890 w 2114552"/>
              <a:gd name="connsiteY117" fmla="*/ 729485 h 800100"/>
              <a:gd name="connsiteX118" fmla="*/ 576943 w 2114552"/>
              <a:gd name="connsiteY118" fmla="*/ 692443 h 800100"/>
              <a:gd name="connsiteX119" fmla="*/ 543681 w 2114552"/>
              <a:gd name="connsiteY119" fmla="*/ 733601 h 800100"/>
              <a:gd name="connsiteX120" fmla="*/ 543681 w 2114552"/>
              <a:gd name="connsiteY120" fmla="*/ 795337 h 800100"/>
              <a:gd name="connsiteX121" fmla="*/ 527050 w 2114552"/>
              <a:gd name="connsiteY121" fmla="*/ 795337 h 800100"/>
              <a:gd name="connsiteX122" fmla="*/ 527050 w 2114552"/>
              <a:gd name="connsiteY122" fmla="*/ 713022 h 800100"/>
              <a:gd name="connsiteX123" fmla="*/ 527050 w 2114552"/>
              <a:gd name="connsiteY123" fmla="*/ 684212 h 800100"/>
              <a:gd name="connsiteX124" fmla="*/ 406400 w 2114552"/>
              <a:gd name="connsiteY124" fmla="*/ 684212 h 800100"/>
              <a:gd name="connsiteX125" fmla="*/ 418873 w 2114552"/>
              <a:gd name="connsiteY125" fmla="*/ 684212 h 800100"/>
              <a:gd name="connsiteX126" fmla="*/ 418873 w 2114552"/>
              <a:gd name="connsiteY126" fmla="*/ 754573 h 800100"/>
              <a:gd name="connsiteX127" fmla="*/ 443820 w 2114552"/>
              <a:gd name="connsiteY127" fmla="*/ 787683 h 800100"/>
              <a:gd name="connsiteX128" fmla="*/ 477082 w 2114552"/>
              <a:gd name="connsiteY128" fmla="*/ 746295 h 800100"/>
              <a:gd name="connsiteX129" fmla="*/ 477082 w 2114552"/>
              <a:gd name="connsiteY129" fmla="*/ 684212 h 800100"/>
              <a:gd name="connsiteX130" fmla="*/ 493713 w 2114552"/>
              <a:gd name="connsiteY130" fmla="*/ 684212 h 800100"/>
              <a:gd name="connsiteX131" fmla="*/ 493713 w 2114552"/>
              <a:gd name="connsiteY131" fmla="*/ 771128 h 800100"/>
              <a:gd name="connsiteX132" fmla="*/ 493713 w 2114552"/>
              <a:gd name="connsiteY132" fmla="*/ 795961 h 800100"/>
              <a:gd name="connsiteX133" fmla="*/ 481240 w 2114552"/>
              <a:gd name="connsiteY133" fmla="*/ 795961 h 800100"/>
              <a:gd name="connsiteX134" fmla="*/ 481240 w 2114552"/>
              <a:gd name="connsiteY134" fmla="*/ 779406 h 800100"/>
              <a:gd name="connsiteX135" fmla="*/ 443820 w 2114552"/>
              <a:gd name="connsiteY135" fmla="*/ 800100 h 800100"/>
              <a:gd name="connsiteX136" fmla="*/ 406400 w 2114552"/>
              <a:gd name="connsiteY136" fmla="*/ 758711 h 800100"/>
              <a:gd name="connsiteX137" fmla="*/ 406400 w 2114552"/>
              <a:gd name="connsiteY137" fmla="*/ 684212 h 800100"/>
              <a:gd name="connsiteX138" fmla="*/ 325437 w 2114552"/>
              <a:gd name="connsiteY138" fmla="*/ 684212 h 800100"/>
              <a:gd name="connsiteX139" fmla="*/ 377825 w 2114552"/>
              <a:gd name="connsiteY139" fmla="*/ 742156 h 800100"/>
              <a:gd name="connsiteX140" fmla="*/ 325437 w 2114552"/>
              <a:gd name="connsiteY140" fmla="*/ 800100 h 800100"/>
              <a:gd name="connsiteX141" fmla="*/ 273049 w 2114552"/>
              <a:gd name="connsiteY141" fmla="*/ 742156 h 800100"/>
              <a:gd name="connsiteX142" fmla="*/ 325437 w 2114552"/>
              <a:gd name="connsiteY142" fmla="*/ 684212 h 800100"/>
              <a:gd name="connsiteX143" fmla="*/ 1724027 w 2114552"/>
              <a:gd name="connsiteY143" fmla="*/ 666750 h 800100"/>
              <a:gd name="connsiteX144" fmla="*/ 1720852 w 2114552"/>
              <a:gd name="connsiteY144" fmla="*/ 679450 h 800100"/>
              <a:gd name="connsiteX145" fmla="*/ 1716089 w 2114552"/>
              <a:gd name="connsiteY145" fmla="*/ 687388 h 800100"/>
              <a:gd name="connsiteX146" fmla="*/ 1733552 w 2114552"/>
              <a:gd name="connsiteY146" fmla="*/ 687388 h 800100"/>
              <a:gd name="connsiteX147" fmla="*/ 1728789 w 2114552"/>
              <a:gd name="connsiteY147" fmla="*/ 679450 h 800100"/>
              <a:gd name="connsiteX148" fmla="*/ 1728922 w 2114552"/>
              <a:gd name="connsiteY148" fmla="*/ 654050 h 800100"/>
              <a:gd name="connsiteX149" fmla="*/ 1728922 w 2114552"/>
              <a:gd name="connsiteY149" fmla="*/ 658202 h 800100"/>
              <a:gd name="connsiteX150" fmla="*/ 1737124 w 2114552"/>
              <a:gd name="connsiteY150" fmla="*/ 678962 h 800100"/>
              <a:gd name="connsiteX151" fmla="*/ 1749427 w 2114552"/>
              <a:gd name="connsiteY151" fmla="*/ 703873 h 800100"/>
              <a:gd name="connsiteX152" fmla="*/ 1737124 w 2114552"/>
              <a:gd name="connsiteY152" fmla="*/ 703873 h 800100"/>
              <a:gd name="connsiteX153" fmla="*/ 1737124 w 2114552"/>
              <a:gd name="connsiteY153" fmla="*/ 695569 h 800100"/>
              <a:gd name="connsiteX154" fmla="*/ 1712517 w 2114552"/>
              <a:gd name="connsiteY154" fmla="*/ 695569 h 800100"/>
              <a:gd name="connsiteX155" fmla="*/ 1712517 w 2114552"/>
              <a:gd name="connsiteY155" fmla="*/ 708025 h 800100"/>
              <a:gd name="connsiteX156" fmla="*/ 1700214 w 2114552"/>
              <a:gd name="connsiteY156" fmla="*/ 703873 h 800100"/>
              <a:gd name="connsiteX157" fmla="*/ 1712517 w 2114552"/>
              <a:gd name="connsiteY157" fmla="*/ 678962 h 800100"/>
              <a:gd name="connsiteX158" fmla="*/ 1716618 w 2114552"/>
              <a:gd name="connsiteY158" fmla="*/ 658202 h 800100"/>
              <a:gd name="connsiteX159" fmla="*/ 1728922 w 2114552"/>
              <a:gd name="connsiteY159" fmla="*/ 654050 h 800100"/>
              <a:gd name="connsiteX160" fmla="*/ 907733 w 2114552"/>
              <a:gd name="connsiteY160" fmla="*/ 654049 h 800100"/>
              <a:gd name="connsiteX161" fmla="*/ 907733 w 2114552"/>
              <a:gd name="connsiteY161" fmla="*/ 683259 h 800100"/>
              <a:gd name="connsiteX162" fmla="*/ 932498 w 2114552"/>
              <a:gd name="connsiteY162" fmla="*/ 683259 h 800100"/>
              <a:gd name="connsiteX163" fmla="*/ 932498 w 2114552"/>
              <a:gd name="connsiteY163" fmla="*/ 695778 h 800100"/>
              <a:gd name="connsiteX164" fmla="*/ 907733 w 2114552"/>
              <a:gd name="connsiteY164" fmla="*/ 695778 h 800100"/>
              <a:gd name="connsiteX165" fmla="*/ 907733 w 2114552"/>
              <a:gd name="connsiteY165" fmla="*/ 770889 h 800100"/>
              <a:gd name="connsiteX166" fmla="*/ 924243 w 2114552"/>
              <a:gd name="connsiteY166" fmla="*/ 787580 h 800100"/>
              <a:gd name="connsiteX167" fmla="*/ 936626 w 2114552"/>
              <a:gd name="connsiteY167" fmla="*/ 783408 h 800100"/>
              <a:gd name="connsiteX168" fmla="*/ 936626 w 2114552"/>
              <a:gd name="connsiteY168" fmla="*/ 795926 h 800100"/>
              <a:gd name="connsiteX169" fmla="*/ 920116 w 2114552"/>
              <a:gd name="connsiteY169" fmla="*/ 800099 h 800100"/>
              <a:gd name="connsiteX170" fmla="*/ 895351 w 2114552"/>
              <a:gd name="connsiteY170" fmla="*/ 762543 h 800100"/>
              <a:gd name="connsiteX171" fmla="*/ 895351 w 2114552"/>
              <a:gd name="connsiteY171" fmla="*/ 695778 h 800100"/>
              <a:gd name="connsiteX172" fmla="*/ 874713 w 2114552"/>
              <a:gd name="connsiteY172" fmla="*/ 695778 h 800100"/>
              <a:gd name="connsiteX173" fmla="*/ 874713 w 2114552"/>
              <a:gd name="connsiteY173" fmla="*/ 683259 h 800100"/>
              <a:gd name="connsiteX174" fmla="*/ 895351 w 2114552"/>
              <a:gd name="connsiteY174" fmla="*/ 683259 h 800100"/>
              <a:gd name="connsiteX175" fmla="*/ 895351 w 2114552"/>
              <a:gd name="connsiteY175" fmla="*/ 658222 h 800100"/>
              <a:gd name="connsiteX176" fmla="*/ 907733 w 2114552"/>
              <a:gd name="connsiteY176" fmla="*/ 654049 h 800100"/>
              <a:gd name="connsiteX177" fmla="*/ 1658542 w 2114552"/>
              <a:gd name="connsiteY177" fmla="*/ 650875 h 800100"/>
              <a:gd name="connsiteX178" fmla="*/ 1666745 w 2114552"/>
              <a:gd name="connsiteY178" fmla="*/ 650875 h 800100"/>
              <a:gd name="connsiteX179" fmla="*/ 1683149 w 2114552"/>
              <a:gd name="connsiteY179" fmla="*/ 688242 h 800100"/>
              <a:gd name="connsiteX180" fmla="*/ 1687250 w 2114552"/>
              <a:gd name="connsiteY180" fmla="*/ 655027 h 800100"/>
              <a:gd name="connsiteX181" fmla="*/ 1695452 w 2114552"/>
              <a:gd name="connsiteY181" fmla="*/ 655027 h 800100"/>
              <a:gd name="connsiteX182" fmla="*/ 1687250 w 2114552"/>
              <a:gd name="connsiteY182" fmla="*/ 704850 h 800100"/>
              <a:gd name="connsiteX183" fmla="*/ 1679048 w 2114552"/>
              <a:gd name="connsiteY183" fmla="*/ 704850 h 800100"/>
              <a:gd name="connsiteX184" fmla="*/ 1662643 w 2114552"/>
              <a:gd name="connsiteY184" fmla="*/ 671635 h 800100"/>
              <a:gd name="connsiteX185" fmla="*/ 1658542 w 2114552"/>
              <a:gd name="connsiteY185" fmla="*/ 700698 h 800100"/>
              <a:gd name="connsiteX186" fmla="*/ 1646239 w 2114552"/>
              <a:gd name="connsiteY186" fmla="*/ 700698 h 800100"/>
              <a:gd name="connsiteX187" fmla="*/ 1658542 w 2114552"/>
              <a:gd name="connsiteY187" fmla="*/ 650875 h 800100"/>
              <a:gd name="connsiteX188" fmla="*/ 1787526 w 2114552"/>
              <a:gd name="connsiteY188" fmla="*/ 646113 h 800100"/>
              <a:gd name="connsiteX189" fmla="*/ 1787526 w 2114552"/>
              <a:gd name="connsiteY189" fmla="*/ 654504 h 800100"/>
              <a:gd name="connsiteX190" fmla="*/ 1771016 w 2114552"/>
              <a:gd name="connsiteY190" fmla="*/ 658700 h 800100"/>
              <a:gd name="connsiteX191" fmla="*/ 1779271 w 2114552"/>
              <a:gd name="connsiteY191" fmla="*/ 700655 h 800100"/>
              <a:gd name="connsiteX192" fmla="*/ 1771016 w 2114552"/>
              <a:gd name="connsiteY192" fmla="*/ 704851 h 800100"/>
              <a:gd name="connsiteX193" fmla="*/ 1762761 w 2114552"/>
              <a:gd name="connsiteY193" fmla="*/ 662895 h 800100"/>
              <a:gd name="connsiteX194" fmla="*/ 1746251 w 2114552"/>
              <a:gd name="connsiteY194" fmla="*/ 662895 h 800100"/>
              <a:gd name="connsiteX195" fmla="*/ 1746251 w 2114552"/>
              <a:gd name="connsiteY195" fmla="*/ 654504 h 800100"/>
              <a:gd name="connsiteX196" fmla="*/ 1787526 w 2114552"/>
              <a:gd name="connsiteY196" fmla="*/ 646113 h 800100"/>
              <a:gd name="connsiteX197" fmla="*/ 1617029 w 2114552"/>
              <a:gd name="connsiteY197" fmla="*/ 646113 h 800100"/>
              <a:gd name="connsiteX198" fmla="*/ 1617029 w 2114552"/>
              <a:gd name="connsiteY198" fmla="*/ 654051 h 800100"/>
              <a:gd name="connsiteX199" fmla="*/ 1612901 w 2114552"/>
              <a:gd name="connsiteY199" fmla="*/ 658019 h 800100"/>
              <a:gd name="connsiteX200" fmla="*/ 1625284 w 2114552"/>
              <a:gd name="connsiteY200" fmla="*/ 661988 h 800100"/>
              <a:gd name="connsiteX201" fmla="*/ 1633539 w 2114552"/>
              <a:gd name="connsiteY201" fmla="*/ 658019 h 800100"/>
              <a:gd name="connsiteX202" fmla="*/ 1633539 w 2114552"/>
              <a:gd name="connsiteY202" fmla="*/ 654051 h 800100"/>
              <a:gd name="connsiteX203" fmla="*/ 1629412 w 2114552"/>
              <a:gd name="connsiteY203" fmla="*/ 650082 h 800100"/>
              <a:gd name="connsiteX204" fmla="*/ 1617029 w 2114552"/>
              <a:gd name="connsiteY204" fmla="*/ 646113 h 800100"/>
              <a:gd name="connsiteX205" fmla="*/ 966943 w 2114552"/>
              <a:gd name="connsiteY205" fmla="*/ 643885 h 800100"/>
              <a:gd name="connsiteX206" fmla="*/ 981464 w 2114552"/>
              <a:gd name="connsiteY206" fmla="*/ 643885 h 800100"/>
              <a:gd name="connsiteX207" fmla="*/ 981464 w 2114552"/>
              <a:gd name="connsiteY207" fmla="*/ 660066 h 800100"/>
              <a:gd name="connsiteX208" fmla="*/ 966943 w 2114552"/>
              <a:gd name="connsiteY208" fmla="*/ 660066 h 800100"/>
              <a:gd name="connsiteX209" fmla="*/ 1795464 w 2114552"/>
              <a:gd name="connsiteY209" fmla="*/ 641350 h 800100"/>
              <a:gd name="connsiteX210" fmla="*/ 1807711 w 2114552"/>
              <a:gd name="connsiteY210" fmla="*/ 641350 h 800100"/>
              <a:gd name="connsiteX211" fmla="*/ 1824039 w 2114552"/>
              <a:gd name="connsiteY211" fmla="*/ 687917 h 800100"/>
              <a:gd name="connsiteX212" fmla="*/ 1811793 w 2114552"/>
              <a:gd name="connsiteY212" fmla="*/ 692150 h 800100"/>
              <a:gd name="connsiteX213" fmla="*/ 1795464 w 2114552"/>
              <a:gd name="connsiteY213" fmla="*/ 641350 h 800100"/>
              <a:gd name="connsiteX214" fmla="*/ 177800 w 2114552"/>
              <a:gd name="connsiteY214" fmla="*/ 641349 h 800100"/>
              <a:gd name="connsiteX215" fmla="*/ 252413 w 2114552"/>
              <a:gd name="connsiteY215" fmla="*/ 641349 h 800100"/>
              <a:gd name="connsiteX216" fmla="*/ 252413 w 2114552"/>
              <a:gd name="connsiteY216" fmla="*/ 654049 h 800100"/>
              <a:gd name="connsiteX217" fmla="*/ 195262 w 2114552"/>
              <a:gd name="connsiteY217" fmla="*/ 654049 h 800100"/>
              <a:gd name="connsiteX218" fmla="*/ 195262 w 2114552"/>
              <a:gd name="connsiteY218" fmla="*/ 712787 h 800100"/>
              <a:gd name="connsiteX219" fmla="*/ 249238 w 2114552"/>
              <a:gd name="connsiteY219" fmla="*/ 712787 h 800100"/>
              <a:gd name="connsiteX220" fmla="*/ 249238 w 2114552"/>
              <a:gd name="connsiteY220" fmla="*/ 725487 h 800100"/>
              <a:gd name="connsiteX221" fmla="*/ 195262 w 2114552"/>
              <a:gd name="connsiteY221" fmla="*/ 725487 h 800100"/>
              <a:gd name="connsiteX222" fmla="*/ 195262 w 2114552"/>
              <a:gd name="connsiteY222" fmla="*/ 795337 h 800100"/>
              <a:gd name="connsiteX223" fmla="*/ 177800 w 2114552"/>
              <a:gd name="connsiteY223" fmla="*/ 795337 h 800100"/>
              <a:gd name="connsiteX224" fmla="*/ 1612770 w 2114552"/>
              <a:gd name="connsiteY224" fmla="*/ 633413 h 800100"/>
              <a:gd name="connsiteX225" fmla="*/ 1633275 w 2114552"/>
              <a:gd name="connsiteY225" fmla="*/ 641668 h 800100"/>
              <a:gd name="connsiteX226" fmla="*/ 1641477 w 2114552"/>
              <a:gd name="connsiteY226" fmla="*/ 654051 h 800100"/>
              <a:gd name="connsiteX227" fmla="*/ 1641477 w 2114552"/>
              <a:gd name="connsiteY227" fmla="*/ 658178 h 800100"/>
              <a:gd name="connsiteX228" fmla="*/ 1629174 w 2114552"/>
              <a:gd name="connsiteY228" fmla="*/ 670561 h 800100"/>
              <a:gd name="connsiteX229" fmla="*/ 1633275 w 2114552"/>
              <a:gd name="connsiteY229" fmla="*/ 695326 h 800100"/>
              <a:gd name="connsiteX230" fmla="*/ 1620972 w 2114552"/>
              <a:gd name="connsiteY230" fmla="*/ 691198 h 800100"/>
              <a:gd name="connsiteX231" fmla="*/ 1620972 w 2114552"/>
              <a:gd name="connsiteY231" fmla="*/ 670561 h 800100"/>
              <a:gd name="connsiteX232" fmla="*/ 1608668 w 2114552"/>
              <a:gd name="connsiteY232" fmla="*/ 666433 h 800100"/>
              <a:gd name="connsiteX233" fmla="*/ 1604567 w 2114552"/>
              <a:gd name="connsiteY233" fmla="*/ 682943 h 800100"/>
              <a:gd name="connsiteX234" fmla="*/ 1592264 w 2114552"/>
              <a:gd name="connsiteY234" fmla="*/ 678816 h 800100"/>
              <a:gd name="connsiteX235" fmla="*/ 1604567 w 2114552"/>
              <a:gd name="connsiteY235" fmla="*/ 658178 h 800100"/>
              <a:gd name="connsiteX236" fmla="*/ 1604567 w 2114552"/>
              <a:gd name="connsiteY236" fmla="*/ 654051 h 800100"/>
              <a:gd name="connsiteX237" fmla="*/ 1612770 w 2114552"/>
              <a:gd name="connsiteY237" fmla="*/ 633413 h 800100"/>
              <a:gd name="connsiteX238" fmla="*/ 1855109 w 2114552"/>
              <a:gd name="connsiteY238" fmla="*/ 630214 h 800100"/>
              <a:gd name="connsiteX239" fmla="*/ 1844903 w 2114552"/>
              <a:gd name="connsiteY239" fmla="*/ 632818 h 800100"/>
              <a:gd name="connsiteX240" fmla="*/ 1836739 w 2114552"/>
              <a:gd name="connsiteY240" fmla="*/ 645320 h 800100"/>
              <a:gd name="connsiteX241" fmla="*/ 1836739 w 2114552"/>
              <a:gd name="connsiteY241" fmla="*/ 653655 h 800100"/>
              <a:gd name="connsiteX242" fmla="*/ 1840821 w 2114552"/>
              <a:gd name="connsiteY242" fmla="*/ 657822 h 800100"/>
              <a:gd name="connsiteX243" fmla="*/ 1857150 w 2114552"/>
              <a:gd name="connsiteY243" fmla="*/ 661989 h 800100"/>
              <a:gd name="connsiteX244" fmla="*/ 1861232 w 2114552"/>
              <a:gd name="connsiteY244" fmla="*/ 657822 h 800100"/>
              <a:gd name="connsiteX245" fmla="*/ 1865314 w 2114552"/>
              <a:gd name="connsiteY245" fmla="*/ 645320 h 800100"/>
              <a:gd name="connsiteX246" fmla="*/ 1865314 w 2114552"/>
              <a:gd name="connsiteY246" fmla="*/ 636986 h 800100"/>
              <a:gd name="connsiteX247" fmla="*/ 1855109 w 2114552"/>
              <a:gd name="connsiteY247" fmla="*/ 630214 h 800100"/>
              <a:gd name="connsiteX248" fmla="*/ 726110 w 2114552"/>
              <a:gd name="connsiteY248" fmla="*/ 628649 h 800100"/>
              <a:gd name="connsiteX249" fmla="*/ 742951 w 2114552"/>
              <a:gd name="connsiteY249" fmla="*/ 628649 h 800100"/>
              <a:gd name="connsiteX250" fmla="*/ 742951 w 2114552"/>
              <a:gd name="connsiteY250" fmla="*/ 795917 h 800100"/>
              <a:gd name="connsiteX251" fmla="*/ 726110 w 2114552"/>
              <a:gd name="connsiteY251" fmla="*/ 795917 h 800100"/>
              <a:gd name="connsiteX252" fmla="*/ 726110 w 2114552"/>
              <a:gd name="connsiteY252" fmla="*/ 779190 h 800100"/>
              <a:gd name="connsiteX253" fmla="*/ 692427 w 2114552"/>
              <a:gd name="connsiteY253" fmla="*/ 800099 h 800100"/>
              <a:gd name="connsiteX254" fmla="*/ 646113 w 2114552"/>
              <a:gd name="connsiteY254" fmla="*/ 741555 h 800100"/>
              <a:gd name="connsiteX255" fmla="*/ 692427 w 2114552"/>
              <a:gd name="connsiteY255" fmla="*/ 683011 h 800100"/>
              <a:gd name="connsiteX256" fmla="*/ 726110 w 2114552"/>
              <a:gd name="connsiteY256" fmla="*/ 703920 h 800100"/>
              <a:gd name="connsiteX257" fmla="*/ 726110 w 2114552"/>
              <a:gd name="connsiteY257" fmla="*/ 628649 h 800100"/>
              <a:gd name="connsiteX258" fmla="*/ 1857377 w 2114552"/>
              <a:gd name="connsiteY258" fmla="*/ 622131 h 800100"/>
              <a:gd name="connsiteX259" fmla="*/ 1874839 w 2114552"/>
              <a:gd name="connsiteY259" fmla="*/ 633868 h 800100"/>
              <a:gd name="connsiteX260" fmla="*/ 1874839 w 2114552"/>
              <a:gd name="connsiteY260" fmla="*/ 646114 h 800100"/>
              <a:gd name="connsiteX261" fmla="*/ 1874839 w 2114552"/>
              <a:gd name="connsiteY261" fmla="*/ 658360 h 800100"/>
              <a:gd name="connsiteX262" fmla="*/ 1862139 w 2114552"/>
              <a:gd name="connsiteY262" fmla="*/ 666525 h 800100"/>
              <a:gd name="connsiteX263" fmla="*/ 1828272 w 2114552"/>
              <a:gd name="connsiteY263" fmla="*/ 658360 h 800100"/>
              <a:gd name="connsiteX264" fmla="*/ 1824039 w 2114552"/>
              <a:gd name="connsiteY264" fmla="*/ 646114 h 800100"/>
              <a:gd name="connsiteX265" fmla="*/ 1836739 w 2114552"/>
              <a:gd name="connsiteY265" fmla="*/ 625703 h 800100"/>
              <a:gd name="connsiteX266" fmla="*/ 1857377 w 2114552"/>
              <a:gd name="connsiteY266" fmla="*/ 622131 h 800100"/>
              <a:gd name="connsiteX267" fmla="*/ 1571138 w 2114552"/>
              <a:gd name="connsiteY267" fmla="*/ 612775 h 800100"/>
              <a:gd name="connsiteX268" fmla="*/ 1600201 w 2114552"/>
              <a:gd name="connsiteY268" fmla="*/ 629285 h 800100"/>
              <a:gd name="connsiteX269" fmla="*/ 1596049 w 2114552"/>
              <a:gd name="connsiteY269" fmla="*/ 637540 h 800100"/>
              <a:gd name="connsiteX270" fmla="*/ 1575290 w 2114552"/>
              <a:gd name="connsiteY270" fmla="*/ 625158 h 800100"/>
              <a:gd name="connsiteX271" fmla="*/ 1571138 w 2114552"/>
              <a:gd name="connsiteY271" fmla="*/ 633413 h 800100"/>
              <a:gd name="connsiteX272" fmla="*/ 1583593 w 2114552"/>
              <a:gd name="connsiteY272" fmla="*/ 641668 h 800100"/>
              <a:gd name="connsiteX273" fmla="*/ 1579442 w 2114552"/>
              <a:gd name="connsiteY273" fmla="*/ 649923 h 800100"/>
              <a:gd name="connsiteX274" fmla="*/ 1566986 w 2114552"/>
              <a:gd name="connsiteY274" fmla="*/ 641668 h 800100"/>
              <a:gd name="connsiteX275" fmla="*/ 1558682 w 2114552"/>
              <a:gd name="connsiteY275" fmla="*/ 654050 h 800100"/>
              <a:gd name="connsiteX276" fmla="*/ 1579442 w 2114552"/>
              <a:gd name="connsiteY276" fmla="*/ 666433 h 800100"/>
              <a:gd name="connsiteX277" fmla="*/ 1575290 w 2114552"/>
              <a:gd name="connsiteY277" fmla="*/ 674688 h 800100"/>
              <a:gd name="connsiteX278" fmla="*/ 1546226 w 2114552"/>
              <a:gd name="connsiteY278" fmla="*/ 654050 h 800100"/>
              <a:gd name="connsiteX279" fmla="*/ 1571138 w 2114552"/>
              <a:gd name="connsiteY279" fmla="*/ 612775 h 800100"/>
              <a:gd name="connsiteX280" fmla="*/ 1898969 w 2114552"/>
              <a:gd name="connsiteY280" fmla="*/ 579438 h 800100"/>
              <a:gd name="connsiteX281" fmla="*/ 1931989 w 2114552"/>
              <a:gd name="connsiteY281" fmla="*/ 616943 h 800100"/>
              <a:gd name="connsiteX282" fmla="*/ 1923734 w 2114552"/>
              <a:gd name="connsiteY282" fmla="*/ 625277 h 800100"/>
              <a:gd name="connsiteX283" fmla="*/ 1890714 w 2114552"/>
              <a:gd name="connsiteY283" fmla="*/ 612776 h 800100"/>
              <a:gd name="connsiteX284" fmla="*/ 1907224 w 2114552"/>
              <a:gd name="connsiteY284" fmla="*/ 637779 h 800100"/>
              <a:gd name="connsiteX285" fmla="*/ 1898969 w 2114552"/>
              <a:gd name="connsiteY285" fmla="*/ 646113 h 800100"/>
              <a:gd name="connsiteX286" fmla="*/ 1870076 w 2114552"/>
              <a:gd name="connsiteY286" fmla="*/ 604441 h 800100"/>
              <a:gd name="connsiteX287" fmla="*/ 1878331 w 2114552"/>
              <a:gd name="connsiteY287" fmla="*/ 600274 h 800100"/>
              <a:gd name="connsiteX288" fmla="*/ 1911351 w 2114552"/>
              <a:gd name="connsiteY288" fmla="*/ 608608 h 800100"/>
              <a:gd name="connsiteX289" fmla="*/ 1890714 w 2114552"/>
              <a:gd name="connsiteY289" fmla="*/ 587772 h 800100"/>
              <a:gd name="connsiteX290" fmla="*/ 1898969 w 2114552"/>
              <a:gd name="connsiteY290" fmla="*/ 579438 h 800100"/>
              <a:gd name="connsiteX291" fmla="*/ 1534626 w 2114552"/>
              <a:gd name="connsiteY291" fmla="*/ 579438 h 800100"/>
              <a:gd name="connsiteX292" fmla="*/ 1563689 w 2114552"/>
              <a:gd name="connsiteY292" fmla="*/ 604350 h 800100"/>
              <a:gd name="connsiteX293" fmla="*/ 1559537 w 2114552"/>
              <a:gd name="connsiteY293" fmla="*/ 612653 h 800100"/>
              <a:gd name="connsiteX294" fmla="*/ 1547081 w 2114552"/>
              <a:gd name="connsiteY294" fmla="*/ 604350 h 800100"/>
              <a:gd name="connsiteX295" fmla="*/ 1518018 w 2114552"/>
              <a:gd name="connsiteY295" fmla="*/ 633413 h 800100"/>
              <a:gd name="connsiteX296" fmla="*/ 1509714 w 2114552"/>
              <a:gd name="connsiteY296" fmla="*/ 625109 h 800100"/>
              <a:gd name="connsiteX297" fmla="*/ 1538778 w 2114552"/>
              <a:gd name="connsiteY297" fmla="*/ 596046 h 800100"/>
              <a:gd name="connsiteX298" fmla="*/ 1526322 w 2114552"/>
              <a:gd name="connsiteY298" fmla="*/ 583590 h 800100"/>
              <a:gd name="connsiteX299" fmla="*/ 1534626 w 2114552"/>
              <a:gd name="connsiteY299" fmla="*/ 579438 h 800100"/>
              <a:gd name="connsiteX300" fmla="*/ 1924051 w 2114552"/>
              <a:gd name="connsiteY300" fmla="*/ 566738 h 800100"/>
              <a:gd name="connsiteX301" fmla="*/ 1931989 w 2114552"/>
              <a:gd name="connsiteY301" fmla="*/ 579438 h 800100"/>
              <a:gd name="connsiteX302" fmla="*/ 1936751 w 2114552"/>
              <a:gd name="connsiteY302" fmla="*/ 587376 h 800100"/>
              <a:gd name="connsiteX303" fmla="*/ 1944689 w 2114552"/>
              <a:gd name="connsiteY303" fmla="*/ 579438 h 800100"/>
              <a:gd name="connsiteX304" fmla="*/ 1944689 w 2114552"/>
              <a:gd name="connsiteY304" fmla="*/ 574676 h 800100"/>
              <a:gd name="connsiteX305" fmla="*/ 1919742 w 2114552"/>
              <a:gd name="connsiteY305" fmla="*/ 558800 h 800100"/>
              <a:gd name="connsiteX306" fmla="*/ 1970089 w 2114552"/>
              <a:gd name="connsiteY306" fmla="*/ 571103 h 800100"/>
              <a:gd name="connsiteX307" fmla="*/ 1965894 w 2114552"/>
              <a:gd name="connsiteY307" fmla="*/ 579305 h 800100"/>
              <a:gd name="connsiteX308" fmla="*/ 1961698 w 2114552"/>
              <a:gd name="connsiteY308" fmla="*/ 579305 h 800100"/>
              <a:gd name="connsiteX309" fmla="*/ 1953307 w 2114552"/>
              <a:gd name="connsiteY309" fmla="*/ 579305 h 800100"/>
              <a:gd name="connsiteX310" fmla="*/ 1940720 w 2114552"/>
              <a:gd name="connsiteY310" fmla="*/ 595710 h 800100"/>
              <a:gd name="connsiteX311" fmla="*/ 1944916 w 2114552"/>
              <a:gd name="connsiteY311" fmla="*/ 603912 h 800100"/>
              <a:gd name="connsiteX312" fmla="*/ 1940720 w 2114552"/>
              <a:gd name="connsiteY312" fmla="*/ 608013 h 800100"/>
              <a:gd name="connsiteX313" fmla="*/ 1919742 w 2114552"/>
              <a:gd name="connsiteY313" fmla="*/ 579305 h 800100"/>
              <a:gd name="connsiteX314" fmla="*/ 1911351 w 2114552"/>
              <a:gd name="connsiteY314" fmla="*/ 567002 h 800100"/>
              <a:gd name="connsiteX315" fmla="*/ 1500586 w 2114552"/>
              <a:gd name="connsiteY315" fmla="*/ 541338 h 800100"/>
              <a:gd name="connsiteX316" fmla="*/ 1508920 w 2114552"/>
              <a:gd name="connsiteY316" fmla="*/ 549805 h 800100"/>
              <a:gd name="connsiteX317" fmla="*/ 1496419 w 2114552"/>
              <a:gd name="connsiteY317" fmla="*/ 583671 h 800100"/>
              <a:gd name="connsiteX318" fmla="*/ 1521422 w 2114552"/>
              <a:gd name="connsiteY318" fmla="*/ 562505 h 800100"/>
              <a:gd name="connsiteX319" fmla="*/ 1525589 w 2114552"/>
              <a:gd name="connsiteY319" fmla="*/ 570971 h 800100"/>
              <a:gd name="connsiteX320" fmla="*/ 1488084 w 2114552"/>
              <a:gd name="connsiteY320" fmla="*/ 604838 h 800100"/>
              <a:gd name="connsiteX321" fmla="*/ 1479750 w 2114552"/>
              <a:gd name="connsiteY321" fmla="*/ 596371 h 800100"/>
              <a:gd name="connsiteX322" fmla="*/ 1492252 w 2114552"/>
              <a:gd name="connsiteY322" fmla="*/ 562505 h 800100"/>
              <a:gd name="connsiteX323" fmla="*/ 1467249 w 2114552"/>
              <a:gd name="connsiteY323" fmla="*/ 579438 h 800100"/>
              <a:gd name="connsiteX324" fmla="*/ 1458914 w 2114552"/>
              <a:gd name="connsiteY324" fmla="*/ 570971 h 800100"/>
              <a:gd name="connsiteX325" fmla="*/ 1500586 w 2114552"/>
              <a:gd name="connsiteY325" fmla="*/ 541338 h 800100"/>
              <a:gd name="connsiteX326" fmla="*/ 1936752 w 2114552"/>
              <a:gd name="connsiteY326" fmla="*/ 528638 h 800100"/>
              <a:gd name="connsiteX327" fmla="*/ 1973264 w 2114552"/>
              <a:gd name="connsiteY327" fmla="*/ 550863 h 800100"/>
              <a:gd name="connsiteX328" fmla="*/ 1985965 w 2114552"/>
              <a:gd name="connsiteY328" fmla="*/ 528638 h 800100"/>
              <a:gd name="connsiteX329" fmla="*/ 1993902 w 2114552"/>
              <a:gd name="connsiteY329" fmla="*/ 533401 h 800100"/>
              <a:gd name="connsiteX330" fmla="*/ 1978027 w 2114552"/>
              <a:gd name="connsiteY330" fmla="*/ 561976 h 800100"/>
              <a:gd name="connsiteX331" fmla="*/ 1931989 w 2114552"/>
              <a:gd name="connsiteY331" fmla="*/ 538163 h 800100"/>
              <a:gd name="connsiteX332" fmla="*/ 1492829 w 2114552"/>
              <a:gd name="connsiteY332" fmla="*/ 525463 h 800100"/>
              <a:gd name="connsiteX333" fmla="*/ 1497014 w 2114552"/>
              <a:gd name="connsiteY333" fmla="*/ 533798 h 800100"/>
              <a:gd name="connsiteX334" fmla="*/ 1455161 w 2114552"/>
              <a:gd name="connsiteY334" fmla="*/ 558801 h 800100"/>
              <a:gd name="connsiteX335" fmla="*/ 1450976 w 2114552"/>
              <a:gd name="connsiteY335" fmla="*/ 550467 h 800100"/>
              <a:gd name="connsiteX336" fmla="*/ 1492829 w 2114552"/>
              <a:gd name="connsiteY336" fmla="*/ 525463 h 800100"/>
              <a:gd name="connsiteX337" fmla="*/ 1482542 w 2114552"/>
              <a:gd name="connsiteY337" fmla="*/ 485751 h 800100"/>
              <a:gd name="connsiteX338" fmla="*/ 1476320 w 2114552"/>
              <a:gd name="connsiteY338" fmla="*/ 488355 h 800100"/>
              <a:gd name="connsiteX339" fmla="*/ 1430696 w 2114552"/>
              <a:gd name="connsiteY339" fmla="*/ 500857 h 800100"/>
              <a:gd name="connsiteX340" fmla="*/ 1422401 w 2114552"/>
              <a:gd name="connsiteY340" fmla="*/ 517526 h 800100"/>
              <a:gd name="connsiteX341" fmla="*/ 1716883 w 2114552"/>
              <a:gd name="connsiteY341" fmla="*/ 717551 h 800100"/>
              <a:gd name="connsiteX342" fmla="*/ 2011364 w 2114552"/>
              <a:gd name="connsiteY342" fmla="*/ 513358 h 800100"/>
              <a:gd name="connsiteX343" fmla="*/ 2003069 w 2114552"/>
              <a:gd name="connsiteY343" fmla="*/ 500857 h 800100"/>
              <a:gd name="connsiteX344" fmla="*/ 1957445 w 2114552"/>
              <a:gd name="connsiteY344" fmla="*/ 488355 h 800100"/>
              <a:gd name="connsiteX345" fmla="*/ 1951224 w 2114552"/>
              <a:gd name="connsiteY345" fmla="*/ 485751 h 800100"/>
              <a:gd name="connsiteX346" fmla="*/ 1945002 w 2114552"/>
              <a:gd name="connsiteY346" fmla="*/ 492522 h 800100"/>
              <a:gd name="connsiteX347" fmla="*/ 1716883 w 2114552"/>
              <a:gd name="connsiteY347" fmla="*/ 646709 h 800100"/>
              <a:gd name="connsiteX348" fmla="*/ 1488763 w 2114552"/>
              <a:gd name="connsiteY348" fmla="*/ 492522 h 800100"/>
              <a:gd name="connsiteX349" fmla="*/ 1482542 w 2114552"/>
              <a:gd name="connsiteY349" fmla="*/ 485751 h 800100"/>
              <a:gd name="connsiteX350" fmla="*/ 1662749 w 2114552"/>
              <a:gd name="connsiteY350" fmla="*/ 478852 h 800100"/>
              <a:gd name="connsiteX351" fmla="*/ 1551306 w 2114552"/>
              <a:gd name="connsiteY351" fmla="*/ 533313 h 800100"/>
              <a:gd name="connsiteX352" fmla="*/ 1543051 w 2114552"/>
              <a:gd name="connsiteY352" fmla="*/ 537502 h 800100"/>
              <a:gd name="connsiteX353" fmla="*/ 1543051 w 2114552"/>
              <a:gd name="connsiteY353" fmla="*/ 541691 h 800100"/>
              <a:gd name="connsiteX354" fmla="*/ 1547179 w 2114552"/>
              <a:gd name="connsiteY354" fmla="*/ 545880 h 800100"/>
              <a:gd name="connsiteX355" fmla="*/ 1675132 w 2114552"/>
              <a:gd name="connsiteY355" fmla="*/ 621287 h 800100"/>
              <a:gd name="connsiteX356" fmla="*/ 1683387 w 2114552"/>
              <a:gd name="connsiteY356" fmla="*/ 621287 h 800100"/>
              <a:gd name="connsiteX357" fmla="*/ 1687514 w 2114552"/>
              <a:gd name="connsiteY357" fmla="*/ 608719 h 800100"/>
              <a:gd name="connsiteX358" fmla="*/ 1679259 w 2114552"/>
              <a:gd name="connsiteY358" fmla="*/ 487231 h 800100"/>
              <a:gd name="connsiteX359" fmla="*/ 1675132 w 2114552"/>
              <a:gd name="connsiteY359" fmla="*/ 478852 h 800100"/>
              <a:gd name="connsiteX360" fmla="*/ 1662749 w 2114552"/>
              <a:gd name="connsiteY360" fmla="*/ 478852 h 800100"/>
              <a:gd name="connsiteX361" fmla="*/ 1762761 w 2114552"/>
              <a:gd name="connsiteY361" fmla="*/ 474663 h 800100"/>
              <a:gd name="connsiteX362" fmla="*/ 1758634 w 2114552"/>
              <a:gd name="connsiteY362" fmla="*/ 487182 h 800100"/>
              <a:gd name="connsiteX363" fmla="*/ 1746251 w 2114552"/>
              <a:gd name="connsiteY363" fmla="*/ 608194 h 800100"/>
              <a:gd name="connsiteX364" fmla="*/ 1750379 w 2114552"/>
              <a:gd name="connsiteY364" fmla="*/ 620713 h 800100"/>
              <a:gd name="connsiteX365" fmla="*/ 1758634 w 2114552"/>
              <a:gd name="connsiteY365" fmla="*/ 620713 h 800100"/>
              <a:gd name="connsiteX366" fmla="*/ 1886587 w 2114552"/>
              <a:gd name="connsiteY366" fmla="*/ 545602 h 800100"/>
              <a:gd name="connsiteX367" fmla="*/ 1890714 w 2114552"/>
              <a:gd name="connsiteY367" fmla="*/ 537256 h 800100"/>
              <a:gd name="connsiteX368" fmla="*/ 1882459 w 2114552"/>
              <a:gd name="connsiteY368" fmla="*/ 528910 h 800100"/>
              <a:gd name="connsiteX369" fmla="*/ 1775144 w 2114552"/>
              <a:gd name="connsiteY369" fmla="*/ 474663 h 800100"/>
              <a:gd name="connsiteX370" fmla="*/ 1762761 w 2114552"/>
              <a:gd name="connsiteY370" fmla="*/ 474663 h 800100"/>
              <a:gd name="connsiteX371" fmla="*/ 725572 w 2114552"/>
              <a:gd name="connsiteY371" fmla="*/ 428624 h 800100"/>
              <a:gd name="connsiteX372" fmla="*/ 696913 w 2114552"/>
              <a:gd name="connsiteY372" fmla="*/ 457993 h 800100"/>
              <a:gd name="connsiteX373" fmla="*/ 717384 w 2114552"/>
              <a:gd name="connsiteY373" fmla="*/ 487362 h 800100"/>
              <a:gd name="connsiteX374" fmla="*/ 774701 w 2114552"/>
              <a:gd name="connsiteY374" fmla="*/ 478971 h 800100"/>
              <a:gd name="connsiteX375" fmla="*/ 774701 w 2114552"/>
              <a:gd name="connsiteY375" fmla="*/ 428624 h 800100"/>
              <a:gd name="connsiteX376" fmla="*/ 352426 w 2114552"/>
              <a:gd name="connsiteY376" fmla="*/ 346073 h 800100"/>
              <a:gd name="connsiteX377" fmla="*/ 303213 w 2114552"/>
              <a:gd name="connsiteY377" fmla="*/ 412562 h 800100"/>
              <a:gd name="connsiteX378" fmla="*/ 352426 w 2114552"/>
              <a:gd name="connsiteY378" fmla="*/ 487361 h 800100"/>
              <a:gd name="connsiteX379" fmla="*/ 401638 w 2114552"/>
              <a:gd name="connsiteY379" fmla="*/ 412562 h 800100"/>
              <a:gd name="connsiteX380" fmla="*/ 352426 w 2114552"/>
              <a:gd name="connsiteY380" fmla="*/ 346073 h 800100"/>
              <a:gd name="connsiteX381" fmla="*/ 1704770 w 2114552"/>
              <a:gd name="connsiteY381" fmla="*/ 341312 h 800100"/>
              <a:gd name="connsiteX382" fmla="*/ 1704770 w 2114552"/>
              <a:gd name="connsiteY382" fmla="*/ 353885 h 800100"/>
              <a:gd name="connsiteX383" fmla="*/ 1671639 w 2114552"/>
              <a:gd name="connsiteY383" fmla="*/ 399986 h 800100"/>
              <a:gd name="connsiteX384" fmla="*/ 1717193 w 2114552"/>
              <a:gd name="connsiteY384" fmla="*/ 446087 h 800100"/>
              <a:gd name="connsiteX385" fmla="*/ 1766889 w 2114552"/>
              <a:gd name="connsiteY385" fmla="*/ 399986 h 800100"/>
              <a:gd name="connsiteX386" fmla="*/ 1729617 w 2114552"/>
              <a:gd name="connsiteY386" fmla="*/ 353885 h 800100"/>
              <a:gd name="connsiteX387" fmla="*/ 1729617 w 2114552"/>
              <a:gd name="connsiteY387" fmla="*/ 341312 h 800100"/>
              <a:gd name="connsiteX388" fmla="*/ 1704770 w 2114552"/>
              <a:gd name="connsiteY388" fmla="*/ 341312 h 800100"/>
              <a:gd name="connsiteX389" fmla="*/ 1716883 w 2114552"/>
              <a:gd name="connsiteY389" fmla="*/ 328612 h 800100"/>
              <a:gd name="connsiteX390" fmla="*/ 1787527 w 2114552"/>
              <a:gd name="connsiteY390" fmla="*/ 400050 h 800100"/>
              <a:gd name="connsiteX391" fmla="*/ 1716883 w 2114552"/>
              <a:gd name="connsiteY391" fmla="*/ 471488 h 800100"/>
              <a:gd name="connsiteX392" fmla="*/ 1646239 w 2114552"/>
              <a:gd name="connsiteY392" fmla="*/ 400050 h 800100"/>
              <a:gd name="connsiteX393" fmla="*/ 1716883 w 2114552"/>
              <a:gd name="connsiteY393" fmla="*/ 328612 h 800100"/>
              <a:gd name="connsiteX394" fmla="*/ 1716883 w 2114552"/>
              <a:gd name="connsiteY394" fmla="*/ 320675 h 800100"/>
              <a:gd name="connsiteX395" fmla="*/ 1638301 w 2114552"/>
              <a:gd name="connsiteY395" fmla="*/ 400050 h 800100"/>
              <a:gd name="connsiteX396" fmla="*/ 1716883 w 2114552"/>
              <a:gd name="connsiteY396" fmla="*/ 479425 h 800100"/>
              <a:gd name="connsiteX397" fmla="*/ 1795465 w 2114552"/>
              <a:gd name="connsiteY397" fmla="*/ 400050 h 800100"/>
              <a:gd name="connsiteX398" fmla="*/ 1716883 w 2114552"/>
              <a:gd name="connsiteY398" fmla="*/ 320675 h 800100"/>
              <a:gd name="connsiteX399" fmla="*/ 1924004 w 2114552"/>
              <a:gd name="connsiteY399" fmla="*/ 317500 h 800100"/>
              <a:gd name="connsiteX400" fmla="*/ 1911592 w 2114552"/>
              <a:gd name="connsiteY400" fmla="*/ 321667 h 800100"/>
              <a:gd name="connsiteX401" fmla="*/ 1812301 w 2114552"/>
              <a:gd name="connsiteY401" fmla="*/ 388342 h 800100"/>
              <a:gd name="connsiteX402" fmla="*/ 1808164 w 2114552"/>
              <a:gd name="connsiteY402" fmla="*/ 400844 h 800100"/>
              <a:gd name="connsiteX403" fmla="*/ 1812301 w 2114552"/>
              <a:gd name="connsiteY403" fmla="*/ 409178 h 800100"/>
              <a:gd name="connsiteX404" fmla="*/ 1915729 w 2114552"/>
              <a:gd name="connsiteY404" fmla="*/ 480021 h 800100"/>
              <a:gd name="connsiteX405" fmla="*/ 1924004 w 2114552"/>
              <a:gd name="connsiteY405" fmla="*/ 480021 h 800100"/>
              <a:gd name="connsiteX406" fmla="*/ 1928141 w 2114552"/>
              <a:gd name="connsiteY406" fmla="*/ 471686 h 800100"/>
              <a:gd name="connsiteX407" fmla="*/ 1928141 w 2114552"/>
              <a:gd name="connsiteY407" fmla="*/ 325834 h 800100"/>
              <a:gd name="connsiteX408" fmla="*/ 1924004 w 2114552"/>
              <a:gd name="connsiteY408" fmla="*/ 317500 h 800100"/>
              <a:gd name="connsiteX409" fmla="*/ 1509762 w 2114552"/>
              <a:gd name="connsiteY409" fmla="*/ 317500 h 800100"/>
              <a:gd name="connsiteX410" fmla="*/ 1501487 w 2114552"/>
              <a:gd name="connsiteY410" fmla="*/ 325834 h 800100"/>
              <a:gd name="connsiteX411" fmla="*/ 1501487 w 2114552"/>
              <a:gd name="connsiteY411" fmla="*/ 475854 h 800100"/>
              <a:gd name="connsiteX412" fmla="*/ 1509762 w 2114552"/>
              <a:gd name="connsiteY412" fmla="*/ 480021 h 800100"/>
              <a:gd name="connsiteX413" fmla="*/ 1518036 w 2114552"/>
              <a:gd name="connsiteY413" fmla="*/ 480021 h 800100"/>
              <a:gd name="connsiteX414" fmla="*/ 1621464 w 2114552"/>
              <a:gd name="connsiteY414" fmla="*/ 409178 h 800100"/>
              <a:gd name="connsiteX415" fmla="*/ 1625601 w 2114552"/>
              <a:gd name="connsiteY415" fmla="*/ 400844 h 800100"/>
              <a:gd name="connsiteX416" fmla="*/ 1621464 w 2114552"/>
              <a:gd name="connsiteY416" fmla="*/ 388342 h 800100"/>
              <a:gd name="connsiteX417" fmla="*/ 1518036 w 2114552"/>
              <a:gd name="connsiteY417" fmla="*/ 321667 h 800100"/>
              <a:gd name="connsiteX418" fmla="*/ 1509762 w 2114552"/>
              <a:gd name="connsiteY418" fmla="*/ 317500 h 800100"/>
              <a:gd name="connsiteX419" fmla="*/ 1032821 w 2114552"/>
              <a:gd name="connsiteY419" fmla="*/ 304799 h 800100"/>
              <a:gd name="connsiteX420" fmla="*/ 1041062 w 2114552"/>
              <a:gd name="connsiteY420" fmla="*/ 304799 h 800100"/>
              <a:gd name="connsiteX421" fmla="*/ 1074028 w 2114552"/>
              <a:gd name="connsiteY421" fmla="*/ 304799 h 800100"/>
              <a:gd name="connsiteX422" fmla="*/ 1082270 w 2114552"/>
              <a:gd name="connsiteY422" fmla="*/ 308966 h 800100"/>
              <a:gd name="connsiteX423" fmla="*/ 1123477 w 2114552"/>
              <a:gd name="connsiteY423" fmla="*/ 479821 h 800100"/>
              <a:gd name="connsiteX424" fmla="*/ 1127598 w 2114552"/>
              <a:gd name="connsiteY424" fmla="*/ 479821 h 800100"/>
              <a:gd name="connsiteX425" fmla="*/ 1172926 w 2114552"/>
              <a:gd name="connsiteY425" fmla="*/ 308966 h 800100"/>
              <a:gd name="connsiteX426" fmla="*/ 1181168 w 2114552"/>
              <a:gd name="connsiteY426" fmla="*/ 304799 h 800100"/>
              <a:gd name="connsiteX427" fmla="*/ 1214134 w 2114552"/>
              <a:gd name="connsiteY427" fmla="*/ 304799 h 800100"/>
              <a:gd name="connsiteX428" fmla="*/ 1222375 w 2114552"/>
              <a:gd name="connsiteY428" fmla="*/ 304799 h 800100"/>
              <a:gd name="connsiteX429" fmla="*/ 1222375 w 2114552"/>
              <a:gd name="connsiteY429" fmla="*/ 313133 h 800100"/>
              <a:gd name="connsiteX430" fmla="*/ 1218254 w 2114552"/>
              <a:gd name="connsiteY430" fmla="*/ 338137 h 800100"/>
              <a:gd name="connsiteX431" fmla="*/ 1201771 w 2114552"/>
              <a:gd name="connsiteY431" fmla="*/ 388143 h 800100"/>
              <a:gd name="connsiteX432" fmla="*/ 1164685 w 2114552"/>
              <a:gd name="connsiteY432" fmla="*/ 542329 h 800100"/>
              <a:gd name="connsiteX433" fmla="*/ 1098753 w 2114552"/>
              <a:gd name="connsiteY433" fmla="*/ 604837 h 800100"/>
              <a:gd name="connsiteX434" fmla="*/ 1094632 w 2114552"/>
              <a:gd name="connsiteY434" fmla="*/ 604837 h 800100"/>
              <a:gd name="connsiteX435" fmla="*/ 1041062 w 2114552"/>
              <a:gd name="connsiteY435" fmla="*/ 600670 h 800100"/>
              <a:gd name="connsiteX436" fmla="*/ 1032821 w 2114552"/>
              <a:gd name="connsiteY436" fmla="*/ 592335 h 800100"/>
              <a:gd name="connsiteX437" fmla="*/ 1032821 w 2114552"/>
              <a:gd name="connsiteY437" fmla="*/ 567332 h 800100"/>
              <a:gd name="connsiteX438" fmla="*/ 1036942 w 2114552"/>
              <a:gd name="connsiteY438" fmla="*/ 563165 h 800100"/>
              <a:gd name="connsiteX439" fmla="*/ 1041062 w 2114552"/>
              <a:gd name="connsiteY439" fmla="*/ 558998 h 800100"/>
              <a:gd name="connsiteX440" fmla="*/ 1082270 w 2114552"/>
              <a:gd name="connsiteY440" fmla="*/ 563165 h 800100"/>
              <a:gd name="connsiteX441" fmla="*/ 1115236 w 2114552"/>
              <a:gd name="connsiteY441" fmla="*/ 538162 h 800100"/>
              <a:gd name="connsiteX442" fmla="*/ 1119357 w 2114552"/>
              <a:gd name="connsiteY442" fmla="*/ 529828 h 800100"/>
              <a:gd name="connsiteX443" fmla="*/ 1106994 w 2114552"/>
              <a:gd name="connsiteY443" fmla="*/ 529828 h 800100"/>
              <a:gd name="connsiteX444" fmla="*/ 1082270 w 2114552"/>
              <a:gd name="connsiteY444" fmla="*/ 504824 h 800100"/>
              <a:gd name="connsiteX445" fmla="*/ 1032821 w 2114552"/>
              <a:gd name="connsiteY445" fmla="*/ 313133 h 800100"/>
              <a:gd name="connsiteX446" fmla="*/ 1032821 w 2114552"/>
              <a:gd name="connsiteY446" fmla="*/ 304799 h 800100"/>
              <a:gd name="connsiteX447" fmla="*/ 994979 w 2114552"/>
              <a:gd name="connsiteY447" fmla="*/ 300037 h 800100"/>
              <a:gd name="connsiteX448" fmla="*/ 999140 w 2114552"/>
              <a:gd name="connsiteY448" fmla="*/ 304193 h 800100"/>
              <a:gd name="connsiteX449" fmla="*/ 1003300 w 2114552"/>
              <a:gd name="connsiteY449" fmla="*/ 308350 h 800100"/>
              <a:gd name="connsiteX450" fmla="*/ 1003300 w 2114552"/>
              <a:gd name="connsiteY450" fmla="*/ 341601 h 800100"/>
              <a:gd name="connsiteX451" fmla="*/ 994979 w 2114552"/>
              <a:gd name="connsiteY451" fmla="*/ 349913 h 800100"/>
              <a:gd name="connsiteX452" fmla="*/ 932574 w 2114552"/>
              <a:gd name="connsiteY452" fmla="*/ 374852 h 800100"/>
              <a:gd name="connsiteX453" fmla="*/ 932574 w 2114552"/>
              <a:gd name="connsiteY453" fmla="*/ 520324 h 800100"/>
              <a:gd name="connsiteX454" fmla="*/ 924254 w 2114552"/>
              <a:gd name="connsiteY454" fmla="*/ 528637 h 800100"/>
              <a:gd name="connsiteX455" fmla="*/ 890971 w 2114552"/>
              <a:gd name="connsiteY455" fmla="*/ 528637 h 800100"/>
              <a:gd name="connsiteX456" fmla="*/ 882650 w 2114552"/>
              <a:gd name="connsiteY456" fmla="*/ 520324 h 800100"/>
              <a:gd name="connsiteX457" fmla="*/ 882650 w 2114552"/>
              <a:gd name="connsiteY457" fmla="*/ 312506 h 800100"/>
              <a:gd name="connsiteX458" fmla="*/ 890971 w 2114552"/>
              <a:gd name="connsiteY458" fmla="*/ 304193 h 800100"/>
              <a:gd name="connsiteX459" fmla="*/ 924254 w 2114552"/>
              <a:gd name="connsiteY459" fmla="*/ 304193 h 800100"/>
              <a:gd name="connsiteX460" fmla="*/ 932574 w 2114552"/>
              <a:gd name="connsiteY460" fmla="*/ 312506 h 800100"/>
              <a:gd name="connsiteX461" fmla="*/ 932574 w 2114552"/>
              <a:gd name="connsiteY461" fmla="*/ 324975 h 800100"/>
              <a:gd name="connsiteX462" fmla="*/ 994979 w 2114552"/>
              <a:gd name="connsiteY462" fmla="*/ 300037 h 800100"/>
              <a:gd name="connsiteX463" fmla="*/ 750816 w 2114552"/>
              <a:gd name="connsiteY463" fmla="*/ 295274 h 800100"/>
              <a:gd name="connsiteX464" fmla="*/ 825501 w 2114552"/>
              <a:gd name="connsiteY464" fmla="*/ 374649 h 800100"/>
              <a:gd name="connsiteX465" fmla="*/ 825501 w 2114552"/>
              <a:gd name="connsiteY465" fmla="*/ 525044 h 800100"/>
              <a:gd name="connsiteX466" fmla="*/ 825501 w 2114552"/>
              <a:gd name="connsiteY466" fmla="*/ 529221 h 800100"/>
              <a:gd name="connsiteX467" fmla="*/ 817203 w 2114552"/>
              <a:gd name="connsiteY467" fmla="*/ 533399 h 800100"/>
              <a:gd name="connsiteX468" fmla="*/ 784010 w 2114552"/>
              <a:gd name="connsiteY468" fmla="*/ 516688 h 800100"/>
              <a:gd name="connsiteX469" fmla="*/ 709325 w 2114552"/>
              <a:gd name="connsiteY469" fmla="*/ 533399 h 800100"/>
              <a:gd name="connsiteX470" fmla="*/ 642938 w 2114552"/>
              <a:gd name="connsiteY470" fmla="*/ 462379 h 800100"/>
              <a:gd name="connsiteX471" fmla="*/ 717623 w 2114552"/>
              <a:gd name="connsiteY471" fmla="*/ 391360 h 800100"/>
              <a:gd name="connsiteX472" fmla="*/ 775711 w 2114552"/>
              <a:gd name="connsiteY472" fmla="*/ 387182 h 800100"/>
              <a:gd name="connsiteX473" fmla="*/ 775711 w 2114552"/>
              <a:gd name="connsiteY473" fmla="*/ 374649 h 800100"/>
              <a:gd name="connsiteX474" fmla="*/ 746667 w 2114552"/>
              <a:gd name="connsiteY474" fmla="*/ 345406 h 800100"/>
              <a:gd name="connsiteX475" fmla="*/ 667833 w 2114552"/>
              <a:gd name="connsiteY475" fmla="*/ 349583 h 800100"/>
              <a:gd name="connsiteX476" fmla="*/ 663684 w 2114552"/>
              <a:gd name="connsiteY476" fmla="*/ 349583 h 800100"/>
              <a:gd name="connsiteX477" fmla="*/ 659535 w 2114552"/>
              <a:gd name="connsiteY477" fmla="*/ 341228 h 800100"/>
              <a:gd name="connsiteX478" fmla="*/ 659535 w 2114552"/>
              <a:gd name="connsiteY478" fmla="*/ 311985 h 800100"/>
              <a:gd name="connsiteX479" fmla="*/ 667833 w 2114552"/>
              <a:gd name="connsiteY479" fmla="*/ 303629 h 800100"/>
              <a:gd name="connsiteX480" fmla="*/ 750816 w 2114552"/>
              <a:gd name="connsiteY480" fmla="*/ 295274 h 800100"/>
              <a:gd name="connsiteX481" fmla="*/ 354013 w 2114552"/>
              <a:gd name="connsiteY481" fmla="*/ 295273 h 800100"/>
              <a:gd name="connsiteX482" fmla="*/ 455613 w 2114552"/>
              <a:gd name="connsiteY482" fmla="*/ 414336 h 800100"/>
              <a:gd name="connsiteX483" fmla="*/ 354013 w 2114552"/>
              <a:gd name="connsiteY483" fmla="*/ 533399 h 800100"/>
              <a:gd name="connsiteX484" fmla="*/ 252413 w 2114552"/>
              <a:gd name="connsiteY484" fmla="*/ 414336 h 800100"/>
              <a:gd name="connsiteX485" fmla="*/ 354013 w 2114552"/>
              <a:gd name="connsiteY485" fmla="*/ 295273 h 800100"/>
              <a:gd name="connsiteX486" fmla="*/ 53975 w 2114552"/>
              <a:gd name="connsiteY486" fmla="*/ 266699 h 800100"/>
              <a:gd name="connsiteX487" fmla="*/ 53975 w 2114552"/>
              <a:gd name="connsiteY487" fmla="*/ 358774 h 800100"/>
              <a:gd name="connsiteX488" fmla="*/ 107480 w 2114552"/>
              <a:gd name="connsiteY488" fmla="*/ 358774 h 800100"/>
              <a:gd name="connsiteX489" fmla="*/ 165100 w 2114552"/>
              <a:gd name="connsiteY489" fmla="*/ 312737 h 800100"/>
              <a:gd name="connsiteX490" fmla="*/ 111595 w 2114552"/>
              <a:gd name="connsiteY490" fmla="*/ 266699 h 800100"/>
              <a:gd name="connsiteX491" fmla="*/ 91017 w 2114552"/>
              <a:gd name="connsiteY491" fmla="*/ 266699 h 800100"/>
              <a:gd name="connsiteX492" fmla="*/ 53975 w 2114552"/>
              <a:gd name="connsiteY492" fmla="*/ 266699 h 800100"/>
              <a:gd name="connsiteX493" fmla="*/ 546894 w 2114552"/>
              <a:gd name="connsiteY493" fmla="*/ 250824 h 800100"/>
              <a:gd name="connsiteX494" fmla="*/ 551050 w 2114552"/>
              <a:gd name="connsiteY494" fmla="*/ 250824 h 800100"/>
              <a:gd name="connsiteX495" fmla="*/ 555205 w 2114552"/>
              <a:gd name="connsiteY495" fmla="*/ 259135 h 800100"/>
              <a:gd name="connsiteX496" fmla="*/ 555205 w 2114552"/>
              <a:gd name="connsiteY496" fmla="*/ 304846 h 800100"/>
              <a:gd name="connsiteX497" fmla="*/ 609227 w 2114552"/>
              <a:gd name="connsiteY497" fmla="*/ 304846 h 800100"/>
              <a:gd name="connsiteX498" fmla="*/ 617538 w 2114552"/>
              <a:gd name="connsiteY498" fmla="*/ 313157 h 800100"/>
              <a:gd name="connsiteX499" fmla="*/ 617538 w 2114552"/>
              <a:gd name="connsiteY499" fmla="*/ 342245 h 800100"/>
              <a:gd name="connsiteX500" fmla="*/ 609227 w 2114552"/>
              <a:gd name="connsiteY500" fmla="*/ 350556 h 800100"/>
              <a:gd name="connsiteX501" fmla="*/ 555205 w 2114552"/>
              <a:gd name="connsiteY501" fmla="*/ 350556 h 800100"/>
              <a:gd name="connsiteX502" fmla="*/ 555205 w 2114552"/>
              <a:gd name="connsiteY502" fmla="*/ 441978 h 800100"/>
              <a:gd name="connsiteX503" fmla="*/ 580138 w 2114552"/>
              <a:gd name="connsiteY503" fmla="*/ 483533 h 800100"/>
              <a:gd name="connsiteX504" fmla="*/ 609227 w 2114552"/>
              <a:gd name="connsiteY504" fmla="*/ 483533 h 800100"/>
              <a:gd name="connsiteX505" fmla="*/ 617538 w 2114552"/>
              <a:gd name="connsiteY505" fmla="*/ 491844 h 800100"/>
              <a:gd name="connsiteX506" fmla="*/ 617538 w 2114552"/>
              <a:gd name="connsiteY506" fmla="*/ 520932 h 800100"/>
              <a:gd name="connsiteX507" fmla="*/ 609227 w 2114552"/>
              <a:gd name="connsiteY507" fmla="*/ 529244 h 800100"/>
              <a:gd name="connsiteX508" fmla="*/ 571827 w 2114552"/>
              <a:gd name="connsiteY508" fmla="*/ 533399 h 800100"/>
              <a:gd name="connsiteX509" fmla="*/ 505339 w 2114552"/>
              <a:gd name="connsiteY509" fmla="*/ 450289 h 800100"/>
              <a:gd name="connsiteX510" fmla="*/ 505339 w 2114552"/>
              <a:gd name="connsiteY510" fmla="*/ 350556 h 800100"/>
              <a:gd name="connsiteX511" fmla="*/ 484561 w 2114552"/>
              <a:gd name="connsiteY511" fmla="*/ 350556 h 800100"/>
              <a:gd name="connsiteX512" fmla="*/ 476250 w 2114552"/>
              <a:gd name="connsiteY512" fmla="*/ 342245 h 800100"/>
              <a:gd name="connsiteX513" fmla="*/ 476250 w 2114552"/>
              <a:gd name="connsiteY513" fmla="*/ 313157 h 800100"/>
              <a:gd name="connsiteX514" fmla="*/ 484561 w 2114552"/>
              <a:gd name="connsiteY514" fmla="*/ 304846 h 800100"/>
              <a:gd name="connsiteX515" fmla="*/ 505339 w 2114552"/>
              <a:gd name="connsiteY515" fmla="*/ 304846 h 800100"/>
              <a:gd name="connsiteX516" fmla="*/ 505339 w 2114552"/>
              <a:gd name="connsiteY516" fmla="*/ 267446 h 800100"/>
              <a:gd name="connsiteX517" fmla="*/ 509494 w 2114552"/>
              <a:gd name="connsiteY517" fmla="*/ 259135 h 800100"/>
              <a:gd name="connsiteX518" fmla="*/ 546894 w 2114552"/>
              <a:gd name="connsiteY518" fmla="*/ 250824 h 800100"/>
              <a:gd name="connsiteX519" fmla="*/ 103337 w 2114552"/>
              <a:gd name="connsiteY519" fmla="*/ 217487 h 800100"/>
              <a:gd name="connsiteX520" fmla="*/ 111604 w 2114552"/>
              <a:gd name="connsiteY520" fmla="*/ 217487 h 800100"/>
              <a:gd name="connsiteX521" fmla="*/ 219075 w 2114552"/>
              <a:gd name="connsiteY521" fmla="*/ 312906 h 800100"/>
              <a:gd name="connsiteX522" fmla="*/ 165340 w 2114552"/>
              <a:gd name="connsiteY522" fmla="*/ 391731 h 800100"/>
              <a:gd name="connsiteX523" fmla="*/ 219075 w 2114552"/>
              <a:gd name="connsiteY523" fmla="*/ 516191 h 800100"/>
              <a:gd name="connsiteX524" fmla="*/ 219075 w 2114552"/>
              <a:gd name="connsiteY524" fmla="*/ 524488 h 800100"/>
              <a:gd name="connsiteX525" fmla="*/ 210808 w 2114552"/>
              <a:gd name="connsiteY525" fmla="*/ 528637 h 800100"/>
              <a:gd name="connsiteX526" fmla="*/ 173607 w 2114552"/>
              <a:gd name="connsiteY526" fmla="*/ 528637 h 800100"/>
              <a:gd name="connsiteX527" fmla="*/ 165340 w 2114552"/>
              <a:gd name="connsiteY527" fmla="*/ 524488 h 800100"/>
              <a:gd name="connsiteX528" fmla="*/ 111604 w 2114552"/>
              <a:gd name="connsiteY528" fmla="*/ 408326 h 800100"/>
              <a:gd name="connsiteX529" fmla="*/ 53736 w 2114552"/>
              <a:gd name="connsiteY529" fmla="*/ 404177 h 800100"/>
              <a:gd name="connsiteX530" fmla="*/ 53736 w 2114552"/>
              <a:gd name="connsiteY530" fmla="*/ 520340 h 800100"/>
              <a:gd name="connsiteX531" fmla="*/ 45469 w 2114552"/>
              <a:gd name="connsiteY531" fmla="*/ 528637 h 800100"/>
              <a:gd name="connsiteX532" fmla="*/ 8267 w 2114552"/>
              <a:gd name="connsiteY532" fmla="*/ 528637 h 800100"/>
              <a:gd name="connsiteX533" fmla="*/ 0 w 2114552"/>
              <a:gd name="connsiteY533" fmla="*/ 520340 h 800100"/>
              <a:gd name="connsiteX534" fmla="*/ 0 w 2114552"/>
              <a:gd name="connsiteY534" fmla="*/ 229933 h 800100"/>
              <a:gd name="connsiteX535" fmla="*/ 8267 w 2114552"/>
              <a:gd name="connsiteY535" fmla="*/ 221636 h 800100"/>
              <a:gd name="connsiteX536" fmla="*/ 103337 w 2114552"/>
              <a:gd name="connsiteY536" fmla="*/ 217487 h 800100"/>
              <a:gd name="connsiteX537" fmla="*/ 1941299 w 2114552"/>
              <a:gd name="connsiteY537" fmla="*/ 180951 h 800100"/>
              <a:gd name="connsiteX538" fmla="*/ 1936665 w 2114552"/>
              <a:gd name="connsiteY538" fmla="*/ 183555 h 800100"/>
              <a:gd name="connsiteX539" fmla="*/ 1903714 w 2114552"/>
              <a:gd name="connsiteY539" fmla="*/ 221060 h 800100"/>
              <a:gd name="connsiteX540" fmla="*/ 1903714 w 2114552"/>
              <a:gd name="connsiteY540" fmla="*/ 237729 h 800100"/>
              <a:gd name="connsiteX541" fmla="*/ 1957260 w 2114552"/>
              <a:gd name="connsiteY541" fmla="*/ 450256 h 800100"/>
              <a:gd name="connsiteX542" fmla="*/ 1965498 w 2114552"/>
              <a:gd name="connsiteY542" fmla="*/ 462757 h 800100"/>
              <a:gd name="connsiteX543" fmla="*/ 2010806 w 2114552"/>
              <a:gd name="connsiteY543" fmla="*/ 475259 h 800100"/>
              <a:gd name="connsiteX544" fmla="*/ 2023163 w 2114552"/>
              <a:gd name="connsiteY544" fmla="*/ 471092 h 800100"/>
              <a:gd name="connsiteX545" fmla="*/ 1949022 w 2114552"/>
              <a:gd name="connsiteY545" fmla="*/ 187722 h 800100"/>
              <a:gd name="connsiteX546" fmla="*/ 1941299 w 2114552"/>
              <a:gd name="connsiteY546" fmla="*/ 180951 h 800100"/>
              <a:gd name="connsiteX547" fmla="*/ 1491989 w 2114552"/>
              <a:gd name="connsiteY547" fmla="*/ 180951 h 800100"/>
              <a:gd name="connsiteX548" fmla="*/ 1484185 w 2114552"/>
              <a:gd name="connsiteY548" fmla="*/ 187722 h 800100"/>
              <a:gd name="connsiteX549" fmla="*/ 1409272 w 2114552"/>
              <a:gd name="connsiteY549" fmla="*/ 471092 h 800100"/>
              <a:gd name="connsiteX550" fmla="*/ 1421758 w 2114552"/>
              <a:gd name="connsiteY550" fmla="*/ 475259 h 800100"/>
              <a:gd name="connsiteX551" fmla="*/ 1467538 w 2114552"/>
              <a:gd name="connsiteY551" fmla="*/ 462757 h 800100"/>
              <a:gd name="connsiteX552" fmla="*/ 1475862 w 2114552"/>
              <a:gd name="connsiteY552" fmla="*/ 450256 h 800100"/>
              <a:gd name="connsiteX553" fmla="*/ 1529965 w 2114552"/>
              <a:gd name="connsiteY553" fmla="*/ 237729 h 800100"/>
              <a:gd name="connsiteX554" fmla="*/ 1534127 w 2114552"/>
              <a:gd name="connsiteY554" fmla="*/ 221060 h 800100"/>
              <a:gd name="connsiteX555" fmla="*/ 1496671 w 2114552"/>
              <a:gd name="connsiteY555" fmla="*/ 183555 h 800100"/>
              <a:gd name="connsiteX556" fmla="*/ 1491989 w 2114552"/>
              <a:gd name="connsiteY556" fmla="*/ 180951 h 800100"/>
              <a:gd name="connsiteX557" fmla="*/ 1750379 w 2114552"/>
              <a:gd name="connsiteY557" fmla="*/ 174625 h 800100"/>
              <a:gd name="connsiteX558" fmla="*/ 1746251 w 2114552"/>
              <a:gd name="connsiteY558" fmla="*/ 187144 h 800100"/>
              <a:gd name="connsiteX559" fmla="*/ 1754506 w 2114552"/>
              <a:gd name="connsiteY559" fmla="*/ 308156 h 800100"/>
              <a:gd name="connsiteX560" fmla="*/ 1762761 w 2114552"/>
              <a:gd name="connsiteY560" fmla="*/ 320675 h 800100"/>
              <a:gd name="connsiteX561" fmla="*/ 1775144 w 2114552"/>
              <a:gd name="connsiteY561" fmla="*/ 320675 h 800100"/>
              <a:gd name="connsiteX562" fmla="*/ 1882459 w 2114552"/>
              <a:gd name="connsiteY562" fmla="*/ 266428 h 800100"/>
              <a:gd name="connsiteX563" fmla="*/ 1890714 w 2114552"/>
              <a:gd name="connsiteY563" fmla="*/ 258082 h 800100"/>
              <a:gd name="connsiteX564" fmla="*/ 1886587 w 2114552"/>
              <a:gd name="connsiteY564" fmla="*/ 249736 h 800100"/>
              <a:gd name="connsiteX565" fmla="*/ 1758634 w 2114552"/>
              <a:gd name="connsiteY565" fmla="*/ 174625 h 800100"/>
              <a:gd name="connsiteX566" fmla="*/ 1750379 w 2114552"/>
              <a:gd name="connsiteY566" fmla="*/ 174625 h 800100"/>
              <a:gd name="connsiteX567" fmla="*/ 1675132 w 2114552"/>
              <a:gd name="connsiteY567" fmla="*/ 174625 h 800100"/>
              <a:gd name="connsiteX568" fmla="*/ 1547179 w 2114552"/>
              <a:gd name="connsiteY568" fmla="*/ 249736 h 800100"/>
              <a:gd name="connsiteX569" fmla="*/ 1543051 w 2114552"/>
              <a:gd name="connsiteY569" fmla="*/ 258082 h 800100"/>
              <a:gd name="connsiteX570" fmla="*/ 1551306 w 2114552"/>
              <a:gd name="connsiteY570" fmla="*/ 266428 h 800100"/>
              <a:gd name="connsiteX571" fmla="*/ 1658622 w 2114552"/>
              <a:gd name="connsiteY571" fmla="*/ 320675 h 800100"/>
              <a:gd name="connsiteX572" fmla="*/ 1671004 w 2114552"/>
              <a:gd name="connsiteY572" fmla="*/ 320675 h 800100"/>
              <a:gd name="connsiteX573" fmla="*/ 1675132 w 2114552"/>
              <a:gd name="connsiteY573" fmla="*/ 312329 h 800100"/>
              <a:gd name="connsiteX574" fmla="*/ 1687514 w 2114552"/>
              <a:gd name="connsiteY574" fmla="*/ 187144 h 800100"/>
              <a:gd name="connsiteX575" fmla="*/ 1683387 w 2114552"/>
              <a:gd name="connsiteY575" fmla="*/ 174625 h 800100"/>
              <a:gd name="connsiteX576" fmla="*/ 1675132 w 2114552"/>
              <a:gd name="connsiteY576" fmla="*/ 174625 h 800100"/>
              <a:gd name="connsiteX577" fmla="*/ 1579247 w 2114552"/>
              <a:gd name="connsiteY577" fmla="*/ 133350 h 800100"/>
              <a:gd name="connsiteX578" fmla="*/ 1566864 w 2114552"/>
              <a:gd name="connsiteY578" fmla="*/ 142082 h 800100"/>
              <a:gd name="connsiteX579" fmla="*/ 1570992 w 2114552"/>
              <a:gd name="connsiteY579" fmla="*/ 142082 h 800100"/>
              <a:gd name="connsiteX580" fmla="*/ 1575119 w 2114552"/>
              <a:gd name="connsiteY580" fmla="*/ 150813 h 800100"/>
              <a:gd name="connsiteX581" fmla="*/ 1583375 w 2114552"/>
              <a:gd name="connsiteY581" fmla="*/ 146447 h 800100"/>
              <a:gd name="connsiteX582" fmla="*/ 1587502 w 2114552"/>
              <a:gd name="connsiteY582" fmla="*/ 142082 h 800100"/>
              <a:gd name="connsiteX583" fmla="*/ 1579247 w 2114552"/>
              <a:gd name="connsiteY583" fmla="*/ 133350 h 800100"/>
              <a:gd name="connsiteX584" fmla="*/ 1575142 w 2114552"/>
              <a:gd name="connsiteY584" fmla="*/ 124846 h 800100"/>
              <a:gd name="connsiteX585" fmla="*/ 1596120 w 2114552"/>
              <a:gd name="connsiteY585" fmla="*/ 141628 h 800100"/>
              <a:gd name="connsiteX586" fmla="*/ 1596120 w 2114552"/>
              <a:gd name="connsiteY586" fmla="*/ 145823 h 800100"/>
              <a:gd name="connsiteX587" fmla="*/ 1612902 w 2114552"/>
              <a:gd name="connsiteY587" fmla="*/ 162606 h 800100"/>
              <a:gd name="connsiteX588" fmla="*/ 1604511 w 2114552"/>
              <a:gd name="connsiteY588" fmla="*/ 166801 h 800100"/>
              <a:gd name="connsiteX589" fmla="*/ 1587729 w 2114552"/>
              <a:gd name="connsiteY589" fmla="*/ 154215 h 800100"/>
              <a:gd name="connsiteX590" fmla="*/ 1579338 w 2114552"/>
              <a:gd name="connsiteY590" fmla="*/ 158410 h 800100"/>
              <a:gd name="connsiteX591" fmla="*/ 1587729 w 2114552"/>
              <a:gd name="connsiteY591" fmla="*/ 175192 h 800100"/>
              <a:gd name="connsiteX592" fmla="*/ 1579338 w 2114552"/>
              <a:gd name="connsiteY592" fmla="*/ 179388 h 800100"/>
              <a:gd name="connsiteX593" fmla="*/ 1558360 w 2114552"/>
              <a:gd name="connsiteY593" fmla="*/ 141628 h 800100"/>
              <a:gd name="connsiteX594" fmla="*/ 1554164 w 2114552"/>
              <a:gd name="connsiteY594" fmla="*/ 137432 h 800100"/>
              <a:gd name="connsiteX595" fmla="*/ 1575142 w 2114552"/>
              <a:gd name="connsiteY595" fmla="*/ 124846 h 800100"/>
              <a:gd name="connsiteX596" fmla="*/ 1836161 w 2114552"/>
              <a:gd name="connsiteY596" fmla="*/ 117475 h 800100"/>
              <a:gd name="connsiteX597" fmla="*/ 1844532 w 2114552"/>
              <a:gd name="connsiteY597" fmla="*/ 121557 h 800100"/>
              <a:gd name="connsiteX598" fmla="*/ 1848717 w 2114552"/>
              <a:gd name="connsiteY598" fmla="*/ 141968 h 800100"/>
              <a:gd name="connsiteX599" fmla="*/ 1869644 w 2114552"/>
              <a:gd name="connsiteY599" fmla="*/ 133804 h 800100"/>
              <a:gd name="connsiteX600" fmla="*/ 1878014 w 2114552"/>
              <a:gd name="connsiteY600" fmla="*/ 137886 h 800100"/>
              <a:gd name="connsiteX601" fmla="*/ 1848717 w 2114552"/>
              <a:gd name="connsiteY601" fmla="*/ 154214 h 800100"/>
              <a:gd name="connsiteX602" fmla="*/ 1840347 w 2114552"/>
              <a:gd name="connsiteY602" fmla="*/ 174625 h 800100"/>
              <a:gd name="connsiteX603" fmla="*/ 1831976 w 2114552"/>
              <a:gd name="connsiteY603" fmla="*/ 166461 h 800100"/>
              <a:gd name="connsiteX604" fmla="*/ 1840347 w 2114552"/>
              <a:gd name="connsiteY604" fmla="*/ 146050 h 800100"/>
              <a:gd name="connsiteX605" fmla="*/ 1836161 w 2114552"/>
              <a:gd name="connsiteY605" fmla="*/ 117475 h 800100"/>
              <a:gd name="connsiteX606" fmla="*/ 1794829 w 2114552"/>
              <a:gd name="connsiteY606" fmla="*/ 112713 h 800100"/>
              <a:gd name="connsiteX607" fmla="*/ 1790701 w 2114552"/>
              <a:gd name="connsiteY607" fmla="*/ 120651 h 800100"/>
              <a:gd name="connsiteX608" fmla="*/ 1790701 w 2114552"/>
              <a:gd name="connsiteY608" fmla="*/ 124619 h 800100"/>
              <a:gd name="connsiteX609" fmla="*/ 1803084 w 2114552"/>
              <a:gd name="connsiteY609" fmla="*/ 128588 h 800100"/>
              <a:gd name="connsiteX610" fmla="*/ 1811339 w 2114552"/>
              <a:gd name="connsiteY610" fmla="*/ 120651 h 800100"/>
              <a:gd name="connsiteX611" fmla="*/ 1807212 w 2114552"/>
              <a:gd name="connsiteY611" fmla="*/ 116682 h 800100"/>
              <a:gd name="connsiteX612" fmla="*/ 1794829 w 2114552"/>
              <a:gd name="connsiteY612" fmla="*/ 112713 h 800100"/>
              <a:gd name="connsiteX613" fmla="*/ 1637508 w 2114552"/>
              <a:gd name="connsiteY613" fmla="*/ 112117 h 800100"/>
              <a:gd name="connsiteX614" fmla="*/ 1620839 w 2114552"/>
              <a:gd name="connsiteY614" fmla="*/ 124619 h 800100"/>
              <a:gd name="connsiteX615" fmla="*/ 1620839 w 2114552"/>
              <a:gd name="connsiteY615" fmla="*/ 128786 h 800100"/>
              <a:gd name="connsiteX616" fmla="*/ 1637508 w 2114552"/>
              <a:gd name="connsiteY616" fmla="*/ 141288 h 800100"/>
              <a:gd name="connsiteX617" fmla="*/ 1654177 w 2114552"/>
              <a:gd name="connsiteY617" fmla="*/ 124619 h 800100"/>
              <a:gd name="connsiteX618" fmla="*/ 1637508 w 2114552"/>
              <a:gd name="connsiteY618" fmla="*/ 112117 h 800100"/>
              <a:gd name="connsiteX619" fmla="*/ 1741489 w 2114552"/>
              <a:gd name="connsiteY619" fmla="*/ 104775 h 800100"/>
              <a:gd name="connsiteX620" fmla="*/ 1737520 w 2114552"/>
              <a:gd name="connsiteY620" fmla="*/ 117158 h 800100"/>
              <a:gd name="connsiteX621" fmla="*/ 1733551 w 2114552"/>
              <a:gd name="connsiteY621" fmla="*/ 125413 h 800100"/>
              <a:gd name="connsiteX622" fmla="*/ 1749426 w 2114552"/>
              <a:gd name="connsiteY622" fmla="*/ 125413 h 800100"/>
              <a:gd name="connsiteX623" fmla="*/ 1745457 w 2114552"/>
              <a:gd name="connsiteY623" fmla="*/ 117158 h 800100"/>
              <a:gd name="connsiteX624" fmla="*/ 1741489 w 2114552"/>
              <a:gd name="connsiteY624" fmla="*/ 104775 h 800100"/>
              <a:gd name="connsiteX625" fmla="*/ 1633407 w 2114552"/>
              <a:gd name="connsiteY625" fmla="*/ 104165 h 800100"/>
              <a:gd name="connsiteX626" fmla="*/ 1662114 w 2114552"/>
              <a:gd name="connsiteY626" fmla="*/ 124925 h 800100"/>
              <a:gd name="connsiteX627" fmla="*/ 1637508 w 2114552"/>
              <a:gd name="connsiteY627" fmla="*/ 149836 h 800100"/>
              <a:gd name="connsiteX628" fmla="*/ 1612901 w 2114552"/>
              <a:gd name="connsiteY628" fmla="*/ 129076 h 800100"/>
              <a:gd name="connsiteX629" fmla="*/ 1612901 w 2114552"/>
              <a:gd name="connsiteY629" fmla="*/ 124925 h 800100"/>
              <a:gd name="connsiteX630" fmla="*/ 1633407 w 2114552"/>
              <a:gd name="connsiteY630" fmla="*/ 104165 h 800100"/>
              <a:gd name="connsiteX631" fmla="*/ 1787382 w 2114552"/>
              <a:gd name="connsiteY631" fmla="*/ 100013 h 800100"/>
              <a:gd name="connsiteX632" fmla="*/ 1812494 w 2114552"/>
              <a:gd name="connsiteY632" fmla="*/ 108404 h 800100"/>
              <a:gd name="connsiteX633" fmla="*/ 1820864 w 2114552"/>
              <a:gd name="connsiteY633" fmla="*/ 120991 h 800100"/>
              <a:gd name="connsiteX634" fmla="*/ 1808308 w 2114552"/>
              <a:gd name="connsiteY634" fmla="*/ 137773 h 800100"/>
              <a:gd name="connsiteX635" fmla="*/ 1812494 w 2114552"/>
              <a:gd name="connsiteY635" fmla="*/ 158751 h 800100"/>
              <a:gd name="connsiteX636" fmla="*/ 1804123 w 2114552"/>
              <a:gd name="connsiteY636" fmla="*/ 154555 h 800100"/>
              <a:gd name="connsiteX637" fmla="*/ 1799938 w 2114552"/>
              <a:gd name="connsiteY637" fmla="*/ 133578 h 800100"/>
              <a:gd name="connsiteX638" fmla="*/ 1791567 w 2114552"/>
              <a:gd name="connsiteY638" fmla="*/ 133578 h 800100"/>
              <a:gd name="connsiteX639" fmla="*/ 1787382 w 2114552"/>
              <a:gd name="connsiteY639" fmla="*/ 150360 h 800100"/>
              <a:gd name="connsiteX640" fmla="*/ 1774826 w 2114552"/>
              <a:gd name="connsiteY640" fmla="*/ 146164 h 800100"/>
              <a:gd name="connsiteX641" fmla="*/ 1783197 w 2114552"/>
              <a:gd name="connsiteY641" fmla="*/ 120991 h 800100"/>
              <a:gd name="connsiteX642" fmla="*/ 1787382 w 2114552"/>
              <a:gd name="connsiteY642" fmla="*/ 100013 h 800100"/>
              <a:gd name="connsiteX643" fmla="*/ 1737015 w 2114552"/>
              <a:gd name="connsiteY643" fmla="*/ 92075 h 800100"/>
              <a:gd name="connsiteX644" fmla="*/ 1749571 w 2114552"/>
              <a:gd name="connsiteY644" fmla="*/ 92075 h 800100"/>
              <a:gd name="connsiteX645" fmla="*/ 1753757 w 2114552"/>
              <a:gd name="connsiteY645" fmla="*/ 116987 h 800100"/>
              <a:gd name="connsiteX646" fmla="*/ 1762127 w 2114552"/>
              <a:gd name="connsiteY646" fmla="*/ 146050 h 800100"/>
              <a:gd name="connsiteX647" fmla="*/ 1753757 w 2114552"/>
              <a:gd name="connsiteY647" fmla="*/ 141898 h 800100"/>
              <a:gd name="connsiteX648" fmla="*/ 1749571 w 2114552"/>
              <a:gd name="connsiteY648" fmla="*/ 133594 h 800100"/>
              <a:gd name="connsiteX649" fmla="*/ 1728645 w 2114552"/>
              <a:gd name="connsiteY649" fmla="*/ 133594 h 800100"/>
              <a:gd name="connsiteX650" fmla="*/ 1724460 w 2114552"/>
              <a:gd name="connsiteY650" fmla="*/ 141898 h 800100"/>
              <a:gd name="connsiteX651" fmla="*/ 1716089 w 2114552"/>
              <a:gd name="connsiteY651" fmla="*/ 141898 h 800100"/>
              <a:gd name="connsiteX652" fmla="*/ 1728645 w 2114552"/>
              <a:gd name="connsiteY652" fmla="*/ 116987 h 800100"/>
              <a:gd name="connsiteX653" fmla="*/ 1737015 w 2114552"/>
              <a:gd name="connsiteY653" fmla="*/ 92075 h 800100"/>
              <a:gd name="connsiteX654" fmla="*/ 1712914 w 2114552"/>
              <a:gd name="connsiteY654" fmla="*/ 92075 h 800100"/>
              <a:gd name="connsiteX655" fmla="*/ 1712914 w 2114552"/>
              <a:gd name="connsiteY655" fmla="*/ 100277 h 800100"/>
              <a:gd name="connsiteX656" fmla="*/ 1696173 w 2114552"/>
              <a:gd name="connsiteY656" fmla="*/ 100277 h 800100"/>
              <a:gd name="connsiteX657" fmla="*/ 1700358 w 2114552"/>
              <a:gd name="connsiteY657" fmla="*/ 141288 h 800100"/>
              <a:gd name="connsiteX658" fmla="*/ 1687802 w 2114552"/>
              <a:gd name="connsiteY658" fmla="*/ 141288 h 800100"/>
              <a:gd name="connsiteX659" fmla="*/ 1683617 w 2114552"/>
              <a:gd name="connsiteY659" fmla="*/ 100277 h 800100"/>
              <a:gd name="connsiteX660" fmla="*/ 1666876 w 2114552"/>
              <a:gd name="connsiteY660" fmla="*/ 104378 h 800100"/>
              <a:gd name="connsiteX661" fmla="*/ 1666876 w 2114552"/>
              <a:gd name="connsiteY661" fmla="*/ 96176 h 800100"/>
              <a:gd name="connsiteX662" fmla="*/ 1712914 w 2114552"/>
              <a:gd name="connsiteY662" fmla="*/ 92075 h 800100"/>
              <a:gd name="connsiteX663" fmla="*/ 1181630 w 2114552"/>
              <a:gd name="connsiteY663" fmla="*/ 92074 h 800100"/>
              <a:gd name="connsiteX664" fmla="*/ 1147763 w 2114552"/>
              <a:gd name="connsiteY664" fmla="*/ 133349 h 800100"/>
              <a:gd name="connsiteX665" fmla="*/ 1211263 w 2114552"/>
              <a:gd name="connsiteY665" fmla="*/ 133349 h 800100"/>
              <a:gd name="connsiteX666" fmla="*/ 1181630 w 2114552"/>
              <a:gd name="connsiteY666" fmla="*/ 92074 h 800100"/>
              <a:gd name="connsiteX667" fmla="*/ 1716089 w 2114552"/>
              <a:gd name="connsiteY667" fmla="*/ 84138 h 800100"/>
              <a:gd name="connsiteX668" fmla="*/ 1521183 w 2114552"/>
              <a:gd name="connsiteY668" fmla="*/ 150178 h 800100"/>
              <a:gd name="connsiteX669" fmla="*/ 1517036 w 2114552"/>
              <a:gd name="connsiteY669" fmla="*/ 166688 h 800100"/>
              <a:gd name="connsiteX670" fmla="*/ 1550212 w 2114552"/>
              <a:gd name="connsiteY670" fmla="*/ 203836 h 800100"/>
              <a:gd name="connsiteX671" fmla="*/ 1566799 w 2114552"/>
              <a:gd name="connsiteY671" fmla="*/ 203836 h 800100"/>
              <a:gd name="connsiteX672" fmla="*/ 1716089 w 2114552"/>
              <a:gd name="connsiteY672" fmla="*/ 150178 h 800100"/>
              <a:gd name="connsiteX673" fmla="*/ 1865379 w 2114552"/>
              <a:gd name="connsiteY673" fmla="*/ 203836 h 800100"/>
              <a:gd name="connsiteX674" fmla="*/ 1881967 w 2114552"/>
              <a:gd name="connsiteY674" fmla="*/ 203836 h 800100"/>
              <a:gd name="connsiteX675" fmla="*/ 1915142 w 2114552"/>
              <a:gd name="connsiteY675" fmla="*/ 166688 h 800100"/>
              <a:gd name="connsiteX676" fmla="*/ 1910995 w 2114552"/>
              <a:gd name="connsiteY676" fmla="*/ 150178 h 800100"/>
              <a:gd name="connsiteX677" fmla="*/ 1716089 w 2114552"/>
              <a:gd name="connsiteY677" fmla="*/ 84138 h 800100"/>
              <a:gd name="connsiteX678" fmla="*/ 1181894 w 2114552"/>
              <a:gd name="connsiteY678" fmla="*/ 84137 h 800100"/>
              <a:gd name="connsiteX679" fmla="*/ 1227138 w 2114552"/>
              <a:gd name="connsiteY679" fmla="*/ 137942 h 800100"/>
              <a:gd name="connsiteX680" fmla="*/ 1227138 w 2114552"/>
              <a:gd name="connsiteY680" fmla="*/ 146220 h 800100"/>
              <a:gd name="connsiteX681" fmla="*/ 1148989 w 2114552"/>
              <a:gd name="connsiteY681" fmla="*/ 146220 h 800100"/>
              <a:gd name="connsiteX682" fmla="*/ 1186007 w 2114552"/>
              <a:gd name="connsiteY682" fmla="*/ 187608 h 800100"/>
              <a:gd name="connsiteX683" fmla="*/ 1218912 w 2114552"/>
              <a:gd name="connsiteY683" fmla="*/ 179331 h 800100"/>
              <a:gd name="connsiteX684" fmla="*/ 1218912 w 2114552"/>
              <a:gd name="connsiteY684" fmla="*/ 191747 h 800100"/>
              <a:gd name="connsiteX685" fmla="*/ 1186007 w 2114552"/>
              <a:gd name="connsiteY685" fmla="*/ 200025 h 800100"/>
              <a:gd name="connsiteX686" fmla="*/ 1136650 w 2114552"/>
              <a:gd name="connsiteY686" fmla="*/ 142081 h 800100"/>
              <a:gd name="connsiteX687" fmla="*/ 1181894 w 2114552"/>
              <a:gd name="connsiteY687" fmla="*/ 84137 h 800100"/>
              <a:gd name="connsiteX688" fmla="*/ 887413 w 2114552"/>
              <a:gd name="connsiteY688" fmla="*/ 41274 h 800100"/>
              <a:gd name="connsiteX689" fmla="*/ 995363 w 2114552"/>
              <a:gd name="connsiteY689" fmla="*/ 41274 h 800100"/>
              <a:gd name="connsiteX690" fmla="*/ 995363 w 2114552"/>
              <a:gd name="connsiteY690" fmla="*/ 53974 h 800100"/>
              <a:gd name="connsiteX691" fmla="*/ 949326 w 2114552"/>
              <a:gd name="connsiteY691" fmla="*/ 53974 h 800100"/>
              <a:gd name="connsiteX692" fmla="*/ 949326 w 2114552"/>
              <a:gd name="connsiteY692" fmla="*/ 195262 h 800100"/>
              <a:gd name="connsiteX693" fmla="*/ 933451 w 2114552"/>
              <a:gd name="connsiteY693" fmla="*/ 195262 h 800100"/>
              <a:gd name="connsiteX694" fmla="*/ 933451 w 2114552"/>
              <a:gd name="connsiteY694" fmla="*/ 53974 h 800100"/>
              <a:gd name="connsiteX695" fmla="*/ 887413 w 2114552"/>
              <a:gd name="connsiteY695" fmla="*/ 53974 h 800100"/>
              <a:gd name="connsiteX696" fmla="*/ 1020763 w 2114552"/>
              <a:gd name="connsiteY696" fmla="*/ 28574 h 800100"/>
              <a:gd name="connsiteX697" fmla="*/ 1033010 w 2114552"/>
              <a:gd name="connsiteY697" fmla="*/ 28574 h 800100"/>
              <a:gd name="connsiteX698" fmla="*/ 1033010 w 2114552"/>
              <a:gd name="connsiteY698" fmla="*/ 103584 h 800100"/>
              <a:gd name="connsiteX699" fmla="*/ 1069749 w 2114552"/>
              <a:gd name="connsiteY699" fmla="*/ 82748 h 800100"/>
              <a:gd name="connsiteX700" fmla="*/ 1106488 w 2114552"/>
              <a:gd name="connsiteY700" fmla="*/ 128587 h 800100"/>
              <a:gd name="connsiteX701" fmla="*/ 1106488 w 2114552"/>
              <a:gd name="connsiteY701" fmla="*/ 195262 h 800100"/>
              <a:gd name="connsiteX702" fmla="*/ 1090160 w 2114552"/>
              <a:gd name="connsiteY702" fmla="*/ 195262 h 800100"/>
              <a:gd name="connsiteX703" fmla="*/ 1090160 w 2114552"/>
              <a:gd name="connsiteY703" fmla="*/ 128587 h 800100"/>
              <a:gd name="connsiteX704" fmla="*/ 1065667 w 2114552"/>
              <a:gd name="connsiteY704" fmla="*/ 91082 h 800100"/>
              <a:gd name="connsiteX705" fmla="*/ 1033010 w 2114552"/>
              <a:gd name="connsiteY705" fmla="*/ 136921 h 800100"/>
              <a:gd name="connsiteX706" fmla="*/ 1033010 w 2114552"/>
              <a:gd name="connsiteY706" fmla="*/ 195262 h 800100"/>
              <a:gd name="connsiteX707" fmla="*/ 1020763 w 2114552"/>
              <a:gd name="connsiteY707" fmla="*/ 195262 h 800100"/>
              <a:gd name="connsiteX708" fmla="*/ 1704456 w 2114552"/>
              <a:gd name="connsiteY708" fmla="*/ 0 h 800100"/>
              <a:gd name="connsiteX709" fmla="*/ 1729310 w 2114552"/>
              <a:gd name="connsiteY709" fmla="*/ 0 h 800100"/>
              <a:gd name="connsiteX710" fmla="*/ 1745880 w 2114552"/>
              <a:gd name="connsiteY710" fmla="*/ 62461 h 800100"/>
              <a:gd name="connsiteX711" fmla="*/ 1774877 w 2114552"/>
              <a:gd name="connsiteY711" fmla="*/ 66625 h 800100"/>
              <a:gd name="connsiteX712" fmla="*/ 1803873 w 2114552"/>
              <a:gd name="connsiteY712" fmla="*/ 12492 h 800100"/>
              <a:gd name="connsiteX713" fmla="*/ 1808016 w 2114552"/>
              <a:gd name="connsiteY713" fmla="*/ 12492 h 800100"/>
              <a:gd name="connsiteX714" fmla="*/ 1832870 w 2114552"/>
              <a:gd name="connsiteY714" fmla="*/ 16656 h 800100"/>
              <a:gd name="connsiteX715" fmla="*/ 1832870 w 2114552"/>
              <a:gd name="connsiteY715" fmla="*/ 20820 h 800100"/>
              <a:gd name="connsiteX716" fmla="*/ 1837012 w 2114552"/>
              <a:gd name="connsiteY716" fmla="*/ 49969 h 800100"/>
              <a:gd name="connsiteX717" fmla="*/ 1832870 w 2114552"/>
              <a:gd name="connsiteY717" fmla="*/ 83282 h 800100"/>
              <a:gd name="connsiteX718" fmla="*/ 1857724 w 2114552"/>
              <a:gd name="connsiteY718" fmla="*/ 91610 h 800100"/>
              <a:gd name="connsiteX719" fmla="*/ 1903291 w 2114552"/>
              <a:gd name="connsiteY719" fmla="*/ 49969 h 800100"/>
              <a:gd name="connsiteX720" fmla="*/ 1928145 w 2114552"/>
              <a:gd name="connsiteY720" fmla="*/ 62461 h 800100"/>
              <a:gd name="connsiteX721" fmla="*/ 1911575 w 2114552"/>
              <a:gd name="connsiteY721" fmla="*/ 124922 h 800100"/>
              <a:gd name="connsiteX722" fmla="*/ 1932287 w 2114552"/>
              <a:gd name="connsiteY722" fmla="*/ 141579 h 800100"/>
              <a:gd name="connsiteX723" fmla="*/ 1986138 w 2114552"/>
              <a:gd name="connsiteY723" fmla="*/ 108266 h 800100"/>
              <a:gd name="connsiteX724" fmla="*/ 2006850 w 2114552"/>
              <a:gd name="connsiteY724" fmla="*/ 129086 h 800100"/>
              <a:gd name="connsiteX725" fmla="*/ 1973711 w 2114552"/>
              <a:gd name="connsiteY725" fmla="*/ 183219 h 800100"/>
              <a:gd name="connsiteX726" fmla="*/ 1990281 w 2114552"/>
              <a:gd name="connsiteY726" fmla="*/ 204040 h 800100"/>
              <a:gd name="connsiteX727" fmla="*/ 2052416 w 2114552"/>
              <a:gd name="connsiteY727" fmla="*/ 187383 h 800100"/>
              <a:gd name="connsiteX728" fmla="*/ 2052416 w 2114552"/>
              <a:gd name="connsiteY728" fmla="*/ 191547 h 800100"/>
              <a:gd name="connsiteX729" fmla="*/ 2064844 w 2114552"/>
              <a:gd name="connsiteY729" fmla="*/ 212368 h 800100"/>
              <a:gd name="connsiteX730" fmla="*/ 2023420 w 2114552"/>
              <a:gd name="connsiteY730" fmla="*/ 258173 h 800100"/>
              <a:gd name="connsiteX731" fmla="*/ 2031705 w 2114552"/>
              <a:gd name="connsiteY731" fmla="*/ 283157 h 800100"/>
              <a:gd name="connsiteX732" fmla="*/ 2093840 w 2114552"/>
              <a:gd name="connsiteY732" fmla="*/ 283157 h 800100"/>
              <a:gd name="connsiteX733" fmla="*/ 2102125 w 2114552"/>
              <a:gd name="connsiteY733" fmla="*/ 308141 h 800100"/>
              <a:gd name="connsiteX734" fmla="*/ 2102125 w 2114552"/>
              <a:gd name="connsiteY734" fmla="*/ 312306 h 800100"/>
              <a:gd name="connsiteX735" fmla="*/ 2048274 w 2114552"/>
              <a:gd name="connsiteY735" fmla="*/ 341454 h 800100"/>
              <a:gd name="connsiteX736" fmla="*/ 2052416 w 2114552"/>
              <a:gd name="connsiteY736" fmla="*/ 366438 h 800100"/>
              <a:gd name="connsiteX737" fmla="*/ 2110410 w 2114552"/>
              <a:gd name="connsiteY737" fmla="*/ 383095 h 800100"/>
              <a:gd name="connsiteX738" fmla="*/ 2110410 w 2114552"/>
              <a:gd name="connsiteY738" fmla="*/ 387259 h 800100"/>
              <a:gd name="connsiteX739" fmla="*/ 2114552 w 2114552"/>
              <a:gd name="connsiteY739" fmla="*/ 399751 h 800100"/>
              <a:gd name="connsiteX740" fmla="*/ 2110410 w 2114552"/>
              <a:gd name="connsiteY740" fmla="*/ 412243 h 800100"/>
              <a:gd name="connsiteX741" fmla="*/ 2052416 w 2114552"/>
              <a:gd name="connsiteY741" fmla="*/ 428900 h 800100"/>
              <a:gd name="connsiteX742" fmla="*/ 2048274 w 2114552"/>
              <a:gd name="connsiteY742" fmla="*/ 453884 h 800100"/>
              <a:gd name="connsiteX743" fmla="*/ 2102125 w 2114552"/>
              <a:gd name="connsiteY743" fmla="*/ 487197 h 800100"/>
              <a:gd name="connsiteX744" fmla="*/ 2093840 w 2114552"/>
              <a:gd name="connsiteY744" fmla="*/ 512181 h 800100"/>
              <a:gd name="connsiteX745" fmla="*/ 2093840 w 2114552"/>
              <a:gd name="connsiteY745" fmla="*/ 516345 h 800100"/>
              <a:gd name="connsiteX746" fmla="*/ 2031705 w 2114552"/>
              <a:gd name="connsiteY746" fmla="*/ 516345 h 800100"/>
              <a:gd name="connsiteX747" fmla="*/ 2023420 w 2114552"/>
              <a:gd name="connsiteY747" fmla="*/ 537165 h 800100"/>
              <a:gd name="connsiteX748" fmla="*/ 2064844 w 2114552"/>
              <a:gd name="connsiteY748" fmla="*/ 582970 h 800100"/>
              <a:gd name="connsiteX749" fmla="*/ 2064844 w 2114552"/>
              <a:gd name="connsiteY749" fmla="*/ 587134 h 800100"/>
              <a:gd name="connsiteX750" fmla="*/ 2052416 w 2114552"/>
              <a:gd name="connsiteY750" fmla="*/ 607955 h 800100"/>
              <a:gd name="connsiteX751" fmla="*/ 1990281 w 2114552"/>
              <a:gd name="connsiteY751" fmla="*/ 591298 h 800100"/>
              <a:gd name="connsiteX752" fmla="*/ 1973711 w 2114552"/>
              <a:gd name="connsiteY752" fmla="*/ 612119 h 800100"/>
              <a:gd name="connsiteX753" fmla="*/ 2006850 w 2114552"/>
              <a:gd name="connsiteY753" fmla="*/ 666252 h 800100"/>
              <a:gd name="connsiteX754" fmla="*/ 2006850 w 2114552"/>
              <a:gd name="connsiteY754" fmla="*/ 670416 h 800100"/>
              <a:gd name="connsiteX755" fmla="*/ 1986138 w 2114552"/>
              <a:gd name="connsiteY755" fmla="*/ 687072 h 800100"/>
              <a:gd name="connsiteX756" fmla="*/ 1932287 w 2114552"/>
              <a:gd name="connsiteY756" fmla="*/ 657924 h 800100"/>
              <a:gd name="connsiteX757" fmla="*/ 1911575 w 2114552"/>
              <a:gd name="connsiteY757" fmla="*/ 674580 h 800100"/>
              <a:gd name="connsiteX758" fmla="*/ 1928145 w 2114552"/>
              <a:gd name="connsiteY758" fmla="*/ 732877 h 800100"/>
              <a:gd name="connsiteX759" fmla="*/ 1928145 w 2114552"/>
              <a:gd name="connsiteY759" fmla="*/ 737041 h 800100"/>
              <a:gd name="connsiteX760" fmla="*/ 1924002 w 2114552"/>
              <a:gd name="connsiteY760" fmla="*/ 737041 h 800100"/>
              <a:gd name="connsiteX761" fmla="*/ 1903291 w 2114552"/>
              <a:gd name="connsiteY761" fmla="*/ 749533 h 800100"/>
              <a:gd name="connsiteX762" fmla="*/ 1857724 w 2114552"/>
              <a:gd name="connsiteY762" fmla="*/ 703728 h 800100"/>
              <a:gd name="connsiteX763" fmla="*/ 1832870 w 2114552"/>
              <a:gd name="connsiteY763" fmla="*/ 716221 h 800100"/>
              <a:gd name="connsiteX764" fmla="*/ 1837012 w 2114552"/>
              <a:gd name="connsiteY764" fmla="*/ 745369 h 800100"/>
              <a:gd name="connsiteX765" fmla="*/ 1832870 w 2114552"/>
              <a:gd name="connsiteY765" fmla="*/ 778682 h 800100"/>
              <a:gd name="connsiteX766" fmla="*/ 1808016 w 2114552"/>
              <a:gd name="connsiteY766" fmla="*/ 787010 h 800100"/>
              <a:gd name="connsiteX767" fmla="*/ 1803873 w 2114552"/>
              <a:gd name="connsiteY767" fmla="*/ 787010 h 800100"/>
              <a:gd name="connsiteX768" fmla="*/ 1774877 w 2114552"/>
              <a:gd name="connsiteY768" fmla="*/ 732877 h 800100"/>
              <a:gd name="connsiteX769" fmla="*/ 1750022 w 2114552"/>
              <a:gd name="connsiteY769" fmla="*/ 732877 h 800100"/>
              <a:gd name="connsiteX770" fmla="*/ 1733453 w 2114552"/>
              <a:gd name="connsiteY770" fmla="*/ 795338 h 800100"/>
              <a:gd name="connsiteX771" fmla="*/ 1729310 w 2114552"/>
              <a:gd name="connsiteY771" fmla="*/ 795338 h 800100"/>
              <a:gd name="connsiteX772" fmla="*/ 1704456 w 2114552"/>
              <a:gd name="connsiteY772" fmla="*/ 795338 h 800100"/>
              <a:gd name="connsiteX773" fmla="*/ 1687886 w 2114552"/>
              <a:gd name="connsiteY773" fmla="*/ 732877 h 800100"/>
              <a:gd name="connsiteX774" fmla="*/ 1658890 w 2114552"/>
              <a:gd name="connsiteY774" fmla="*/ 732877 h 800100"/>
              <a:gd name="connsiteX775" fmla="*/ 1629893 w 2114552"/>
              <a:gd name="connsiteY775" fmla="*/ 787010 h 800100"/>
              <a:gd name="connsiteX776" fmla="*/ 1625751 w 2114552"/>
              <a:gd name="connsiteY776" fmla="*/ 787010 h 800100"/>
              <a:gd name="connsiteX777" fmla="*/ 1600896 w 2114552"/>
              <a:gd name="connsiteY777" fmla="*/ 778682 h 800100"/>
              <a:gd name="connsiteX778" fmla="*/ 1596754 w 2114552"/>
              <a:gd name="connsiteY778" fmla="*/ 745369 h 800100"/>
              <a:gd name="connsiteX779" fmla="*/ 1600896 w 2114552"/>
              <a:gd name="connsiteY779" fmla="*/ 716221 h 800100"/>
              <a:gd name="connsiteX780" fmla="*/ 1576042 w 2114552"/>
              <a:gd name="connsiteY780" fmla="*/ 703728 h 800100"/>
              <a:gd name="connsiteX781" fmla="*/ 1534618 w 2114552"/>
              <a:gd name="connsiteY781" fmla="*/ 749533 h 800100"/>
              <a:gd name="connsiteX782" fmla="*/ 1530476 w 2114552"/>
              <a:gd name="connsiteY782" fmla="*/ 749533 h 800100"/>
              <a:gd name="connsiteX783" fmla="*/ 1509764 w 2114552"/>
              <a:gd name="connsiteY783" fmla="*/ 737041 h 800100"/>
              <a:gd name="connsiteX784" fmla="*/ 1509764 w 2114552"/>
              <a:gd name="connsiteY784" fmla="*/ 732877 h 800100"/>
              <a:gd name="connsiteX785" fmla="*/ 1522191 w 2114552"/>
              <a:gd name="connsiteY785" fmla="*/ 674580 h 800100"/>
              <a:gd name="connsiteX786" fmla="*/ 1501479 w 2114552"/>
              <a:gd name="connsiteY786" fmla="*/ 657924 h 800100"/>
              <a:gd name="connsiteX787" fmla="*/ 1447628 w 2114552"/>
              <a:gd name="connsiteY787" fmla="*/ 687072 h 800100"/>
              <a:gd name="connsiteX788" fmla="*/ 1426916 w 2114552"/>
              <a:gd name="connsiteY788" fmla="*/ 670416 h 800100"/>
              <a:gd name="connsiteX789" fmla="*/ 1460055 w 2114552"/>
              <a:gd name="connsiteY789" fmla="*/ 616283 h 800100"/>
              <a:gd name="connsiteX790" fmla="*/ 1443486 w 2114552"/>
              <a:gd name="connsiteY790" fmla="*/ 591298 h 800100"/>
              <a:gd name="connsiteX791" fmla="*/ 1381350 w 2114552"/>
              <a:gd name="connsiteY791" fmla="*/ 607955 h 800100"/>
              <a:gd name="connsiteX792" fmla="*/ 1368923 w 2114552"/>
              <a:gd name="connsiteY792" fmla="*/ 587134 h 800100"/>
              <a:gd name="connsiteX793" fmla="*/ 1368923 w 2114552"/>
              <a:gd name="connsiteY793" fmla="*/ 582970 h 800100"/>
              <a:gd name="connsiteX794" fmla="*/ 1414489 w 2114552"/>
              <a:gd name="connsiteY794" fmla="*/ 541330 h 800100"/>
              <a:gd name="connsiteX795" fmla="*/ 1402062 w 2114552"/>
              <a:gd name="connsiteY795" fmla="*/ 516345 h 800100"/>
              <a:gd name="connsiteX796" fmla="*/ 1339926 w 2114552"/>
              <a:gd name="connsiteY796" fmla="*/ 516345 h 800100"/>
              <a:gd name="connsiteX797" fmla="*/ 1331641 w 2114552"/>
              <a:gd name="connsiteY797" fmla="*/ 491361 h 800100"/>
              <a:gd name="connsiteX798" fmla="*/ 1331641 w 2114552"/>
              <a:gd name="connsiteY798" fmla="*/ 487197 h 800100"/>
              <a:gd name="connsiteX799" fmla="*/ 1385492 w 2114552"/>
              <a:gd name="connsiteY799" fmla="*/ 453884 h 800100"/>
              <a:gd name="connsiteX800" fmla="*/ 1381350 w 2114552"/>
              <a:gd name="connsiteY800" fmla="*/ 428900 h 800100"/>
              <a:gd name="connsiteX801" fmla="*/ 1323357 w 2114552"/>
              <a:gd name="connsiteY801" fmla="*/ 412243 h 800100"/>
              <a:gd name="connsiteX802" fmla="*/ 1319214 w 2114552"/>
              <a:gd name="connsiteY802" fmla="*/ 412243 h 800100"/>
              <a:gd name="connsiteX803" fmla="*/ 1319214 w 2114552"/>
              <a:gd name="connsiteY803" fmla="*/ 399751 h 800100"/>
              <a:gd name="connsiteX804" fmla="*/ 1319214 w 2114552"/>
              <a:gd name="connsiteY804" fmla="*/ 383095 h 800100"/>
              <a:gd name="connsiteX805" fmla="*/ 1323357 w 2114552"/>
              <a:gd name="connsiteY805" fmla="*/ 383095 h 800100"/>
              <a:gd name="connsiteX806" fmla="*/ 1381350 w 2114552"/>
              <a:gd name="connsiteY806" fmla="*/ 366438 h 800100"/>
              <a:gd name="connsiteX807" fmla="*/ 1385492 w 2114552"/>
              <a:gd name="connsiteY807" fmla="*/ 341454 h 800100"/>
              <a:gd name="connsiteX808" fmla="*/ 1331641 w 2114552"/>
              <a:gd name="connsiteY808" fmla="*/ 308141 h 800100"/>
              <a:gd name="connsiteX809" fmla="*/ 1339926 w 2114552"/>
              <a:gd name="connsiteY809" fmla="*/ 283157 h 800100"/>
              <a:gd name="connsiteX810" fmla="*/ 1402062 w 2114552"/>
              <a:gd name="connsiteY810" fmla="*/ 283157 h 800100"/>
              <a:gd name="connsiteX811" fmla="*/ 1410347 w 2114552"/>
              <a:gd name="connsiteY811" fmla="*/ 258173 h 800100"/>
              <a:gd name="connsiteX812" fmla="*/ 1368923 w 2114552"/>
              <a:gd name="connsiteY812" fmla="*/ 212368 h 800100"/>
              <a:gd name="connsiteX813" fmla="*/ 1381350 w 2114552"/>
              <a:gd name="connsiteY813" fmla="*/ 187383 h 800100"/>
              <a:gd name="connsiteX814" fmla="*/ 1443486 w 2114552"/>
              <a:gd name="connsiteY814" fmla="*/ 204040 h 800100"/>
              <a:gd name="connsiteX815" fmla="*/ 1460055 w 2114552"/>
              <a:gd name="connsiteY815" fmla="*/ 183219 h 800100"/>
              <a:gd name="connsiteX816" fmla="*/ 1426916 w 2114552"/>
              <a:gd name="connsiteY816" fmla="*/ 129086 h 800100"/>
              <a:gd name="connsiteX817" fmla="*/ 1426916 w 2114552"/>
              <a:gd name="connsiteY817" fmla="*/ 124922 h 800100"/>
              <a:gd name="connsiteX818" fmla="*/ 1447628 w 2114552"/>
              <a:gd name="connsiteY818" fmla="*/ 108266 h 800100"/>
              <a:gd name="connsiteX819" fmla="*/ 1501479 w 2114552"/>
              <a:gd name="connsiteY819" fmla="*/ 137414 h 800100"/>
              <a:gd name="connsiteX820" fmla="*/ 1522191 w 2114552"/>
              <a:gd name="connsiteY820" fmla="*/ 124922 h 800100"/>
              <a:gd name="connsiteX821" fmla="*/ 1505621 w 2114552"/>
              <a:gd name="connsiteY821" fmla="*/ 62461 h 800100"/>
              <a:gd name="connsiteX822" fmla="*/ 1530476 w 2114552"/>
              <a:gd name="connsiteY822" fmla="*/ 49969 h 800100"/>
              <a:gd name="connsiteX823" fmla="*/ 1576042 w 2114552"/>
              <a:gd name="connsiteY823" fmla="*/ 91610 h 800100"/>
              <a:gd name="connsiteX824" fmla="*/ 1600896 w 2114552"/>
              <a:gd name="connsiteY824" fmla="*/ 83282 h 800100"/>
              <a:gd name="connsiteX825" fmla="*/ 1596754 w 2114552"/>
              <a:gd name="connsiteY825" fmla="*/ 49969 h 800100"/>
              <a:gd name="connsiteX826" fmla="*/ 1600896 w 2114552"/>
              <a:gd name="connsiteY826" fmla="*/ 20820 h 800100"/>
              <a:gd name="connsiteX827" fmla="*/ 1600896 w 2114552"/>
              <a:gd name="connsiteY827" fmla="*/ 16656 h 800100"/>
              <a:gd name="connsiteX828" fmla="*/ 1625751 w 2114552"/>
              <a:gd name="connsiteY828" fmla="*/ 12492 h 800100"/>
              <a:gd name="connsiteX829" fmla="*/ 1629893 w 2114552"/>
              <a:gd name="connsiteY829" fmla="*/ 12492 h 800100"/>
              <a:gd name="connsiteX830" fmla="*/ 1658890 w 2114552"/>
              <a:gd name="connsiteY830" fmla="*/ 66625 h 800100"/>
              <a:gd name="connsiteX831" fmla="*/ 1687886 w 2114552"/>
              <a:gd name="connsiteY831" fmla="*/ 62461 h 800100"/>
              <a:gd name="connsiteX832" fmla="*/ 1704456 w 2114552"/>
              <a:gd name="connsiteY832"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2114552" h="800100">
                <a:moveTo>
                  <a:pt x="2068305" y="749732"/>
                </a:moveTo>
                <a:lnTo>
                  <a:pt x="2068305" y="761609"/>
                </a:lnTo>
                <a:lnTo>
                  <a:pt x="2076013" y="761609"/>
                </a:lnTo>
                <a:cubicBezTo>
                  <a:pt x="2079697" y="761609"/>
                  <a:pt x="2082210" y="761060"/>
                  <a:pt x="2083551" y="759961"/>
                </a:cubicBezTo>
                <a:cubicBezTo>
                  <a:pt x="2084892" y="758862"/>
                  <a:pt x="2085563" y="757408"/>
                  <a:pt x="2085563" y="755598"/>
                </a:cubicBezTo>
                <a:cubicBezTo>
                  <a:pt x="2085563" y="754435"/>
                  <a:pt x="2085240" y="753392"/>
                  <a:pt x="2084594" y="752471"/>
                </a:cubicBezTo>
                <a:cubicBezTo>
                  <a:pt x="2083947" y="751550"/>
                  <a:pt x="2083050" y="750863"/>
                  <a:pt x="2081903" y="750411"/>
                </a:cubicBezTo>
                <a:cubicBezTo>
                  <a:pt x="2080756" y="749959"/>
                  <a:pt x="2078631" y="749732"/>
                  <a:pt x="2075528" y="749732"/>
                </a:cubicBezTo>
                <a:close/>
                <a:moveTo>
                  <a:pt x="2061954" y="744400"/>
                </a:moveTo>
                <a:lnTo>
                  <a:pt x="2075480" y="744400"/>
                </a:lnTo>
                <a:cubicBezTo>
                  <a:pt x="2080101" y="744400"/>
                  <a:pt x="2083446" y="744763"/>
                  <a:pt x="2085514" y="745491"/>
                </a:cubicBezTo>
                <a:cubicBezTo>
                  <a:pt x="2087583" y="746218"/>
                  <a:pt x="2089231" y="747486"/>
                  <a:pt x="2090459" y="749296"/>
                </a:cubicBezTo>
                <a:cubicBezTo>
                  <a:pt x="2091687" y="751106"/>
                  <a:pt x="2092301" y="753029"/>
                  <a:pt x="2092301" y="755065"/>
                </a:cubicBezTo>
                <a:cubicBezTo>
                  <a:pt x="2092301" y="757941"/>
                  <a:pt x="2091275" y="760446"/>
                  <a:pt x="2089223" y="762579"/>
                </a:cubicBezTo>
                <a:cubicBezTo>
                  <a:pt x="2087171" y="764712"/>
                  <a:pt x="2084448" y="765907"/>
                  <a:pt x="2081055" y="766166"/>
                </a:cubicBezTo>
                <a:cubicBezTo>
                  <a:pt x="2082444" y="766748"/>
                  <a:pt x="2083559" y="767443"/>
                  <a:pt x="2084400" y="768251"/>
                </a:cubicBezTo>
                <a:cubicBezTo>
                  <a:pt x="2085983" y="769802"/>
                  <a:pt x="2087922" y="772403"/>
                  <a:pt x="2090217" y="776055"/>
                </a:cubicBezTo>
                <a:lnTo>
                  <a:pt x="2095016" y="783763"/>
                </a:lnTo>
                <a:lnTo>
                  <a:pt x="2087260" y="783763"/>
                </a:lnTo>
                <a:lnTo>
                  <a:pt x="2083769" y="777558"/>
                </a:lnTo>
                <a:cubicBezTo>
                  <a:pt x="2081022" y="772678"/>
                  <a:pt x="2078808" y="769624"/>
                  <a:pt x="2077128" y="768396"/>
                </a:cubicBezTo>
                <a:cubicBezTo>
                  <a:pt x="2075965" y="767491"/>
                  <a:pt x="2074268" y="767039"/>
                  <a:pt x="2072038" y="767039"/>
                </a:cubicBezTo>
                <a:lnTo>
                  <a:pt x="2068305" y="767039"/>
                </a:lnTo>
                <a:lnTo>
                  <a:pt x="2068305" y="783763"/>
                </a:lnTo>
                <a:lnTo>
                  <a:pt x="2061954" y="783763"/>
                </a:lnTo>
                <a:close/>
                <a:moveTo>
                  <a:pt x="834048" y="741362"/>
                </a:moveTo>
                <a:cubicBezTo>
                  <a:pt x="813289" y="741362"/>
                  <a:pt x="784225" y="741362"/>
                  <a:pt x="784225" y="766474"/>
                </a:cubicBezTo>
                <a:cubicBezTo>
                  <a:pt x="784225" y="783215"/>
                  <a:pt x="792529" y="787400"/>
                  <a:pt x="804985" y="787400"/>
                </a:cubicBezTo>
                <a:cubicBezTo>
                  <a:pt x="838200" y="787400"/>
                  <a:pt x="838200" y="758103"/>
                  <a:pt x="838200" y="745547"/>
                </a:cubicBezTo>
                <a:lnTo>
                  <a:pt x="838200" y="741362"/>
                </a:lnTo>
                <a:cubicBezTo>
                  <a:pt x="834048" y="741362"/>
                  <a:pt x="834048" y="741362"/>
                  <a:pt x="834048" y="741362"/>
                </a:cubicBezTo>
                <a:close/>
                <a:moveTo>
                  <a:pt x="2078001" y="733008"/>
                </a:moveTo>
                <a:cubicBezTo>
                  <a:pt x="2072862" y="733008"/>
                  <a:pt x="2067861" y="734325"/>
                  <a:pt x="2062997" y="736959"/>
                </a:cubicBezTo>
                <a:cubicBezTo>
                  <a:pt x="2058133" y="739592"/>
                  <a:pt x="2054328" y="743358"/>
                  <a:pt x="2051581" y="748254"/>
                </a:cubicBezTo>
                <a:cubicBezTo>
                  <a:pt x="2048833" y="753150"/>
                  <a:pt x="2047460" y="758248"/>
                  <a:pt x="2047460" y="763548"/>
                </a:cubicBezTo>
                <a:cubicBezTo>
                  <a:pt x="2047460" y="768816"/>
                  <a:pt x="2048809" y="773866"/>
                  <a:pt x="2051508" y="778697"/>
                </a:cubicBezTo>
                <a:cubicBezTo>
                  <a:pt x="2054206" y="783529"/>
                  <a:pt x="2057980" y="787294"/>
                  <a:pt x="2062827" y="789993"/>
                </a:cubicBezTo>
                <a:cubicBezTo>
                  <a:pt x="2067675" y="792691"/>
                  <a:pt x="2072733" y="794041"/>
                  <a:pt x="2078001" y="794041"/>
                </a:cubicBezTo>
                <a:cubicBezTo>
                  <a:pt x="2083269" y="794041"/>
                  <a:pt x="2088326" y="792691"/>
                  <a:pt x="2093174" y="789993"/>
                </a:cubicBezTo>
                <a:cubicBezTo>
                  <a:pt x="2098022" y="787294"/>
                  <a:pt x="2101787" y="783529"/>
                  <a:pt x="2104469" y="778697"/>
                </a:cubicBezTo>
                <a:cubicBezTo>
                  <a:pt x="2107152" y="773866"/>
                  <a:pt x="2108493" y="768816"/>
                  <a:pt x="2108493" y="763548"/>
                </a:cubicBezTo>
                <a:cubicBezTo>
                  <a:pt x="2108493" y="758248"/>
                  <a:pt x="2107127" y="753150"/>
                  <a:pt x="2104397" y="748254"/>
                </a:cubicBezTo>
                <a:cubicBezTo>
                  <a:pt x="2101666" y="743358"/>
                  <a:pt x="2097860" y="739592"/>
                  <a:pt x="2092980" y="736959"/>
                </a:cubicBezTo>
                <a:cubicBezTo>
                  <a:pt x="2088100" y="734325"/>
                  <a:pt x="2083107" y="733008"/>
                  <a:pt x="2078001" y="733008"/>
                </a:cubicBezTo>
                <a:close/>
                <a:moveTo>
                  <a:pt x="2078001" y="726948"/>
                </a:moveTo>
                <a:cubicBezTo>
                  <a:pt x="2084141" y="726948"/>
                  <a:pt x="2090136" y="728524"/>
                  <a:pt x="2095985" y="731675"/>
                </a:cubicBezTo>
                <a:cubicBezTo>
                  <a:pt x="2101835" y="734825"/>
                  <a:pt x="2106392" y="739334"/>
                  <a:pt x="2109656" y="745200"/>
                </a:cubicBezTo>
                <a:cubicBezTo>
                  <a:pt x="2112920" y="751065"/>
                  <a:pt x="2114552" y="757181"/>
                  <a:pt x="2114552" y="763548"/>
                </a:cubicBezTo>
                <a:cubicBezTo>
                  <a:pt x="2114552" y="769850"/>
                  <a:pt x="2112944" y="775910"/>
                  <a:pt x="2109729" y="781727"/>
                </a:cubicBezTo>
                <a:cubicBezTo>
                  <a:pt x="2106513" y="787544"/>
                  <a:pt x="2102005" y="792061"/>
                  <a:pt x="2096204" y="795277"/>
                </a:cubicBezTo>
                <a:cubicBezTo>
                  <a:pt x="2090402" y="798492"/>
                  <a:pt x="2084335" y="800100"/>
                  <a:pt x="2078001" y="800100"/>
                </a:cubicBezTo>
                <a:cubicBezTo>
                  <a:pt x="2071666" y="800100"/>
                  <a:pt x="2065599" y="798492"/>
                  <a:pt x="2059797" y="795277"/>
                </a:cubicBezTo>
                <a:cubicBezTo>
                  <a:pt x="2053996" y="792061"/>
                  <a:pt x="2049480" y="787544"/>
                  <a:pt x="2046248" y="781727"/>
                </a:cubicBezTo>
                <a:cubicBezTo>
                  <a:pt x="2043016" y="775910"/>
                  <a:pt x="2041400" y="769850"/>
                  <a:pt x="2041400" y="763548"/>
                </a:cubicBezTo>
                <a:cubicBezTo>
                  <a:pt x="2041400" y="757181"/>
                  <a:pt x="2043041" y="751065"/>
                  <a:pt x="2046321" y="745200"/>
                </a:cubicBezTo>
                <a:cubicBezTo>
                  <a:pt x="2049601" y="739334"/>
                  <a:pt x="2054166" y="734825"/>
                  <a:pt x="2060016" y="731675"/>
                </a:cubicBezTo>
                <a:cubicBezTo>
                  <a:pt x="2065865" y="728524"/>
                  <a:pt x="2071860" y="726948"/>
                  <a:pt x="2078001" y="726948"/>
                </a:cubicBezTo>
                <a:close/>
                <a:moveTo>
                  <a:pt x="1058070" y="692149"/>
                </a:moveTo>
                <a:cubicBezTo>
                  <a:pt x="1037466" y="692149"/>
                  <a:pt x="1020763" y="713471"/>
                  <a:pt x="1020763" y="739774"/>
                </a:cubicBezTo>
                <a:cubicBezTo>
                  <a:pt x="1020763" y="766077"/>
                  <a:pt x="1037466" y="787399"/>
                  <a:pt x="1058070" y="787399"/>
                </a:cubicBezTo>
                <a:cubicBezTo>
                  <a:pt x="1078674" y="787399"/>
                  <a:pt x="1095377" y="766077"/>
                  <a:pt x="1095377" y="739774"/>
                </a:cubicBezTo>
                <a:cubicBezTo>
                  <a:pt x="1095377" y="713471"/>
                  <a:pt x="1078674" y="692149"/>
                  <a:pt x="1058070" y="692149"/>
                </a:cubicBezTo>
                <a:close/>
                <a:moveTo>
                  <a:pt x="692151" y="692149"/>
                </a:moveTo>
                <a:cubicBezTo>
                  <a:pt x="673739" y="692149"/>
                  <a:pt x="658813" y="713471"/>
                  <a:pt x="658813" y="739774"/>
                </a:cubicBezTo>
                <a:cubicBezTo>
                  <a:pt x="658813" y="766077"/>
                  <a:pt x="673739" y="787399"/>
                  <a:pt x="692151" y="787399"/>
                </a:cubicBezTo>
                <a:cubicBezTo>
                  <a:pt x="710563" y="787399"/>
                  <a:pt x="725489" y="766077"/>
                  <a:pt x="725489" y="739774"/>
                </a:cubicBezTo>
                <a:cubicBezTo>
                  <a:pt x="725489" y="713471"/>
                  <a:pt x="710563" y="692149"/>
                  <a:pt x="692151" y="692149"/>
                </a:cubicBezTo>
                <a:close/>
                <a:moveTo>
                  <a:pt x="323056" y="692149"/>
                </a:moveTo>
                <a:cubicBezTo>
                  <a:pt x="302452" y="692149"/>
                  <a:pt x="285749" y="713471"/>
                  <a:pt x="285749" y="739774"/>
                </a:cubicBezTo>
                <a:cubicBezTo>
                  <a:pt x="285749" y="766077"/>
                  <a:pt x="302452" y="787399"/>
                  <a:pt x="323056" y="787399"/>
                </a:cubicBezTo>
                <a:cubicBezTo>
                  <a:pt x="343660" y="787399"/>
                  <a:pt x="360363" y="766077"/>
                  <a:pt x="360363" y="739774"/>
                </a:cubicBezTo>
                <a:cubicBezTo>
                  <a:pt x="360363" y="713471"/>
                  <a:pt x="343660" y="692149"/>
                  <a:pt x="323056" y="692149"/>
                </a:cubicBezTo>
                <a:close/>
                <a:moveTo>
                  <a:pt x="966943" y="685949"/>
                </a:moveTo>
                <a:lnTo>
                  <a:pt x="981464" y="685949"/>
                </a:lnTo>
                <a:lnTo>
                  <a:pt x="981464" y="799333"/>
                </a:lnTo>
                <a:lnTo>
                  <a:pt x="966943" y="799333"/>
                </a:lnTo>
                <a:close/>
                <a:moveTo>
                  <a:pt x="1136650" y="684212"/>
                </a:moveTo>
                <a:cubicBezTo>
                  <a:pt x="1148897" y="684212"/>
                  <a:pt x="1148897" y="684212"/>
                  <a:pt x="1148897" y="684212"/>
                </a:cubicBezTo>
                <a:cubicBezTo>
                  <a:pt x="1148897" y="704791"/>
                  <a:pt x="1148897" y="704791"/>
                  <a:pt x="1148897" y="704791"/>
                </a:cubicBezTo>
                <a:cubicBezTo>
                  <a:pt x="1157061" y="696559"/>
                  <a:pt x="1165225" y="684212"/>
                  <a:pt x="1185636" y="684212"/>
                </a:cubicBezTo>
                <a:cubicBezTo>
                  <a:pt x="1214211" y="684212"/>
                  <a:pt x="1222375" y="700675"/>
                  <a:pt x="1222375" y="725369"/>
                </a:cubicBezTo>
                <a:cubicBezTo>
                  <a:pt x="1222375" y="795337"/>
                  <a:pt x="1222375" y="795337"/>
                  <a:pt x="1222375" y="795337"/>
                </a:cubicBezTo>
                <a:cubicBezTo>
                  <a:pt x="1210129" y="795337"/>
                  <a:pt x="1210129" y="795337"/>
                  <a:pt x="1210129" y="795337"/>
                </a:cubicBezTo>
                <a:cubicBezTo>
                  <a:pt x="1210129" y="729485"/>
                  <a:pt x="1210129" y="729485"/>
                  <a:pt x="1210129" y="729485"/>
                </a:cubicBezTo>
                <a:cubicBezTo>
                  <a:pt x="1210129" y="708906"/>
                  <a:pt x="1201964" y="692443"/>
                  <a:pt x="1185636" y="692443"/>
                </a:cubicBezTo>
                <a:cubicBezTo>
                  <a:pt x="1161143" y="692443"/>
                  <a:pt x="1152979" y="717138"/>
                  <a:pt x="1152979" y="733601"/>
                </a:cubicBezTo>
                <a:cubicBezTo>
                  <a:pt x="1152979" y="795337"/>
                  <a:pt x="1152979" y="795337"/>
                  <a:pt x="1152979" y="795337"/>
                </a:cubicBezTo>
                <a:cubicBezTo>
                  <a:pt x="1136650" y="795337"/>
                  <a:pt x="1136650" y="795337"/>
                  <a:pt x="1136650" y="795337"/>
                </a:cubicBezTo>
                <a:lnTo>
                  <a:pt x="1136650" y="713022"/>
                </a:lnTo>
                <a:cubicBezTo>
                  <a:pt x="1136650" y="704791"/>
                  <a:pt x="1136650" y="692443"/>
                  <a:pt x="1136650" y="684212"/>
                </a:cubicBezTo>
                <a:close/>
                <a:moveTo>
                  <a:pt x="1054894" y="684212"/>
                </a:moveTo>
                <a:cubicBezTo>
                  <a:pt x="1083389" y="684212"/>
                  <a:pt x="1106488" y="710154"/>
                  <a:pt x="1106488" y="742156"/>
                </a:cubicBezTo>
                <a:cubicBezTo>
                  <a:pt x="1106488" y="774158"/>
                  <a:pt x="1083389" y="800100"/>
                  <a:pt x="1054894" y="800100"/>
                </a:cubicBezTo>
                <a:cubicBezTo>
                  <a:pt x="1026399" y="800100"/>
                  <a:pt x="1003300" y="774158"/>
                  <a:pt x="1003300" y="742156"/>
                </a:cubicBezTo>
                <a:cubicBezTo>
                  <a:pt x="1003300" y="710154"/>
                  <a:pt x="1026399" y="684212"/>
                  <a:pt x="1054894" y="684212"/>
                </a:cubicBezTo>
                <a:close/>
                <a:moveTo>
                  <a:pt x="812499" y="684212"/>
                </a:moveTo>
                <a:cubicBezTo>
                  <a:pt x="841603" y="684212"/>
                  <a:pt x="854076" y="696629"/>
                  <a:pt x="854076" y="725601"/>
                </a:cubicBezTo>
                <a:cubicBezTo>
                  <a:pt x="854076" y="775267"/>
                  <a:pt x="854076" y="775267"/>
                  <a:pt x="854076" y="775267"/>
                </a:cubicBezTo>
                <a:cubicBezTo>
                  <a:pt x="854076" y="783545"/>
                  <a:pt x="854076" y="791822"/>
                  <a:pt x="854076" y="795961"/>
                </a:cubicBezTo>
                <a:cubicBezTo>
                  <a:pt x="841603" y="795961"/>
                  <a:pt x="841603" y="795961"/>
                  <a:pt x="841603" y="795961"/>
                </a:cubicBezTo>
                <a:lnTo>
                  <a:pt x="841603" y="779406"/>
                </a:lnTo>
                <a:cubicBezTo>
                  <a:pt x="837445" y="779406"/>
                  <a:pt x="837445" y="779406"/>
                  <a:pt x="837445" y="779406"/>
                </a:cubicBezTo>
                <a:cubicBezTo>
                  <a:pt x="833287" y="791822"/>
                  <a:pt x="816656" y="800100"/>
                  <a:pt x="804183" y="800100"/>
                </a:cubicBezTo>
                <a:cubicBezTo>
                  <a:pt x="770921" y="800100"/>
                  <a:pt x="766763" y="779406"/>
                  <a:pt x="766763" y="766989"/>
                </a:cubicBezTo>
                <a:cubicBezTo>
                  <a:pt x="766763" y="729739"/>
                  <a:pt x="808341" y="729739"/>
                  <a:pt x="837445" y="729739"/>
                </a:cubicBezTo>
                <a:cubicBezTo>
                  <a:pt x="837445" y="721462"/>
                  <a:pt x="837445" y="721462"/>
                  <a:pt x="837445" y="721462"/>
                </a:cubicBezTo>
                <a:cubicBezTo>
                  <a:pt x="837445" y="704906"/>
                  <a:pt x="833287" y="692490"/>
                  <a:pt x="812499" y="692490"/>
                </a:cubicBezTo>
                <a:cubicBezTo>
                  <a:pt x="800025" y="692490"/>
                  <a:pt x="791710" y="696629"/>
                  <a:pt x="779236" y="704906"/>
                </a:cubicBezTo>
                <a:cubicBezTo>
                  <a:pt x="779236" y="688351"/>
                  <a:pt x="779236" y="688351"/>
                  <a:pt x="779236" y="688351"/>
                </a:cubicBezTo>
                <a:cubicBezTo>
                  <a:pt x="787552" y="684212"/>
                  <a:pt x="804183" y="684212"/>
                  <a:pt x="812499" y="684212"/>
                </a:cubicBezTo>
                <a:close/>
                <a:moveTo>
                  <a:pt x="527050" y="684212"/>
                </a:moveTo>
                <a:cubicBezTo>
                  <a:pt x="539523" y="684212"/>
                  <a:pt x="539523" y="684212"/>
                  <a:pt x="539523" y="684212"/>
                </a:cubicBezTo>
                <a:cubicBezTo>
                  <a:pt x="539523" y="704791"/>
                  <a:pt x="539523" y="704791"/>
                  <a:pt x="539523" y="704791"/>
                </a:cubicBezTo>
                <a:cubicBezTo>
                  <a:pt x="547839" y="696559"/>
                  <a:pt x="556154" y="684212"/>
                  <a:pt x="576943" y="684212"/>
                </a:cubicBezTo>
                <a:cubicBezTo>
                  <a:pt x="606047" y="684212"/>
                  <a:pt x="614363" y="700675"/>
                  <a:pt x="614363" y="725369"/>
                </a:cubicBezTo>
                <a:cubicBezTo>
                  <a:pt x="614363" y="795337"/>
                  <a:pt x="614363" y="795337"/>
                  <a:pt x="614363" y="795337"/>
                </a:cubicBezTo>
                <a:cubicBezTo>
                  <a:pt x="601890" y="795337"/>
                  <a:pt x="601890" y="795337"/>
                  <a:pt x="601890" y="795337"/>
                </a:cubicBezTo>
                <a:cubicBezTo>
                  <a:pt x="601890" y="729485"/>
                  <a:pt x="601890" y="729485"/>
                  <a:pt x="601890" y="729485"/>
                </a:cubicBezTo>
                <a:cubicBezTo>
                  <a:pt x="601890" y="708906"/>
                  <a:pt x="593574" y="692443"/>
                  <a:pt x="576943" y="692443"/>
                </a:cubicBezTo>
                <a:cubicBezTo>
                  <a:pt x="551996" y="692443"/>
                  <a:pt x="543681" y="717138"/>
                  <a:pt x="543681" y="733601"/>
                </a:cubicBezTo>
                <a:cubicBezTo>
                  <a:pt x="543681" y="795337"/>
                  <a:pt x="543681" y="795337"/>
                  <a:pt x="543681" y="795337"/>
                </a:cubicBezTo>
                <a:cubicBezTo>
                  <a:pt x="527050" y="795337"/>
                  <a:pt x="527050" y="795337"/>
                  <a:pt x="527050" y="795337"/>
                </a:cubicBezTo>
                <a:lnTo>
                  <a:pt x="527050" y="713022"/>
                </a:lnTo>
                <a:cubicBezTo>
                  <a:pt x="527050" y="704791"/>
                  <a:pt x="527050" y="692443"/>
                  <a:pt x="527050" y="684212"/>
                </a:cubicBezTo>
                <a:close/>
                <a:moveTo>
                  <a:pt x="406400" y="684212"/>
                </a:moveTo>
                <a:cubicBezTo>
                  <a:pt x="418873" y="684212"/>
                  <a:pt x="418873" y="684212"/>
                  <a:pt x="418873" y="684212"/>
                </a:cubicBezTo>
                <a:cubicBezTo>
                  <a:pt x="418873" y="754573"/>
                  <a:pt x="418873" y="754573"/>
                  <a:pt x="418873" y="754573"/>
                </a:cubicBezTo>
                <a:cubicBezTo>
                  <a:pt x="418873" y="775267"/>
                  <a:pt x="427189" y="787683"/>
                  <a:pt x="443820" y="787683"/>
                </a:cubicBezTo>
                <a:cubicBezTo>
                  <a:pt x="468766" y="787683"/>
                  <a:pt x="477082" y="766989"/>
                  <a:pt x="477082" y="746295"/>
                </a:cubicBezTo>
                <a:cubicBezTo>
                  <a:pt x="477082" y="684212"/>
                  <a:pt x="477082" y="684212"/>
                  <a:pt x="477082" y="684212"/>
                </a:cubicBezTo>
                <a:cubicBezTo>
                  <a:pt x="493713" y="684212"/>
                  <a:pt x="493713" y="684212"/>
                  <a:pt x="493713" y="684212"/>
                </a:cubicBezTo>
                <a:lnTo>
                  <a:pt x="493713" y="771128"/>
                </a:lnTo>
                <a:cubicBezTo>
                  <a:pt x="493713" y="779406"/>
                  <a:pt x="493713" y="787683"/>
                  <a:pt x="493713" y="795961"/>
                </a:cubicBezTo>
                <a:cubicBezTo>
                  <a:pt x="481240" y="795961"/>
                  <a:pt x="481240" y="795961"/>
                  <a:pt x="481240" y="795961"/>
                </a:cubicBezTo>
                <a:cubicBezTo>
                  <a:pt x="481240" y="779406"/>
                  <a:pt x="481240" y="779406"/>
                  <a:pt x="481240" y="779406"/>
                </a:cubicBezTo>
                <a:cubicBezTo>
                  <a:pt x="472924" y="787683"/>
                  <a:pt x="464609" y="800100"/>
                  <a:pt x="443820" y="800100"/>
                </a:cubicBezTo>
                <a:cubicBezTo>
                  <a:pt x="414715" y="800100"/>
                  <a:pt x="406400" y="783545"/>
                  <a:pt x="406400" y="758711"/>
                </a:cubicBezTo>
                <a:cubicBezTo>
                  <a:pt x="406400" y="684212"/>
                  <a:pt x="406400" y="684212"/>
                  <a:pt x="406400" y="684212"/>
                </a:cubicBezTo>
                <a:close/>
                <a:moveTo>
                  <a:pt x="325437" y="684212"/>
                </a:moveTo>
                <a:cubicBezTo>
                  <a:pt x="354370" y="684212"/>
                  <a:pt x="377825" y="710154"/>
                  <a:pt x="377825" y="742156"/>
                </a:cubicBezTo>
                <a:cubicBezTo>
                  <a:pt x="377825" y="774158"/>
                  <a:pt x="354370" y="800100"/>
                  <a:pt x="325437" y="800100"/>
                </a:cubicBezTo>
                <a:cubicBezTo>
                  <a:pt x="296504" y="800100"/>
                  <a:pt x="273049" y="774158"/>
                  <a:pt x="273049" y="742156"/>
                </a:cubicBezTo>
                <a:cubicBezTo>
                  <a:pt x="273049" y="710154"/>
                  <a:pt x="296504" y="684212"/>
                  <a:pt x="325437" y="684212"/>
                </a:cubicBezTo>
                <a:close/>
                <a:moveTo>
                  <a:pt x="1724027" y="666750"/>
                </a:moveTo>
                <a:lnTo>
                  <a:pt x="1720852" y="679450"/>
                </a:lnTo>
                <a:lnTo>
                  <a:pt x="1716089" y="687388"/>
                </a:lnTo>
                <a:lnTo>
                  <a:pt x="1733552" y="687388"/>
                </a:lnTo>
                <a:lnTo>
                  <a:pt x="1728789" y="679450"/>
                </a:lnTo>
                <a:close/>
                <a:moveTo>
                  <a:pt x="1728922" y="654050"/>
                </a:moveTo>
                <a:cubicBezTo>
                  <a:pt x="1728922" y="658202"/>
                  <a:pt x="1728922" y="658202"/>
                  <a:pt x="1728922" y="658202"/>
                </a:cubicBezTo>
                <a:lnTo>
                  <a:pt x="1737124" y="678962"/>
                </a:lnTo>
                <a:cubicBezTo>
                  <a:pt x="1749427" y="703873"/>
                  <a:pt x="1749427" y="703873"/>
                  <a:pt x="1749427" y="703873"/>
                </a:cubicBezTo>
                <a:cubicBezTo>
                  <a:pt x="1745326" y="703873"/>
                  <a:pt x="1741225" y="703873"/>
                  <a:pt x="1737124" y="703873"/>
                </a:cubicBezTo>
                <a:cubicBezTo>
                  <a:pt x="1737124" y="695569"/>
                  <a:pt x="1737124" y="695569"/>
                  <a:pt x="1737124" y="695569"/>
                </a:cubicBezTo>
                <a:cubicBezTo>
                  <a:pt x="1712517" y="695569"/>
                  <a:pt x="1712517" y="695569"/>
                  <a:pt x="1712517" y="695569"/>
                </a:cubicBezTo>
                <a:cubicBezTo>
                  <a:pt x="1712517" y="708025"/>
                  <a:pt x="1712517" y="708025"/>
                  <a:pt x="1712517" y="708025"/>
                </a:cubicBezTo>
                <a:cubicBezTo>
                  <a:pt x="1708416" y="703873"/>
                  <a:pt x="1704315" y="703873"/>
                  <a:pt x="1700214" y="703873"/>
                </a:cubicBezTo>
                <a:cubicBezTo>
                  <a:pt x="1712517" y="678962"/>
                  <a:pt x="1712517" y="678962"/>
                  <a:pt x="1712517" y="678962"/>
                </a:cubicBezTo>
                <a:cubicBezTo>
                  <a:pt x="1716618" y="658202"/>
                  <a:pt x="1716618" y="658202"/>
                  <a:pt x="1716618" y="658202"/>
                </a:cubicBezTo>
                <a:cubicBezTo>
                  <a:pt x="1728922" y="654050"/>
                  <a:pt x="1728922" y="654050"/>
                  <a:pt x="1728922" y="654050"/>
                </a:cubicBezTo>
                <a:close/>
                <a:moveTo>
                  <a:pt x="907733" y="654049"/>
                </a:moveTo>
                <a:cubicBezTo>
                  <a:pt x="907733" y="683259"/>
                  <a:pt x="907733" y="683259"/>
                  <a:pt x="907733" y="683259"/>
                </a:cubicBezTo>
                <a:cubicBezTo>
                  <a:pt x="932498" y="683259"/>
                  <a:pt x="932498" y="683259"/>
                  <a:pt x="932498" y="683259"/>
                </a:cubicBezTo>
                <a:lnTo>
                  <a:pt x="932498" y="695778"/>
                </a:lnTo>
                <a:cubicBezTo>
                  <a:pt x="907733" y="695778"/>
                  <a:pt x="907733" y="695778"/>
                  <a:pt x="907733" y="695778"/>
                </a:cubicBezTo>
                <a:cubicBezTo>
                  <a:pt x="907733" y="770889"/>
                  <a:pt x="907733" y="770889"/>
                  <a:pt x="907733" y="770889"/>
                </a:cubicBezTo>
                <a:cubicBezTo>
                  <a:pt x="907733" y="779235"/>
                  <a:pt x="911861" y="787580"/>
                  <a:pt x="924243" y="787580"/>
                </a:cubicBezTo>
                <a:cubicBezTo>
                  <a:pt x="928371" y="787580"/>
                  <a:pt x="932498" y="787580"/>
                  <a:pt x="936626" y="783408"/>
                </a:cubicBezTo>
                <a:cubicBezTo>
                  <a:pt x="936626" y="795926"/>
                  <a:pt x="936626" y="795926"/>
                  <a:pt x="936626" y="795926"/>
                </a:cubicBezTo>
                <a:cubicBezTo>
                  <a:pt x="932498" y="800099"/>
                  <a:pt x="928371" y="800099"/>
                  <a:pt x="920116" y="800099"/>
                </a:cubicBezTo>
                <a:cubicBezTo>
                  <a:pt x="895351" y="800099"/>
                  <a:pt x="895351" y="783408"/>
                  <a:pt x="895351" y="762543"/>
                </a:cubicBezTo>
                <a:cubicBezTo>
                  <a:pt x="895351" y="695778"/>
                  <a:pt x="895351" y="695778"/>
                  <a:pt x="895351" y="695778"/>
                </a:cubicBezTo>
                <a:cubicBezTo>
                  <a:pt x="874713" y="695778"/>
                  <a:pt x="874713" y="695778"/>
                  <a:pt x="874713" y="695778"/>
                </a:cubicBezTo>
                <a:cubicBezTo>
                  <a:pt x="874713" y="683259"/>
                  <a:pt x="874713" y="683259"/>
                  <a:pt x="874713" y="683259"/>
                </a:cubicBezTo>
                <a:cubicBezTo>
                  <a:pt x="895351" y="683259"/>
                  <a:pt x="895351" y="683259"/>
                  <a:pt x="895351" y="683259"/>
                </a:cubicBezTo>
                <a:cubicBezTo>
                  <a:pt x="895351" y="658222"/>
                  <a:pt x="895351" y="658222"/>
                  <a:pt x="895351" y="658222"/>
                </a:cubicBezTo>
                <a:cubicBezTo>
                  <a:pt x="907733" y="654049"/>
                  <a:pt x="907733" y="654049"/>
                  <a:pt x="907733" y="654049"/>
                </a:cubicBezTo>
                <a:close/>
                <a:moveTo>
                  <a:pt x="1658542" y="650875"/>
                </a:moveTo>
                <a:cubicBezTo>
                  <a:pt x="1662643" y="650875"/>
                  <a:pt x="1662643" y="650875"/>
                  <a:pt x="1666745" y="650875"/>
                </a:cubicBezTo>
                <a:cubicBezTo>
                  <a:pt x="1666745" y="650875"/>
                  <a:pt x="1666745" y="650875"/>
                  <a:pt x="1683149" y="688242"/>
                </a:cubicBezTo>
                <a:cubicBezTo>
                  <a:pt x="1683149" y="688242"/>
                  <a:pt x="1683149" y="688242"/>
                  <a:pt x="1687250" y="655027"/>
                </a:cubicBezTo>
                <a:cubicBezTo>
                  <a:pt x="1687250" y="655027"/>
                  <a:pt x="1691351" y="655027"/>
                  <a:pt x="1695452" y="655027"/>
                </a:cubicBezTo>
                <a:cubicBezTo>
                  <a:pt x="1695452" y="655027"/>
                  <a:pt x="1695452" y="655027"/>
                  <a:pt x="1687250" y="704850"/>
                </a:cubicBezTo>
                <a:cubicBezTo>
                  <a:pt x="1687250" y="704850"/>
                  <a:pt x="1683149" y="704850"/>
                  <a:pt x="1679048" y="704850"/>
                </a:cubicBezTo>
                <a:cubicBezTo>
                  <a:pt x="1679048" y="704850"/>
                  <a:pt x="1679048" y="704850"/>
                  <a:pt x="1662643" y="671635"/>
                </a:cubicBezTo>
                <a:cubicBezTo>
                  <a:pt x="1662643" y="671635"/>
                  <a:pt x="1662643" y="671635"/>
                  <a:pt x="1658542" y="700698"/>
                </a:cubicBezTo>
                <a:cubicBezTo>
                  <a:pt x="1654441" y="700698"/>
                  <a:pt x="1650340" y="700698"/>
                  <a:pt x="1646239" y="700698"/>
                </a:cubicBezTo>
                <a:cubicBezTo>
                  <a:pt x="1646239" y="700698"/>
                  <a:pt x="1646239" y="700698"/>
                  <a:pt x="1658542" y="650875"/>
                </a:cubicBezTo>
                <a:close/>
                <a:moveTo>
                  <a:pt x="1787526" y="646113"/>
                </a:moveTo>
                <a:lnTo>
                  <a:pt x="1787526" y="654504"/>
                </a:lnTo>
                <a:cubicBezTo>
                  <a:pt x="1783399" y="658700"/>
                  <a:pt x="1779271" y="658700"/>
                  <a:pt x="1771016" y="658700"/>
                </a:cubicBezTo>
                <a:cubicBezTo>
                  <a:pt x="1771016" y="658700"/>
                  <a:pt x="1771016" y="658700"/>
                  <a:pt x="1779271" y="700655"/>
                </a:cubicBezTo>
                <a:cubicBezTo>
                  <a:pt x="1779271" y="700655"/>
                  <a:pt x="1779271" y="700655"/>
                  <a:pt x="1771016" y="704851"/>
                </a:cubicBezTo>
                <a:cubicBezTo>
                  <a:pt x="1771016" y="704851"/>
                  <a:pt x="1771016" y="704851"/>
                  <a:pt x="1762761" y="662895"/>
                </a:cubicBezTo>
                <a:cubicBezTo>
                  <a:pt x="1758634" y="662895"/>
                  <a:pt x="1754506" y="662895"/>
                  <a:pt x="1746251" y="662895"/>
                </a:cubicBezTo>
                <a:cubicBezTo>
                  <a:pt x="1746251" y="662895"/>
                  <a:pt x="1746251" y="662895"/>
                  <a:pt x="1746251" y="654504"/>
                </a:cubicBezTo>
                <a:cubicBezTo>
                  <a:pt x="1758634" y="654504"/>
                  <a:pt x="1771016" y="650309"/>
                  <a:pt x="1787526" y="646113"/>
                </a:cubicBezTo>
                <a:close/>
                <a:moveTo>
                  <a:pt x="1617029" y="646113"/>
                </a:moveTo>
                <a:cubicBezTo>
                  <a:pt x="1617029" y="654051"/>
                  <a:pt x="1617029" y="654051"/>
                  <a:pt x="1617029" y="654051"/>
                </a:cubicBezTo>
                <a:cubicBezTo>
                  <a:pt x="1612901" y="658019"/>
                  <a:pt x="1612901" y="658019"/>
                  <a:pt x="1612901" y="658019"/>
                </a:cubicBezTo>
                <a:cubicBezTo>
                  <a:pt x="1625284" y="661988"/>
                  <a:pt x="1625284" y="661988"/>
                  <a:pt x="1625284" y="661988"/>
                </a:cubicBezTo>
                <a:cubicBezTo>
                  <a:pt x="1629412" y="661988"/>
                  <a:pt x="1633539" y="658019"/>
                  <a:pt x="1633539" y="658019"/>
                </a:cubicBezTo>
                <a:cubicBezTo>
                  <a:pt x="1633539" y="658019"/>
                  <a:pt x="1633539" y="654051"/>
                  <a:pt x="1633539" y="654051"/>
                </a:cubicBezTo>
                <a:cubicBezTo>
                  <a:pt x="1633539" y="654051"/>
                  <a:pt x="1633539" y="650082"/>
                  <a:pt x="1629412" y="650082"/>
                </a:cubicBezTo>
                <a:cubicBezTo>
                  <a:pt x="1617029" y="646113"/>
                  <a:pt x="1617029" y="646113"/>
                  <a:pt x="1617029" y="646113"/>
                </a:cubicBezTo>
                <a:close/>
                <a:moveTo>
                  <a:pt x="966943" y="643885"/>
                </a:moveTo>
                <a:lnTo>
                  <a:pt x="981464" y="643885"/>
                </a:lnTo>
                <a:lnTo>
                  <a:pt x="981464" y="660066"/>
                </a:lnTo>
                <a:lnTo>
                  <a:pt x="966943" y="660066"/>
                </a:lnTo>
                <a:close/>
                <a:moveTo>
                  <a:pt x="1795464" y="641350"/>
                </a:moveTo>
                <a:cubicBezTo>
                  <a:pt x="1799546" y="641350"/>
                  <a:pt x="1803628" y="641350"/>
                  <a:pt x="1807711" y="641350"/>
                </a:cubicBezTo>
                <a:cubicBezTo>
                  <a:pt x="1807711" y="641350"/>
                  <a:pt x="1807711" y="641350"/>
                  <a:pt x="1824039" y="687917"/>
                </a:cubicBezTo>
                <a:cubicBezTo>
                  <a:pt x="1819957" y="687917"/>
                  <a:pt x="1815875" y="687917"/>
                  <a:pt x="1811793" y="692150"/>
                </a:cubicBezTo>
                <a:cubicBezTo>
                  <a:pt x="1811793" y="692150"/>
                  <a:pt x="1811793" y="692150"/>
                  <a:pt x="1795464" y="641350"/>
                </a:cubicBezTo>
                <a:close/>
                <a:moveTo>
                  <a:pt x="177800" y="641349"/>
                </a:moveTo>
                <a:lnTo>
                  <a:pt x="252413" y="641349"/>
                </a:lnTo>
                <a:lnTo>
                  <a:pt x="252413" y="654049"/>
                </a:lnTo>
                <a:lnTo>
                  <a:pt x="195262" y="654049"/>
                </a:lnTo>
                <a:lnTo>
                  <a:pt x="195262" y="712787"/>
                </a:lnTo>
                <a:lnTo>
                  <a:pt x="249238" y="712787"/>
                </a:lnTo>
                <a:lnTo>
                  <a:pt x="249238" y="725487"/>
                </a:lnTo>
                <a:lnTo>
                  <a:pt x="195262" y="725487"/>
                </a:lnTo>
                <a:lnTo>
                  <a:pt x="195262" y="795337"/>
                </a:lnTo>
                <a:lnTo>
                  <a:pt x="177800" y="795337"/>
                </a:lnTo>
                <a:close/>
                <a:moveTo>
                  <a:pt x="1612770" y="633413"/>
                </a:moveTo>
                <a:cubicBezTo>
                  <a:pt x="1633275" y="641668"/>
                  <a:pt x="1633275" y="641668"/>
                  <a:pt x="1633275" y="641668"/>
                </a:cubicBezTo>
                <a:cubicBezTo>
                  <a:pt x="1641477" y="645796"/>
                  <a:pt x="1641477" y="649923"/>
                  <a:pt x="1641477" y="654051"/>
                </a:cubicBezTo>
                <a:cubicBezTo>
                  <a:pt x="1641477" y="654051"/>
                  <a:pt x="1641477" y="658178"/>
                  <a:pt x="1641477" y="658178"/>
                </a:cubicBezTo>
                <a:cubicBezTo>
                  <a:pt x="1641477" y="662306"/>
                  <a:pt x="1637376" y="670561"/>
                  <a:pt x="1629174" y="670561"/>
                </a:cubicBezTo>
                <a:cubicBezTo>
                  <a:pt x="1633275" y="695326"/>
                  <a:pt x="1633275" y="695326"/>
                  <a:pt x="1633275" y="695326"/>
                </a:cubicBezTo>
                <a:cubicBezTo>
                  <a:pt x="1629174" y="695326"/>
                  <a:pt x="1625073" y="691198"/>
                  <a:pt x="1620972" y="691198"/>
                </a:cubicBezTo>
                <a:cubicBezTo>
                  <a:pt x="1620972" y="670561"/>
                  <a:pt x="1620972" y="670561"/>
                  <a:pt x="1620972" y="670561"/>
                </a:cubicBezTo>
                <a:cubicBezTo>
                  <a:pt x="1608668" y="666433"/>
                  <a:pt x="1608668" y="666433"/>
                  <a:pt x="1608668" y="666433"/>
                </a:cubicBezTo>
                <a:cubicBezTo>
                  <a:pt x="1604567" y="682943"/>
                  <a:pt x="1604567" y="682943"/>
                  <a:pt x="1604567" y="682943"/>
                </a:cubicBezTo>
                <a:cubicBezTo>
                  <a:pt x="1600466" y="682943"/>
                  <a:pt x="1596365" y="682943"/>
                  <a:pt x="1592264" y="678816"/>
                </a:cubicBezTo>
                <a:cubicBezTo>
                  <a:pt x="1604567" y="658178"/>
                  <a:pt x="1604567" y="658178"/>
                  <a:pt x="1604567" y="658178"/>
                </a:cubicBezTo>
                <a:cubicBezTo>
                  <a:pt x="1604567" y="654051"/>
                  <a:pt x="1604567" y="654051"/>
                  <a:pt x="1604567" y="654051"/>
                </a:cubicBezTo>
                <a:cubicBezTo>
                  <a:pt x="1612770" y="633413"/>
                  <a:pt x="1612770" y="633413"/>
                  <a:pt x="1612770" y="633413"/>
                </a:cubicBezTo>
                <a:close/>
                <a:moveTo>
                  <a:pt x="1855109" y="630214"/>
                </a:moveTo>
                <a:cubicBezTo>
                  <a:pt x="1851027" y="629693"/>
                  <a:pt x="1846945" y="630735"/>
                  <a:pt x="1844903" y="632818"/>
                </a:cubicBezTo>
                <a:cubicBezTo>
                  <a:pt x="1836739" y="636986"/>
                  <a:pt x="1836739" y="641153"/>
                  <a:pt x="1836739" y="645320"/>
                </a:cubicBezTo>
                <a:cubicBezTo>
                  <a:pt x="1836739" y="649487"/>
                  <a:pt x="1836739" y="653655"/>
                  <a:pt x="1836739" y="653655"/>
                </a:cubicBezTo>
                <a:cubicBezTo>
                  <a:pt x="1836739" y="653655"/>
                  <a:pt x="1836739" y="657822"/>
                  <a:pt x="1840821" y="657822"/>
                </a:cubicBezTo>
                <a:cubicBezTo>
                  <a:pt x="1844903" y="661989"/>
                  <a:pt x="1853068" y="661989"/>
                  <a:pt x="1857150" y="661989"/>
                </a:cubicBezTo>
                <a:cubicBezTo>
                  <a:pt x="1861232" y="657822"/>
                  <a:pt x="1861232" y="657822"/>
                  <a:pt x="1861232" y="657822"/>
                </a:cubicBezTo>
                <a:cubicBezTo>
                  <a:pt x="1865314" y="653655"/>
                  <a:pt x="1865314" y="649487"/>
                  <a:pt x="1865314" y="645320"/>
                </a:cubicBezTo>
                <a:cubicBezTo>
                  <a:pt x="1865314" y="645320"/>
                  <a:pt x="1865314" y="641153"/>
                  <a:pt x="1865314" y="636986"/>
                </a:cubicBezTo>
                <a:cubicBezTo>
                  <a:pt x="1863273" y="632818"/>
                  <a:pt x="1859191" y="630735"/>
                  <a:pt x="1855109" y="630214"/>
                </a:cubicBezTo>
                <a:close/>
                <a:moveTo>
                  <a:pt x="726110" y="628649"/>
                </a:moveTo>
                <a:cubicBezTo>
                  <a:pt x="742951" y="628649"/>
                  <a:pt x="742951" y="628649"/>
                  <a:pt x="742951" y="628649"/>
                </a:cubicBezTo>
                <a:lnTo>
                  <a:pt x="742951" y="795917"/>
                </a:lnTo>
                <a:cubicBezTo>
                  <a:pt x="726110" y="795917"/>
                  <a:pt x="726110" y="795917"/>
                  <a:pt x="726110" y="795917"/>
                </a:cubicBezTo>
                <a:cubicBezTo>
                  <a:pt x="726110" y="779190"/>
                  <a:pt x="726110" y="779190"/>
                  <a:pt x="726110" y="779190"/>
                </a:cubicBezTo>
                <a:cubicBezTo>
                  <a:pt x="717689" y="795917"/>
                  <a:pt x="709268" y="800099"/>
                  <a:pt x="692427" y="800099"/>
                </a:cubicBezTo>
                <a:cubicBezTo>
                  <a:pt x="658744" y="800099"/>
                  <a:pt x="646113" y="775009"/>
                  <a:pt x="646113" y="741555"/>
                </a:cubicBezTo>
                <a:cubicBezTo>
                  <a:pt x="646113" y="708101"/>
                  <a:pt x="658744" y="683011"/>
                  <a:pt x="692427" y="683011"/>
                </a:cubicBezTo>
                <a:cubicBezTo>
                  <a:pt x="713479" y="683011"/>
                  <a:pt x="726110" y="695556"/>
                  <a:pt x="726110" y="703920"/>
                </a:cubicBezTo>
                <a:cubicBezTo>
                  <a:pt x="726110" y="628649"/>
                  <a:pt x="726110" y="628649"/>
                  <a:pt x="726110" y="628649"/>
                </a:cubicBezTo>
                <a:close/>
                <a:moveTo>
                  <a:pt x="1857377" y="622131"/>
                </a:moveTo>
                <a:cubicBezTo>
                  <a:pt x="1864256" y="623662"/>
                  <a:pt x="1870606" y="627744"/>
                  <a:pt x="1874839" y="633868"/>
                </a:cubicBezTo>
                <a:cubicBezTo>
                  <a:pt x="1874839" y="637950"/>
                  <a:pt x="1874839" y="642032"/>
                  <a:pt x="1874839" y="646114"/>
                </a:cubicBezTo>
                <a:cubicBezTo>
                  <a:pt x="1874839" y="650196"/>
                  <a:pt x="1874839" y="654278"/>
                  <a:pt x="1874839" y="658360"/>
                </a:cubicBezTo>
                <a:cubicBezTo>
                  <a:pt x="1870606" y="662443"/>
                  <a:pt x="1870606" y="666525"/>
                  <a:pt x="1862139" y="666525"/>
                </a:cubicBezTo>
                <a:cubicBezTo>
                  <a:pt x="1853672" y="674689"/>
                  <a:pt x="1836739" y="670607"/>
                  <a:pt x="1828272" y="658360"/>
                </a:cubicBezTo>
                <a:cubicBezTo>
                  <a:pt x="1828272" y="654278"/>
                  <a:pt x="1824039" y="650196"/>
                  <a:pt x="1824039" y="646114"/>
                </a:cubicBezTo>
                <a:cubicBezTo>
                  <a:pt x="1824039" y="637950"/>
                  <a:pt x="1828272" y="629785"/>
                  <a:pt x="1836739" y="625703"/>
                </a:cubicBezTo>
                <a:cubicBezTo>
                  <a:pt x="1843089" y="621621"/>
                  <a:pt x="1850497" y="620601"/>
                  <a:pt x="1857377" y="622131"/>
                </a:cubicBezTo>
                <a:close/>
                <a:moveTo>
                  <a:pt x="1571138" y="612775"/>
                </a:moveTo>
                <a:cubicBezTo>
                  <a:pt x="1579442" y="616903"/>
                  <a:pt x="1591897" y="625158"/>
                  <a:pt x="1600201" y="629285"/>
                </a:cubicBezTo>
                <a:cubicBezTo>
                  <a:pt x="1600201" y="629285"/>
                  <a:pt x="1600201" y="629285"/>
                  <a:pt x="1596049" y="637540"/>
                </a:cubicBezTo>
                <a:cubicBezTo>
                  <a:pt x="1587745" y="633413"/>
                  <a:pt x="1583593" y="629285"/>
                  <a:pt x="1575290" y="625158"/>
                </a:cubicBezTo>
                <a:lnTo>
                  <a:pt x="1571138" y="633413"/>
                </a:lnTo>
                <a:cubicBezTo>
                  <a:pt x="1575290" y="637540"/>
                  <a:pt x="1579442" y="641668"/>
                  <a:pt x="1583593" y="641668"/>
                </a:cubicBezTo>
                <a:cubicBezTo>
                  <a:pt x="1583593" y="641668"/>
                  <a:pt x="1583593" y="641668"/>
                  <a:pt x="1579442" y="649923"/>
                </a:cubicBezTo>
                <a:cubicBezTo>
                  <a:pt x="1579442" y="649923"/>
                  <a:pt x="1579442" y="649923"/>
                  <a:pt x="1566986" y="641668"/>
                </a:cubicBezTo>
                <a:cubicBezTo>
                  <a:pt x="1566986" y="641668"/>
                  <a:pt x="1566986" y="641668"/>
                  <a:pt x="1558682" y="654050"/>
                </a:cubicBezTo>
                <a:cubicBezTo>
                  <a:pt x="1558682" y="654050"/>
                  <a:pt x="1558682" y="654050"/>
                  <a:pt x="1579442" y="666433"/>
                </a:cubicBezTo>
                <a:cubicBezTo>
                  <a:pt x="1579442" y="666433"/>
                  <a:pt x="1579442" y="666433"/>
                  <a:pt x="1575290" y="674688"/>
                </a:cubicBezTo>
                <a:cubicBezTo>
                  <a:pt x="1562834" y="666433"/>
                  <a:pt x="1554530" y="662305"/>
                  <a:pt x="1546226" y="654050"/>
                </a:cubicBezTo>
                <a:cubicBezTo>
                  <a:pt x="1546226" y="654050"/>
                  <a:pt x="1546226" y="654050"/>
                  <a:pt x="1571138" y="612775"/>
                </a:cubicBezTo>
                <a:close/>
                <a:moveTo>
                  <a:pt x="1898969" y="579438"/>
                </a:moveTo>
                <a:cubicBezTo>
                  <a:pt x="1898969" y="579438"/>
                  <a:pt x="1898969" y="579438"/>
                  <a:pt x="1931989" y="616943"/>
                </a:cubicBezTo>
                <a:cubicBezTo>
                  <a:pt x="1927862" y="621110"/>
                  <a:pt x="1927862" y="621110"/>
                  <a:pt x="1923734" y="625277"/>
                </a:cubicBezTo>
                <a:cubicBezTo>
                  <a:pt x="1923734" y="625277"/>
                  <a:pt x="1923734" y="625277"/>
                  <a:pt x="1890714" y="612776"/>
                </a:cubicBezTo>
                <a:cubicBezTo>
                  <a:pt x="1890714" y="612776"/>
                  <a:pt x="1890714" y="612776"/>
                  <a:pt x="1907224" y="637779"/>
                </a:cubicBezTo>
                <a:cubicBezTo>
                  <a:pt x="1903096" y="641946"/>
                  <a:pt x="1903096" y="641946"/>
                  <a:pt x="1898969" y="646113"/>
                </a:cubicBezTo>
                <a:cubicBezTo>
                  <a:pt x="1898969" y="646113"/>
                  <a:pt x="1898969" y="646113"/>
                  <a:pt x="1870076" y="604441"/>
                </a:cubicBezTo>
                <a:cubicBezTo>
                  <a:pt x="1874204" y="604441"/>
                  <a:pt x="1874204" y="600274"/>
                  <a:pt x="1878331" y="600274"/>
                </a:cubicBezTo>
                <a:cubicBezTo>
                  <a:pt x="1878331" y="600274"/>
                  <a:pt x="1878331" y="600274"/>
                  <a:pt x="1911351" y="608608"/>
                </a:cubicBezTo>
                <a:cubicBezTo>
                  <a:pt x="1911351" y="608608"/>
                  <a:pt x="1911351" y="608608"/>
                  <a:pt x="1890714" y="587772"/>
                </a:cubicBezTo>
                <a:cubicBezTo>
                  <a:pt x="1894841" y="583605"/>
                  <a:pt x="1894841" y="583605"/>
                  <a:pt x="1898969" y="579438"/>
                </a:cubicBezTo>
                <a:close/>
                <a:moveTo>
                  <a:pt x="1534626" y="579438"/>
                </a:moveTo>
                <a:cubicBezTo>
                  <a:pt x="1542930" y="587742"/>
                  <a:pt x="1551233" y="596046"/>
                  <a:pt x="1563689" y="604350"/>
                </a:cubicBezTo>
                <a:cubicBezTo>
                  <a:pt x="1559537" y="612653"/>
                  <a:pt x="1559537" y="612653"/>
                  <a:pt x="1559537" y="612653"/>
                </a:cubicBezTo>
                <a:cubicBezTo>
                  <a:pt x="1555385" y="608501"/>
                  <a:pt x="1551233" y="604350"/>
                  <a:pt x="1547081" y="604350"/>
                </a:cubicBezTo>
                <a:cubicBezTo>
                  <a:pt x="1518018" y="633413"/>
                  <a:pt x="1518018" y="633413"/>
                  <a:pt x="1518018" y="633413"/>
                </a:cubicBezTo>
                <a:cubicBezTo>
                  <a:pt x="1509714" y="625109"/>
                  <a:pt x="1509714" y="625109"/>
                  <a:pt x="1509714" y="625109"/>
                </a:cubicBezTo>
                <a:cubicBezTo>
                  <a:pt x="1538778" y="596046"/>
                  <a:pt x="1538778" y="596046"/>
                  <a:pt x="1538778" y="596046"/>
                </a:cubicBezTo>
                <a:cubicBezTo>
                  <a:pt x="1534626" y="591894"/>
                  <a:pt x="1530474" y="587742"/>
                  <a:pt x="1526322" y="583590"/>
                </a:cubicBezTo>
                <a:cubicBezTo>
                  <a:pt x="1534626" y="579438"/>
                  <a:pt x="1534626" y="579438"/>
                  <a:pt x="1534626" y="579438"/>
                </a:cubicBezTo>
                <a:close/>
                <a:moveTo>
                  <a:pt x="1924051" y="566738"/>
                </a:moveTo>
                <a:lnTo>
                  <a:pt x="1931989" y="579438"/>
                </a:lnTo>
                <a:lnTo>
                  <a:pt x="1936751" y="587376"/>
                </a:lnTo>
                <a:lnTo>
                  <a:pt x="1944689" y="579438"/>
                </a:lnTo>
                <a:lnTo>
                  <a:pt x="1944689" y="574676"/>
                </a:lnTo>
                <a:close/>
                <a:moveTo>
                  <a:pt x="1919742" y="558800"/>
                </a:moveTo>
                <a:cubicBezTo>
                  <a:pt x="1970089" y="571103"/>
                  <a:pt x="1970089" y="571103"/>
                  <a:pt x="1970089" y="571103"/>
                </a:cubicBezTo>
                <a:cubicBezTo>
                  <a:pt x="1970089" y="575204"/>
                  <a:pt x="1965894" y="575204"/>
                  <a:pt x="1965894" y="579305"/>
                </a:cubicBezTo>
                <a:cubicBezTo>
                  <a:pt x="1965894" y="579305"/>
                  <a:pt x="1965894" y="579305"/>
                  <a:pt x="1961698" y="579305"/>
                </a:cubicBezTo>
                <a:cubicBezTo>
                  <a:pt x="1953307" y="579305"/>
                  <a:pt x="1953307" y="579305"/>
                  <a:pt x="1953307" y="579305"/>
                </a:cubicBezTo>
                <a:cubicBezTo>
                  <a:pt x="1940720" y="595710"/>
                  <a:pt x="1940720" y="595710"/>
                  <a:pt x="1940720" y="595710"/>
                </a:cubicBezTo>
                <a:cubicBezTo>
                  <a:pt x="1944916" y="603912"/>
                  <a:pt x="1944916" y="603912"/>
                  <a:pt x="1944916" y="603912"/>
                </a:cubicBezTo>
                <a:cubicBezTo>
                  <a:pt x="1944916" y="603912"/>
                  <a:pt x="1940720" y="608013"/>
                  <a:pt x="1940720" y="608013"/>
                </a:cubicBezTo>
                <a:cubicBezTo>
                  <a:pt x="1919742" y="579305"/>
                  <a:pt x="1919742" y="579305"/>
                  <a:pt x="1919742" y="579305"/>
                </a:cubicBezTo>
                <a:cubicBezTo>
                  <a:pt x="1911351" y="567002"/>
                  <a:pt x="1911351" y="567002"/>
                  <a:pt x="1911351" y="567002"/>
                </a:cubicBezTo>
                <a:close/>
                <a:moveTo>
                  <a:pt x="1500586" y="541338"/>
                </a:moveTo>
                <a:cubicBezTo>
                  <a:pt x="1504753" y="545571"/>
                  <a:pt x="1504753" y="545571"/>
                  <a:pt x="1508920" y="549805"/>
                </a:cubicBezTo>
                <a:cubicBezTo>
                  <a:pt x="1508920" y="549805"/>
                  <a:pt x="1508920" y="549805"/>
                  <a:pt x="1496419" y="583671"/>
                </a:cubicBezTo>
                <a:cubicBezTo>
                  <a:pt x="1496419" y="583671"/>
                  <a:pt x="1496419" y="583671"/>
                  <a:pt x="1521422" y="562505"/>
                </a:cubicBezTo>
                <a:cubicBezTo>
                  <a:pt x="1521422" y="566738"/>
                  <a:pt x="1525589" y="566738"/>
                  <a:pt x="1525589" y="570971"/>
                </a:cubicBezTo>
                <a:cubicBezTo>
                  <a:pt x="1525589" y="570971"/>
                  <a:pt x="1525589" y="570971"/>
                  <a:pt x="1488084" y="604838"/>
                </a:cubicBezTo>
                <a:cubicBezTo>
                  <a:pt x="1483917" y="600605"/>
                  <a:pt x="1483917" y="600605"/>
                  <a:pt x="1479750" y="596371"/>
                </a:cubicBezTo>
                <a:cubicBezTo>
                  <a:pt x="1479750" y="596371"/>
                  <a:pt x="1479750" y="596371"/>
                  <a:pt x="1492252" y="562505"/>
                </a:cubicBezTo>
                <a:cubicBezTo>
                  <a:pt x="1492252" y="562505"/>
                  <a:pt x="1492252" y="562505"/>
                  <a:pt x="1467249" y="579438"/>
                </a:cubicBezTo>
                <a:cubicBezTo>
                  <a:pt x="1463081" y="575205"/>
                  <a:pt x="1463081" y="575205"/>
                  <a:pt x="1458914" y="570971"/>
                </a:cubicBezTo>
                <a:cubicBezTo>
                  <a:pt x="1458914" y="570971"/>
                  <a:pt x="1458914" y="570971"/>
                  <a:pt x="1500586" y="541338"/>
                </a:cubicBezTo>
                <a:close/>
                <a:moveTo>
                  <a:pt x="1936752" y="528638"/>
                </a:moveTo>
                <a:lnTo>
                  <a:pt x="1973264" y="550863"/>
                </a:lnTo>
                <a:lnTo>
                  <a:pt x="1985965" y="528638"/>
                </a:lnTo>
                <a:lnTo>
                  <a:pt x="1993902" y="533401"/>
                </a:lnTo>
                <a:lnTo>
                  <a:pt x="1978027" y="561976"/>
                </a:lnTo>
                <a:lnTo>
                  <a:pt x="1931989" y="538163"/>
                </a:lnTo>
                <a:close/>
                <a:moveTo>
                  <a:pt x="1492829" y="525463"/>
                </a:moveTo>
                <a:cubicBezTo>
                  <a:pt x="1492829" y="529630"/>
                  <a:pt x="1497014" y="529630"/>
                  <a:pt x="1497014" y="533798"/>
                </a:cubicBezTo>
                <a:cubicBezTo>
                  <a:pt x="1497014" y="533798"/>
                  <a:pt x="1497014" y="533798"/>
                  <a:pt x="1455161" y="558801"/>
                </a:cubicBezTo>
                <a:cubicBezTo>
                  <a:pt x="1450976" y="554634"/>
                  <a:pt x="1450976" y="550467"/>
                  <a:pt x="1450976" y="550467"/>
                </a:cubicBezTo>
                <a:cubicBezTo>
                  <a:pt x="1450976" y="550467"/>
                  <a:pt x="1450976" y="550467"/>
                  <a:pt x="1492829" y="525463"/>
                </a:cubicBezTo>
                <a:close/>
                <a:moveTo>
                  <a:pt x="1482542" y="485751"/>
                </a:moveTo>
                <a:cubicBezTo>
                  <a:pt x="1480468" y="485230"/>
                  <a:pt x="1478394" y="486272"/>
                  <a:pt x="1476320" y="488355"/>
                </a:cubicBezTo>
                <a:cubicBezTo>
                  <a:pt x="1430696" y="500857"/>
                  <a:pt x="1430696" y="500857"/>
                  <a:pt x="1430696" y="500857"/>
                </a:cubicBezTo>
                <a:cubicBezTo>
                  <a:pt x="1422401" y="505024"/>
                  <a:pt x="1422401" y="509191"/>
                  <a:pt x="1422401" y="517526"/>
                </a:cubicBezTo>
                <a:cubicBezTo>
                  <a:pt x="1468025" y="634207"/>
                  <a:pt x="1584159" y="717551"/>
                  <a:pt x="1716883" y="717551"/>
                </a:cubicBezTo>
                <a:cubicBezTo>
                  <a:pt x="1849607" y="717551"/>
                  <a:pt x="1965740" y="634207"/>
                  <a:pt x="2011364" y="513358"/>
                </a:cubicBezTo>
                <a:cubicBezTo>
                  <a:pt x="2011364" y="509191"/>
                  <a:pt x="2007217" y="505024"/>
                  <a:pt x="2003069" y="500857"/>
                </a:cubicBezTo>
                <a:cubicBezTo>
                  <a:pt x="1957445" y="488355"/>
                  <a:pt x="1957445" y="488355"/>
                  <a:pt x="1957445" y="488355"/>
                </a:cubicBezTo>
                <a:cubicBezTo>
                  <a:pt x="1955371" y="486272"/>
                  <a:pt x="1953297" y="485230"/>
                  <a:pt x="1951224" y="485751"/>
                </a:cubicBezTo>
                <a:cubicBezTo>
                  <a:pt x="1949150" y="486272"/>
                  <a:pt x="1947076" y="488355"/>
                  <a:pt x="1945002" y="492522"/>
                </a:cubicBezTo>
                <a:cubicBezTo>
                  <a:pt x="1907673" y="584201"/>
                  <a:pt x="1820573" y="646709"/>
                  <a:pt x="1716883" y="646709"/>
                </a:cubicBezTo>
                <a:cubicBezTo>
                  <a:pt x="1613192" y="646709"/>
                  <a:pt x="1526092" y="584201"/>
                  <a:pt x="1488763" y="492522"/>
                </a:cubicBezTo>
                <a:cubicBezTo>
                  <a:pt x="1486689" y="488355"/>
                  <a:pt x="1484616" y="486272"/>
                  <a:pt x="1482542" y="485751"/>
                </a:cubicBezTo>
                <a:close/>
                <a:moveTo>
                  <a:pt x="1662749" y="478852"/>
                </a:moveTo>
                <a:cubicBezTo>
                  <a:pt x="1551306" y="533313"/>
                  <a:pt x="1551306" y="533313"/>
                  <a:pt x="1551306" y="533313"/>
                </a:cubicBezTo>
                <a:cubicBezTo>
                  <a:pt x="1547179" y="533313"/>
                  <a:pt x="1543051" y="533313"/>
                  <a:pt x="1543051" y="537502"/>
                </a:cubicBezTo>
                <a:cubicBezTo>
                  <a:pt x="1543051" y="537502"/>
                  <a:pt x="1543051" y="537502"/>
                  <a:pt x="1543051" y="541691"/>
                </a:cubicBezTo>
                <a:cubicBezTo>
                  <a:pt x="1543051" y="541691"/>
                  <a:pt x="1543051" y="545880"/>
                  <a:pt x="1547179" y="545880"/>
                </a:cubicBezTo>
                <a:cubicBezTo>
                  <a:pt x="1584326" y="587773"/>
                  <a:pt x="1621474" y="608719"/>
                  <a:pt x="1675132" y="621287"/>
                </a:cubicBezTo>
                <a:cubicBezTo>
                  <a:pt x="1679259" y="625476"/>
                  <a:pt x="1683387" y="625476"/>
                  <a:pt x="1683387" y="621287"/>
                </a:cubicBezTo>
                <a:cubicBezTo>
                  <a:pt x="1687514" y="621287"/>
                  <a:pt x="1687514" y="617098"/>
                  <a:pt x="1687514" y="608719"/>
                </a:cubicBezTo>
                <a:cubicBezTo>
                  <a:pt x="1687514" y="608719"/>
                  <a:pt x="1679259" y="487231"/>
                  <a:pt x="1679259" y="487231"/>
                </a:cubicBezTo>
                <a:cubicBezTo>
                  <a:pt x="1679259" y="483042"/>
                  <a:pt x="1675132" y="478852"/>
                  <a:pt x="1675132" y="478852"/>
                </a:cubicBezTo>
                <a:cubicBezTo>
                  <a:pt x="1671004" y="474663"/>
                  <a:pt x="1666877" y="474663"/>
                  <a:pt x="1662749" y="478852"/>
                </a:cubicBezTo>
                <a:close/>
                <a:moveTo>
                  <a:pt x="1762761" y="474663"/>
                </a:moveTo>
                <a:cubicBezTo>
                  <a:pt x="1758634" y="478836"/>
                  <a:pt x="1758634" y="483009"/>
                  <a:pt x="1758634" y="487182"/>
                </a:cubicBezTo>
                <a:cubicBezTo>
                  <a:pt x="1746251" y="608194"/>
                  <a:pt x="1746251" y="608194"/>
                  <a:pt x="1746251" y="608194"/>
                </a:cubicBezTo>
                <a:cubicBezTo>
                  <a:pt x="1746251" y="612367"/>
                  <a:pt x="1746251" y="616540"/>
                  <a:pt x="1750379" y="620713"/>
                </a:cubicBezTo>
                <a:cubicBezTo>
                  <a:pt x="1750379" y="620713"/>
                  <a:pt x="1754506" y="620713"/>
                  <a:pt x="1758634" y="620713"/>
                </a:cubicBezTo>
                <a:cubicBezTo>
                  <a:pt x="1812291" y="608194"/>
                  <a:pt x="1849439" y="587330"/>
                  <a:pt x="1886587" y="545602"/>
                </a:cubicBezTo>
                <a:cubicBezTo>
                  <a:pt x="1890714" y="541429"/>
                  <a:pt x="1890714" y="541429"/>
                  <a:pt x="1890714" y="537256"/>
                </a:cubicBezTo>
                <a:cubicBezTo>
                  <a:pt x="1890714" y="533083"/>
                  <a:pt x="1886587" y="533083"/>
                  <a:pt x="1882459" y="528910"/>
                </a:cubicBezTo>
                <a:cubicBezTo>
                  <a:pt x="1775144" y="474663"/>
                  <a:pt x="1775144" y="474663"/>
                  <a:pt x="1775144" y="474663"/>
                </a:cubicBezTo>
                <a:cubicBezTo>
                  <a:pt x="1771016" y="474663"/>
                  <a:pt x="1766889" y="474663"/>
                  <a:pt x="1762761" y="474663"/>
                </a:cubicBezTo>
                <a:close/>
                <a:moveTo>
                  <a:pt x="725572" y="428624"/>
                </a:moveTo>
                <a:cubicBezTo>
                  <a:pt x="705101" y="432820"/>
                  <a:pt x="696913" y="441211"/>
                  <a:pt x="696913" y="457993"/>
                </a:cubicBezTo>
                <a:cubicBezTo>
                  <a:pt x="696913" y="470580"/>
                  <a:pt x="696913" y="487362"/>
                  <a:pt x="717384" y="487362"/>
                </a:cubicBezTo>
                <a:cubicBezTo>
                  <a:pt x="741948" y="487362"/>
                  <a:pt x="774701" y="478971"/>
                  <a:pt x="774701" y="478971"/>
                </a:cubicBezTo>
                <a:cubicBezTo>
                  <a:pt x="774701" y="428624"/>
                  <a:pt x="774701" y="428624"/>
                  <a:pt x="774701" y="428624"/>
                </a:cubicBezTo>
                <a:close/>
                <a:moveTo>
                  <a:pt x="352426" y="346073"/>
                </a:moveTo>
                <a:cubicBezTo>
                  <a:pt x="315516" y="346073"/>
                  <a:pt x="303213" y="362695"/>
                  <a:pt x="303213" y="412562"/>
                </a:cubicBezTo>
                <a:cubicBezTo>
                  <a:pt x="303213" y="462428"/>
                  <a:pt x="311415" y="487361"/>
                  <a:pt x="352426" y="487361"/>
                </a:cubicBezTo>
                <a:cubicBezTo>
                  <a:pt x="393436" y="487361"/>
                  <a:pt x="401638" y="458272"/>
                  <a:pt x="401638" y="412562"/>
                </a:cubicBezTo>
                <a:cubicBezTo>
                  <a:pt x="401638" y="362695"/>
                  <a:pt x="389335" y="346073"/>
                  <a:pt x="352426" y="346073"/>
                </a:cubicBezTo>
                <a:close/>
                <a:moveTo>
                  <a:pt x="1704770" y="341312"/>
                </a:moveTo>
                <a:cubicBezTo>
                  <a:pt x="1704770" y="341312"/>
                  <a:pt x="1704770" y="353885"/>
                  <a:pt x="1704770" y="353885"/>
                </a:cubicBezTo>
                <a:cubicBezTo>
                  <a:pt x="1684063" y="358076"/>
                  <a:pt x="1671639" y="379031"/>
                  <a:pt x="1671639" y="399986"/>
                </a:cubicBezTo>
                <a:cubicBezTo>
                  <a:pt x="1671639" y="425132"/>
                  <a:pt x="1692346" y="446087"/>
                  <a:pt x="1717193" y="446087"/>
                </a:cubicBezTo>
                <a:cubicBezTo>
                  <a:pt x="1742041" y="446087"/>
                  <a:pt x="1766889" y="425132"/>
                  <a:pt x="1766889" y="399986"/>
                </a:cubicBezTo>
                <a:cubicBezTo>
                  <a:pt x="1766889" y="379031"/>
                  <a:pt x="1750324" y="358076"/>
                  <a:pt x="1729617" y="353885"/>
                </a:cubicBezTo>
                <a:cubicBezTo>
                  <a:pt x="1729617" y="349694"/>
                  <a:pt x="1729617" y="341312"/>
                  <a:pt x="1729617" y="341312"/>
                </a:cubicBezTo>
                <a:cubicBezTo>
                  <a:pt x="1704770" y="341312"/>
                  <a:pt x="1704770" y="341312"/>
                  <a:pt x="1704770" y="341312"/>
                </a:cubicBezTo>
                <a:close/>
                <a:moveTo>
                  <a:pt x="1716883" y="328612"/>
                </a:moveTo>
                <a:cubicBezTo>
                  <a:pt x="1755899" y="328612"/>
                  <a:pt x="1787527" y="360596"/>
                  <a:pt x="1787527" y="400050"/>
                </a:cubicBezTo>
                <a:cubicBezTo>
                  <a:pt x="1787527" y="439504"/>
                  <a:pt x="1755899" y="471488"/>
                  <a:pt x="1716883" y="471488"/>
                </a:cubicBezTo>
                <a:cubicBezTo>
                  <a:pt x="1677867" y="471488"/>
                  <a:pt x="1646239" y="439504"/>
                  <a:pt x="1646239" y="400050"/>
                </a:cubicBezTo>
                <a:cubicBezTo>
                  <a:pt x="1646239" y="360596"/>
                  <a:pt x="1677867" y="328612"/>
                  <a:pt x="1716883" y="328612"/>
                </a:cubicBezTo>
                <a:close/>
                <a:moveTo>
                  <a:pt x="1716883" y="320675"/>
                </a:moveTo>
                <a:cubicBezTo>
                  <a:pt x="1673483" y="320675"/>
                  <a:pt x="1638301" y="356212"/>
                  <a:pt x="1638301" y="400050"/>
                </a:cubicBezTo>
                <a:cubicBezTo>
                  <a:pt x="1638301" y="443888"/>
                  <a:pt x="1673483" y="479425"/>
                  <a:pt x="1716883" y="479425"/>
                </a:cubicBezTo>
                <a:cubicBezTo>
                  <a:pt x="1760283" y="479425"/>
                  <a:pt x="1795465" y="443888"/>
                  <a:pt x="1795465" y="400050"/>
                </a:cubicBezTo>
                <a:cubicBezTo>
                  <a:pt x="1795465" y="356212"/>
                  <a:pt x="1760283" y="320675"/>
                  <a:pt x="1716883" y="320675"/>
                </a:cubicBezTo>
                <a:close/>
                <a:moveTo>
                  <a:pt x="1924004" y="317500"/>
                </a:moveTo>
                <a:cubicBezTo>
                  <a:pt x="1924004" y="317500"/>
                  <a:pt x="1919866" y="317500"/>
                  <a:pt x="1911592" y="321667"/>
                </a:cubicBezTo>
                <a:cubicBezTo>
                  <a:pt x="1812301" y="388342"/>
                  <a:pt x="1812301" y="388342"/>
                  <a:pt x="1812301" y="388342"/>
                </a:cubicBezTo>
                <a:cubicBezTo>
                  <a:pt x="1808164" y="392510"/>
                  <a:pt x="1808164" y="396677"/>
                  <a:pt x="1808164" y="400844"/>
                </a:cubicBezTo>
                <a:cubicBezTo>
                  <a:pt x="1808164" y="400844"/>
                  <a:pt x="1808164" y="405011"/>
                  <a:pt x="1812301" y="409178"/>
                </a:cubicBezTo>
                <a:lnTo>
                  <a:pt x="1915729" y="480021"/>
                </a:lnTo>
                <a:cubicBezTo>
                  <a:pt x="1915729" y="480021"/>
                  <a:pt x="1919866" y="484188"/>
                  <a:pt x="1924004" y="480021"/>
                </a:cubicBezTo>
                <a:cubicBezTo>
                  <a:pt x="1928141" y="480021"/>
                  <a:pt x="1928141" y="480021"/>
                  <a:pt x="1928141" y="471686"/>
                </a:cubicBezTo>
                <a:cubicBezTo>
                  <a:pt x="1944689" y="421680"/>
                  <a:pt x="1944689" y="375841"/>
                  <a:pt x="1928141" y="325834"/>
                </a:cubicBezTo>
                <a:cubicBezTo>
                  <a:pt x="1928141" y="321667"/>
                  <a:pt x="1928141" y="317500"/>
                  <a:pt x="1924004" y="317500"/>
                </a:cubicBezTo>
                <a:close/>
                <a:moveTo>
                  <a:pt x="1509762" y="317500"/>
                </a:moveTo>
                <a:cubicBezTo>
                  <a:pt x="1505625" y="317500"/>
                  <a:pt x="1505625" y="321667"/>
                  <a:pt x="1501487" y="325834"/>
                </a:cubicBezTo>
                <a:cubicBezTo>
                  <a:pt x="1489076" y="375841"/>
                  <a:pt x="1489076" y="421680"/>
                  <a:pt x="1501487" y="475854"/>
                </a:cubicBezTo>
                <a:cubicBezTo>
                  <a:pt x="1505625" y="475854"/>
                  <a:pt x="1505625" y="480021"/>
                  <a:pt x="1509762" y="480021"/>
                </a:cubicBezTo>
                <a:cubicBezTo>
                  <a:pt x="1509762" y="484188"/>
                  <a:pt x="1513899" y="480021"/>
                  <a:pt x="1518036" y="480021"/>
                </a:cubicBezTo>
                <a:cubicBezTo>
                  <a:pt x="1621464" y="409178"/>
                  <a:pt x="1621464" y="409178"/>
                  <a:pt x="1621464" y="409178"/>
                </a:cubicBezTo>
                <a:cubicBezTo>
                  <a:pt x="1625601" y="409178"/>
                  <a:pt x="1625601" y="405011"/>
                  <a:pt x="1625601" y="400844"/>
                </a:cubicBezTo>
                <a:cubicBezTo>
                  <a:pt x="1625601" y="396677"/>
                  <a:pt x="1625601" y="392510"/>
                  <a:pt x="1621464" y="388342"/>
                </a:cubicBezTo>
                <a:lnTo>
                  <a:pt x="1518036" y="321667"/>
                </a:lnTo>
                <a:cubicBezTo>
                  <a:pt x="1518036" y="317500"/>
                  <a:pt x="1513899" y="317500"/>
                  <a:pt x="1509762" y="317500"/>
                </a:cubicBezTo>
                <a:close/>
                <a:moveTo>
                  <a:pt x="1032821" y="304799"/>
                </a:moveTo>
                <a:cubicBezTo>
                  <a:pt x="1032821" y="304799"/>
                  <a:pt x="1036942" y="304799"/>
                  <a:pt x="1041062" y="304799"/>
                </a:cubicBezTo>
                <a:cubicBezTo>
                  <a:pt x="1041062" y="304799"/>
                  <a:pt x="1041062" y="304799"/>
                  <a:pt x="1074028" y="304799"/>
                </a:cubicBezTo>
                <a:cubicBezTo>
                  <a:pt x="1078149" y="304799"/>
                  <a:pt x="1078149" y="304799"/>
                  <a:pt x="1082270" y="308966"/>
                </a:cubicBezTo>
                <a:cubicBezTo>
                  <a:pt x="1082270" y="308966"/>
                  <a:pt x="1082270" y="308966"/>
                  <a:pt x="1123477" y="479821"/>
                </a:cubicBezTo>
                <a:cubicBezTo>
                  <a:pt x="1123477" y="479821"/>
                  <a:pt x="1123477" y="479821"/>
                  <a:pt x="1127598" y="479821"/>
                </a:cubicBezTo>
                <a:cubicBezTo>
                  <a:pt x="1127598" y="479821"/>
                  <a:pt x="1127598" y="479821"/>
                  <a:pt x="1172926" y="308966"/>
                </a:cubicBezTo>
                <a:cubicBezTo>
                  <a:pt x="1172926" y="304799"/>
                  <a:pt x="1177047" y="304799"/>
                  <a:pt x="1181168" y="304799"/>
                </a:cubicBezTo>
                <a:cubicBezTo>
                  <a:pt x="1181168" y="304799"/>
                  <a:pt x="1181168" y="304799"/>
                  <a:pt x="1214134" y="304799"/>
                </a:cubicBezTo>
                <a:cubicBezTo>
                  <a:pt x="1218254" y="304799"/>
                  <a:pt x="1218254" y="304799"/>
                  <a:pt x="1222375" y="304799"/>
                </a:cubicBezTo>
                <a:cubicBezTo>
                  <a:pt x="1222375" y="308966"/>
                  <a:pt x="1222375" y="308966"/>
                  <a:pt x="1222375" y="313133"/>
                </a:cubicBezTo>
                <a:cubicBezTo>
                  <a:pt x="1222375" y="313133"/>
                  <a:pt x="1222375" y="313133"/>
                  <a:pt x="1218254" y="338137"/>
                </a:cubicBezTo>
                <a:cubicBezTo>
                  <a:pt x="1214134" y="350638"/>
                  <a:pt x="1210013" y="367307"/>
                  <a:pt x="1201771" y="388143"/>
                </a:cubicBezTo>
                <a:cubicBezTo>
                  <a:pt x="1193530" y="433982"/>
                  <a:pt x="1177047" y="496490"/>
                  <a:pt x="1164685" y="542329"/>
                </a:cubicBezTo>
                <a:cubicBezTo>
                  <a:pt x="1152322" y="584001"/>
                  <a:pt x="1131719" y="604837"/>
                  <a:pt x="1098753" y="604837"/>
                </a:cubicBezTo>
                <a:cubicBezTo>
                  <a:pt x="1098753" y="604837"/>
                  <a:pt x="1098753" y="604837"/>
                  <a:pt x="1094632" y="604837"/>
                </a:cubicBezTo>
                <a:cubicBezTo>
                  <a:pt x="1078149" y="604837"/>
                  <a:pt x="1053425" y="600670"/>
                  <a:pt x="1041062" y="600670"/>
                </a:cubicBezTo>
                <a:cubicBezTo>
                  <a:pt x="1036942" y="596503"/>
                  <a:pt x="1032821" y="596503"/>
                  <a:pt x="1032821" y="592335"/>
                </a:cubicBezTo>
                <a:cubicBezTo>
                  <a:pt x="1032821" y="592335"/>
                  <a:pt x="1032821" y="592335"/>
                  <a:pt x="1032821" y="567332"/>
                </a:cubicBezTo>
                <a:cubicBezTo>
                  <a:pt x="1032821" y="567332"/>
                  <a:pt x="1032821" y="563165"/>
                  <a:pt x="1036942" y="563165"/>
                </a:cubicBezTo>
                <a:cubicBezTo>
                  <a:pt x="1036942" y="558998"/>
                  <a:pt x="1041062" y="558998"/>
                  <a:pt x="1041062" y="558998"/>
                </a:cubicBezTo>
                <a:cubicBezTo>
                  <a:pt x="1041062" y="558998"/>
                  <a:pt x="1041062" y="558998"/>
                  <a:pt x="1082270" y="563165"/>
                </a:cubicBezTo>
                <a:cubicBezTo>
                  <a:pt x="1106994" y="563165"/>
                  <a:pt x="1111115" y="550663"/>
                  <a:pt x="1115236" y="538162"/>
                </a:cubicBezTo>
                <a:cubicBezTo>
                  <a:pt x="1115236" y="533995"/>
                  <a:pt x="1115236" y="533995"/>
                  <a:pt x="1119357" y="529828"/>
                </a:cubicBezTo>
                <a:cubicBezTo>
                  <a:pt x="1119357" y="529828"/>
                  <a:pt x="1119357" y="529828"/>
                  <a:pt x="1106994" y="529828"/>
                </a:cubicBezTo>
                <a:cubicBezTo>
                  <a:pt x="1090511" y="529828"/>
                  <a:pt x="1082270" y="513159"/>
                  <a:pt x="1082270" y="504824"/>
                </a:cubicBezTo>
                <a:cubicBezTo>
                  <a:pt x="1082270" y="504824"/>
                  <a:pt x="1082270" y="504824"/>
                  <a:pt x="1032821" y="313133"/>
                </a:cubicBezTo>
                <a:cubicBezTo>
                  <a:pt x="1028700" y="308966"/>
                  <a:pt x="1032821" y="308966"/>
                  <a:pt x="1032821" y="304799"/>
                </a:cubicBezTo>
                <a:close/>
                <a:moveTo>
                  <a:pt x="994979" y="300037"/>
                </a:moveTo>
                <a:cubicBezTo>
                  <a:pt x="994979" y="300037"/>
                  <a:pt x="999140" y="300037"/>
                  <a:pt x="999140" y="304193"/>
                </a:cubicBezTo>
                <a:cubicBezTo>
                  <a:pt x="1003300" y="304193"/>
                  <a:pt x="1003300" y="308350"/>
                  <a:pt x="1003300" y="308350"/>
                </a:cubicBezTo>
                <a:cubicBezTo>
                  <a:pt x="1003300" y="308350"/>
                  <a:pt x="1003300" y="308350"/>
                  <a:pt x="1003300" y="341601"/>
                </a:cubicBezTo>
                <a:cubicBezTo>
                  <a:pt x="1003300" y="345757"/>
                  <a:pt x="999140" y="345757"/>
                  <a:pt x="994979" y="349913"/>
                </a:cubicBezTo>
                <a:cubicBezTo>
                  <a:pt x="965857" y="349913"/>
                  <a:pt x="940895" y="370695"/>
                  <a:pt x="932574" y="374852"/>
                </a:cubicBezTo>
                <a:cubicBezTo>
                  <a:pt x="932574" y="374852"/>
                  <a:pt x="932574" y="374852"/>
                  <a:pt x="932574" y="520324"/>
                </a:cubicBezTo>
                <a:cubicBezTo>
                  <a:pt x="932574" y="524481"/>
                  <a:pt x="928414" y="528637"/>
                  <a:pt x="924254" y="528637"/>
                </a:cubicBezTo>
                <a:cubicBezTo>
                  <a:pt x="924254" y="528637"/>
                  <a:pt x="924254" y="528637"/>
                  <a:pt x="890971" y="528637"/>
                </a:cubicBezTo>
                <a:cubicBezTo>
                  <a:pt x="886810" y="528637"/>
                  <a:pt x="882650" y="524481"/>
                  <a:pt x="882650" y="520324"/>
                </a:cubicBezTo>
                <a:cubicBezTo>
                  <a:pt x="882650" y="520324"/>
                  <a:pt x="882650" y="520324"/>
                  <a:pt x="882650" y="312506"/>
                </a:cubicBezTo>
                <a:cubicBezTo>
                  <a:pt x="882650" y="304193"/>
                  <a:pt x="886810" y="304193"/>
                  <a:pt x="890971" y="304193"/>
                </a:cubicBezTo>
                <a:cubicBezTo>
                  <a:pt x="890971" y="304193"/>
                  <a:pt x="890971" y="304193"/>
                  <a:pt x="924254" y="304193"/>
                </a:cubicBezTo>
                <a:cubicBezTo>
                  <a:pt x="928414" y="304193"/>
                  <a:pt x="932574" y="304193"/>
                  <a:pt x="932574" y="312506"/>
                </a:cubicBezTo>
                <a:cubicBezTo>
                  <a:pt x="932574" y="312506"/>
                  <a:pt x="932574" y="312506"/>
                  <a:pt x="932574" y="324975"/>
                </a:cubicBezTo>
                <a:cubicBezTo>
                  <a:pt x="949216" y="316662"/>
                  <a:pt x="970017" y="300037"/>
                  <a:pt x="994979" y="300037"/>
                </a:cubicBezTo>
                <a:close/>
                <a:moveTo>
                  <a:pt x="750816" y="295274"/>
                </a:moveTo>
                <a:cubicBezTo>
                  <a:pt x="800606" y="295274"/>
                  <a:pt x="825501" y="320340"/>
                  <a:pt x="825501" y="374649"/>
                </a:cubicBezTo>
                <a:cubicBezTo>
                  <a:pt x="825501" y="525044"/>
                  <a:pt x="825501" y="525044"/>
                  <a:pt x="825501" y="525044"/>
                </a:cubicBezTo>
                <a:cubicBezTo>
                  <a:pt x="825501" y="525044"/>
                  <a:pt x="825501" y="529221"/>
                  <a:pt x="825501" y="529221"/>
                </a:cubicBezTo>
                <a:cubicBezTo>
                  <a:pt x="821352" y="533399"/>
                  <a:pt x="821352" y="533399"/>
                  <a:pt x="817203" y="533399"/>
                </a:cubicBezTo>
                <a:cubicBezTo>
                  <a:pt x="800606" y="529221"/>
                  <a:pt x="792308" y="525044"/>
                  <a:pt x="784010" y="516688"/>
                </a:cubicBezTo>
                <a:cubicBezTo>
                  <a:pt x="784010" y="516688"/>
                  <a:pt x="742518" y="533399"/>
                  <a:pt x="709325" y="533399"/>
                </a:cubicBezTo>
                <a:cubicBezTo>
                  <a:pt x="667833" y="533399"/>
                  <a:pt x="642938" y="508333"/>
                  <a:pt x="642938" y="462379"/>
                </a:cubicBezTo>
                <a:cubicBezTo>
                  <a:pt x="642938" y="416425"/>
                  <a:pt x="667833" y="395537"/>
                  <a:pt x="717623" y="391360"/>
                </a:cubicBezTo>
                <a:cubicBezTo>
                  <a:pt x="775711" y="387182"/>
                  <a:pt x="775711" y="387182"/>
                  <a:pt x="775711" y="387182"/>
                </a:cubicBezTo>
                <a:cubicBezTo>
                  <a:pt x="775711" y="374649"/>
                  <a:pt x="775711" y="374649"/>
                  <a:pt x="775711" y="374649"/>
                </a:cubicBezTo>
                <a:cubicBezTo>
                  <a:pt x="775711" y="357939"/>
                  <a:pt x="763264" y="345406"/>
                  <a:pt x="746667" y="345406"/>
                </a:cubicBezTo>
                <a:cubicBezTo>
                  <a:pt x="721772" y="345406"/>
                  <a:pt x="688579" y="349583"/>
                  <a:pt x="667833" y="349583"/>
                </a:cubicBezTo>
                <a:cubicBezTo>
                  <a:pt x="667833" y="349583"/>
                  <a:pt x="663684" y="349583"/>
                  <a:pt x="663684" y="349583"/>
                </a:cubicBezTo>
                <a:cubicBezTo>
                  <a:pt x="659535" y="345406"/>
                  <a:pt x="659535" y="345406"/>
                  <a:pt x="659535" y="341228"/>
                </a:cubicBezTo>
                <a:cubicBezTo>
                  <a:pt x="659535" y="311985"/>
                  <a:pt x="659535" y="311985"/>
                  <a:pt x="659535" y="311985"/>
                </a:cubicBezTo>
                <a:cubicBezTo>
                  <a:pt x="659535" y="307807"/>
                  <a:pt x="663684" y="303629"/>
                  <a:pt x="667833" y="303629"/>
                </a:cubicBezTo>
                <a:cubicBezTo>
                  <a:pt x="684430" y="303629"/>
                  <a:pt x="725921" y="295274"/>
                  <a:pt x="750816" y="295274"/>
                </a:cubicBezTo>
                <a:close/>
                <a:moveTo>
                  <a:pt x="354013" y="295273"/>
                </a:moveTo>
                <a:cubicBezTo>
                  <a:pt x="410125" y="295273"/>
                  <a:pt x="455613" y="348579"/>
                  <a:pt x="455613" y="414336"/>
                </a:cubicBezTo>
                <a:cubicBezTo>
                  <a:pt x="455613" y="480093"/>
                  <a:pt x="410125" y="533399"/>
                  <a:pt x="354013" y="533399"/>
                </a:cubicBezTo>
                <a:cubicBezTo>
                  <a:pt x="297901" y="533399"/>
                  <a:pt x="252413" y="480093"/>
                  <a:pt x="252413" y="414336"/>
                </a:cubicBezTo>
                <a:cubicBezTo>
                  <a:pt x="252413" y="348579"/>
                  <a:pt x="297901" y="295273"/>
                  <a:pt x="354013" y="295273"/>
                </a:cubicBezTo>
                <a:close/>
                <a:moveTo>
                  <a:pt x="53975" y="266699"/>
                </a:moveTo>
                <a:cubicBezTo>
                  <a:pt x="53975" y="358774"/>
                  <a:pt x="53975" y="358774"/>
                  <a:pt x="53975" y="358774"/>
                </a:cubicBezTo>
                <a:cubicBezTo>
                  <a:pt x="62207" y="358774"/>
                  <a:pt x="82785" y="358774"/>
                  <a:pt x="107480" y="358774"/>
                </a:cubicBezTo>
                <a:cubicBezTo>
                  <a:pt x="144521" y="358774"/>
                  <a:pt x="165100" y="342033"/>
                  <a:pt x="165100" y="312737"/>
                </a:cubicBezTo>
                <a:cubicBezTo>
                  <a:pt x="165100" y="291810"/>
                  <a:pt x="148637" y="266699"/>
                  <a:pt x="111595" y="266699"/>
                </a:cubicBezTo>
                <a:cubicBezTo>
                  <a:pt x="91017" y="266699"/>
                  <a:pt x="91017" y="266699"/>
                  <a:pt x="91017" y="266699"/>
                </a:cubicBezTo>
                <a:cubicBezTo>
                  <a:pt x="70438" y="266699"/>
                  <a:pt x="62207" y="266699"/>
                  <a:pt x="53975" y="266699"/>
                </a:cubicBezTo>
                <a:close/>
                <a:moveTo>
                  <a:pt x="546894" y="250824"/>
                </a:moveTo>
                <a:cubicBezTo>
                  <a:pt x="546894" y="250824"/>
                  <a:pt x="551050" y="250824"/>
                  <a:pt x="551050" y="250824"/>
                </a:cubicBezTo>
                <a:cubicBezTo>
                  <a:pt x="555205" y="254980"/>
                  <a:pt x="555205" y="254980"/>
                  <a:pt x="555205" y="259135"/>
                </a:cubicBezTo>
                <a:cubicBezTo>
                  <a:pt x="555205" y="304846"/>
                  <a:pt x="555205" y="304846"/>
                  <a:pt x="555205" y="304846"/>
                </a:cubicBezTo>
                <a:cubicBezTo>
                  <a:pt x="609227" y="304846"/>
                  <a:pt x="609227" y="304846"/>
                  <a:pt x="609227" y="304846"/>
                </a:cubicBezTo>
                <a:cubicBezTo>
                  <a:pt x="613383" y="304846"/>
                  <a:pt x="617538" y="304846"/>
                  <a:pt x="617538" y="313157"/>
                </a:cubicBezTo>
                <a:cubicBezTo>
                  <a:pt x="617538" y="342245"/>
                  <a:pt x="617538" y="342245"/>
                  <a:pt x="617538" y="342245"/>
                </a:cubicBezTo>
                <a:cubicBezTo>
                  <a:pt x="617538" y="346401"/>
                  <a:pt x="613383" y="350556"/>
                  <a:pt x="609227" y="350556"/>
                </a:cubicBezTo>
                <a:cubicBezTo>
                  <a:pt x="555205" y="350556"/>
                  <a:pt x="555205" y="350556"/>
                  <a:pt x="555205" y="350556"/>
                </a:cubicBezTo>
                <a:cubicBezTo>
                  <a:pt x="555205" y="441978"/>
                  <a:pt x="555205" y="441978"/>
                  <a:pt x="555205" y="441978"/>
                </a:cubicBezTo>
                <a:cubicBezTo>
                  <a:pt x="555205" y="475222"/>
                  <a:pt x="555205" y="483533"/>
                  <a:pt x="580138" y="483533"/>
                </a:cubicBezTo>
                <a:cubicBezTo>
                  <a:pt x="588449" y="483533"/>
                  <a:pt x="600916" y="483533"/>
                  <a:pt x="609227" y="483533"/>
                </a:cubicBezTo>
                <a:cubicBezTo>
                  <a:pt x="613383" y="483533"/>
                  <a:pt x="617538" y="487688"/>
                  <a:pt x="617538" y="491844"/>
                </a:cubicBezTo>
                <a:cubicBezTo>
                  <a:pt x="617538" y="520932"/>
                  <a:pt x="617538" y="520932"/>
                  <a:pt x="617538" y="520932"/>
                </a:cubicBezTo>
                <a:cubicBezTo>
                  <a:pt x="617538" y="525088"/>
                  <a:pt x="613383" y="529244"/>
                  <a:pt x="609227" y="529244"/>
                </a:cubicBezTo>
                <a:cubicBezTo>
                  <a:pt x="596760" y="529244"/>
                  <a:pt x="584294" y="533399"/>
                  <a:pt x="571827" y="533399"/>
                </a:cubicBezTo>
                <a:cubicBezTo>
                  <a:pt x="521961" y="533399"/>
                  <a:pt x="505339" y="512621"/>
                  <a:pt x="505339" y="450289"/>
                </a:cubicBezTo>
                <a:cubicBezTo>
                  <a:pt x="505339" y="350556"/>
                  <a:pt x="505339" y="350556"/>
                  <a:pt x="505339" y="350556"/>
                </a:cubicBezTo>
                <a:cubicBezTo>
                  <a:pt x="484561" y="350556"/>
                  <a:pt x="484561" y="350556"/>
                  <a:pt x="484561" y="350556"/>
                </a:cubicBezTo>
                <a:cubicBezTo>
                  <a:pt x="480406" y="350556"/>
                  <a:pt x="476250" y="346401"/>
                  <a:pt x="476250" y="342245"/>
                </a:cubicBezTo>
                <a:cubicBezTo>
                  <a:pt x="476250" y="313157"/>
                  <a:pt x="476250" y="313157"/>
                  <a:pt x="476250" y="313157"/>
                </a:cubicBezTo>
                <a:cubicBezTo>
                  <a:pt x="476250" y="304846"/>
                  <a:pt x="480406" y="304846"/>
                  <a:pt x="484561" y="304846"/>
                </a:cubicBezTo>
                <a:cubicBezTo>
                  <a:pt x="505339" y="304846"/>
                  <a:pt x="505339" y="304846"/>
                  <a:pt x="505339" y="304846"/>
                </a:cubicBezTo>
                <a:cubicBezTo>
                  <a:pt x="505339" y="267446"/>
                  <a:pt x="505339" y="267446"/>
                  <a:pt x="505339" y="267446"/>
                </a:cubicBezTo>
                <a:cubicBezTo>
                  <a:pt x="505339" y="263291"/>
                  <a:pt x="505339" y="259135"/>
                  <a:pt x="509494" y="259135"/>
                </a:cubicBezTo>
                <a:cubicBezTo>
                  <a:pt x="546894" y="250824"/>
                  <a:pt x="546894" y="250824"/>
                  <a:pt x="546894" y="250824"/>
                </a:cubicBezTo>
                <a:close/>
                <a:moveTo>
                  <a:pt x="103337" y="217487"/>
                </a:moveTo>
                <a:cubicBezTo>
                  <a:pt x="107471" y="217487"/>
                  <a:pt x="111604" y="217487"/>
                  <a:pt x="111604" y="217487"/>
                </a:cubicBezTo>
                <a:cubicBezTo>
                  <a:pt x="198408" y="217487"/>
                  <a:pt x="219075" y="267271"/>
                  <a:pt x="219075" y="312906"/>
                </a:cubicBezTo>
                <a:cubicBezTo>
                  <a:pt x="219075" y="350244"/>
                  <a:pt x="202541" y="375136"/>
                  <a:pt x="165340" y="391731"/>
                </a:cubicBezTo>
                <a:lnTo>
                  <a:pt x="219075" y="516191"/>
                </a:lnTo>
                <a:cubicBezTo>
                  <a:pt x="219075" y="520340"/>
                  <a:pt x="219075" y="520340"/>
                  <a:pt x="219075" y="524488"/>
                </a:cubicBezTo>
                <a:cubicBezTo>
                  <a:pt x="219075" y="524488"/>
                  <a:pt x="214942" y="528637"/>
                  <a:pt x="210808" y="528637"/>
                </a:cubicBezTo>
                <a:cubicBezTo>
                  <a:pt x="173607" y="528637"/>
                  <a:pt x="173607" y="528637"/>
                  <a:pt x="173607" y="528637"/>
                </a:cubicBezTo>
                <a:cubicBezTo>
                  <a:pt x="169473" y="528637"/>
                  <a:pt x="165340" y="524488"/>
                  <a:pt x="165340" y="524488"/>
                </a:cubicBezTo>
                <a:cubicBezTo>
                  <a:pt x="111604" y="408326"/>
                  <a:pt x="111604" y="408326"/>
                  <a:pt x="111604" y="408326"/>
                </a:cubicBezTo>
                <a:cubicBezTo>
                  <a:pt x="86803" y="408326"/>
                  <a:pt x="66136" y="408326"/>
                  <a:pt x="53736" y="404177"/>
                </a:cubicBezTo>
                <a:cubicBezTo>
                  <a:pt x="53736" y="520340"/>
                  <a:pt x="53736" y="520340"/>
                  <a:pt x="53736" y="520340"/>
                </a:cubicBezTo>
                <a:cubicBezTo>
                  <a:pt x="53736" y="524488"/>
                  <a:pt x="49602" y="528637"/>
                  <a:pt x="45469" y="528637"/>
                </a:cubicBezTo>
                <a:cubicBezTo>
                  <a:pt x="8267" y="528637"/>
                  <a:pt x="8267" y="528637"/>
                  <a:pt x="8267" y="528637"/>
                </a:cubicBezTo>
                <a:cubicBezTo>
                  <a:pt x="4134" y="528637"/>
                  <a:pt x="0" y="524488"/>
                  <a:pt x="0" y="520340"/>
                </a:cubicBezTo>
                <a:cubicBezTo>
                  <a:pt x="0" y="229933"/>
                  <a:pt x="0" y="229933"/>
                  <a:pt x="0" y="229933"/>
                </a:cubicBezTo>
                <a:cubicBezTo>
                  <a:pt x="0" y="225784"/>
                  <a:pt x="4134" y="221636"/>
                  <a:pt x="8267" y="221636"/>
                </a:cubicBezTo>
                <a:cubicBezTo>
                  <a:pt x="53736" y="217487"/>
                  <a:pt x="90937" y="217487"/>
                  <a:pt x="103337" y="217487"/>
                </a:cubicBezTo>
                <a:close/>
                <a:moveTo>
                  <a:pt x="1941299" y="180951"/>
                </a:moveTo>
                <a:cubicBezTo>
                  <a:pt x="1938725" y="180430"/>
                  <a:pt x="1936665" y="181472"/>
                  <a:pt x="1936665" y="183555"/>
                </a:cubicBezTo>
                <a:cubicBezTo>
                  <a:pt x="1903714" y="221060"/>
                  <a:pt x="1903714" y="221060"/>
                  <a:pt x="1903714" y="221060"/>
                </a:cubicBezTo>
                <a:cubicBezTo>
                  <a:pt x="1895476" y="225227"/>
                  <a:pt x="1895476" y="233562"/>
                  <a:pt x="1903714" y="237729"/>
                </a:cubicBezTo>
                <a:cubicBezTo>
                  <a:pt x="1953141" y="291902"/>
                  <a:pt x="1973736" y="362745"/>
                  <a:pt x="1957260" y="450256"/>
                </a:cubicBezTo>
                <a:cubicBezTo>
                  <a:pt x="1957260" y="458590"/>
                  <a:pt x="1961379" y="462757"/>
                  <a:pt x="1965498" y="462757"/>
                </a:cubicBezTo>
                <a:cubicBezTo>
                  <a:pt x="2010806" y="475259"/>
                  <a:pt x="2010806" y="475259"/>
                  <a:pt x="2010806" y="475259"/>
                </a:cubicBezTo>
                <a:cubicBezTo>
                  <a:pt x="2019044" y="479426"/>
                  <a:pt x="2023163" y="475259"/>
                  <a:pt x="2023163" y="471092"/>
                </a:cubicBezTo>
                <a:cubicBezTo>
                  <a:pt x="2047876" y="362745"/>
                  <a:pt x="2014925" y="254398"/>
                  <a:pt x="1949022" y="187722"/>
                </a:cubicBezTo>
                <a:cubicBezTo>
                  <a:pt x="1946963" y="183555"/>
                  <a:pt x="1943873" y="181472"/>
                  <a:pt x="1941299" y="180951"/>
                </a:cubicBezTo>
                <a:close/>
                <a:moveTo>
                  <a:pt x="1491989" y="180951"/>
                </a:moveTo>
                <a:cubicBezTo>
                  <a:pt x="1489388" y="181472"/>
                  <a:pt x="1486266" y="183555"/>
                  <a:pt x="1484185" y="187722"/>
                </a:cubicBezTo>
                <a:cubicBezTo>
                  <a:pt x="1417596" y="254398"/>
                  <a:pt x="1384301" y="362745"/>
                  <a:pt x="1409272" y="471092"/>
                </a:cubicBezTo>
                <a:cubicBezTo>
                  <a:pt x="1409272" y="475259"/>
                  <a:pt x="1413434" y="479426"/>
                  <a:pt x="1421758" y="475259"/>
                </a:cubicBezTo>
                <a:cubicBezTo>
                  <a:pt x="1467538" y="462757"/>
                  <a:pt x="1467538" y="462757"/>
                  <a:pt x="1467538" y="462757"/>
                </a:cubicBezTo>
                <a:cubicBezTo>
                  <a:pt x="1471700" y="462757"/>
                  <a:pt x="1475862" y="458590"/>
                  <a:pt x="1475862" y="450256"/>
                </a:cubicBezTo>
                <a:cubicBezTo>
                  <a:pt x="1459214" y="362745"/>
                  <a:pt x="1480023" y="291902"/>
                  <a:pt x="1529965" y="237729"/>
                </a:cubicBezTo>
                <a:cubicBezTo>
                  <a:pt x="1538289" y="233562"/>
                  <a:pt x="1538289" y="225227"/>
                  <a:pt x="1534127" y="221060"/>
                </a:cubicBezTo>
                <a:cubicBezTo>
                  <a:pt x="1496671" y="183555"/>
                  <a:pt x="1496671" y="183555"/>
                  <a:pt x="1496671" y="183555"/>
                </a:cubicBezTo>
                <a:cubicBezTo>
                  <a:pt x="1496671" y="181472"/>
                  <a:pt x="1494590" y="180430"/>
                  <a:pt x="1491989" y="180951"/>
                </a:cubicBezTo>
                <a:close/>
                <a:moveTo>
                  <a:pt x="1750379" y="174625"/>
                </a:moveTo>
                <a:cubicBezTo>
                  <a:pt x="1746251" y="178798"/>
                  <a:pt x="1746251" y="182971"/>
                  <a:pt x="1746251" y="187144"/>
                </a:cubicBezTo>
                <a:cubicBezTo>
                  <a:pt x="1754506" y="308156"/>
                  <a:pt x="1754506" y="308156"/>
                  <a:pt x="1754506" y="308156"/>
                </a:cubicBezTo>
                <a:cubicBezTo>
                  <a:pt x="1758634" y="312329"/>
                  <a:pt x="1758634" y="316502"/>
                  <a:pt x="1762761" y="320675"/>
                </a:cubicBezTo>
                <a:cubicBezTo>
                  <a:pt x="1766889" y="320675"/>
                  <a:pt x="1771016" y="320675"/>
                  <a:pt x="1775144" y="320675"/>
                </a:cubicBezTo>
                <a:cubicBezTo>
                  <a:pt x="1882459" y="266428"/>
                  <a:pt x="1882459" y="266428"/>
                  <a:pt x="1882459" y="266428"/>
                </a:cubicBezTo>
                <a:cubicBezTo>
                  <a:pt x="1886587" y="262255"/>
                  <a:pt x="1890714" y="262255"/>
                  <a:pt x="1890714" y="258082"/>
                </a:cubicBezTo>
                <a:cubicBezTo>
                  <a:pt x="1890714" y="253909"/>
                  <a:pt x="1890714" y="253909"/>
                  <a:pt x="1886587" y="249736"/>
                </a:cubicBezTo>
                <a:cubicBezTo>
                  <a:pt x="1849439" y="208008"/>
                  <a:pt x="1812291" y="187144"/>
                  <a:pt x="1758634" y="174625"/>
                </a:cubicBezTo>
                <a:cubicBezTo>
                  <a:pt x="1754506" y="174625"/>
                  <a:pt x="1754506" y="174625"/>
                  <a:pt x="1750379" y="174625"/>
                </a:cubicBezTo>
                <a:close/>
                <a:moveTo>
                  <a:pt x="1675132" y="174625"/>
                </a:moveTo>
                <a:cubicBezTo>
                  <a:pt x="1621474" y="187144"/>
                  <a:pt x="1584326" y="212181"/>
                  <a:pt x="1547179" y="249736"/>
                </a:cubicBezTo>
                <a:cubicBezTo>
                  <a:pt x="1543051" y="253909"/>
                  <a:pt x="1543051" y="258082"/>
                  <a:pt x="1543051" y="258082"/>
                </a:cubicBezTo>
                <a:cubicBezTo>
                  <a:pt x="1543051" y="262255"/>
                  <a:pt x="1547179" y="266428"/>
                  <a:pt x="1551306" y="266428"/>
                </a:cubicBezTo>
                <a:cubicBezTo>
                  <a:pt x="1658622" y="320675"/>
                  <a:pt x="1658622" y="320675"/>
                  <a:pt x="1658622" y="320675"/>
                </a:cubicBezTo>
                <a:cubicBezTo>
                  <a:pt x="1662749" y="320675"/>
                  <a:pt x="1666877" y="320675"/>
                  <a:pt x="1671004" y="320675"/>
                </a:cubicBezTo>
                <a:cubicBezTo>
                  <a:pt x="1675132" y="320675"/>
                  <a:pt x="1675132" y="316502"/>
                  <a:pt x="1675132" y="312329"/>
                </a:cubicBezTo>
                <a:cubicBezTo>
                  <a:pt x="1687514" y="187144"/>
                  <a:pt x="1687514" y="187144"/>
                  <a:pt x="1687514" y="187144"/>
                </a:cubicBezTo>
                <a:cubicBezTo>
                  <a:pt x="1687514" y="182971"/>
                  <a:pt x="1683387" y="178798"/>
                  <a:pt x="1683387" y="174625"/>
                </a:cubicBezTo>
                <a:cubicBezTo>
                  <a:pt x="1679259" y="174625"/>
                  <a:pt x="1679259" y="174625"/>
                  <a:pt x="1675132" y="174625"/>
                </a:cubicBezTo>
                <a:close/>
                <a:moveTo>
                  <a:pt x="1579247" y="133350"/>
                </a:moveTo>
                <a:cubicBezTo>
                  <a:pt x="1575119" y="137716"/>
                  <a:pt x="1570992" y="137716"/>
                  <a:pt x="1566864" y="142082"/>
                </a:cubicBezTo>
                <a:cubicBezTo>
                  <a:pt x="1570992" y="142082"/>
                  <a:pt x="1570992" y="142082"/>
                  <a:pt x="1570992" y="142082"/>
                </a:cubicBezTo>
                <a:cubicBezTo>
                  <a:pt x="1575119" y="150813"/>
                  <a:pt x="1575119" y="150813"/>
                  <a:pt x="1575119" y="150813"/>
                </a:cubicBezTo>
                <a:cubicBezTo>
                  <a:pt x="1583375" y="146447"/>
                  <a:pt x="1583375" y="146447"/>
                  <a:pt x="1583375" y="146447"/>
                </a:cubicBezTo>
                <a:cubicBezTo>
                  <a:pt x="1587502" y="146447"/>
                  <a:pt x="1587502" y="146447"/>
                  <a:pt x="1587502" y="142082"/>
                </a:cubicBezTo>
                <a:cubicBezTo>
                  <a:pt x="1587502" y="137716"/>
                  <a:pt x="1583375" y="133350"/>
                  <a:pt x="1579247" y="133350"/>
                </a:cubicBezTo>
                <a:close/>
                <a:moveTo>
                  <a:pt x="1575142" y="124846"/>
                </a:moveTo>
                <a:cubicBezTo>
                  <a:pt x="1587729" y="120650"/>
                  <a:pt x="1600315" y="133237"/>
                  <a:pt x="1596120" y="141628"/>
                </a:cubicBezTo>
                <a:cubicBezTo>
                  <a:pt x="1596120" y="145823"/>
                  <a:pt x="1596120" y="145823"/>
                  <a:pt x="1596120" y="145823"/>
                </a:cubicBezTo>
                <a:cubicBezTo>
                  <a:pt x="1612902" y="162606"/>
                  <a:pt x="1612902" y="162606"/>
                  <a:pt x="1612902" y="162606"/>
                </a:cubicBezTo>
                <a:cubicBezTo>
                  <a:pt x="1608707" y="162606"/>
                  <a:pt x="1608707" y="162606"/>
                  <a:pt x="1604511" y="166801"/>
                </a:cubicBezTo>
                <a:cubicBezTo>
                  <a:pt x="1587729" y="154215"/>
                  <a:pt x="1587729" y="154215"/>
                  <a:pt x="1587729" y="154215"/>
                </a:cubicBezTo>
                <a:cubicBezTo>
                  <a:pt x="1579338" y="158410"/>
                  <a:pt x="1579338" y="158410"/>
                  <a:pt x="1579338" y="158410"/>
                </a:cubicBezTo>
                <a:cubicBezTo>
                  <a:pt x="1587729" y="175192"/>
                  <a:pt x="1587729" y="175192"/>
                  <a:pt x="1587729" y="175192"/>
                </a:cubicBezTo>
                <a:cubicBezTo>
                  <a:pt x="1583533" y="175192"/>
                  <a:pt x="1583533" y="179388"/>
                  <a:pt x="1579338" y="179388"/>
                </a:cubicBezTo>
                <a:lnTo>
                  <a:pt x="1558360" y="141628"/>
                </a:lnTo>
                <a:cubicBezTo>
                  <a:pt x="1554164" y="137432"/>
                  <a:pt x="1554164" y="137432"/>
                  <a:pt x="1554164" y="137432"/>
                </a:cubicBezTo>
                <a:cubicBezTo>
                  <a:pt x="1562555" y="133237"/>
                  <a:pt x="1570946" y="129041"/>
                  <a:pt x="1575142" y="124846"/>
                </a:cubicBezTo>
                <a:close/>
                <a:moveTo>
                  <a:pt x="1836161" y="117475"/>
                </a:moveTo>
                <a:cubicBezTo>
                  <a:pt x="1840347" y="117475"/>
                  <a:pt x="1840347" y="117475"/>
                  <a:pt x="1844532" y="121557"/>
                </a:cubicBezTo>
                <a:cubicBezTo>
                  <a:pt x="1844532" y="121557"/>
                  <a:pt x="1844532" y="121557"/>
                  <a:pt x="1848717" y="141968"/>
                </a:cubicBezTo>
                <a:cubicBezTo>
                  <a:pt x="1848717" y="141968"/>
                  <a:pt x="1848717" y="141968"/>
                  <a:pt x="1869644" y="133804"/>
                </a:cubicBezTo>
                <a:cubicBezTo>
                  <a:pt x="1873829" y="133804"/>
                  <a:pt x="1878014" y="137886"/>
                  <a:pt x="1878014" y="137886"/>
                </a:cubicBezTo>
                <a:cubicBezTo>
                  <a:pt x="1878014" y="137886"/>
                  <a:pt x="1878014" y="137886"/>
                  <a:pt x="1848717" y="154214"/>
                </a:cubicBezTo>
                <a:cubicBezTo>
                  <a:pt x="1848717" y="154214"/>
                  <a:pt x="1848717" y="154214"/>
                  <a:pt x="1840347" y="174625"/>
                </a:cubicBezTo>
                <a:lnTo>
                  <a:pt x="1831976" y="166461"/>
                </a:lnTo>
                <a:cubicBezTo>
                  <a:pt x="1831976" y="166461"/>
                  <a:pt x="1831976" y="166461"/>
                  <a:pt x="1840347" y="146050"/>
                </a:cubicBezTo>
                <a:cubicBezTo>
                  <a:pt x="1840347" y="146050"/>
                  <a:pt x="1840347" y="146050"/>
                  <a:pt x="1836161" y="117475"/>
                </a:cubicBezTo>
                <a:close/>
                <a:moveTo>
                  <a:pt x="1794829" y="112713"/>
                </a:moveTo>
                <a:cubicBezTo>
                  <a:pt x="1790701" y="120651"/>
                  <a:pt x="1790701" y="120651"/>
                  <a:pt x="1790701" y="120651"/>
                </a:cubicBezTo>
                <a:lnTo>
                  <a:pt x="1790701" y="124619"/>
                </a:lnTo>
                <a:cubicBezTo>
                  <a:pt x="1803084" y="128588"/>
                  <a:pt x="1803084" y="128588"/>
                  <a:pt x="1803084" y="128588"/>
                </a:cubicBezTo>
                <a:cubicBezTo>
                  <a:pt x="1807212" y="128588"/>
                  <a:pt x="1811339" y="124619"/>
                  <a:pt x="1811339" y="120651"/>
                </a:cubicBezTo>
                <a:cubicBezTo>
                  <a:pt x="1811339" y="116682"/>
                  <a:pt x="1807212" y="116682"/>
                  <a:pt x="1807212" y="116682"/>
                </a:cubicBezTo>
                <a:cubicBezTo>
                  <a:pt x="1803084" y="112713"/>
                  <a:pt x="1798956" y="112713"/>
                  <a:pt x="1794829" y="112713"/>
                </a:cubicBezTo>
                <a:close/>
                <a:moveTo>
                  <a:pt x="1637508" y="112117"/>
                </a:moveTo>
                <a:cubicBezTo>
                  <a:pt x="1629174" y="112117"/>
                  <a:pt x="1620839" y="116285"/>
                  <a:pt x="1620839" y="124619"/>
                </a:cubicBezTo>
                <a:cubicBezTo>
                  <a:pt x="1620839" y="128786"/>
                  <a:pt x="1620839" y="128786"/>
                  <a:pt x="1620839" y="128786"/>
                </a:cubicBezTo>
                <a:cubicBezTo>
                  <a:pt x="1620839" y="137121"/>
                  <a:pt x="1629174" y="141288"/>
                  <a:pt x="1637508" y="141288"/>
                </a:cubicBezTo>
                <a:cubicBezTo>
                  <a:pt x="1645843" y="141288"/>
                  <a:pt x="1654177" y="132954"/>
                  <a:pt x="1654177" y="124619"/>
                </a:cubicBezTo>
                <a:cubicBezTo>
                  <a:pt x="1654177" y="116285"/>
                  <a:pt x="1645843" y="107950"/>
                  <a:pt x="1637508" y="112117"/>
                </a:cubicBezTo>
                <a:close/>
                <a:moveTo>
                  <a:pt x="1741489" y="104775"/>
                </a:moveTo>
                <a:cubicBezTo>
                  <a:pt x="1737520" y="117158"/>
                  <a:pt x="1737520" y="117158"/>
                  <a:pt x="1737520" y="117158"/>
                </a:cubicBezTo>
                <a:lnTo>
                  <a:pt x="1733551" y="125413"/>
                </a:lnTo>
                <a:cubicBezTo>
                  <a:pt x="1737520" y="125413"/>
                  <a:pt x="1745457" y="125413"/>
                  <a:pt x="1749426" y="125413"/>
                </a:cubicBezTo>
                <a:cubicBezTo>
                  <a:pt x="1745457" y="117158"/>
                  <a:pt x="1745457" y="117158"/>
                  <a:pt x="1745457" y="117158"/>
                </a:cubicBezTo>
                <a:cubicBezTo>
                  <a:pt x="1741489" y="104775"/>
                  <a:pt x="1741489" y="104775"/>
                  <a:pt x="1741489" y="104775"/>
                </a:cubicBezTo>
                <a:close/>
                <a:moveTo>
                  <a:pt x="1633407" y="104165"/>
                </a:moveTo>
                <a:cubicBezTo>
                  <a:pt x="1649811" y="100013"/>
                  <a:pt x="1662114" y="112469"/>
                  <a:pt x="1662114" y="124925"/>
                </a:cubicBezTo>
                <a:cubicBezTo>
                  <a:pt x="1662114" y="141532"/>
                  <a:pt x="1653912" y="149836"/>
                  <a:pt x="1637508" y="149836"/>
                </a:cubicBezTo>
                <a:cubicBezTo>
                  <a:pt x="1625204" y="153988"/>
                  <a:pt x="1612901" y="141532"/>
                  <a:pt x="1612901" y="129076"/>
                </a:cubicBezTo>
                <a:cubicBezTo>
                  <a:pt x="1612901" y="129076"/>
                  <a:pt x="1612901" y="129076"/>
                  <a:pt x="1612901" y="124925"/>
                </a:cubicBezTo>
                <a:cubicBezTo>
                  <a:pt x="1612901" y="112469"/>
                  <a:pt x="1621103" y="104165"/>
                  <a:pt x="1633407" y="104165"/>
                </a:cubicBezTo>
                <a:close/>
                <a:moveTo>
                  <a:pt x="1787382" y="100013"/>
                </a:moveTo>
                <a:cubicBezTo>
                  <a:pt x="1795752" y="100013"/>
                  <a:pt x="1804123" y="104209"/>
                  <a:pt x="1812494" y="108404"/>
                </a:cubicBezTo>
                <a:cubicBezTo>
                  <a:pt x="1816679" y="108404"/>
                  <a:pt x="1820864" y="112600"/>
                  <a:pt x="1820864" y="120991"/>
                </a:cubicBezTo>
                <a:cubicBezTo>
                  <a:pt x="1820864" y="125186"/>
                  <a:pt x="1816679" y="133578"/>
                  <a:pt x="1808308" y="137773"/>
                </a:cubicBezTo>
                <a:cubicBezTo>
                  <a:pt x="1812494" y="158751"/>
                  <a:pt x="1812494" y="158751"/>
                  <a:pt x="1812494" y="158751"/>
                </a:cubicBezTo>
                <a:cubicBezTo>
                  <a:pt x="1808308" y="158751"/>
                  <a:pt x="1808308" y="158751"/>
                  <a:pt x="1804123" y="154555"/>
                </a:cubicBezTo>
                <a:cubicBezTo>
                  <a:pt x="1799938" y="133578"/>
                  <a:pt x="1799938" y="133578"/>
                  <a:pt x="1799938" y="133578"/>
                </a:cubicBezTo>
                <a:cubicBezTo>
                  <a:pt x="1791567" y="133578"/>
                  <a:pt x="1791567" y="133578"/>
                  <a:pt x="1791567" y="133578"/>
                </a:cubicBezTo>
                <a:lnTo>
                  <a:pt x="1787382" y="150360"/>
                </a:lnTo>
                <a:cubicBezTo>
                  <a:pt x="1783197" y="150360"/>
                  <a:pt x="1779011" y="150360"/>
                  <a:pt x="1774826" y="146164"/>
                </a:cubicBezTo>
                <a:cubicBezTo>
                  <a:pt x="1783197" y="120991"/>
                  <a:pt x="1783197" y="120991"/>
                  <a:pt x="1783197" y="120991"/>
                </a:cubicBezTo>
                <a:cubicBezTo>
                  <a:pt x="1787382" y="100013"/>
                  <a:pt x="1787382" y="100013"/>
                  <a:pt x="1787382" y="100013"/>
                </a:cubicBezTo>
                <a:close/>
                <a:moveTo>
                  <a:pt x="1737015" y="92075"/>
                </a:moveTo>
                <a:cubicBezTo>
                  <a:pt x="1749571" y="92075"/>
                  <a:pt x="1749571" y="92075"/>
                  <a:pt x="1749571" y="92075"/>
                </a:cubicBezTo>
                <a:cubicBezTo>
                  <a:pt x="1753757" y="116987"/>
                  <a:pt x="1753757" y="116987"/>
                  <a:pt x="1753757" y="116987"/>
                </a:cubicBezTo>
                <a:cubicBezTo>
                  <a:pt x="1762127" y="146050"/>
                  <a:pt x="1762127" y="146050"/>
                  <a:pt x="1762127" y="146050"/>
                </a:cubicBezTo>
                <a:cubicBezTo>
                  <a:pt x="1757942" y="146050"/>
                  <a:pt x="1757942" y="141898"/>
                  <a:pt x="1753757" y="141898"/>
                </a:cubicBezTo>
                <a:cubicBezTo>
                  <a:pt x="1749571" y="133594"/>
                  <a:pt x="1749571" y="133594"/>
                  <a:pt x="1749571" y="133594"/>
                </a:cubicBezTo>
                <a:cubicBezTo>
                  <a:pt x="1741201" y="133594"/>
                  <a:pt x="1737015" y="133594"/>
                  <a:pt x="1728645" y="133594"/>
                </a:cubicBezTo>
                <a:lnTo>
                  <a:pt x="1724460" y="141898"/>
                </a:lnTo>
                <a:cubicBezTo>
                  <a:pt x="1720274" y="141898"/>
                  <a:pt x="1720274" y="141898"/>
                  <a:pt x="1716089" y="141898"/>
                </a:cubicBezTo>
                <a:cubicBezTo>
                  <a:pt x="1728645" y="116987"/>
                  <a:pt x="1728645" y="116987"/>
                  <a:pt x="1728645" y="116987"/>
                </a:cubicBezTo>
                <a:cubicBezTo>
                  <a:pt x="1737015" y="92075"/>
                  <a:pt x="1737015" y="92075"/>
                  <a:pt x="1737015" y="92075"/>
                </a:cubicBezTo>
                <a:close/>
                <a:moveTo>
                  <a:pt x="1712914" y="92075"/>
                </a:moveTo>
                <a:cubicBezTo>
                  <a:pt x="1712914" y="92075"/>
                  <a:pt x="1712914" y="92075"/>
                  <a:pt x="1712914" y="100277"/>
                </a:cubicBezTo>
                <a:cubicBezTo>
                  <a:pt x="1712914" y="100277"/>
                  <a:pt x="1712914" y="100277"/>
                  <a:pt x="1696173" y="100277"/>
                </a:cubicBezTo>
                <a:cubicBezTo>
                  <a:pt x="1696173" y="100277"/>
                  <a:pt x="1696173" y="100277"/>
                  <a:pt x="1700358" y="141288"/>
                </a:cubicBezTo>
                <a:cubicBezTo>
                  <a:pt x="1700358" y="141288"/>
                  <a:pt x="1700358" y="141288"/>
                  <a:pt x="1687802" y="141288"/>
                </a:cubicBezTo>
                <a:cubicBezTo>
                  <a:pt x="1687802" y="141288"/>
                  <a:pt x="1687802" y="141288"/>
                  <a:pt x="1683617" y="100277"/>
                </a:cubicBezTo>
                <a:lnTo>
                  <a:pt x="1666876" y="104378"/>
                </a:lnTo>
                <a:cubicBezTo>
                  <a:pt x="1666876" y="104378"/>
                  <a:pt x="1666876" y="104378"/>
                  <a:pt x="1666876" y="96176"/>
                </a:cubicBezTo>
                <a:cubicBezTo>
                  <a:pt x="1683617" y="92075"/>
                  <a:pt x="1691988" y="92075"/>
                  <a:pt x="1712914" y="92075"/>
                </a:cubicBezTo>
                <a:close/>
                <a:moveTo>
                  <a:pt x="1181630" y="92074"/>
                </a:moveTo>
                <a:cubicBezTo>
                  <a:pt x="1160463" y="92074"/>
                  <a:pt x="1147763" y="112712"/>
                  <a:pt x="1147763" y="133349"/>
                </a:cubicBezTo>
                <a:lnTo>
                  <a:pt x="1211263" y="133349"/>
                </a:lnTo>
                <a:cubicBezTo>
                  <a:pt x="1211263" y="112712"/>
                  <a:pt x="1202796" y="92074"/>
                  <a:pt x="1181630" y="92074"/>
                </a:cubicBezTo>
                <a:close/>
                <a:moveTo>
                  <a:pt x="1716089" y="84138"/>
                </a:moveTo>
                <a:cubicBezTo>
                  <a:pt x="1641444" y="84138"/>
                  <a:pt x="1575093" y="108903"/>
                  <a:pt x="1521183" y="150178"/>
                </a:cubicBezTo>
                <a:cubicBezTo>
                  <a:pt x="1512889" y="158433"/>
                  <a:pt x="1512889" y="162561"/>
                  <a:pt x="1517036" y="166688"/>
                </a:cubicBezTo>
                <a:cubicBezTo>
                  <a:pt x="1550212" y="203836"/>
                  <a:pt x="1550212" y="203836"/>
                  <a:pt x="1550212" y="203836"/>
                </a:cubicBezTo>
                <a:cubicBezTo>
                  <a:pt x="1554359" y="207963"/>
                  <a:pt x="1558505" y="207963"/>
                  <a:pt x="1566799" y="203836"/>
                </a:cubicBezTo>
                <a:cubicBezTo>
                  <a:pt x="1608269" y="170816"/>
                  <a:pt x="1658032" y="150178"/>
                  <a:pt x="1716089" y="150178"/>
                </a:cubicBezTo>
                <a:cubicBezTo>
                  <a:pt x="1769999" y="150178"/>
                  <a:pt x="1823910" y="170816"/>
                  <a:pt x="1865379" y="203836"/>
                </a:cubicBezTo>
                <a:cubicBezTo>
                  <a:pt x="1873673" y="207963"/>
                  <a:pt x="1877820" y="207963"/>
                  <a:pt x="1881967" y="203836"/>
                </a:cubicBezTo>
                <a:cubicBezTo>
                  <a:pt x="1915142" y="166688"/>
                  <a:pt x="1915142" y="166688"/>
                  <a:pt x="1915142" y="166688"/>
                </a:cubicBezTo>
                <a:cubicBezTo>
                  <a:pt x="1919289" y="162561"/>
                  <a:pt x="1919289" y="158433"/>
                  <a:pt x="1910995" y="150178"/>
                </a:cubicBezTo>
                <a:cubicBezTo>
                  <a:pt x="1857085" y="108903"/>
                  <a:pt x="1790734" y="84138"/>
                  <a:pt x="1716089" y="84138"/>
                </a:cubicBezTo>
                <a:close/>
                <a:moveTo>
                  <a:pt x="1181894" y="84137"/>
                </a:moveTo>
                <a:cubicBezTo>
                  <a:pt x="1214799" y="84137"/>
                  <a:pt x="1227138" y="108970"/>
                  <a:pt x="1227138" y="137942"/>
                </a:cubicBezTo>
                <a:cubicBezTo>
                  <a:pt x="1227138" y="146220"/>
                  <a:pt x="1227138" y="146220"/>
                  <a:pt x="1227138" y="146220"/>
                </a:cubicBezTo>
                <a:cubicBezTo>
                  <a:pt x="1148989" y="146220"/>
                  <a:pt x="1148989" y="146220"/>
                  <a:pt x="1148989" y="146220"/>
                </a:cubicBezTo>
                <a:cubicBezTo>
                  <a:pt x="1148989" y="166914"/>
                  <a:pt x="1161329" y="187608"/>
                  <a:pt x="1186007" y="187608"/>
                </a:cubicBezTo>
                <a:cubicBezTo>
                  <a:pt x="1198346" y="187608"/>
                  <a:pt x="1210686" y="183470"/>
                  <a:pt x="1218912" y="179331"/>
                </a:cubicBezTo>
                <a:lnTo>
                  <a:pt x="1218912" y="191747"/>
                </a:lnTo>
                <a:cubicBezTo>
                  <a:pt x="1210686" y="195886"/>
                  <a:pt x="1194233" y="200025"/>
                  <a:pt x="1186007" y="200025"/>
                </a:cubicBezTo>
                <a:cubicBezTo>
                  <a:pt x="1148989" y="200025"/>
                  <a:pt x="1136650" y="175192"/>
                  <a:pt x="1136650" y="142081"/>
                </a:cubicBezTo>
                <a:cubicBezTo>
                  <a:pt x="1136650" y="104831"/>
                  <a:pt x="1153102" y="84137"/>
                  <a:pt x="1181894" y="84137"/>
                </a:cubicBezTo>
                <a:close/>
                <a:moveTo>
                  <a:pt x="887413" y="41274"/>
                </a:moveTo>
                <a:lnTo>
                  <a:pt x="995363" y="41274"/>
                </a:lnTo>
                <a:lnTo>
                  <a:pt x="995363" y="53974"/>
                </a:lnTo>
                <a:lnTo>
                  <a:pt x="949326" y="53974"/>
                </a:lnTo>
                <a:lnTo>
                  <a:pt x="949326" y="195262"/>
                </a:lnTo>
                <a:lnTo>
                  <a:pt x="933451" y="195262"/>
                </a:lnTo>
                <a:lnTo>
                  <a:pt x="933451" y="53974"/>
                </a:lnTo>
                <a:lnTo>
                  <a:pt x="887413" y="53974"/>
                </a:lnTo>
                <a:close/>
                <a:moveTo>
                  <a:pt x="1020763" y="28574"/>
                </a:moveTo>
                <a:cubicBezTo>
                  <a:pt x="1033010" y="28574"/>
                  <a:pt x="1033010" y="28574"/>
                  <a:pt x="1033010" y="28574"/>
                </a:cubicBezTo>
                <a:cubicBezTo>
                  <a:pt x="1033010" y="103584"/>
                  <a:pt x="1033010" y="103584"/>
                  <a:pt x="1033010" y="103584"/>
                </a:cubicBezTo>
                <a:cubicBezTo>
                  <a:pt x="1041174" y="91082"/>
                  <a:pt x="1053420" y="82748"/>
                  <a:pt x="1069749" y="82748"/>
                </a:cubicBezTo>
                <a:cubicBezTo>
                  <a:pt x="1098324" y="82748"/>
                  <a:pt x="1106488" y="99416"/>
                  <a:pt x="1106488" y="128587"/>
                </a:cubicBezTo>
                <a:cubicBezTo>
                  <a:pt x="1106488" y="195262"/>
                  <a:pt x="1106488" y="195262"/>
                  <a:pt x="1106488" y="195262"/>
                </a:cubicBezTo>
                <a:cubicBezTo>
                  <a:pt x="1090160" y="195262"/>
                  <a:pt x="1090160" y="195262"/>
                  <a:pt x="1090160" y="195262"/>
                </a:cubicBezTo>
                <a:cubicBezTo>
                  <a:pt x="1090160" y="128587"/>
                  <a:pt x="1090160" y="128587"/>
                  <a:pt x="1090160" y="128587"/>
                </a:cubicBezTo>
                <a:cubicBezTo>
                  <a:pt x="1090160" y="107751"/>
                  <a:pt x="1090160" y="91082"/>
                  <a:pt x="1065667" y="91082"/>
                </a:cubicBezTo>
                <a:cubicBezTo>
                  <a:pt x="1041174" y="91082"/>
                  <a:pt x="1033010" y="116085"/>
                  <a:pt x="1033010" y="136921"/>
                </a:cubicBezTo>
                <a:cubicBezTo>
                  <a:pt x="1033010" y="195262"/>
                  <a:pt x="1033010" y="195262"/>
                  <a:pt x="1033010" y="195262"/>
                </a:cubicBezTo>
                <a:cubicBezTo>
                  <a:pt x="1020763" y="195262"/>
                  <a:pt x="1020763" y="195262"/>
                  <a:pt x="1020763" y="195262"/>
                </a:cubicBezTo>
                <a:close/>
                <a:moveTo>
                  <a:pt x="1704456" y="0"/>
                </a:moveTo>
                <a:cubicBezTo>
                  <a:pt x="1712741" y="0"/>
                  <a:pt x="1721026" y="0"/>
                  <a:pt x="1729310" y="0"/>
                </a:cubicBezTo>
                <a:cubicBezTo>
                  <a:pt x="1741737" y="20820"/>
                  <a:pt x="1745880" y="41641"/>
                  <a:pt x="1745880" y="62461"/>
                </a:cubicBezTo>
                <a:cubicBezTo>
                  <a:pt x="1750022" y="62461"/>
                  <a:pt x="1770734" y="66625"/>
                  <a:pt x="1774877" y="66625"/>
                </a:cubicBezTo>
                <a:cubicBezTo>
                  <a:pt x="1779019" y="45805"/>
                  <a:pt x="1791446" y="24984"/>
                  <a:pt x="1803873" y="12492"/>
                </a:cubicBezTo>
                <a:cubicBezTo>
                  <a:pt x="1808016" y="12492"/>
                  <a:pt x="1808016" y="12492"/>
                  <a:pt x="1808016" y="12492"/>
                </a:cubicBezTo>
                <a:cubicBezTo>
                  <a:pt x="1816300" y="12492"/>
                  <a:pt x="1824585" y="16656"/>
                  <a:pt x="1832870" y="16656"/>
                </a:cubicBezTo>
                <a:cubicBezTo>
                  <a:pt x="1832870" y="20820"/>
                  <a:pt x="1832870" y="20820"/>
                  <a:pt x="1832870" y="20820"/>
                </a:cubicBezTo>
                <a:cubicBezTo>
                  <a:pt x="1837012" y="29149"/>
                  <a:pt x="1837012" y="37477"/>
                  <a:pt x="1837012" y="49969"/>
                </a:cubicBezTo>
                <a:cubicBezTo>
                  <a:pt x="1837012" y="62461"/>
                  <a:pt x="1837012" y="70789"/>
                  <a:pt x="1832870" y="83282"/>
                </a:cubicBezTo>
                <a:cubicBezTo>
                  <a:pt x="1837012" y="83282"/>
                  <a:pt x="1853582" y="91610"/>
                  <a:pt x="1857724" y="91610"/>
                </a:cubicBezTo>
                <a:cubicBezTo>
                  <a:pt x="1870151" y="74953"/>
                  <a:pt x="1886721" y="58297"/>
                  <a:pt x="1903291" y="49969"/>
                </a:cubicBezTo>
                <a:cubicBezTo>
                  <a:pt x="1911575" y="49969"/>
                  <a:pt x="1919860" y="58297"/>
                  <a:pt x="1928145" y="62461"/>
                </a:cubicBezTo>
                <a:cubicBezTo>
                  <a:pt x="1928145" y="83282"/>
                  <a:pt x="1919860" y="104102"/>
                  <a:pt x="1911575" y="124922"/>
                </a:cubicBezTo>
                <a:cubicBezTo>
                  <a:pt x="1911575" y="124922"/>
                  <a:pt x="1928145" y="137414"/>
                  <a:pt x="1932287" y="141579"/>
                </a:cubicBezTo>
                <a:cubicBezTo>
                  <a:pt x="1948857" y="124922"/>
                  <a:pt x="1965426" y="112430"/>
                  <a:pt x="1986138" y="108266"/>
                </a:cubicBezTo>
                <a:cubicBezTo>
                  <a:pt x="1994423" y="112430"/>
                  <a:pt x="2002708" y="120758"/>
                  <a:pt x="2006850" y="129086"/>
                </a:cubicBezTo>
                <a:cubicBezTo>
                  <a:pt x="2002708" y="149907"/>
                  <a:pt x="1990281" y="166563"/>
                  <a:pt x="1973711" y="183219"/>
                </a:cubicBezTo>
                <a:cubicBezTo>
                  <a:pt x="1977853" y="187383"/>
                  <a:pt x="1990281" y="204040"/>
                  <a:pt x="1990281" y="204040"/>
                </a:cubicBezTo>
                <a:cubicBezTo>
                  <a:pt x="2010993" y="195711"/>
                  <a:pt x="2031705" y="187383"/>
                  <a:pt x="2052416" y="187383"/>
                </a:cubicBezTo>
                <a:cubicBezTo>
                  <a:pt x="2052416" y="191547"/>
                  <a:pt x="2052416" y="191547"/>
                  <a:pt x="2052416" y="191547"/>
                </a:cubicBezTo>
                <a:cubicBezTo>
                  <a:pt x="2056559" y="195711"/>
                  <a:pt x="2064844" y="204040"/>
                  <a:pt x="2064844" y="212368"/>
                </a:cubicBezTo>
                <a:cubicBezTo>
                  <a:pt x="2056559" y="233188"/>
                  <a:pt x="2039989" y="245680"/>
                  <a:pt x="2023420" y="258173"/>
                </a:cubicBezTo>
                <a:cubicBezTo>
                  <a:pt x="2023420" y="262337"/>
                  <a:pt x="2031705" y="278993"/>
                  <a:pt x="2031705" y="283157"/>
                </a:cubicBezTo>
                <a:cubicBezTo>
                  <a:pt x="2052416" y="278993"/>
                  <a:pt x="2073128" y="278993"/>
                  <a:pt x="2093840" y="283157"/>
                </a:cubicBezTo>
                <a:cubicBezTo>
                  <a:pt x="2097983" y="291485"/>
                  <a:pt x="2102125" y="299813"/>
                  <a:pt x="2102125" y="308141"/>
                </a:cubicBezTo>
                <a:cubicBezTo>
                  <a:pt x="2102125" y="312306"/>
                  <a:pt x="2102125" y="312306"/>
                  <a:pt x="2102125" y="312306"/>
                </a:cubicBezTo>
                <a:cubicBezTo>
                  <a:pt x="2089698" y="324798"/>
                  <a:pt x="2068986" y="337290"/>
                  <a:pt x="2048274" y="341454"/>
                </a:cubicBezTo>
                <a:cubicBezTo>
                  <a:pt x="2048274" y="345618"/>
                  <a:pt x="2052416" y="366438"/>
                  <a:pt x="2052416" y="366438"/>
                </a:cubicBezTo>
                <a:cubicBezTo>
                  <a:pt x="2073128" y="366438"/>
                  <a:pt x="2093840" y="374767"/>
                  <a:pt x="2110410" y="383095"/>
                </a:cubicBezTo>
                <a:cubicBezTo>
                  <a:pt x="2110410" y="387259"/>
                  <a:pt x="2110410" y="387259"/>
                  <a:pt x="2110410" y="387259"/>
                </a:cubicBezTo>
                <a:cubicBezTo>
                  <a:pt x="2114552" y="391423"/>
                  <a:pt x="2114552" y="395587"/>
                  <a:pt x="2114552" y="399751"/>
                </a:cubicBezTo>
                <a:cubicBezTo>
                  <a:pt x="2114552" y="403915"/>
                  <a:pt x="2114552" y="408079"/>
                  <a:pt x="2110410" y="412243"/>
                </a:cubicBezTo>
                <a:cubicBezTo>
                  <a:pt x="2093840" y="424736"/>
                  <a:pt x="2073128" y="428900"/>
                  <a:pt x="2052416" y="428900"/>
                </a:cubicBezTo>
                <a:cubicBezTo>
                  <a:pt x="2048274" y="433064"/>
                  <a:pt x="2048274" y="453884"/>
                  <a:pt x="2048274" y="453884"/>
                </a:cubicBezTo>
                <a:cubicBezTo>
                  <a:pt x="2068986" y="462212"/>
                  <a:pt x="2085556" y="470540"/>
                  <a:pt x="2102125" y="487197"/>
                </a:cubicBezTo>
                <a:cubicBezTo>
                  <a:pt x="2102125" y="495525"/>
                  <a:pt x="2097983" y="508017"/>
                  <a:pt x="2093840" y="512181"/>
                </a:cubicBezTo>
                <a:cubicBezTo>
                  <a:pt x="2093840" y="516345"/>
                  <a:pt x="2093840" y="516345"/>
                  <a:pt x="2093840" y="516345"/>
                </a:cubicBezTo>
                <a:cubicBezTo>
                  <a:pt x="2073128" y="520509"/>
                  <a:pt x="2052416" y="520509"/>
                  <a:pt x="2031705" y="516345"/>
                </a:cubicBezTo>
                <a:cubicBezTo>
                  <a:pt x="2031705" y="516345"/>
                  <a:pt x="2023420" y="537165"/>
                  <a:pt x="2023420" y="537165"/>
                </a:cubicBezTo>
                <a:cubicBezTo>
                  <a:pt x="2039989" y="549658"/>
                  <a:pt x="2056559" y="566314"/>
                  <a:pt x="2064844" y="582970"/>
                </a:cubicBezTo>
                <a:cubicBezTo>
                  <a:pt x="2064844" y="587134"/>
                  <a:pt x="2064844" y="587134"/>
                  <a:pt x="2064844" y="587134"/>
                </a:cubicBezTo>
                <a:cubicBezTo>
                  <a:pt x="2060701" y="591298"/>
                  <a:pt x="2056559" y="599627"/>
                  <a:pt x="2052416" y="607955"/>
                </a:cubicBezTo>
                <a:cubicBezTo>
                  <a:pt x="2031705" y="607955"/>
                  <a:pt x="2010993" y="603791"/>
                  <a:pt x="1990281" y="591298"/>
                </a:cubicBezTo>
                <a:cubicBezTo>
                  <a:pt x="1990281" y="595463"/>
                  <a:pt x="1977853" y="612119"/>
                  <a:pt x="1973711" y="612119"/>
                </a:cubicBezTo>
                <a:cubicBezTo>
                  <a:pt x="1990281" y="628775"/>
                  <a:pt x="2002708" y="649595"/>
                  <a:pt x="2006850" y="666252"/>
                </a:cubicBezTo>
                <a:cubicBezTo>
                  <a:pt x="2006850" y="670416"/>
                  <a:pt x="2006850" y="670416"/>
                  <a:pt x="2006850" y="670416"/>
                </a:cubicBezTo>
                <a:cubicBezTo>
                  <a:pt x="2002708" y="674580"/>
                  <a:pt x="1994423" y="682908"/>
                  <a:pt x="1986138" y="687072"/>
                </a:cubicBezTo>
                <a:cubicBezTo>
                  <a:pt x="1965426" y="682908"/>
                  <a:pt x="1944714" y="670416"/>
                  <a:pt x="1932287" y="657924"/>
                </a:cubicBezTo>
                <a:cubicBezTo>
                  <a:pt x="1928145" y="657924"/>
                  <a:pt x="1911575" y="670416"/>
                  <a:pt x="1911575" y="674580"/>
                </a:cubicBezTo>
                <a:cubicBezTo>
                  <a:pt x="1919860" y="691236"/>
                  <a:pt x="1928145" y="712057"/>
                  <a:pt x="1928145" y="732877"/>
                </a:cubicBezTo>
                <a:cubicBezTo>
                  <a:pt x="1928145" y="732877"/>
                  <a:pt x="1928145" y="737041"/>
                  <a:pt x="1928145" y="737041"/>
                </a:cubicBezTo>
                <a:cubicBezTo>
                  <a:pt x="1924002" y="737041"/>
                  <a:pt x="1924002" y="737041"/>
                  <a:pt x="1924002" y="737041"/>
                </a:cubicBezTo>
                <a:cubicBezTo>
                  <a:pt x="1919860" y="741205"/>
                  <a:pt x="1911575" y="745369"/>
                  <a:pt x="1903291" y="749533"/>
                </a:cubicBezTo>
                <a:cubicBezTo>
                  <a:pt x="1882579" y="737041"/>
                  <a:pt x="1870151" y="724549"/>
                  <a:pt x="1857724" y="703728"/>
                </a:cubicBezTo>
                <a:cubicBezTo>
                  <a:pt x="1853582" y="703728"/>
                  <a:pt x="1837012" y="712057"/>
                  <a:pt x="1832870" y="716221"/>
                </a:cubicBezTo>
                <a:cubicBezTo>
                  <a:pt x="1837012" y="724549"/>
                  <a:pt x="1837012" y="737041"/>
                  <a:pt x="1837012" y="745369"/>
                </a:cubicBezTo>
                <a:cubicBezTo>
                  <a:pt x="1837012" y="757861"/>
                  <a:pt x="1837012" y="766190"/>
                  <a:pt x="1832870" y="778682"/>
                </a:cubicBezTo>
                <a:cubicBezTo>
                  <a:pt x="1824585" y="782846"/>
                  <a:pt x="1816300" y="782846"/>
                  <a:pt x="1808016" y="787010"/>
                </a:cubicBezTo>
                <a:cubicBezTo>
                  <a:pt x="1803873" y="787010"/>
                  <a:pt x="1803873" y="787010"/>
                  <a:pt x="1803873" y="787010"/>
                </a:cubicBezTo>
                <a:cubicBezTo>
                  <a:pt x="1791446" y="770354"/>
                  <a:pt x="1779019" y="749533"/>
                  <a:pt x="1774877" y="732877"/>
                </a:cubicBezTo>
                <a:cubicBezTo>
                  <a:pt x="1770734" y="732877"/>
                  <a:pt x="1750022" y="732877"/>
                  <a:pt x="1750022" y="732877"/>
                </a:cubicBezTo>
                <a:cubicBezTo>
                  <a:pt x="1750022" y="757861"/>
                  <a:pt x="1741737" y="778682"/>
                  <a:pt x="1733453" y="795338"/>
                </a:cubicBezTo>
                <a:cubicBezTo>
                  <a:pt x="1729310" y="795338"/>
                  <a:pt x="1729310" y="795338"/>
                  <a:pt x="1729310" y="795338"/>
                </a:cubicBezTo>
                <a:cubicBezTo>
                  <a:pt x="1725168" y="795338"/>
                  <a:pt x="1712741" y="795338"/>
                  <a:pt x="1704456" y="795338"/>
                </a:cubicBezTo>
                <a:cubicBezTo>
                  <a:pt x="1692029" y="778682"/>
                  <a:pt x="1687886" y="757861"/>
                  <a:pt x="1687886" y="732877"/>
                </a:cubicBezTo>
                <a:cubicBezTo>
                  <a:pt x="1683744" y="732877"/>
                  <a:pt x="1663032" y="732877"/>
                  <a:pt x="1658890" y="732877"/>
                </a:cubicBezTo>
                <a:cubicBezTo>
                  <a:pt x="1654747" y="749533"/>
                  <a:pt x="1642320" y="770354"/>
                  <a:pt x="1629893" y="787010"/>
                </a:cubicBezTo>
                <a:cubicBezTo>
                  <a:pt x="1625751" y="787010"/>
                  <a:pt x="1625751" y="787010"/>
                  <a:pt x="1625751" y="787010"/>
                </a:cubicBezTo>
                <a:cubicBezTo>
                  <a:pt x="1617466" y="782846"/>
                  <a:pt x="1609181" y="782846"/>
                  <a:pt x="1600896" y="778682"/>
                </a:cubicBezTo>
                <a:cubicBezTo>
                  <a:pt x="1596754" y="766190"/>
                  <a:pt x="1596754" y="757861"/>
                  <a:pt x="1596754" y="745369"/>
                </a:cubicBezTo>
                <a:cubicBezTo>
                  <a:pt x="1596754" y="737041"/>
                  <a:pt x="1596754" y="724549"/>
                  <a:pt x="1600896" y="716221"/>
                </a:cubicBezTo>
                <a:cubicBezTo>
                  <a:pt x="1596754" y="712057"/>
                  <a:pt x="1580184" y="707892"/>
                  <a:pt x="1576042" y="703728"/>
                </a:cubicBezTo>
                <a:cubicBezTo>
                  <a:pt x="1567757" y="724549"/>
                  <a:pt x="1551188" y="741205"/>
                  <a:pt x="1534618" y="749533"/>
                </a:cubicBezTo>
                <a:cubicBezTo>
                  <a:pt x="1530476" y="749533"/>
                  <a:pt x="1530476" y="749533"/>
                  <a:pt x="1530476" y="749533"/>
                </a:cubicBezTo>
                <a:cubicBezTo>
                  <a:pt x="1522191" y="745369"/>
                  <a:pt x="1513906" y="741205"/>
                  <a:pt x="1509764" y="737041"/>
                </a:cubicBezTo>
                <a:cubicBezTo>
                  <a:pt x="1509764" y="737041"/>
                  <a:pt x="1509764" y="732877"/>
                  <a:pt x="1509764" y="732877"/>
                </a:cubicBezTo>
                <a:cubicBezTo>
                  <a:pt x="1509764" y="716221"/>
                  <a:pt x="1513906" y="691236"/>
                  <a:pt x="1522191" y="674580"/>
                </a:cubicBezTo>
                <a:cubicBezTo>
                  <a:pt x="1522191" y="674580"/>
                  <a:pt x="1505621" y="657924"/>
                  <a:pt x="1501479" y="657924"/>
                </a:cubicBezTo>
                <a:cubicBezTo>
                  <a:pt x="1489052" y="674580"/>
                  <a:pt x="1468340" y="682908"/>
                  <a:pt x="1447628" y="687072"/>
                </a:cubicBezTo>
                <a:cubicBezTo>
                  <a:pt x="1439343" y="682908"/>
                  <a:pt x="1435201" y="674580"/>
                  <a:pt x="1426916" y="670416"/>
                </a:cubicBezTo>
                <a:cubicBezTo>
                  <a:pt x="1435201" y="649595"/>
                  <a:pt x="1443486" y="628775"/>
                  <a:pt x="1460055" y="616283"/>
                </a:cubicBezTo>
                <a:cubicBezTo>
                  <a:pt x="1455913" y="612119"/>
                  <a:pt x="1443486" y="595463"/>
                  <a:pt x="1443486" y="591298"/>
                </a:cubicBezTo>
                <a:cubicBezTo>
                  <a:pt x="1422774" y="603791"/>
                  <a:pt x="1402062" y="607955"/>
                  <a:pt x="1381350" y="607955"/>
                </a:cubicBezTo>
                <a:cubicBezTo>
                  <a:pt x="1377208" y="603791"/>
                  <a:pt x="1373065" y="591298"/>
                  <a:pt x="1368923" y="587134"/>
                </a:cubicBezTo>
                <a:cubicBezTo>
                  <a:pt x="1368923" y="582970"/>
                  <a:pt x="1368923" y="582970"/>
                  <a:pt x="1368923" y="582970"/>
                </a:cubicBezTo>
                <a:cubicBezTo>
                  <a:pt x="1377208" y="566314"/>
                  <a:pt x="1393777" y="549658"/>
                  <a:pt x="1414489" y="541330"/>
                </a:cubicBezTo>
                <a:cubicBezTo>
                  <a:pt x="1410347" y="537165"/>
                  <a:pt x="1402062" y="516345"/>
                  <a:pt x="1402062" y="516345"/>
                </a:cubicBezTo>
                <a:cubicBezTo>
                  <a:pt x="1381350" y="520509"/>
                  <a:pt x="1360638" y="520509"/>
                  <a:pt x="1339926" y="516345"/>
                </a:cubicBezTo>
                <a:cubicBezTo>
                  <a:pt x="1335784" y="508017"/>
                  <a:pt x="1331641" y="495525"/>
                  <a:pt x="1331641" y="491361"/>
                </a:cubicBezTo>
                <a:cubicBezTo>
                  <a:pt x="1331641" y="487197"/>
                  <a:pt x="1331641" y="487197"/>
                  <a:pt x="1331641" y="487197"/>
                </a:cubicBezTo>
                <a:cubicBezTo>
                  <a:pt x="1344068" y="474704"/>
                  <a:pt x="1364780" y="462212"/>
                  <a:pt x="1385492" y="453884"/>
                </a:cubicBezTo>
                <a:cubicBezTo>
                  <a:pt x="1385492" y="453884"/>
                  <a:pt x="1381350" y="433064"/>
                  <a:pt x="1381350" y="428900"/>
                </a:cubicBezTo>
                <a:cubicBezTo>
                  <a:pt x="1360638" y="428900"/>
                  <a:pt x="1339926" y="424736"/>
                  <a:pt x="1323357" y="412243"/>
                </a:cubicBezTo>
                <a:cubicBezTo>
                  <a:pt x="1319214" y="412243"/>
                  <a:pt x="1319214" y="412243"/>
                  <a:pt x="1319214" y="412243"/>
                </a:cubicBezTo>
                <a:cubicBezTo>
                  <a:pt x="1319214" y="408079"/>
                  <a:pt x="1319214" y="403915"/>
                  <a:pt x="1319214" y="399751"/>
                </a:cubicBezTo>
                <a:cubicBezTo>
                  <a:pt x="1319214" y="391423"/>
                  <a:pt x="1319214" y="387259"/>
                  <a:pt x="1319214" y="383095"/>
                </a:cubicBezTo>
                <a:cubicBezTo>
                  <a:pt x="1323357" y="383095"/>
                  <a:pt x="1323357" y="383095"/>
                  <a:pt x="1323357" y="383095"/>
                </a:cubicBezTo>
                <a:cubicBezTo>
                  <a:pt x="1339926" y="374767"/>
                  <a:pt x="1360638" y="366438"/>
                  <a:pt x="1381350" y="366438"/>
                </a:cubicBezTo>
                <a:cubicBezTo>
                  <a:pt x="1381350" y="362274"/>
                  <a:pt x="1385492" y="345618"/>
                  <a:pt x="1385492" y="341454"/>
                </a:cubicBezTo>
                <a:cubicBezTo>
                  <a:pt x="1364780" y="333126"/>
                  <a:pt x="1344068" y="324798"/>
                  <a:pt x="1331641" y="308141"/>
                </a:cubicBezTo>
                <a:cubicBezTo>
                  <a:pt x="1331641" y="299813"/>
                  <a:pt x="1335784" y="291485"/>
                  <a:pt x="1339926" y="283157"/>
                </a:cubicBezTo>
                <a:cubicBezTo>
                  <a:pt x="1356496" y="274829"/>
                  <a:pt x="1381350" y="274829"/>
                  <a:pt x="1402062" y="283157"/>
                </a:cubicBezTo>
                <a:cubicBezTo>
                  <a:pt x="1402062" y="278993"/>
                  <a:pt x="1410347" y="262337"/>
                  <a:pt x="1410347" y="258173"/>
                </a:cubicBezTo>
                <a:cubicBezTo>
                  <a:pt x="1393777" y="245680"/>
                  <a:pt x="1377208" y="229024"/>
                  <a:pt x="1368923" y="212368"/>
                </a:cubicBezTo>
                <a:cubicBezTo>
                  <a:pt x="1368923" y="204040"/>
                  <a:pt x="1377208" y="195711"/>
                  <a:pt x="1381350" y="187383"/>
                </a:cubicBezTo>
                <a:cubicBezTo>
                  <a:pt x="1402062" y="187383"/>
                  <a:pt x="1422774" y="195711"/>
                  <a:pt x="1443486" y="204040"/>
                </a:cubicBezTo>
                <a:cubicBezTo>
                  <a:pt x="1443486" y="204040"/>
                  <a:pt x="1455913" y="183219"/>
                  <a:pt x="1460055" y="183219"/>
                </a:cubicBezTo>
                <a:cubicBezTo>
                  <a:pt x="1443486" y="166563"/>
                  <a:pt x="1431059" y="145743"/>
                  <a:pt x="1426916" y="129086"/>
                </a:cubicBezTo>
                <a:cubicBezTo>
                  <a:pt x="1426916" y="124922"/>
                  <a:pt x="1426916" y="124922"/>
                  <a:pt x="1426916" y="124922"/>
                </a:cubicBezTo>
                <a:cubicBezTo>
                  <a:pt x="1431059" y="120758"/>
                  <a:pt x="1439343" y="112430"/>
                  <a:pt x="1447628" y="108266"/>
                </a:cubicBezTo>
                <a:cubicBezTo>
                  <a:pt x="1468340" y="112430"/>
                  <a:pt x="1489052" y="124922"/>
                  <a:pt x="1501479" y="137414"/>
                </a:cubicBezTo>
                <a:cubicBezTo>
                  <a:pt x="1505621" y="137414"/>
                  <a:pt x="1518049" y="124922"/>
                  <a:pt x="1522191" y="124922"/>
                </a:cubicBezTo>
                <a:cubicBezTo>
                  <a:pt x="1509764" y="104102"/>
                  <a:pt x="1505621" y="83282"/>
                  <a:pt x="1505621" y="62461"/>
                </a:cubicBezTo>
                <a:cubicBezTo>
                  <a:pt x="1513906" y="58297"/>
                  <a:pt x="1522191" y="49969"/>
                  <a:pt x="1530476" y="49969"/>
                </a:cubicBezTo>
                <a:cubicBezTo>
                  <a:pt x="1547045" y="58297"/>
                  <a:pt x="1563615" y="74953"/>
                  <a:pt x="1576042" y="91610"/>
                </a:cubicBezTo>
                <a:cubicBezTo>
                  <a:pt x="1576042" y="91610"/>
                  <a:pt x="1596754" y="83282"/>
                  <a:pt x="1600896" y="83282"/>
                </a:cubicBezTo>
                <a:cubicBezTo>
                  <a:pt x="1596754" y="70789"/>
                  <a:pt x="1596754" y="62461"/>
                  <a:pt x="1596754" y="49969"/>
                </a:cubicBezTo>
                <a:cubicBezTo>
                  <a:pt x="1596754" y="37477"/>
                  <a:pt x="1596754" y="29149"/>
                  <a:pt x="1600896" y="20820"/>
                </a:cubicBezTo>
                <a:cubicBezTo>
                  <a:pt x="1600896" y="16656"/>
                  <a:pt x="1600896" y="16656"/>
                  <a:pt x="1600896" y="16656"/>
                </a:cubicBezTo>
                <a:cubicBezTo>
                  <a:pt x="1609181" y="16656"/>
                  <a:pt x="1617466" y="12492"/>
                  <a:pt x="1625751" y="12492"/>
                </a:cubicBezTo>
                <a:cubicBezTo>
                  <a:pt x="1629893" y="12492"/>
                  <a:pt x="1629893" y="12492"/>
                  <a:pt x="1629893" y="12492"/>
                </a:cubicBezTo>
                <a:cubicBezTo>
                  <a:pt x="1642320" y="24984"/>
                  <a:pt x="1654747" y="45805"/>
                  <a:pt x="1658890" y="66625"/>
                </a:cubicBezTo>
                <a:cubicBezTo>
                  <a:pt x="1663032" y="66625"/>
                  <a:pt x="1683744" y="62461"/>
                  <a:pt x="1687886" y="62461"/>
                </a:cubicBezTo>
                <a:cubicBezTo>
                  <a:pt x="1687886" y="41641"/>
                  <a:pt x="1692029" y="20820"/>
                  <a:pt x="1704456" y="0"/>
                </a:cubicBezTo>
                <a:close/>
              </a:path>
            </a:pathLst>
          </a:custGeom>
          <a:solidFill>
            <a:schemeClr val="bg1"/>
          </a:solidFill>
          <a:ln>
            <a:noFill/>
          </a:ln>
        </p:spPr>
        <p:txBody>
          <a:bodyPr vert="horz" wrap="square" lIns="68580" tIns="34290" rIns="68580" bIns="34290" numCol="1" anchor="t" anchorCtr="0" compatLnSpc="1">
            <a:prstTxWarp prst="textNoShape">
              <a:avLst/>
            </a:prstTxWarp>
            <a:noAutofit/>
          </a:bodyPr>
          <a:lstStyle/>
          <a:p>
            <a:endParaRPr lang="en-US" sz="1800">
              <a:solidFill>
                <a:schemeClr val="tx1"/>
              </a:solidFill>
            </a:endParaRPr>
          </a:p>
        </p:txBody>
      </p:sp>
    </p:spTree>
    <p:extLst>
      <p:ext uri="{BB962C8B-B14F-4D97-AF65-F5344CB8AC3E}">
        <p14:creationId xmlns:p14="http://schemas.microsoft.com/office/powerpoint/2010/main" val="13349669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3B5555C6-768D-4D30-811A-F66CBE74CEF0}"/>
              </a:ext>
            </a:extLst>
          </p:cNvPr>
          <p:cNvSpPr>
            <a:spLocks noGrp="1"/>
          </p:cNvSpPr>
          <p:nvPr>
            <p:ph type="pic" sz="quarter" idx="13"/>
          </p:nvPr>
        </p:nvSpPr>
        <p:spPr>
          <a:xfrm>
            <a:off x="0" y="2"/>
            <a:ext cx="12192000" cy="5478011"/>
          </a:xfrm>
          <a:prstGeom prst="rect">
            <a:avLst/>
          </a:prstGeom>
        </p:spPr>
        <p:txBody>
          <a:bodyPr wrap="square">
            <a:noAutofit/>
          </a:bodyPr>
          <a:lstStyle/>
          <a:p>
            <a:endParaRPr lang="en-US" dirty="0"/>
          </a:p>
        </p:txBody>
      </p:sp>
      <p:sp>
        <p:nvSpPr>
          <p:cNvPr id="24" name="Rectangle 23">
            <a:extLst>
              <a:ext uri="{FF2B5EF4-FFF2-40B4-BE49-F238E27FC236}">
                <a16:creationId xmlns:a16="http://schemas.microsoft.com/office/drawing/2014/main" id="{109702C4-ABB0-4FA9-AC7F-FD0C1056D0BB}"/>
              </a:ext>
            </a:extLst>
          </p:cNvPr>
          <p:cNvSpPr/>
          <p:nvPr userDrawn="1"/>
        </p:nvSpPr>
        <p:spPr>
          <a:xfrm>
            <a:off x="0" y="2"/>
            <a:ext cx="12192000" cy="549463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05740" rtlCol="0" anchor="b"/>
          <a:lstStyle/>
          <a:p>
            <a:pPr algn="l"/>
            <a:r>
              <a:rPr lang="en-US" sz="1800" dirty="0">
                <a:solidFill>
                  <a:schemeClr val="lt1">
                    <a:alpha val="0"/>
                  </a:schemeClr>
                </a:solidFill>
              </a:rPr>
              <a:t>z</a:t>
            </a:r>
          </a:p>
        </p:txBody>
      </p:sp>
      <p:sp>
        <p:nvSpPr>
          <p:cNvPr id="27" name="Rectangle 26">
            <a:extLst>
              <a:ext uri="{FF2B5EF4-FFF2-40B4-BE49-F238E27FC236}">
                <a16:creationId xmlns:a16="http://schemas.microsoft.com/office/drawing/2014/main" id="{6D468973-885C-4EB1-BD5B-E7545B32CF5C}"/>
              </a:ext>
            </a:extLst>
          </p:cNvPr>
          <p:cNvSpPr/>
          <p:nvPr userDrawn="1"/>
        </p:nvSpPr>
        <p:spPr>
          <a:xfrm>
            <a:off x="0" y="5486400"/>
            <a:ext cx="12192000" cy="13716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3" name="Text Placeholder 11">
            <a:extLst>
              <a:ext uri="{FF2B5EF4-FFF2-40B4-BE49-F238E27FC236}">
                <a16:creationId xmlns:a16="http://schemas.microsoft.com/office/drawing/2014/main" id="{9D3472EC-3332-4840-B3B3-3F529B60B0CF}"/>
              </a:ext>
            </a:extLst>
          </p:cNvPr>
          <p:cNvSpPr>
            <a:spLocks noGrp="1"/>
          </p:cNvSpPr>
          <p:nvPr>
            <p:ph type="body" sz="quarter" idx="14" hasCustomPrompt="1"/>
          </p:nvPr>
        </p:nvSpPr>
        <p:spPr>
          <a:xfrm>
            <a:off x="312810" y="5577800"/>
            <a:ext cx="9733039" cy="635000"/>
          </a:xfrm>
        </p:spPr>
        <p:txBody>
          <a:bodyPr>
            <a:normAutofit/>
          </a:bodyPr>
          <a:lstStyle>
            <a:lvl1pPr marL="0" indent="0" algn="l">
              <a:buNone/>
              <a:defRPr sz="3300" b="1" cap="all" baseline="0">
                <a:solidFill>
                  <a:schemeClr val="bg1"/>
                </a:solidFill>
                <a:latin typeface="Arial Narrow" panose="020B0606020202030204" pitchFamily="34" charset="0"/>
              </a:defRPr>
            </a:lvl1pPr>
            <a:lvl2pPr marL="0" indent="0" algn="ctr">
              <a:buNone/>
              <a:defRPr sz="1500">
                <a:solidFill>
                  <a:schemeClr val="bg1"/>
                </a:solidFill>
              </a:defRPr>
            </a:lvl2pPr>
            <a:lvl3pPr>
              <a:defRPr sz="1350"/>
            </a:lvl3pPr>
            <a:lvl4pPr>
              <a:defRPr sz="1200"/>
            </a:lvl4pPr>
            <a:lvl5pPr>
              <a:defRPr sz="12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304571" y="6289916"/>
            <a:ext cx="9733039" cy="465667"/>
          </a:xfrm>
        </p:spPr>
        <p:txBody>
          <a:bodyPr/>
          <a:lstStyle>
            <a:lvl1pPr marL="0" indent="0" algn="l">
              <a:buNone/>
              <a:defRPr sz="1800">
                <a:solidFill>
                  <a:srgbClr val="33333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8" name="TextBox 7" hidden="1">
            <a:extLst>
              <a:ext uri="{FF2B5EF4-FFF2-40B4-BE49-F238E27FC236}">
                <a16:creationId xmlns:a16="http://schemas.microsoft.com/office/drawing/2014/main" id="{84DDCCAD-79C7-47DD-ADFA-662E6C9F15A6}"/>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1">
                    <a:lumMod val="50000"/>
                  </a:schemeClr>
                </a:solidFill>
              </a:rPr>
              <a:t>© 2019 Rotary International. Internal Use Only. Not For Distribution. Private and Confidential.</a:t>
            </a:r>
          </a:p>
        </p:txBody>
      </p:sp>
      <p:sp>
        <p:nvSpPr>
          <p:cNvPr id="12" name="Freeform: Shape 11">
            <a:extLst>
              <a:ext uri="{FF2B5EF4-FFF2-40B4-BE49-F238E27FC236}">
                <a16:creationId xmlns:a16="http://schemas.microsoft.com/office/drawing/2014/main" id="{643E380A-6D0A-4C52-8CFF-9C577C79E153}"/>
              </a:ext>
            </a:extLst>
          </p:cNvPr>
          <p:cNvSpPr/>
          <p:nvPr userDrawn="1"/>
        </p:nvSpPr>
        <p:spPr>
          <a:xfrm>
            <a:off x="10196211" y="6043056"/>
            <a:ext cx="1789604" cy="677148"/>
          </a:xfrm>
          <a:custGeom>
            <a:avLst/>
            <a:gdLst>
              <a:gd name="connsiteX0" fmla="*/ 2068305 w 2114552"/>
              <a:gd name="connsiteY0" fmla="*/ 749732 h 800100"/>
              <a:gd name="connsiteX1" fmla="*/ 2068305 w 2114552"/>
              <a:gd name="connsiteY1" fmla="*/ 761609 h 800100"/>
              <a:gd name="connsiteX2" fmla="*/ 2076013 w 2114552"/>
              <a:gd name="connsiteY2" fmla="*/ 761609 h 800100"/>
              <a:gd name="connsiteX3" fmla="*/ 2083551 w 2114552"/>
              <a:gd name="connsiteY3" fmla="*/ 759961 h 800100"/>
              <a:gd name="connsiteX4" fmla="*/ 2085563 w 2114552"/>
              <a:gd name="connsiteY4" fmla="*/ 755598 h 800100"/>
              <a:gd name="connsiteX5" fmla="*/ 2084594 w 2114552"/>
              <a:gd name="connsiteY5" fmla="*/ 752471 h 800100"/>
              <a:gd name="connsiteX6" fmla="*/ 2081903 w 2114552"/>
              <a:gd name="connsiteY6" fmla="*/ 750411 h 800100"/>
              <a:gd name="connsiteX7" fmla="*/ 2075528 w 2114552"/>
              <a:gd name="connsiteY7" fmla="*/ 749732 h 800100"/>
              <a:gd name="connsiteX8" fmla="*/ 2061954 w 2114552"/>
              <a:gd name="connsiteY8" fmla="*/ 744400 h 800100"/>
              <a:gd name="connsiteX9" fmla="*/ 2075480 w 2114552"/>
              <a:gd name="connsiteY9" fmla="*/ 744400 h 800100"/>
              <a:gd name="connsiteX10" fmla="*/ 2085514 w 2114552"/>
              <a:gd name="connsiteY10" fmla="*/ 745491 h 800100"/>
              <a:gd name="connsiteX11" fmla="*/ 2090459 w 2114552"/>
              <a:gd name="connsiteY11" fmla="*/ 749296 h 800100"/>
              <a:gd name="connsiteX12" fmla="*/ 2092301 w 2114552"/>
              <a:gd name="connsiteY12" fmla="*/ 755065 h 800100"/>
              <a:gd name="connsiteX13" fmla="*/ 2089223 w 2114552"/>
              <a:gd name="connsiteY13" fmla="*/ 762579 h 800100"/>
              <a:gd name="connsiteX14" fmla="*/ 2081055 w 2114552"/>
              <a:gd name="connsiteY14" fmla="*/ 766166 h 800100"/>
              <a:gd name="connsiteX15" fmla="*/ 2084400 w 2114552"/>
              <a:gd name="connsiteY15" fmla="*/ 768251 h 800100"/>
              <a:gd name="connsiteX16" fmla="*/ 2090217 w 2114552"/>
              <a:gd name="connsiteY16" fmla="*/ 776055 h 800100"/>
              <a:gd name="connsiteX17" fmla="*/ 2095016 w 2114552"/>
              <a:gd name="connsiteY17" fmla="*/ 783763 h 800100"/>
              <a:gd name="connsiteX18" fmla="*/ 2087260 w 2114552"/>
              <a:gd name="connsiteY18" fmla="*/ 783763 h 800100"/>
              <a:gd name="connsiteX19" fmla="*/ 2083769 w 2114552"/>
              <a:gd name="connsiteY19" fmla="*/ 777558 h 800100"/>
              <a:gd name="connsiteX20" fmla="*/ 2077128 w 2114552"/>
              <a:gd name="connsiteY20" fmla="*/ 768396 h 800100"/>
              <a:gd name="connsiteX21" fmla="*/ 2072038 w 2114552"/>
              <a:gd name="connsiteY21" fmla="*/ 767039 h 800100"/>
              <a:gd name="connsiteX22" fmla="*/ 2068305 w 2114552"/>
              <a:gd name="connsiteY22" fmla="*/ 767039 h 800100"/>
              <a:gd name="connsiteX23" fmla="*/ 2068305 w 2114552"/>
              <a:gd name="connsiteY23" fmla="*/ 783763 h 800100"/>
              <a:gd name="connsiteX24" fmla="*/ 2061954 w 2114552"/>
              <a:gd name="connsiteY24" fmla="*/ 783763 h 800100"/>
              <a:gd name="connsiteX25" fmla="*/ 834048 w 2114552"/>
              <a:gd name="connsiteY25" fmla="*/ 741362 h 800100"/>
              <a:gd name="connsiteX26" fmla="*/ 784225 w 2114552"/>
              <a:gd name="connsiteY26" fmla="*/ 766474 h 800100"/>
              <a:gd name="connsiteX27" fmla="*/ 804985 w 2114552"/>
              <a:gd name="connsiteY27" fmla="*/ 787400 h 800100"/>
              <a:gd name="connsiteX28" fmla="*/ 838200 w 2114552"/>
              <a:gd name="connsiteY28" fmla="*/ 745547 h 800100"/>
              <a:gd name="connsiteX29" fmla="*/ 838200 w 2114552"/>
              <a:gd name="connsiteY29" fmla="*/ 741362 h 800100"/>
              <a:gd name="connsiteX30" fmla="*/ 834048 w 2114552"/>
              <a:gd name="connsiteY30" fmla="*/ 741362 h 800100"/>
              <a:gd name="connsiteX31" fmla="*/ 2078001 w 2114552"/>
              <a:gd name="connsiteY31" fmla="*/ 733008 h 800100"/>
              <a:gd name="connsiteX32" fmla="*/ 2062997 w 2114552"/>
              <a:gd name="connsiteY32" fmla="*/ 736959 h 800100"/>
              <a:gd name="connsiteX33" fmla="*/ 2051581 w 2114552"/>
              <a:gd name="connsiteY33" fmla="*/ 748254 h 800100"/>
              <a:gd name="connsiteX34" fmla="*/ 2047460 w 2114552"/>
              <a:gd name="connsiteY34" fmla="*/ 763548 h 800100"/>
              <a:gd name="connsiteX35" fmla="*/ 2051508 w 2114552"/>
              <a:gd name="connsiteY35" fmla="*/ 778697 h 800100"/>
              <a:gd name="connsiteX36" fmla="*/ 2062827 w 2114552"/>
              <a:gd name="connsiteY36" fmla="*/ 789993 h 800100"/>
              <a:gd name="connsiteX37" fmla="*/ 2078001 w 2114552"/>
              <a:gd name="connsiteY37" fmla="*/ 794041 h 800100"/>
              <a:gd name="connsiteX38" fmla="*/ 2093174 w 2114552"/>
              <a:gd name="connsiteY38" fmla="*/ 789993 h 800100"/>
              <a:gd name="connsiteX39" fmla="*/ 2104469 w 2114552"/>
              <a:gd name="connsiteY39" fmla="*/ 778697 h 800100"/>
              <a:gd name="connsiteX40" fmla="*/ 2108493 w 2114552"/>
              <a:gd name="connsiteY40" fmla="*/ 763548 h 800100"/>
              <a:gd name="connsiteX41" fmla="*/ 2104397 w 2114552"/>
              <a:gd name="connsiteY41" fmla="*/ 748254 h 800100"/>
              <a:gd name="connsiteX42" fmla="*/ 2092980 w 2114552"/>
              <a:gd name="connsiteY42" fmla="*/ 736959 h 800100"/>
              <a:gd name="connsiteX43" fmla="*/ 2078001 w 2114552"/>
              <a:gd name="connsiteY43" fmla="*/ 733008 h 800100"/>
              <a:gd name="connsiteX44" fmla="*/ 2078001 w 2114552"/>
              <a:gd name="connsiteY44" fmla="*/ 726948 h 800100"/>
              <a:gd name="connsiteX45" fmla="*/ 2095985 w 2114552"/>
              <a:gd name="connsiteY45" fmla="*/ 731675 h 800100"/>
              <a:gd name="connsiteX46" fmla="*/ 2109656 w 2114552"/>
              <a:gd name="connsiteY46" fmla="*/ 745200 h 800100"/>
              <a:gd name="connsiteX47" fmla="*/ 2114552 w 2114552"/>
              <a:gd name="connsiteY47" fmla="*/ 763548 h 800100"/>
              <a:gd name="connsiteX48" fmla="*/ 2109729 w 2114552"/>
              <a:gd name="connsiteY48" fmla="*/ 781727 h 800100"/>
              <a:gd name="connsiteX49" fmla="*/ 2096204 w 2114552"/>
              <a:gd name="connsiteY49" fmla="*/ 795277 h 800100"/>
              <a:gd name="connsiteX50" fmla="*/ 2078001 w 2114552"/>
              <a:gd name="connsiteY50" fmla="*/ 800100 h 800100"/>
              <a:gd name="connsiteX51" fmla="*/ 2059797 w 2114552"/>
              <a:gd name="connsiteY51" fmla="*/ 795277 h 800100"/>
              <a:gd name="connsiteX52" fmla="*/ 2046248 w 2114552"/>
              <a:gd name="connsiteY52" fmla="*/ 781727 h 800100"/>
              <a:gd name="connsiteX53" fmla="*/ 2041400 w 2114552"/>
              <a:gd name="connsiteY53" fmla="*/ 763548 h 800100"/>
              <a:gd name="connsiteX54" fmla="*/ 2046321 w 2114552"/>
              <a:gd name="connsiteY54" fmla="*/ 745200 h 800100"/>
              <a:gd name="connsiteX55" fmla="*/ 2060016 w 2114552"/>
              <a:gd name="connsiteY55" fmla="*/ 731675 h 800100"/>
              <a:gd name="connsiteX56" fmla="*/ 2078001 w 2114552"/>
              <a:gd name="connsiteY56" fmla="*/ 726948 h 800100"/>
              <a:gd name="connsiteX57" fmla="*/ 1058070 w 2114552"/>
              <a:gd name="connsiteY57" fmla="*/ 692149 h 800100"/>
              <a:gd name="connsiteX58" fmla="*/ 1020763 w 2114552"/>
              <a:gd name="connsiteY58" fmla="*/ 739774 h 800100"/>
              <a:gd name="connsiteX59" fmla="*/ 1058070 w 2114552"/>
              <a:gd name="connsiteY59" fmla="*/ 787399 h 800100"/>
              <a:gd name="connsiteX60" fmla="*/ 1095377 w 2114552"/>
              <a:gd name="connsiteY60" fmla="*/ 739774 h 800100"/>
              <a:gd name="connsiteX61" fmla="*/ 1058070 w 2114552"/>
              <a:gd name="connsiteY61" fmla="*/ 692149 h 800100"/>
              <a:gd name="connsiteX62" fmla="*/ 692151 w 2114552"/>
              <a:gd name="connsiteY62" fmla="*/ 692149 h 800100"/>
              <a:gd name="connsiteX63" fmla="*/ 658813 w 2114552"/>
              <a:gd name="connsiteY63" fmla="*/ 739774 h 800100"/>
              <a:gd name="connsiteX64" fmla="*/ 692151 w 2114552"/>
              <a:gd name="connsiteY64" fmla="*/ 787399 h 800100"/>
              <a:gd name="connsiteX65" fmla="*/ 725489 w 2114552"/>
              <a:gd name="connsiteY65" fmla="*/ 739774 h 800100"/>
              <a:gd name="connsiteX66" fmla="*/ 692151 w 2114552"/>
              <a:gd name="connsiteY66" fmla="*/ 692149 h 800100"/>
              <a:gd name="connsiteX67" fmla="*/ 323056 w 2114552"/>
              <a:gd name="connsiteY67" fmla="*/ 692149 h 800100"/>
              <a:gd name="connsiteX68" fmla="*/ 285749 w 2114552"/>
              <a:gd name="connsiteY68" fmla="*/ 739774 h 800100"/>
              <a:gd name="connsiteX69" fmla="*/ 323056 w 2114552"/>
              <a:gd name="connsiteY69" fmla="*/ 787399 h 800100"/>
              <a:gd name="connsiteX70" fmla="*/ 360363 w 2114552"/>
              <a:gd name="connsiteY70" fmla="*/ 739774 h 800100"/>
              <a:gd name="connsiteX71" fmla="*/ 323056 w 2114552"/>
              <a:gd name="connsiteY71" fmla="*/ 692149 h 800100"/>
              <a:gd name="connsiteX72" fmla="*/ 966943 w 2114552"/>
              <a:gd name="connsiteY72" fmla="*/ 685949 h 800100"/>
              <a:gd name="connsiteX73" fmla="*/ 981464 w 2114552"/>
              <a:gd name="connsiteY73" fmla="*/ 685949 h 800100"/>
              <a:gd name="connsiteX74" fmla="*/ 981464 w 2114552"/>
              <a:gd name="connsiteY74" fmla="*/ 799333 h 800100"/>
              <a:gd name="connsiteX75" fmla="*/ 966943 w 2114552"/>
              <a:gd name="connsiteY75" fmla="*/ 799333 h 800100"/>
              <a:gd name="connsiteX76" fmla="*/ 1136650 w 2114552"/>
              <a:gd name="connsiteY76" fmla="*/ 684212 h 800100"/>
              <a:gd name="connsiteX77" fmla="*/ 1148897 w 2114552"/>
              <a:gd name="connsiteY77" fmla="*/ 684212 h 800100"/>
              <a:gd name="connsiteX78" fmla="*/ 1148897 w 2114552"/>
              <a:gd name="connsiteY78" fmla="*/ 704791 h 800100"/>
              <a:gd name="connsiteX79" fmla="*/ 1185636 w 2114552"/>
              <a:gd name="connsiteY79" fmla="*/ 684212 h 800100"/>
              <a:gd name="connsiteX80" fmla="*/ 1222375 w 2114552"/>
              <a:gd name="connsiteY80" fmla="*/ 725369 h 800100"/>
              <a:gd name="connsiteX81" fmla="*/ 1222375 w 2114552"/>
              <a:gd name="connsiteY81" fmla="*/ 795337 h 800100"/>
              <a:gd name="connsiteX82" fmla="*/ 1210129 w 2114552"/>
              <a:gd name="connsiteY82" fmla="*/ 795337 h 800100"/>
              <a:gd name="connsiteX83" fmla="*/ 1210129 w 2114552"/>
              <a:gd name="connsiteY83" fmla="*/ 729485 h 800100"/>
              <a:gd name="connsiteX84" fmla="*/ 1185636 w 2114552"/>
              <a:gd name="connsiteY84" fmla="*/ 692443 h 800100"/>
              <a:gd name="connsiteX85" fmla="*/ 1152979 w 2114552"/>
              <a:gd name="connsiteY85" fmla="*/ 733601 h 800100"/>
              <a:gd name="connsiteX86" fmla="*/ 1152979 w 2114552"/>
              <a:gd name="connsiteY86" fmla="*/ 795337 h 800100"/>
              <a:gd name="connsiteX87" fmla="*/ 1136650 w 2114552"/>
              <a:gd name="connsiteY87" fmla="*/ 795337 h 800100"/>
              <a:gd name="connsiteX88" fmla="*/ 1136650 w 2114552"/>
              <a:gd name="connsiteY88" fmla="*/ 713022 h 800100"/>
              <a:gd name="connsiteX89" fmla="*/ 1136650 w 2114552"/>
              <a:gd name="connsiteY89" fmla="*/ 684212 h 800100"/>
              <a:gd name="connsiteX90" fmla="*/ 1054894 w 2114552"/>
              <a:gd name="connsiteY90" fmla="*/ 684212 h 800100"/>
              <a:gd name="connsiteX91" fmla="*/ 1106488 w 2114552"/>
              <a:gd name="connsiteY91" fmla="*/ 742156 h 800100"/>
              <a:gd name="connsiteX92" fmla="*/ 1054894 w 2114552"/>
              <a:gd name="connsiteY92" fmla="*/ 800100 h 800100"/>
              <a:gd name="connsiteX93" fmla="*/ 1003300 w 2114552"/>
              <a:gd name="connsiteY93" fmla="*/ 742156 h 800100"/>
              <a:gd name="connsiteX94" fmla="*/ 1054894 w 2114552"/>
              <a:gd name="connsiteY94" fmla="*/ 684212 h 800100"/>
              <a:gd name="connsiteX95" fmla="*/ 812499 w 2114552"/>
              <a:gd name="connsiteY95" fmla="*/ 684212 h 800100"/>
              <a:gd name="connsiteX96" fmla="*/ 854076 w 2114552"/>
              <a:gd name="connsiteY96" fmla="*/ 725601 h 800100"/>
              <a:gd name="connsiteX97" fmla="*/ 854076 w 2114552"/>
              <a:gd name="connsiteY97" fmla="*/ 775267 h 800100"/>
              <a:gd name="connsiteX98" fmla="*/ 854076 w 2114552"/>
              <a:gd name="connsiteY98" fmla="*/ 795961 h 800100"/>
              <a:gd name="connsiteX99" fmla="*/ 841603 w 2114552"/>
              <a:gd name="connsiteY99" fmla="*/ 795961 h 800100"/>
              <a:gd name="connsiteX100" fmla="*/ 841603 w 2114552"/>
              <a:gd name="connsiteY100" fmla="*/ 779406 h 800100"/>
              <a:gd name="connsiteX101" fmla="*/ 837445 w 2114552"/>
              <a:gd name="connsiteY101" fmla="*/ 779406 h 800100"/>
              <a:gd name="connsiteX102" fmla="*/ 804183 w 2114552"/>
              <a:gd name="connsiteY102" fmla="*/ 800100 h 800100"/>
              <a:gd name="connsiteX103" fmla="*/ 766763 w 2114552"/>
              <a:gd name="connsiteY103" fmla="*/ 766989 h 800100"/>
              <a:gd name="connsiteX104" fmla="*/ 837445 w 2114552"/>
              <a:gd name="connsiteY104" fmla="*/ 729739 h 800100"/>
              <a:gd name="connsiteX105" fmla="*/ 837445 w 2114552"/>
              <a:gd name="connsiteY105" fmla="*/ 721462 h 800100"/>
              <a:gd name="connsiteX106" fmla="*/ 812499 w 2114552"/>
              <a:gd name="connsiteY106" fmla="*/ 692490 h 800100"/>
              <a:gd name="connsiteX107" fmla="*/ 779236 w 2114552"/>
              <a:gd name="connsiteY107" fmla="*/ 704906 h 800100"/>
              <a:gd name="connsiteX108" fmla="*/ 779236 w 2114552"/>
              <a:gd name="connsiteY108" fmla="*/ 688351 h 800100"/>
              <a:gd name="connsiteX109" fmla="*/ 812499 w 2114552"/>
              <a:gd name="connsiteY109" fmla="*/ 684212 h 800100"/>
              <a:gd name="connsiteX110" fmla="*/ 527050 w 2114552"/>
              <a:gd name="connsiteY110" fmla="*/ 684212 h 800100"/>
              <a:gd name="connsiteX111" fmla="*/ 539523 w 2114552"/>
              <a:gd name="connsiteY111" fmla="*/ 684212 h 800100"/>
              <a:gd name="connsiteX112" fmla="*/ 539523 w 2114552"/>
              <a:gd name="connsiteY112" fmla="*/ 704791 h 800100"/>
              <a:gd name="connsiteX113" fmla="*/ 576943 w 2114552"/>
              <a:gd name="connsiteY113" fmla="*/ 684212 h 800100"/>
              <a:gd name="connsiteX114" fmla="*/ 614363 w 2114552"/>
              <a:gd name="connsiteY114" fmla="*/ 725369 h 800100"/>
              <a:gd name="connsiteX115" fmla="*/ 614363 w 2114552"/>
              <a:gd name="connsiteY115" fmla="*/ 795337 h 800100"/>
              <a:gd name="connsiteX116" fmla="*/ 601890 w 2114552"/>
              <a:gd name="connsiteY116" fmla="*/ 795337 h 800100"/>
              <a:gd name="connsiteX117" fmla="*/ 601890 w 2114552"/>
              <a:gd name="connsiteY117" fmla="*/ 729485 h 800100"/>
              <a:gd name="connsiteX118" fmla="*/ 576943 w 2114552"/>
              <a:gd name="connsiteY118" fmla="*/ 692443 h 800100"/>
              <a:gd name="connsiteX119" fmla="*/ 543681 w 2114552"/>
              <a:gd name="connsiteY119" fmla="*/ 733601 h 800100"/>
              <a:gd name="connsiteX120" fmla="*/ 543681 w 2114552"/>
              <a:gd name="connsiteY120" fmla="*/ 795337 h 800100"/>
              <a:gd name="connsiteX121" fmla="*/ 527050 w 2114552"/>
              <a:gd name="connsiteY121" fmla="*/ 795337 h 800100"/>
              <a:gd name="connsiteX122" fmla="*/ 527050 w 2114552"/>
              <a:gd name="connsiteY122" fmla="*/ 713022 h 800100"/>
              <a:gd name="connsiteX123" fmla="*/ 527050 w 2114552"/>
              <a:gd name="connsiteY123" fmla="*/ 684212 h 800100"/>
              <a:gd name="connsiteX124" fmla="*/ 406400 w 2114552"/>
              <a:gd name="connsiteY124" fmla="*/ 684212 h 800100"/>
              <a:gd name="connsiteX125" fmla="*/ 418873 w 2114552"/>
              <a:gd name="connsiteY125" fmla="*/ 684212 h 800100"/>
              <a:gd name="connsiteX126" fmla="*/ 418873 w 2114552"/>
              <a:gd name="connsiteY126" fmla="*/ 754573 h 800100"/>
              <a:gd name="connsiteX127" fmla="*/ 443820 w 2114552"/>
              <a:gd name="connsiteY127" fmla="*/ 787683 h 800100"/>
              <a:gd name="connsiteX128" fmla="*/ 477082 w 2114552"/>
              <a:gd name="connsiteY128" fmla="*/ 746295 h 800100"/>
              <a:gd name="connsiteX129" fmla="*/ 477082 w 2114552"/>
              <a:gd name="connsiteY129" fmla="*/ 684212 h 800100"/>
              <a:gd name="connsiteX130" fmla="*/ 493713 w 2114552"/>
              <a:gd name="connsiteY130" fmla="*/ 684212 h 800100"/>
              <a:gd name="connsiteX131" fmla="*/ 493713 w 2114552"/>
              <a:gd name="connsiteY131" fmla="*/ 771128 h 800100"/>
              <a:gd name="connsiteX132" fmla="*/ 493713 w 2114552"/>
              <a:gd name="connsiteY132" fmla="*/ 795961 h 800100"/>
              <a:gd name="connsiteX133" fmla="*/ 481240 w 2114552"/>
              <a:gd name="connsiteY133" fmla="*/ 795961 h 800100"/>
              <a:gd name="connsiteX134" fmla="*/ 481240 w 2114552"/>
              <a:gd name="connsiteY134" fmla="*/ 779406 h 800100"/>
              <a:gd name="connsiteX135" fmla="*/ 443820 w 2114552"/>
              <a:gd name="connsiteY135" fmla="*/ 800100 h 800100"/>
              <a:gd name="connsiteX136" fmla="*/ 406400 w 2114552"/>
              <a:gd name="connsiteY136" fmla="*/ 758711 h 800100"/>
              <a:gd name="connsiteX137" fmla="*/ 406400 w 2114552"/>
              <a:gd name="connsiteY137" fmla="*/ 684212 h 800100"/>
              <a:gd name="connsiteX138" fmla="*/ 325437 w 2114552"/>
              <a:gd name="connsiteY138" fmla="*/ 684212 h 800100"/>
              <a:gd name="connsiteX139" fmla="*/ 377825 w 2114552"/>
              <a:gd name="connsiteY139" fmla="*/ 742156 h 800100"/>
              <a:gd name="connsiteX140" fmla="*/ 325437 w 2114552"/>
              <a:gd name="connsiteY140" fmla="*/ 800100 h 800100"/>
              <a:gd name="connsiteX141" fmla="*/ 273049 w 2114552"/>
              <a:gd name="connsiteY141" fmla="*/ 742156 h 800100"/>
              <a:gd name="connsiteX142" fmla="*/ 325437 w 2114552"/>
              <a:gd name="connsiteY142" fmla="*/ 684212 h 800100"/>
              <a:gd name="connsiteX143" fmla="*/ 1724027 w 2114552"/>
              <a:gd name="connsiteY143" fmla="*/ 666750 h 800100"/>
              <a:gd name="connsiteX144" fmla="*/ 1720852 w 2114552"/>
              <a:gd name="connsiteY144" fmla="*/ 679450 h 800100"/>
              <a:gd name="connsiteX145" fmla="*/ 1716089 w 2114552"/>
              <a:gd name="connsiteY145" fmla="*/ 687388 h 800100"/>
              <a:gd name="connsiteX146" fmla="*/ 1733552 w 2114552"/>
              <a:gd name="connsiteY146" fmla="*/ 687388 h 800100"/>
              <a:gd name="connsiteX147" fmla="*/ 1728789 w 2114552"/>
              <a:gd name="connsiteY147" fmla="*/ 679450 h 800100"/>
              <a:gd name="connsiteX148" fmla="*/ 1728922 w 2114552"/>
              <a:gd name="connsiteY148" fmla="*/ 654050 h 800100"/>
              <a:gd name="connsiteX149" fmla="*/ 1728922 w 2114552"/>
              <a:gd name="connsiteY149" fmla="*/ 658202 h 800100"/>
              <a:gd name="connsiteX150" fmla="*/ 1737124 w 2114552"/>
              <a:gd name="connsiteY150" fmla="*/ 678962 h 800100"/>
              <a:gd name="connsiteX151" fmla="*/ 1749427 w 2114552"/>
              <a:gd name="connsiteY151" fmla="*/ 703873 h 800100"/>
              <a:gd name="connsiteX152" fmla="*/ 1737124 w 2114552"/>
              <a:gd name="connsiteY152" fmla="*/ 703873 h 800100"/>
              <a:gd name="connsiteX153" fmla="*/ 1737124 w 2114552"/>
              <a:gd name="connsiteY153" fmla="*/ 695569 h 800100"/>
              <a:gd name="connsiteX154" fmla="*/ 1712517 w 2114552"/>
              <a:gd name="connsiteY154" fmla="*/ 695569 h 800100"/>
              <a:gd name="connsiteX155" fmla="*/ 1712517 w 2114552"/>
              <a:gd name="connsiteY155" fmla="*/ 708025 h 800100"/>
              <a:gd name="connsiteX156" fmla="*/ 1700214 w 2114552"/>
              <a:gd name="connsiteY156" fmla="*/ 703873 h 800100"/>
              <a:gd name="connsiteX157" fmla="*/ 1712517 w 2114552"/>
              <a:gd name="connsiteY157" fmla="*/ 678962 h 800100"/>
              <a:gd name="connsiteX158" fmla="*/ 1716618 w 2114552"/>
              <a:gd name="connsiteY158" fmla="*/ 658202 h 800100"/>
              <a:gd name="connsiteX159" fmla="*/ 1728922 w 2114552"/>
              <a:gd name="connsiteY159" fmla="*/ 654050 h 800100"/>
              <a:gd name="connsiteX160" fmla="*/ 907733 w 2114552"/>
              <a:gd name="connsiteY160" fmla="*/ 654049 h 800100"/>
              <a:gd name="connsiteX161" fmla="*/ 907733 w 2114552"/>
              <a:gd name="connsiteY161" fmla="*/ 683259 h 800100"/>
              <a:gd name="connsiteX162" fmla="*/ 932498 w 2114552"/>
              <a:gd name="connsiteY162" fmla="*/ 683259 h 800100"/>
              <a:gd name="connsiteX163" fmla="*/ 932498 w 2114552"/>
              <a:gd name="connsiteY163" fmla="*/ 695778 h 800100"/>
              <a:gd name="connsiteX164" fmla="*/ 907733 w 2114552"/>
              <a:gd name="connsiteY164" fmla="*/ 695778 h 800100"/>
              <a:gd name="connsiteX165" fmla="*/ 907733 w 2114552"/>
              <a:gd name="connsiteY165" fmla="*/ 770889 h 800100"/>
              <a:gd name="connsiteX166" fmla="*/ 924243 w 2114552"/>
              <a:gd name="connsiteY166" fmla="*/ 787580 h 800100"/>
              <a:gd name="connsiteX167" fmla="*/ 936626 w 2114552"/>
              <a:gd name="connsiteY167" fmla="*/ 783408 h 800100"/>
              <a:gd name="connsiteX168" fmla="*/ 936626 w 2114552"/>
              <a:gd name="connsiteY168" fmla="*/ 795926 h 800100"/>
              <a:gd name="connsiteX169" fmla="*/ 920116 w 2114552"/>
              <a:gd name="connsiteY169" fmla="*/ 800099 h 800100"/>
              <a:gd name="connsiteX170" fmla="*/ 895351 w 2114552"/>
              <a:gd name="connsiteY170" fmla="*/ 762543 h 800100"/>
              <a:gd name="connsiteX171" fmla="*/ 895351 w 2114552"/>
              <a:gd name="connsiteY171" fmla="*/ 695778 h 800100"/>
              <a:gd name="connsiteX172" fmla="*/ 874713 w 2114552"/>
              <a:gd name="connsiteY172" fmla="*/ 695778 h 800100"/>
              <a:gd name="connsiteX173" fmla="*/ 874713 w 2114552"/>
              <a:gd name="connsiteY173" fmla="*/ 683259 h 800100"/>
              <a:gd name="connsiteX174" fmla="*/ 895351 w 2114552"/>
              <a:gd name="connsiteY174" fmla="*/ 683259 h 800100"/>
              <a:gd name="connsiteX175" fmla="*/ 895351 w 2114552"/>
              <a:gd name="connsiteY175" fmla="*/ 658222 h 800100"/>
              <a:gd name="connsiteX176" fmla="*/ 907733 w 2114552"/>
              <a:gd name="connsiteY176" fmla="*/ 654049 h 800100"/>
              <a:gd name="connsiteX177" fmla="*/ 1658542 w 2114552"/>
              <a:gd name="connsiteY177" fmla="*/ 650875 h 800100"/>
              <a:gd name="connsiteX178" fmla="*/ 1666745 w 2114552"/>
              <a:gd name="connsiteY178" fmla="*/ 650875 h 800100"/>
              <a:gd name="connsiteX179" fmla="*/ 1683149 w 2114552"/>
              <a:gd name="connsiteY179" fmla="*/ 688242 h 800100"/>
              <a:gd name="connsiteX180" fmla="*/ 1687250 w 2114552"/>
              <a:gd name="connsiteY180" fmla="*/ 655027 h 800100"/>
              <a:gd name="connsiteX181" fmla="*/ 1695452 w 2114552"/>
              <a:gd name="connsiteY181" fmla="*/ 655027 h 800100"/>
              <a:gd name="connsiteX182" fmla="*/ 1687250 w 2114552"/>
              <a:gd name="connsiteY182" fmla="*/ 704850 h 800100"/>
              <a:gd name="connsiteX183" fmla="*/ 1679048 w 2114552"/>
              <a:gd name="connsiteY183" fmla="*/ 704850 h 800100"/>
              <a:gd name="connsiteX184" fmla="*/ 1662643 w 2114552"/>
              <a:gd name="connsiteY184" fmla="*/ 671635 h 800100"/>
              <a:gd name="connsiteX185" fmla="*/ 1658542 w 2114552"/>
              <a:gd name="connsiteY185" fmla="*/ 700698 h 800100"/>
              <a:gd name="connsiteX186" fmla="*/ 1646239 w 2114552"/>
              <a:gd name="connsiteY186" fmla="*/ 700698 h 800100"/>
              <a:gd name="connsiteX187" fmla="*/ 1658542 w 2114552"/>
              <a:gd name="connsiteY187" fmla="*/ 650875 h 800100"/>
              <a:gd name="connsiteX188" fmla="*/ 1787526 w 2114552"/>
              <a:gd name="connsiteY188" fmla="*/ 646113 h 800100"/>
              <a:gd name="connsiteX189" fmla="*/ 1787526 w 2114552"/>
              <a:gd name="connsiteY189" fmla="*/ 654504 h 800100"/>
              <a:gd name="connsiteX190" fmla="*/ 1771016 w 2114552"/>
              <a:gd name="connsiteY190" fmla="*/ 658700 h 800100"/>
              <a:gd name="connsiteX191" fmla="*/ 1779271 w 2114552"/>
              <a:gd name="connsiteY191" fmla="*/ 700655 h 800100"/>
              <a:gd name="connsiteX192" fmla="*/ 1771016 w 2114552"/>
              <a:gd name="connsiteY192" fmla="*/ 704851 h 800100"/>
              <a:gd name="connsiteX193" fmla="*/ 1762761 w 2114552"/>
              <a:gd name="connsiteY193" fmla="*/ 662895 h 800100"/>
              <a:gd name="connsiteX194" fmla="*/ 1746251 w 2114552"/>
              <a:gd name="connsiteY194" fmla="*/ 662895 h 800100"/>
              <a:gd name="connsiteX195" fmla="*/ 1746251 w 2114552"/>
              <a:gd name="connsiteY195" fmla="*/ 654504 h 800100"/>
              <a:gd name="connsiteX196" fmla="*/ 1787526 w 2114552"/>
              <a:gd name="connsiteY196" fmla="*/ 646113 h 800100"/>
              <a:gd name="connsiteX197" fmla="*/ 1617029 w 2114552"/>
              <a:gd name="connsiteY197" fmla="*/ 646113 h 800100"/>
              <a:gd name="connsiteX198" fmla="*/ 1617029 w 2114552"/>
              <a:gd name="connsiteY198" fmla="*/ 654051 h 800100"/>
              <a:gd name="connsiteX199" fmla="*/ 1612901 w 2114552"/>
              <a:gd name="connsiteY199" fmla="*/ 658019 h 800100"/>
              <a:gd name="connsiteX200" fmla="*/ 1625284 w 2114552"/>
              <a:gd name="connsiteY200" fmla="*/ 661988 h 800100"/>
              <a:gd name="connsiteX201" fmla="*/ 1633539 w 2114552"/>
              <a:gd name="connsiteY201" fmla="*/ 658019 h 800100"/>
              <a:gd name="connsiteX202" fmla="*/ 1633539 w 2114552"/>
              <a:gd name="connsiteY202" fmla="*/ 654051 h 800100"/>
              <a:gd name="connsiteX203" fmla="*/ 1629412 w 2114552"/>
              <a:gd name="connsiteY203" fmla="*/ 650082 h 800100"/>
              <a:gd name="connsiteX204" fmla="*/ 1617029 w 2114552"/>
              <a:gd name="connsiteY204" fmla="*/ 646113 h 800100"/>
              <a:gd name="connsiteX205" fmla="*/ 966943 w 2114552"/>
              <a:gd name="connsiteY205" fmla="*/ 643885 h 800100"/>
              <a:gd name="connsiteX206" fmla="*/ 981464 w 2114552"/>
              <a:gd name="connsiteY206" fmla="*/ 643885 h 800100"/>
              <a:gd name="connsiteX207" fmla="*/ 981464 w 2114552"/>
              <a:gd name="connsiteY207" fmla="*/ 660066 h 800100"/>
              <a:gd name="connsiteX208" fmla="*/ 966943 w 2114552"/>
              <a:gd name="connsiteY208" fmla="*/ 660066 h 800100"/>
              <a:gd name="connsiteX209" fmla="*/ 1795464 w 2114552"/>
              <a:gd name="connsiteY209" fmla="*/ 641350 h 800100"/>
              <a:gd name="connsiteX210" fmla="*/ 1807711 w 2114552"/>
              <a:gd name="connsiteY210" fmla="*/ 641350 h 800100"/>
              <a:gd name="connsiteX211" fmla="*/ 1824039 w 2114552"/>
              <a:gd name="connsiteY211" fmla="*/ 687917 h 800100"/>
              <a:gd name="connsiteX212" fmla="*/ 1811793 w 2114552"/>
              <a:gd name="connsiteY212" fmla="*/ 692150 h 800100"/>
              <a:gd name="connsiteX213" fmla="*/ 1795464 w 2114552"/>
              <a:gd name="connsiteY213" fmla="*/ 641350 h 800100"/>
              <a:gd name="connsiteX214" fmla="*/ 177800 w 2114552"/>
              <a:gd name="connsiteY214" fmla="*/ 641349 h 800100"/>
              <a:gd name="connsiteX215" fmla="*/ 252413 w 2114552"/>
              <a:gd name="connsiteY215" fmla="*/ 641349 h 800100"/>
              <a:gd name="connsiteX216" fmla="*/ 252413 w 2114552"/>
              <a:gd name="connsiteY216" fmla="*/ 654049 h 800100"/>
              <a:gd name="connsiteX217" fmla="*/ 195262 w 2114552"/>
              <a:gd name="connsiteY217" fmla="*/ 654049 h 800100"/>
              <a:gd name="connsiteX218" fmla="*/ 195262 w 2114552"/>
              <a:gd name="connsiteY218" fmla="*/ 712787 h 800100"/>
              <a:gd name="connsiteX219" fmla="*/ 249238 w 2114552"/>
              <a:gd name="connsiteY219" fmla="*/ 712787 h 800100"/>
              <a:gd name="connsiteX220" fmla="*/ 249238 w 2114552"/>
              <a:gd name="connsiteY220" fmla="*/ 725487 h 800100"/>
              <a:gd name="connsiteX221" fmla="*/ 195262 w 2114552"/>
              <a:gd name="connsiteY221" fmla="*/ 725487 h 800100"/>
              <a:gd name="connsiteX222" fmla="*/ 195262 w 2114552"/>
              <a:gd name="connsiteY222" fmla="*/ 795337 h 800100"/>
              <a:gd name="connsiteX223" fmla="*/ 177800 w 2114552"/>
              <a:gd name="connsiteY223" fmla="*/ 795337 h 800100"/>
              <a:gd name="connsiteX224" fmla="*/ 1612770 w 2114552"/>
              <a:gd name="connsiteY224" fmla="*/ 633413 h 800100"/>
              <a:gd name="connsiteX225" fmla="*/ 1633275 w 2114552"/>
              <a:gd name="connsiteY225" fmla="*/ 641668 h 800100"/>
              <a:gd name="connsiteX226" fmla="*/ 1641477 w 2114552"/>
              <a:gd name="connsiteY226" fmla="*/ 654051 h 800100"/>
              <a:gd name="connsiteX227" fmla="*/ 1641477 w 2114552"/>
              <a:gd name="connsiteY227" fmla="*/ 658178 h 800100"/>
              <a:gd name="connsiteX228" fmla="*/ 1629174 w 2114552"/>
              <a:gd name="connsiteY228" fmla="*/ 670561 h 800100"/>
              <a:gd name="connsiteX229" fmla="*/ 1633275 w 2114552"/>
              <a:gd name="connsiteY229" fmla="*/ 695326 h 800100"/>
              <a:gd name="connsiteX230" fmla="*/ 1620972 w 2114552"/>
              <a:gd name="connsiteY230" fmla="*/ 691198 h 800100"/>
              <a:gd name="connsiteX231" fmla="*/ 1620972 w 2114552"/>
              <a:gd name="connsiteY231" fmla="*/ 670561 h 800100"/>
              <a:gd name="connsiteX232" fmla="*/ 1608668 w 2114552"/>
              <a:gd name="connsiteY232" fmla="*/ 666433 h 800100"/>
              <a:gd name="connsiteX233" fmla="*/ 1604567 w 2114552"/>
              <a:gd name="connsiteY233" fmla="*/ 682943 h 800100"/>
              <a:gd name="connsiteX234" fmla="*/ 1592264 w 2114552"/>
              <a:gd name="connsiteY234" fmla="*/ 678816 h 800100"/>
              <a:gd name="connsiteX235" fmla="*/ 1604567 w 2114552"/>
              <a:gd name="connsiteY235" fmla="*/ 658178 h 800100"/>
              <a:gd name="connsiteX236" fmla="*/ 1604567 w 2114552"/>
              <a:gd name="connsiteY236" fmla="*/ 654051 h 800100"/>
              <a:gd name="connsiteX237" fmla="*/ 1612770 w 2114552"/>
              <a:gd name="connsiteY237" fmla="*/ 633413 h 800100"/>
              <a:gd name="connsiteX238" fmla="*/ 1855109 w 2114552"/>
              <a:gd name="connsiteY238" fmla="*/ 630214 h 800100"/>
              <a:gd name="connsiteX239" fmla="*/ 1844903 w 2114552"/>
              <a:gd name="connsiteY239" fmla="*/ 632818 h 800100"/>
              <a:gd name="connsiteX240" fmla="*/ 1836739 w 2114552"/>
              <a:gd name="connsiteY240" fmla="*/ 645320 h 800100"/>
              <a:gd name="connsiteX241" fmla="*/ 1836739 w 2114552"/>
              <a:gd name="connsiteY241" fmla="*/ 653655 h 800100"/>
              <a:gd name="connsiteX242" fmla="*/ 1840821 w 2114552"/>
              <a:gd name="connsiteY242" fmla="*/ 657822 h 800100"/>
              <a:gd name="connsiteX243" fmla="*/ 1857150 w 2114552"/>
              <a:gd name="connsiteY243" fmla="*/ 661989 h 800100"/>
              <a:gd name="connsiteX244" fmla="*/ 1861232 w 2114552"/>
              <a:gd name="connsiteY244" fmla="*/ 657822 h 800100"/>
              <a:gd name="connsiteX245" fmla="*/ 1865314 w 2114552"/>
              <a:gd name="connsiteY245" fmla="*/ 645320 h 800100"/>
              <a:gd name="connsiteX246" fmla="*/ 1865314 w 2114552"/>
              <a:gd name="connsiteY246" fmla="*/ 636986 h 800100"/>
              <a:gd name="connsiteX247" fmla="*/ 1855109 w 2114552"/>
              <a:gd name="connsiteY247" fmla="*/ 630214 h 800100"/>
              <a:gd name="connsiteX248" fmla="*/ 726110 w 2114552"/>
              <a:gd name="connsiteY248" fmla="*/ 628649 h 800100"/>
              <a:gd name="connsiteX249" fmla="*/ 742951 w 2114552"/>
              <a:gd name="connsiteY249" fmla="*/ 628649 h 800100"/>
              <a:gd name="connsiteX250" fmla="*/ 742951 w 2114552"/>
              <a:gd name="connsiteY250" fmla="*/ 795917 h 800100"/>
              <a:gd name="connsiteX251" fmla="*/ 726110 w 2114552"/>
              <a:gd name="connsiteY251" fmla="*/ 795917 h 800100"/>
              <a:gd name="connsiteX252" fmla="*/ 726110 w 2114552"/>
              <a:gd name="connsiteY252" fmla="*/ 779190 h 800100"/>
              <a:gd name="connsiteX253" fmla="*/ 692427 w 2114552"/>
              <a:gd name="connsiteY253" fmla="*/ 800099 h 800100"/>
              <a:gd name="connsiteX254" fmla="*/ 646113 w 2114552"/>
              <a:gd name="connsiteY254" fmla="*/ 741555 h 800100"/>
              <a:gd name="connsiteX255" fmla="*/ 692427 w 2114552"/>
              <a:gd name="connsiteY255" fmla="*/ 683011 h 800100"/>
              <a:gd name="connsiteX256" fmla="*/ 726110 w 2114552"/>
              <a:gd name="connsiteY256" fmla="*/ 703920 h 800100"/>
              <a:gd name="connsiteX257" fmla="*/ 726110 w 2114552"/>
              <a:gd name="connsiteY257" fmla="*/ 628649 h 800100"/>
              <a:gd name="connsiteX258" fmla="*/ 1857377 w 2114552"/>
              <a:gd name="connsiteY258" fmla="*/ 622131 h 800100"/>
              <a:gd name="connsiteX259" fmla="*/ 1874839 w 2114552"/>
              <a:gd name="connsiteY259" fmla="*/ 633868 h 800100"/>
              <a:gd name="connsiteX260" fmla="*/ 1874839 w 2114552"/>
              <a:gd name="connsiteY260" fmla="*/ 646114 h 800100"/>
              <a:gd name="connsiteX261" fmla="*/ 1874839 w 2114552"/>
              <a:gd name="connsiteY261" fmla="*/ 658360 h 800100"/>
              <a:gd name="connsiteX262" fmla="*/ 1862139 w 2114552"/>
              <a:gd name="connsiteY262" fmla="*/ 666525 h 800100"/>
              <a:gd name="connsiteX263" fmla="*/ 1828272 w 2114552"/>
              <a:gd name="connsiteY263" fmla="*/ 658360 h 800100"/>
              <a:gd name="connsiteX264" fmla="*/ 1824039 w 2114552"/>
              <a:gd name="connsiteY264" fmla="*/ 646114 h 800100"/>
              <a:gd name="connsiteX265" fmla="*/ 1836739 w 2114552"/>
              <a:gd name="connsiteY265" fmla="*/ 625703 h 800100"/>
              <a:gd name="connsiteX266" fmla="*/ 1857377 w 2114552"/>
              <a:gd name="connsiteY266" fmla="*/ 622131 h 800100"/>
              <a:gd name="connsiteX267" fmla="*/ 1571138 w 2114552"/>
              <a:gd name="connsiteY267" fmla="*/ 612775 h 800100"/>
              <a:gd name="connsiteX268" fmla="*/ 1600201 w 2114552"/>
              <a:gd name="connsiteY268" fmla="*/ 629285 h 800100"/>
              <a:gd name="connsiteX269" fmla="*/ 1596049 w 2114552"/>
              <a:gd name="connsiteY269" fmla="*/ 637540 h 800100"/>
              <a:gd name="connsiteX270" fmla="*/ 1575290 w 2114552"/>
              <a:gd name="connsiteY270" fmla="*/ 625158 h 800100"/>
              <a:gd name="connsiteX271" fmla="*/ 1571138 w 2114552"/>
              <a:gd name="connsiteY271" fmla="*/ 633413 h 800100"/>
              <a:gd name="connsiteX272" fmla="*/ 1583593 w 2114552"/>
              <a:gd name="connsiteY272" fmla="*/ 641668 h 800100"/>
              <a:gd name="connsiteX273" fmla="*/ 1579442 w 2114552"/>
              <a:gd name="connsiteY273" fmla="*/ 649923 h 800100"/>
              <a:gd name="connsiteX274" fmla="*/ 1566986 w 2114552"/>
              <a:gd name="connsiteY274" fmla="*/ 641668 h 800100"/>
              <a:gd name="connsiteX275" fmla="*/ 1558682 w 2114552"/>
              <a:gd name="connsiteY275" fmla="*/ 654050 h 800100"/>
              <a:gd name="connsiteX276" fmla="*/ 1579442 w 2114552"/>
              <a:gd name="connsiteY276" fmla="*/ 666433 h 800100"/>
              <a:gd name="connsiteX277" fmla="*/ 1575290 w 2114552"/>
              <a:gd name="connsiteY277" fmla="*/ 674688 h 800100"/>
              <a:gd name="connsiteX278" fmla="*/ 1546226 w 2114552"/>
              <a:gd name="connsiteY278" fmla="*/ 654050 h 800100"/>
              <a:gd name="connsiteX279" fmla="*/ 1571138 w 2114552"/>
              <a:gd name="connsiteY279" fmla="*/ 612775 h 800100"/>
              <a:gd name="connsiteX280" fmla="*/ 1898969 w 2114552"/>
              <a:gd name="connsiteY280" fmla="*/ 579438 h 800100"/>
              <a:gd name="connsiteX281" fmla="*/ 1931989 w 2114552"/>
              <a:gd name="connsiteY281" fmla="*/ 616943 h 800100"/>
              <a:gd name="connsiteX282" fmla="*/ 1923734 w 2114552"/>
              <a:gd name="connsiteY282" fmla="*/ 625277 h 800100"/>
              <a:gd name="connsiteX283" fmla="*/ 1890714 w 2114552"/>
              <a:gd name="connsiteY283" fmla="*/ 612776 h 800100"/>
              <a:gd name="connsiteX284" fmla="*/ 1907224 w 2114552"/>
              <a:gd name="connsiteY284" fmla="*/ 637779 h 800100"/>
              <a:gd name="connsiteX285" fmla="*/ 1898969 w 2114552"/>
              <a:gd name="connsiteY285" fmla="*/ 646113 h 800100"/>
              <a:gd name="connsiteX286" fmla="*/ 1870076 w 2114552"/>
              <a:gd name="connsiteY286" fmla="*/ 604441 h 800100"/>
              <a:gd name="connsiteX287" fmla="*/ 1878331 w 2114552"/>
              <a:gd name="connsiteY287" fmla="*/ 600274 h 800100"/>
              <a:gd name="connsiteX288" fmla="*/ 1911351 w 2114552"/>
              <a:gd name="connsiteY288" fmla="*/ 608608 h 800100"/>
              <a:gd name="connsiteX289" fmla="*/ 1890714 w 2114552"/>
              <a:gd name="connsiteY289" fmla="*/ 587772 h 800100"/>
              <a:gd name="connsiteX290" fmla="*/ 1898969 w 2114552"/>
              <a:gd name="connsiteY290" fmla="*/ 579438 h 800100"/>
              <a:gd name="connsiteX291" fmla="*/ 1534626 w 2114552"/>
              <a:gd name="connsiteY291" fmla="*/ 579438 h 800100"/>
              <a:gd name="connsiteX292" fmla="*/ 1563689 w 2114552"/>
              <a:gd name="connsiteY292" fmla="*/ 604350 h 800100"/>
              <a:gd name="connsiteX293" fmla="*/ 1559537 w 2114552"/>
              <a:gd name="connsiteY293" fmla="*/ 612653 h 800100"/>
              <a:gd name="connsiteX294" fmla="*/ 1547081 w 2114552"/>
              <a:gd name="connsiteY294" fmla="*/ 604350 h 800100"/>
              <a:gd name="connsiteX295" fmla="*/ 1518018 w 2114552"/>
              <a:gd name="connsiteY295" fmla="*/ 633413 h 800100"/>
              <a:gd name="connsiteX296" fmla="*/ 1509714 w 2114552"/>
              <a:gd name="connsiteY296" fmla="*/ 625109 h 800100"/>
              <a:gd name="connsiteX297" fmla="*/ 1538778 w 2114552"/>
              <a:gd name="connsiteY297" fmla="*/ 596046 h 800100"/>
              <a:gd name="connsiteX298" fmla="*/ 1526322 w 2114552"/>
              <a:gd name="connsiteY298" fmla="*/ 583590 h 800100"/>
              <a:gd name="connsiteX299" fmla="*/ 1534626 w 2114552"/>
              <a:gd name="connsiteY299" fmla="*/ 579438 h 800100"/>
              <a:gd name="connsiteX300" fmla="*/ 1924051 w 2114552"/>
              <a:gd name="connsiteY300" fmla="*/ 566738 h 800100"/>
              <a:gd name="connsiteX301" fmla="*/ 1931989 w 2114552"/>
              <a:gd name="connsiteY301" fmla="*/ 579438 h 800100"/>
              <a:gd name="connsiteX302" fmla="*/ 1936751 w 2114552"/>
              <a:gd name="connsiteY302" fmla="*/ 587376 h 800100"/>
              <a:gd name="connsiteX303" fmla="*/ 1944689 w 2114552"/>
              <a:gd name="connsiteY303" fmla="*/ 579438 h 800100"/>
              <a:gd name="connsiteX304" fmla="*/ 1944689 w 2114552"/>
              <a:gd name="connsiteY304" fmla="*/ 574676 h 800100"/>
              <a:gd name="connsiteX305" fmla="*/ 1919742 w 2114552"/>
              <a:gd name="connsiteY305" fmla="*/ 558800 h 800100"/>
              <a:gd name="connsiteX306" fmla="*/ 1970089 w 2114552"/>
              <a:gd name="connsiteY306" fmla="*/ 571103 h 800100"/>
              <a:gd name="connsiteX307" fmla="*/ 1965894 w 2114552"/>
              <a:gd name="connsiteY307" fmla="*/ 579305 h 800100"/>
              <a:gd name="connsiteX308" fmla="*/ 1961698 w 2114552"/>
              <a:gd name="connsiteY308" fmla="*/ 579305 h 800100"/>
              <a:gd name="connsiteX309" fmla="*/ 1953307 w 2114552"/>
              <a:gd name="connsiteY309" fmla="*/ 579305 h 800100"/>
              <a:gd name="connsiteX310" fmla="*/ 1940720 w 2114552"/>
              <a:gd name="connsiteY310" fmla="*/ 595710 h 800100"/>
              <a:gd name="connsiteX311" fmla="*/ 1944916 w 2114552"/>
              <a:gd name="connsiteY311" fmla="*/ 603912 h 800100"/>
              <a:gd name="connsiteX312" fmla="*/ 1940720 w 2114552"/>
              <a:gd name="connsiteY312" fmla="*/ 608013 h 800100"/>
              <a:gd name="connsiteX313" fmla="*/ 1919742 w 2114552"/>
              <a:gd name="connsiteY313" fmla="*/ 579305 h 800100"/>
              <a:gd name="connsiteX314" fmla="*/ 1911351 w 2114552"/>
              <a:gd name="connsiteY314" fmla="*/ 567002 h 800100"/>
              <a:gd name="connsiteX315" fmla="*/ 1500586 w 2114552"/>
              <a:gd name="connsiteY315" fmla="*/ 541338 h 800100"/>
              <a:gd name="connsiteX316" fmla="*/ 1508920 w 2114552"/>
              <a:gd name="connsiteY316" fmla="*/ 549805 h 800100"/>
              <a:gd name="connsiteX317" fmla="*/ 1496419 w 2114552"/>
              <a:gd name="connsiteY317" fmla="*/ 583671 h 800100"/>
              <a:gd name="connsiteX318" fmla="*/ 1521422 w 2114552"/>
              <a:gd name="connsiteY318" fmla="*/ 562505 h 800100"/>
              <a:gd name="connsiteX319" fmla="*/ 1525589 w 2114552"/>
              <a:gd name="connsiteY319" fmla="*/ 570971 h 800100"/>
              <a:gd name="connsiteX320" fmla="*/ 1488084 w 2114552"/>
              <a:gd name="connsiteY320" fmla="*/ 604838 h 800100"/>
              <a:gd name="connsiteX321" fmla="*/ 1479750 w 2114552"/>
              <a:gd name="connsiteY321" fmla="*/ 596371 h 800100"/>
              <a:gd name="connsiteX322" fmla="*/ 1492252 w 2114552"/>
              <a:gd name="connsiteY322" fmla="*/ 562505 h 800100"/>
              <a:gd name="connsiteX323" fmla="*/ 1467249 w 2114552"/>
              <a:gd name="connsiteY323" fmla="*/ 579438 h 800100"/>
              <a:gd name="connsiteX324" fmla="*/ 1458914 w 2114552"/>
              <a:gd name="connsiteY324" fmla="*/ 570971 h 800100"/>
              <a:gd name="connsiteX325" fmla="*/ 1500586 w 2114552"/>
              <a:gd name="connsiteY325" fmla="*/ 541338 h 800100"/>
              <a:gd name="connsiteX326" fmla="*/ 1936752 w 2114552"/>
              <a:gd name="connsiteY326" fmla="*/ 528638 h 800100"/>
              <a:gd name="connsiteX327" fmla="*/ 1973264 w 2114552"/>
              <a:gd name="connsiteY327" fmla="*/ 550863 h 800100"/>
              <a:gd name="connsiteX328" fmla="*/ 1985965 w 2114552"/>
              <a:gd name="connsiteY328" fmla="*/ 528638 h 800100"/>
              <a:gd name="connsiteX329" fmla="*/ 1993902 w 2114552"/>
              <a:gd name="connsiteY329" fmla="*/ 533401 h 800100"/>
              <a:gd name="connsiteX330" fmla="*/ 1978027 w 2114552"/>
              <a:gd name="connsiteY330" fmla="*/ 561976 h 800100"/>
              <a:gd name="connsiteX331" fmla="*/ 1931989 w 2114552"/>
              <a:gd name="connsiteY331" fmla="*/ 538163 h 800100"/>
              <a:gd name="connsiteX332" fmla="*/ 1492829 w 2114552"/>
              <a:gd name="connsiteY332" fmla="*/ 525463 h 800100"/>
              <a:gd name="connsiteX333" fmla="*/ 1497014 w 2114552"/>
              <a:gd name="connsiteY333" fmla="*/ 533798 h 800100"/>
              <a:gd name="connsiteX334" fmla="*/ 1455161 w 2114552"/>
              <a:gd name="connsiteY334" fmla="*/ 558801 h 800100"/>
              <a:gd name="connsiteX335" fmla="*/ 1450976 w 2114552"/>
              <a:gd name="connsiteY335" fmla="*/ 550467 h 800100"/>
              <a:gd name="connsiteX336" fmla="*/ 1492829 w 2114552"/>
              <a:gd name="connsiteY336" fmla="*/ 525463 h 800100"/>
              <a:gd name="connsiteX337" fmla="*/ 1482542 w 2114552"/>
              <a:gd name="connsiteY337" fmla="*/ 485751 h 800100"/>
              <a:gd name="connsiteX338" fmla="*/ 1476320 w 2114552"/>
              <a:gd name="connsiteY338" fmla="*/ 488355 h 800100"/>
              <a:gd name="connsiteX339" fmla="*/ 1430696 w 2114552"/>
              <a:gd name="connsiteY339" fmla="*/ 500857 h 800100"/>
              <a:gd name="connsiteX340" fmla="*/ 1422401 w 2114552"/>
              <a:gd name="connsiteY340" fmla="*/ 517526 h 800100"/>
              <a:gd name="connsiteX341" fmla="*/ 1716883 w 2114552"/>
              <a:gd name="connsiteY341" fmla="*/ 717551 h 800100"/>
              <a:gd name="connsiteX342" fmla="*/ 2011364 w 2114552"/>
              <a:gd name="connsiteY342" fmla="*/ 513358 h 800100"/>
              <a:gd name="connsiteX343" fmla="*/ 2003069 w 2114552"/>
              <a:gd name="connsiteY343" fmla="*/ 500857 h 800100"/>
              <a:gd name="connsiteX344" fmla="*/ 1957445 w 2114552"/>
              <a:gd name="connsiteY344" fmla="*/ 488355 h 800100"/>
              <a:gd name="connsiteX345" fmla="*/ 1951224 w 2114552"/>
              <a:gd name="connsiteY345" fmla="*/ 485751 h 800100"/>
              <a:gd name="connsiteX346" fmla="*/ 1945002 w 2114552"/>
              <a:gd name="connsiteY346" fmla="*/ 492522 h 800100"/>
              <a:gd name="connsiteX347" fmla="*/ 1716883 w 2114552"/>
              <a:gd name="connsiteY347" fmla="*/ 646709 h 800100"/>
              <a:gd name="connsiteX348" fmla="*/ 1488763 w 2114552"/>
              <a:gd name="connsiteY348" fmla="*/ 492522 h 800100"/>
              <a:gd name="connsiteX349" fmla="*/ 1482542 w 2114552"/>
              <a:gd name="connsiteY349" fmla="*/ 485751 h 800100"/>
              <a:gd name="connsiteX350" fmla="*/ 1662749 w 2114552"/>
              <a:gd name="connsiteY350" fmla="*/ 478852 h 800100"/>
              <a:gd name="connsiteX351" fmla="*/ 1551306 w 2114552"/>
              <a:gd name="connsiteY351" fmla="*/ 533313 h 800100"/>
              <a:gd name="connsiteX352" fmla="*/ 1543051 w 2114552"/>
              <a:gd name="connsiteY352" fmla="*/ 537502 h 800100"/>
              <a:gd name="connsiteX353" fmla="*/ 1543051 w 2114552"/>
              <a:gd name="connsiteY353" fmla="*/ 541691 h 800100"/>
              <a:gd name="connsiteX354" fmla="*/ 1547179 w 2114552"/>
              <a:gd name="connsiteY354" fmla="*/ 545880 h 800100"/>
              <a:gd name="connsiteX355" fmla="*/ 1675132 w 2114552"/>
              <a:gd name="connsiteY355" fmla="*/ 621287 h 800100"/>
              <a:gd name="connsiteX356" fmla="*/ 1683387 w 2114552"/>
              <a:gd name="connsiteY356" fmla="*/ 621287 h 800100"/>
              <a:gd name="connsiteX357" fmla="*/ 1687514 w 2114552"/>
              <a:gd name="connsiteY357" fmla="*/ 608719 h 800100"/>
              <a:gd name="connsiteX358" fmla="*/ 1679259 w 2114552"/>
              <a:gd name="connsiteY358" fmla="*/ 487231 h 800100"/>
              <a:gd name="connsiteX359" fmla="*/ 1675132 w 2114552"/>
              <a:gd name="connsiteY359" fmla="*/ 478852 h 800100"/>
              <a:gd name="connsiteX360" fmla="*/ 1662749 w 2114552"/>
              <a:gd name="connsiteY360" fmla="*/ 478852 h 800100"/>
              <a:gd name="connsiteX361" fmla="*/ 1762761 w 2114552"/>
              <a:gd name="connsiteY361" fmla="*/ 474663 h 800100"/>
              <a:gd name="connsiteX362" fmla="*/ 1758634 w 2114552"/>
              <a:gd name="connsiteY362" fmla="*/ 487182 h 800100"/>
              <a:gd name="connsiteX363" fmla="*/ 1746251 w 2114552"/>
              <a:gd name="connsiteY363" fmla="*/ 608194 h 800100"/>
              <a:gd name="connsiteX364" fmla="*/ 1750379 w 2114552"/>
              <a:gd name="connsiteY364" fmla="*/ 620713 h 800100"/>
              <a:gd name="connsiteX365" fmla="*/ 1758634 w 2114552"/>
              <a:gd name="connsiteY365" fmla="*/ 620713 h 800100"/>
              <a:gd name="connsiteX366" fmla="*/ 1886587 w 2114552"/>
              <a:gd name="connsiteY366" fmla="*/ 545602 h 800100"/>
              <a:gd name="connsiteX367" fmla="*/ 1890714 w 2114552"/>
              <a:gd name="connsiteY367" fmla="*/ 537256 h 800100"/>
              <a:gd name="connsiteX368" fmla="*/ 1882459 w 2114552"/>
              <a:gd name="connsiteY368" fmla="*/ 528910 h 800100"/>
              <a:gd name="connsiteX369" fmla="*/ 1775144 w 2114552"/>
              <a:gd name="connsiteY369" fmla="*/ 474663 h 800100"/>
              <a:gd name="connsiteX370" fmla="*/ 1762761 w 2114552"/>
              <a:gd name="connsiteY370" fmla="*/ 474663 h 800100"/>
              <a:gd name="connsiteX371" fmla="*/ 725572 w 2114552"/>
              <a:gd name="connsiteY371" fmla="*/ 428624 h 800100"/>
              <a:gd name="connsiteX372" fmla="*/ 696913 w 2114552"/>
              <a:gd name="connsiteY372" fmla="*/ 457993 h 800100"/>
              <a:gd name="connsiteX373" fmla="*/ 717384 w 2114552"/>
              <a:gd name="connsiteY373" fmla="*/ 487362 h 800100"/>
              <a:gd name="connsiteX374" fmla="*/ 774701 w 2114552"/>
              <a:gd name="connsiteY374" fmla="*/ 478971 h 800100"/>
              <a:gd name="connsiteX375" fmla="*/ 774701 w 2114552"/>
              <a:gd name="connsiteY375" fmla="*/ 428624 h 800100"/>
              <a:gd name="connsiteX376" fmla="*/ 352426 w 2114552"/>
              <a:gd name="connsiteY376" fmla="*/ 346073 h 800100"/>
              <a:gd name="connsiteX377" fmla="*/ 303213 w 2114552"/>
              <a:gd name="connsiteY377" fmla="*/ 412562 h 800100"/>
              <a:gd name="connsiteX378" fmla="*/ 352426 w 2114552"/>
              <a:gd name="connsiteY378" fmla="*/ 487361 h 800100"/>
              <a:gd name="connsiteX379" fmla="*/ 401638 w 2114552"/>
              <a:gd name="connsiteY379" fmla="*/ 412562 h 800100"/>
              <a:gd name="connsiteX380" fmla="*/ 352426 w 2114552"/>
              <a:gd name="connsiteY380" fmla="*/ 346073 h 800100"/>
              <a:gd name="connsiteX381" fmla="*/ 1704770 w 2114552"/>
              <a:gd name="connsiteY381" fmla="*/ 341312 h 800100"/>
              <a:gd name="connsiteX382" fmla="*/ 1704770 w 2114552"/>
              <a:gd name="connsiteY382" fmla="*/ 353885 h 800100"/>
              <a:gd name="connsiteX383" fmla="*/ 1671639 w 2114552"/>
              <a:gd name="connsiteY383" fmla="*/ 399986 h 800100"/>
              <a:gd name="connsiteX384" fmla="*/ 1717193 w 2114552"/>
              <a:gd name="connsiteY384" fmla="*/ 446087 h 800100"/>
              <a:gd name="connsiteX385" fmla="*/ 1766889 w 2114552"/>
              <a:gd name="connsiteY385" fmla="*/ 399986 h 800100"/>
              <a:gd name="connsiteX386" fmla="*/ 1729617 w 2114552"/>
              <a:gd name="connsiteY386" fmla="*/ 353885 h 800100"/>
              <a:gd name="connsiteX387" fmla="*/ 1729617 w 2114552"/>
              <a:gd name="connsiteY387" fmla="*/ 341312 h 800100"/>
              <a:gd name="connsiteX388" fmla="*/ 1704770 w 2114552"/>
              <a:gd name="connsiteY388" fmla="*/ 341312 h 800100"/>
              <a:gd name="connsiteX389" fmla="*/ 1716883 w 2114552"/>
              <a:gd name="connsiteY389" fmla="*/ 328612 h 800100"/>
              <a:gd name="connsiteX390" fmla="*/ 1787527 w 2114552"/>
              <a:gd name="connsiteY390" fmla="*/ 400050 h 800100"/>
              <a:gd name="connsiteX391" fmla="*/ 1716883 w 2114552"/>
              <a:gd name="connsiteY391" fmla="*/ 471488 h 800100"/>
              <a:gd name="connsiteX392" fmla="*/ 1646239 w 2114552"/>
              <a:gd name="connsiteY392" fmla="*/ 400050 h 800100"/>
              <a:gd name="connsiteX393" fmla="*/ 1716883 w 2114552"/>
              <a:gd name="connsiteY393" fmla="*/ 328612 h 800100"/>
              <a:gd name="connsiteX394" fmla="*/ 1716883 w 2114552"/>
              <a:gd name="connsiteY394" fmla="*/ 320675 h 800100"/>
              <a:gd name="connsiteX395" fmla="*/ 1638301 w 2114552"/>
              <a:gd name="connsiteY395" fmla="*/ 400050 h 800100"/>
              <a:gd name="connsiteX396" fmla="*/ 1716883 w 2114552"/>
              <a:gd name="connsiteY396" fmla="*/ 479425 h 800100"/>
              <a:gd name="connsiteX397" fmla="*/ 1795465 w 2114552"/>
              <a:gd name="connsiteY397" fmla="*/ 400050 h 800100"/>
              <a:gd name="connsiteX398" fmla="*/ 1716883 w 2114552"/>
              <a:gd name="connsiteY398" fmla="*/ 320675 h 800100"/>
              <a:gd name="connsiteX399" fmla="*/ 1924004 w 2114552"/>
              <a:gd name="connsiteY399" fmla="*/ 317500 h 800100"/>
              <a:gd name="connsiteX400" fmla="*/ 1911592 w 2114552"/>
              <a:gd name="connsiteY400" fmla="*/ 321667 h 800100"/>
              <a:gd name="connsiteX401" fmla="*/ 1812301 w 2114552"/>
              <a:gd name="connsiteY401" fmla="*/ 388342 h 800100"/>
              <a:gd name="connsiteX402" fmla="*/ 1808164 w 2114552"/>
              <a:gd name="connsiteY402" fmla="*/ 400844 h 800100"/>
              <a:gd name="connsiteX403" fmla="*/ 1812301 w 2114552"/>
              <a:gd name="connsiteY403" fmla="*/ 409178 h 800100"/>
              <a:gd name="connsiteX404" fmla="*/ 1915729 w 2114552"/>
              <a:gd name="connsiteY404" fmla="*/ 480021 h 800100"/>
              <a:gd name="connsiteX405" fmla="*/ 1924004 w 2114552"/>
              <a:gd name="connsiteY405" fmla="*/ 480021 h 800100"/>
              <a:gd name="connsiteX406" fmla="*/ 1928141 w 2114552"/>
              <a:gd name="connsiteY406" fmla="*/ 471686 h 800100"/>
              <a:gd name="connsiteX407" fmla="*/ 1928141 w 2114552"/>
              <a:gd name="connsiteY407" fmla="*/ 325834 h 800100"/>
              <a:gd name="connsiteX408" fmla="*/ 1924004 w 2114552"/>
              <a:gd name="connsiteY408" fmla="*/ 317500 h 800100"/>
              <a:gd name="connsiteX409" fmla="*/ 1509762 w 2114552"/>
              <a:gd name="connsiteY409" fmla="*/ 317500 h 800100"/>
              <a:gd name="connsiteX410" fmla="*/ 1501487 w 2114552"/>
              <a:gd name="connsiteY410" fmla="*/ 325834 h 800100"/>
              <a:gd name="connsiteX411" fmla="*/ 1501487 w 2114552"/>
              <a:gd name="connsiteY411" fmla="*/ 475854 h 800100"/>
              <a:gd name="connsiteX412" fmla="*/ 1509762 w 2114552"/>
              <a:gd name="connsiteY412" fmla="*/ 480021 h 800100"/>
              <a:gd name="connsiteX413" fmla="*/ 1518036 w 2114552"/>
              <a:gd name="connsiteY413" fmla="*/ 480021 h 800100"/>
              <a:gd name="connsiteX414" fmla="*/ 1621464 w 2114552"/>
              <a:gd name="connsiteY414" fmla="*/ 409178 h 800100"/>
              <a:gd name="connsiteX415" fmla="*/ 1625601 w 2114552"/>
              <a:gd name="connsiteY415" fmla="*/ 400844 h 800100"/>
              <a:gd name="connsiteX416" fmla="*/ 1621464 w 2114552"/>
              <a:gd name="connsiteY416" fmla="*/ 388342 h 800100"/>
              <a:gd name="connsiteX417" fmla="*/ 1518036 w 2114552"/>
              <a:gd name="connsiteY417" fmla="*/ 321667 h 800100"/>
              <a:gd name="connsiteX418" fmla="*/ 1509762 w 2114552"/>
              <a:gd name="connsiteY418" fmla="*/ 317500 h 800100"/>
              <a:gd name="connsiteX419" fmla="*/ 1032821 w 2114552"/>
              <a:gd name="connsiteY419" fmla="*/ 304799 h 800100"/>
              <a:gd name="connsiteX420" fmla="*/ 1041062 w 2114552"/>
              <a:gd name="connsiteY420" fmla="*/ 304799 h 800100"/>
              <a:gd name="connsiteX421" fmla="*/ 1074028 w 2114552"/>
              <a:gd name="connsiteY421" fmla="*/ 304799 h 800100"/>
              <a:gd name="connsiteX422" fmla="*/ 1082270 w 2114552"/>
              <a:gd name="connsiteY422" fmla="*/ 308966 h 800100"/>
              <a:gd name="connsiteX423" fmla="*/ 1123477 w 2114552"/>
              <a:gd name="connsiteY423" fmla="*/ 479821 h 800100"/>
              <a:gd name="connsiteX424" fmla="*/ 1127598 w 2114552"/>
              <a:gd name="connsiteY424" fmla="*/ 479821 h 800100"/>
              <a:gd name="connsiteX425" fmla="*/ 1172926 w 2114552"/>
              <a:gd name="connsiteY425" fmla="*/ 308966 h 800100"/>
              <a:gd name="connsiteX426" fmla="*/ 1181168 w 2114552"/>
              <a:gd name="connsiteY426" fmla="*/ 304799 h 800100"/>
              <a:gd name="connsiteX427" fmla="*/ 1214134 w 2114552"/>
              <a:gd name="connsiteY427" fmla="*/ 304799 h 800100"/>
              <a:gd name="connsiteX428" fmla="*/ 1222375 w 2114552"/>
              <a:gd name="connsiteY428" fmla="*/ 304799 h 800100"/>
              <a:gd name="connsiteX429" fmla="*/ 1222375 w 2114552"/>
              <a:gd name="connsiteY429" fmla="*/ 313133 h 800100"/>
              <a:gd name="connsiteX430" fmla="*/ 1218254 w 2114552"/>
              <a:gd name="connsiteY430" fmla="*/ 338137 h 800100"/>
              <a:gd name="connsiteX431" fmla="*/ 1201771 w 2114552"/>
              <a:gd name="connsiteY431" fmla="*/ 388143 h 800100"/>
              <a:gd name="connsiteX432" fmla="*/ 1164685 w 2114552"/>
              <a:gd name="connsiteY432" fmla="*/ 542329 h 800100"/>
              <a:gd name="connsiteX433" fmla="*/ 1098753 w 2114552"/>
              <a:gd name="connsiteY433" fmla="*/ 604837 h 800100"/>
              <a:gd name="connsiteX434" fmla="*/ 1094632 w 2114552"/>
              <a:gd name="connsiteY434" fmla="*/ 604837 h 800100"/>
              <a:gd name="connsiteX435" fmla="*/ 1041062 w 2114552"/>
              <a:gd name="connsiteY435" fmla="*/ 600670 h 800100"/>
              <a:gd name="connsiteX436" fmla="*/ 1032821 w 2114552"/>
              <a:gd name="connsiteY436" fmla="*/ 592335 h 800100"/>
              <a:gd name="connsiteX437" fmla="*/ 1032821 w 2114552"/>
              <a:gd name="connsiteY437" fmla="*/ 567332 h 800100"/>
              <a:gd name="connsiteX438" fmla="*/ 1036942 w 2114552"/>
              <a:gd name="connsiteY438" fmla="*/ 563165 h 800100"/>
              <a:gd name="connsiteX439" fmla="*/ 1041062 w 2114552"/>
              <a:gd name="connsiteY439" fmla="*/ 558998 h 800100"/>
              <a:gd name="connsiteX440" fmla="*/ 1082270 w 2114552"/>
              <a:gd name="connsiteY440" fmla="*/ 563165 h 800100"/>
              <a:gd name="connsiteX441" fmla="*/ 1115236 w 2114552"/>
              <a:gd name="connsiteY441" fmla="*/ 538162 h 800100"/>
              <a:gd name="connsiteX442" fmla="*/ 1119357 w 2114552"/>
              <a:gd name="connsiteY442" fmla="*/ 529828 h 800100"/>
              <a:gd name="connsiteX443" fmla="*/ 1106994 w 2114552"/>
              <a:gd name="connsiteY443" fmla="*/ 529828 h 800100"/>
              <a:gd name="connsiteX444" fmla="*/ 1082270 w 2114552"/>
              <a:gd name="connsiteY444" fmla="*/ 504824 h 800100"/>
              <a:gd name="connsiteX445" fmla="*/ 1032821 w 2114552"/>
              <a:gd name="connsiteY445" fmla="*/ 313133 h 800100"/>
              <a:gd name="connsiteX446" fmla="*/ 1032821 w 2114552"/>
              <a:gd name="connsiteY446" fmla="*/ 304799 h 800100"/>
              <a:gd name="connsiteX447" fmla="*/ 994979 w 2114552"/>
              <a:gd name="connsiteY447" fmla="*/ 300037 h 800100"/>
              <a:gd name="connsiteX448" fmla="*/ 999140 w 2114552"/>
              <a:gd name="connsiteY448" fmla="*/ 304193 h 800100"/>
              <a:gd name="connsiteX449" fmla="*/ 1003300 w 2114552"/>
              <a:gd name="connsiteY449" fmla="*/ 308350 h 800100"/>
              <a:gd name="connsiteX450" fmla="*/ 1003300 w 2114552"/>
              <a:gd name="connsiteY450" fmla="*/ 341601 h 800100"/>
              <a:gd name="connsiteX451" fmla="*/ 994979 w 2114552"/>
              <a:gd name="connsiteY451" fmla="*/ 349913 h 800100"/>
              <a:gd name="connsiteX452" fmla="*/ 932574 w 2114552"/>
              <a:gd name="connsiteY452" fmla="*/ 374852 h 800100"/>
              <a:gd name="connsiteX453" fmla="*/ 932574 w 2114552"/>
              <a:gd name="connsiteY453" fmla="*/ 520324 h 800100"/>
              <a:gd name="connsiteX454" fmla="*/ 924254 w 2114552"/>
              <a:gd name="connsiteY454" fmla="*/ 528637 h 800100"/>
              <a:gd name="connsiteX455" fmla="*/ 890971 w 2114552"/>
              <a:gd name="connsiteY455" fmla="*/ 528637 h 800100"/>
              <a:gd name="connsiteX456" fmla="*/ 882650 w 2114552"/>
              <a:gd name="connsiteY456" fmla="*/ 520324 h 800100"/>
              <a:gd name="connsiteX457" fmla="*/ 882650 w 2114552"/>
              <a:gd name="connsiteY457" fmla="*/ 312506 h 800100"/>
              <a:gd name="connsiteX458" fmla="*/ 890971 w 2114552"/>
              <a:gd name="connsiteY458" fmla="*/ 304193 h 800100"/>
              <a:gd name="connsiteX459" fmla="*/ 924254 w 2114552"/>
              <a:gd name="connsiteY459" fmla="*/ 304193 h 800100"/>
              <a:gd name="connsiteX460" fmla="*/ 932574 w 2114552"/>
              <a:gd name="connsiteY460" fmla="*/ 312506 h 800100"/>
              <a:gd name="connsiteX461" fmla="*/ 932574 w 2114552"/>
              <a:gd name="connsiteY461" fmla="*/ 324975 h 800100"/>
              <a:gd name="connsiteX462" fmla="*/ 994979 w 2114552"/>
              <a:gd name="connsiteY462" fmla="*/ 300037 h 800100"/>
              <a:gd name="connsiteX463" fmla="*/ 750816 w 2114552"/>
              <a:gd name="connsiteY463" fmla="*/ 295274 h 800100"/>
              <a:gd name="connsiteX464" fmla="*/ 825501 w 2114552"/>
              <a:gd name="connsiteY464" fmla="*/ 374649 h 800100"/>
              <a:gd name="connsiteX465" fmla="*/ 825501 w 2114552"/>
              <a:gd name="connsiteY465" fmla="*/ 525044 h 800100"/>
              <a:gd name="connsiteX466" fmla="*/ 825501 w 2114552"/>
              <a:gd name="connsiteY466" fmla="*/ 529221 h 800100"/>
              <a:gd name="connsiteX467" fmla="*/ 817203 w 2114552"/>
              <a:gd name="connsiteY467" fmla="*/ 533399 h 800100"/>
              <a:gd name="connsiteX468" fmla="*/ 784010 w 2114552"/>
              <a:gd name="connsiteY468" fmla="*/ 516688 h 800100"/>
              <a:gd name="connsiteX469" fmla="*/ 709325 w 2114552"/>
              <a:gd name="connsiteY469" fmla="*/ 533399 h 800100"/>
              <a:gd name="connsiteX470" fmla="*/ 642938 w 2114552"/>
              <a:gd name="connsiteY470" fmla="*/ 462379 h 800100"/>
              <a:gd name="connsiteX471" fmla="*/ 717623 w 2114552"/>
              <a:gd name="connsiteY471" fmla="*/ 391360 h 800100"/>
              <a:gd name="connsiteX472" fmla="*/ 775711 w 2114552"/>
              <a:gd name="connsiteY472" fmla="*/ 387182 h 800100"/>
              <a:gd name="connsiteX473" fmla="*/ 775711 w 2114552"/>
              <a:gd name="connsiteY473" fmla="*/ 374649 h 800100"/>
              <a:gd name="connsiteX474" fmla="*/ 746667 w 2114552"/>
              <a:gd name="connsiteY474" fmla="*/ 345406 h 800100"/>
              <a:gd name="connsiteX475" fmla="*/ 667833 w 2114552"/>
              <a:gd name="connsiteY475" fmla="*/ 349583 h 800100"/>
              <a:gd name="connsiteX476" fmla="*/ 663684 w 2114552"/>
              <a:gd name="connsiteY476" fmla="*/ 349583 h 800100"/>
              <a:gd name="connsiteX477" fmla="*/ 659535 w 2114552"/>
              <a:gd name="connsiteY477" fmla="*/ 341228 h 800100"/>
              <a:gd name="connsiteX478" fmla="*/ 659535 w 2114552"/>
              <a:gd name="connsiteY478" fmla="*/ 311985 h 800100"/>
              <a:gd name="connsiteX479" fmla="*/ 667833 w 2114552"/>
              <a:gd name="connsiteY479" fmla="*/ 303629 h 800100"/>
              <a:gd name="connsiteX480" fmla="*/ 750816 w 2114552"/>
              <a:gd name="connsiteY480" fmla="*/ 295274 h 800100"/>
              <a:gd name="connsiteX481" fmla="*/ 354013 w 2114552"/>
              <a:gd name="connsiteY481" fmla="*/ 295273 h 800100"/>
              <a:gd name="connsiteX482" fmla="*/ 455613 w 2114552"/>
              <a:gd name="connsiteY482" fmla="*/ 414336 h 800100"/>
              <a:gd name="connsiteX483" fmla="*/ 354013 w 2114552"/>
              <a:gd name="connsiteY483" fmla="*/ 533399 h 800100"/>
              <a:gd name="connsiteX484" fmla="*/ 252413 w 2114552"/>
              <a:gd name="connsiteY484" fmla="*/ 414336 h 800100"/>
              <a:gd name="connsiteX485" fmla="*/ 354013 w 2114552"/>
              <a:gd name="connsiteY485" fmla="*/ 295273 h 800100"/>
              <a:gd name="connsiteX486" fmla="*/ 53975 w 2114552"/>
              <a:gd name="connsiteY486" fmla="*/ 266699 h 800100"/>
              <a:gd name="connsiteX487" fmla="*/ 53975 w 2114552"/>
              <a:gd name="connsiteY487" fmla="*/ 358774 h 800100"/>
              <a:gd name="connsiteX488" fmla="*/ 107480 w 2114552"/>
              <a:gd name="connsiteY488" fmla="*/ 358774 h 800100"/>
              <a:gd name="connsiteX489" fmla="*/ 165100 w 2114552"/>
              <a:gd name="connsiteY489" fmla="*/ 312737 h 800100"/>
              <a:gd name="connsiteX490" fmla="*/ 111595 w 2114552"/>
              <a:gd name="connsiteY490" fmla="*/ 266699 h 800100"/>
              <a:gd name="connsiteX491" fmla="*/ 91017 w 2114552"/>
              <a:gd name="connsiteY491" fmla="*/ 266699 h 800100"/>
              <a:gd name="connsiteX492" fmla="*/ 53975 w 2114552"/>
              <a:gd name="connsiteY492" fmla="*/ 266699 h 800100"/>
              <a:gd name="connsiteX493" fmla="*/ 546894 w 2114552"/>
              <a:gd name="connsiteY493" fmla="*/ 250824 h 800100"/>
              <a:gd name="connsiteX494" fmla="*/ 551050 w 2114552"/>
              <a:gd name="connsiteY494" fmla="*/ 250824 h 800100"/>
              <a:gd name="connsiteX495" fmla="*/ 555205 w 2114552"/>
              <a:gd name="connsiteY495" fmla="*/ 259135 h 800100"/>
              <a:gd name="connsiteX496" fmla="*/ 555205 w 2114552"/>
              <a:gd name="connsiteY496" fmla="*/ 304846 h 800100"/>
              <a:gd name="connsiteX497" fmla="*/ 609227 w 2114552"/>
              <a:gd name="connsiteY497" fmla="*/ 304846 h 800100"/>
              <a:gd name="connsiteX498" fmla="*/ 617538 w 2114552"/>
              <a:gd name="connsiteY498" fmla="*/ 313157 h 800100"/>
              <a:gd name="connsiteX499" fmla="*/ 617538 w 2114552"/>
              <a:gd name="connsiteY499" fmla="*/ 342245 h 800100"/>
              <a:gd name="connsiteX500" fmla="*/ 609227 w 2114552"/>
              <a:gd name="connsiteY500" fmla="*/ 350556 h 800100"/>
              <a:gd name="connsiteX501" fmla="*/ 555205 w 2114552"/>
              <a:gd name="connsiteY501" fmla="*/ 350556 h 800100"/>
              <a:gd name="connsiteX502" fmla="*/ 555205 w 2114552"/>
              <a:gd name="connsiteY502" fmla="*/ 441978 h 800100"/>
              <a:gd name="connsiteX503" fmla="*/ 580138 w 2114552"/>
              <a:gd name="connsiteY503" fmla="*/ 483533 h 800100"/>
              <a:gd name="connsiteX504" fmla="*/ 609227 w 2114552"/>
              <a:gd name="connsiteY504" fmla="*/ 483533 h 800100"/>
              <a:gd name="connsiteX505" fmla="*/ 617538 w 2114552"/>
              <a:gd name="connsiteY505" fmla="*/ 491844 h 800100"/>
              <a:gd name="connsiteX506" fmla="*/ 617538 w 2114552"/>
              <a:gd name="connsiteY506" fmla="*/ 520932 h 800100"/>
              <a:gd name="connsiteX507" fmla="*/ 609227 w 2114552"/>
              <a:gd name="connsiteY507" fmla="*/ 529244 h 800100"/>
              <a:gd name="connsiteX508" fmla="*/ 571827 w 2114552"/>
              <a:gd name="connsiteY508" fmla="*/ 533399 h 800100"/>
              <a:gd name="connsiteX509" fmla="*/ 505339 w 2114552"/>
              <a:gd name="connsiteY509" fmla="*/ 450289 h 800100"/>
              <a:gd name="connsiteX510" fmla="*/ 505339 w 2114552"/>
              <a:gd name="connsiteY510" fmla="*/ 350556 h 800100"/>
              <a:gd name="connsiteX511" fmla="*/ 484561 w 2114552"/>
              <a:gd name="connsiteY511" fmla="*/ 350556 h 800100"/>
              <a:gd name="connsiteX512" fmla="*/ 476250 w 2114552"/>
              <a:gd name="connsiteY512" fmla="*/ 342245 h 800100"/>
              <a:gd name="connsiteX513" fmla="*/ 476250 w 2114552"/>
              <a:gd name="connsiteY513" fmla="*/ 313157 h 800100"/>
              <a:gd name="connsiteX514" fmla="*/ 484561 w 2114552"/>
              <a:gd name="connsiteY514" fmla="*/ 304846 h 800100"/>
              <a:gd name="connsiteX515" fmla="*/ 505339 w 2114552"/>
              <a:gd name="connsiteY515" fmla="*/ 304846 h 800100"/>
              <a:gd name="connsiteX516" fmla="*/ 505339 w 2114552"/>
              <a:gd name="connsiteY516" fmla="*/ 267446 h 800100"/>
              <a:gd name="connsiteX517" fmla="*/ 509494 w 2114552"/>
              <a:gd name="connsiteY517" fmla="*/ 259135 h 800100"/>
              <a:gd name="connsiteX518" fmla="*/ 546894 w 2114552"/>
              <a:gd name="connsiteY518" fmla="*/ 250824 h 800100"/>
              <a:gd name="connsiteX519" fmla="*/ 103337 w 2114552"/>
              <a:gd name="connsiteY519" fmla="*/ 217487 h 800100"/>
              <a:gd name="connsiteX520" fmla="*/ 111604 w 2114552"/>
              <a:gd name="connsiteY520" fmla="*/ 217487 h 800100"/>
              <a:gd name="connsiteX521" fmla="*/ 219075 w 2114552"/>
              <a:gd name="connsiteY521" fmla="*/ 312906 h 800100"/>
              <a:gd name="connsiteX522" fmla="*/ 165340 w 2114552"/>
              <a:gd name="connsiteY522" fmla="*/ 391731 h 800100"/>
              <a:gd name="connsiteX523" fmla="*/ 219075 w 2114552"/>
              <a:gd name="connsiteY523" fmla="*/ 516191 h 800100"/>
              <a:gd name="connsiteX524" fmla="*/ 219075 w 2114552"/>
              <a:gd name="connsiteY524" fmla="*/ 524488 h 800100"/>
              <a:gd name="connsiteX525" fmla="*/ 210808 w 2114552"/>
              <a:gd name="connsiteY525" fmla="*/ 528637 h 800100"/>
              <a:gd name="connsiteX526" fmla="*/ 173607 w 2114552"/>
              <a:gd name="connsiteY526" fmla="*/ 528637 h 800100"/>
              <a:gd name="connsiteX527" fmla="*/ 165340 w 2114552"/>
              <a:gd name="connsiteY527" fmla="*/ 524488 h 800100"/>
              <a:gd name="connsiteX528" fmla="*/ 111604 w 2114552"/>
              <a:gd name="connsiteY528" fmla="*/ 408326 h 800100"/>
              <a:gd name="connsiteX529" fmla="*/ 53736 w 2114552"/>
              <a:gd name="connsiteY529" fmla="*/ 404177 h 800100"/>
              <a:gd name="connsiteX530" fmla="*/ 53736 w 2114552"/>
              <a:gd name="connsiteY530" fmla="*/ 520340 h 800100"/>
              <a:gd name="connsiteX531" fmla="*/ 45469 w 2114552"/>
              <a:gd name="connsiteY531" fmla="*/ 528637 h 800100"/>
              <a:gd name="connsiteX532" fmla="*/ 8267 w 2114552"/>
              <a:gd name="connsiteY532" fmla="*/ 528637 h 800100"/>
              <a:gd name="connsiteX533" fmla="*/ 0 w 2114552"/>
              <a:gd name="connsiteY533" fmla="*/ 520340 h 800100"/>
              <a:gd name="connsiteX534" fmla="*/ 0 w 2114552"/>
              <a:gd name="connsiteY534" fmla="*/ 229933 h 800100"/>
              <a:gd name="connsiteX535" fmla="*/ 8267 w 2114552"/>
              <a:gd name="connsiteY535" fmla="*/ 221636 h 800100"/>
              <a:gd name="connsiteX536" fmla="*/ 103337 w 2114552"/>
              <a:gd name="connsiteY536" fmla="*/ 217487 h 800100"/>
              <a:gd name="connsiteX537" fmla="*/ 1941299 w 2114552"/>
              <a:gd name="connsiteY537" fmla="*/ 180951 h 800100"/>
              <a:gd name="connsiteX538" fmla="*/ 1936665 w 2114552"/>
              <a:gd name="connsiteY538" fmla="*/ 183555 h 800100"/>
              <a:gd name="connsiteX539" fmla="*/ 1903714 w 2114552"/>
              <a:gd name="connsiteY539" fmla="*/ 221060 h 800100"/>
              <a:gd name="connsiteX540" fmla="*/ 1903714 w 2114552"/>
              <a:gd name="connsiteY540" fmla="*/ 237729 h 800100"/>
              <a:gd name="connsiteX541" fmla="*/ 1957260 w 2114552"/>
              <a:gd name="connsiteY541" fmla="*/ 450256 h 800100"/>
              <a:gd name="connsiteX542" fmla="*/ 1965498 w 2114552"/>
              <a:gd name="connsiteY542" fmla="*/ 462757 h 800100"/>
              <a:gd name="connsiteX543" fmla="*/ 2010806 w 2114552"/>
              <a:gd name="connsiteY543" fmla="*/ 475259 h 800100"/>
              <a:gd name="connsiteX544" fmla="*/ 2023163 w 2114552"/>
              <a:gd name="connsiteY544" fmla="*/ 471092 h 800100"/>
              <a:gd name="connsiteX545" fmla="*/ 1949022 w 2114552"/>
              <a:gd name="connsiteY545" fmla="*/ 187722 h 800100"/>
              <a:gd name="connsiteX546" fmla="*/ 1941299 w 2114552"/>
              <a:gd name="connsiteY546" fmla="*/ 180951 h 800100"/>
              <a:gd name="connsiteX547" fmla="*/ 1491989 w 2114552"/>
              <a:gd name="connsiteY547" fmla="*/ 180951 h 800100"/>
              <a:gd name="connsiteX548" fmla="*/ 1484185 w 2114552"/>
              <a:gd name="connsiteY548" fmla="*/ 187722 h 800100"/>
              <a:gd name="connsiteX549" fmla="*/ 1409272 w 2114552"/>
              <a:gd name="connsiteY549" fmla="*/ 471092 h 800100"/>
              <a:gd name="connsiteX550" fmla="*/ 1421758 w 2114552"/>
              <a:gd name="connsiteY550" fmla="*/ 475259 h 800100"/>
              <a:gd name="connsiteX551" fmla="*/ 1467538 w 2114552"/>
              <a:gd name="connsiteY551" fmla="*/ 462757 h 800100"/>
              <a:gd name="connsiteX552" fmla="*/ 1475862 w 2114552"/>
              <a:gd name="connsiteY552" fmla="*/ 450256 h 800100"/>
              <a:gd name="connsiteX553" fmla="*/ 1529965 w 2114552"/>
              <a:gd name="connsiteY553" fmla="*/ 237729 h 800100"/>
              <a:gd name="connsiteX554" fmla="*/ 1534127 w 2114552"/>
              <a:gd name="connsiteY554" fmla="*/ 221060 h 800100"/>
              <a:gd name="connsiteX555" fmla="*/ 1496671 w 2114552"/>
              <a:gd name="connsiteY555" fmla="*/ 183555 h 800100"/>
              <a:gd name="connsiteX556" fmla="*/ 1491989 w 2114552"/>
              <a:gd name="connsiteY556" fmla="*/ 180951 h 800100"/>
              <a:gd name="connsiteX557" fmla="*/ 1750379 w 2114552"/>
              <a:gd name="connsiteY557" fmla="*/ 174625 h 800100"/>
              <a:gd name="connsiteX558" fmla="*/ 1746251 w 2114552"/>
              <a:gd name="connsiteY558" fmla="*/ 187144 h 800100"/>
              <a:gd name="connsiteX559" fmla="*/ 1754506 w 2114552"/>
              <a:gd name="connsiteY559" fmla="*/ 308156 h 800100"/>
              <a:gd name="connsiteX560" fmla="*/ 1762761 w 2114552"/>
              <a:gd name="connsiteY560" fmla="*/ 320675 h 800100"/>
              <a:gd name="connsiteX561" fmla="*/ 1775144 w 2114552"/>
              <a:gd name="connsiteY561" fmla="*/ 320675 h 800100"/>
              <a:gd name="connsiteX562" fmla="*/ 1882459 w 2114552"/>
              <a:gd name="connsiteY562" fmla="*/ 266428 h 800100"/>
              <a:gd name="connsiteX563" fmla="*/ 1890714 w 2114552"/>
              <a:gd name="connsiteY563" fmla="*/ 258082 h 800100"/>
              <a:gd name="connsiteX564" fmla="*/ 1886587 w 2114552"/>
              <a:gd name="connsiteY564" fmla="*/ 249736 h 800100"/>
              <a:gd name="connsiteX565" fmla="*/ 1758634 w 2114552"/>
              <a:gd name="connsiteY565" fmla="*/ 174625 h 800100"/>
              <a:gd name="connsiteX566" fmla="*/ 1750379 w 2114552"/>
              <a:gd name="connsiteY566" fmla="*/ 174625 h 800100"/>
              <a:gd name="connsiteX567" fmla="*/ 1675132 w 2114552"/>
              <a:gd name="connsiteY567" fmla="*/ 174625 h 800100"/>
              <a:gd name="connsiteX568" fmla="*/ 1547179 w 2114552"/>
              <a:gd name="connsiteY568" fmla="*/ 249736 h 800100"/>
              <a:gd name="connsiteX569" fmla="*/ 1543051 w 2114552"/>
              <a:gd name="connsiteY569" fmla="*/ 258082 h 800100"/>
              <a:gd name="connsiteX570" fmla="*/ 1551306 w 2114552"/>
              <a:gd name="connsiteY570" fmla="*/ 266428 h 800100"/>
              <a:gd name="connsiteX571" fmla="*/ 1658622 w 2114552"/>
              <a:gd name="connsiteY571" fmla="*/ 320675 h 800100"/>
              <a:gd name="connsiteX572" fmla="*/ 1671004 w 2114552"/>
              <a:gd name="connsiteY572" fmla="*/ 320675 h 800100"/>
              <a:gd name="connsiteX573" fmla="*/ 1675132 w 2114552"/>
              <a:gd name="connsiteY573" fmla="*/ 312329 h 800100"/>
              <a:gd name="connsiteX574" fmla="*/ 1687514 w 2114552"/>
              <a:gd name="connsiteY574" fmla="*/ 187144 h 800100"/>
              <a:gd name="connsiteX575" fmla="*/ 1683387 w 2114552"/>
              <a:gd name="connsiteY575" fmla="*/ 174625 h 800100"/>
              <a:gd name="connsiteX576" fmla="*/ 1675132 w 2114552"/>
              <a:gd name="connsiteY576" fmla="*/ 174625 h 800100"/>
              <a:gd name="connsiteX577" fmla="*/ 1579247 w 2114552"/>
              <a:gd name="connsiteY577" fmla="*/ 133350 h 800100"/>
              <a:gd name="connsiteX578" fmla="*/ 1566864 w 2114552"/>
              <a:gd name="connsiteY578" fmla="*/ 142082 h 800100"/>
              <a:gd name="connsiteX579" fmla="*/ 1570992 w 2114552"/>
              <a:gd name="connsiteY579" fmla="*/ 142082 h 800100"/>
              <a:gd name="connsiteX580" fmla="*/ 1575119 w 2114552"/>
              <a:gd name="connsiteY580" fmla="*/ 150813 h 800100"/>
              <a:gd name="connsiteX581" fmla="*/ 1583375 w 2114552"/>
              <a:gd name="connsiteY581" fmla="*/ 146447 h 800100"/>
              <a:gd name="connsiteX582" fmla="*/ 1587502 w 2114552"/>
              <a:gd name="connsiteY582" fmla="*/ 142082 h 800100"/>
              <a:gd name="connsiteX583" fmla="*/ 1579247 w 2114552"/>
              <a:gd name="connsiteY583" fmla="*/ 133350 h 800100"/>
              <a:gd name="connsiteX584" fmla="*/ 1575142 w 2114552"/>
              <a:gd name="connsiteY584" fmla="*/ 124846 h 800100"/>
              <a:gd name="connsiteX585" fmla="*/ 1596120 w 2114552"/>
              <a:gd name="connsiteY585" fmla="*/ 141628 h 800100"/>
              <a:gd name="connsiteX586" fmla="*/ 1596120 w 2114552"/>
              <a:gd name="connsiteY586" fmla="*/ 145823 h 800100"/>
              <a:gd name="connsiteX587" fmla="*/ 1612902 w 2114552"/>
              <a:gd name="connsiteY587" fmla="*/ 162606 h 800100"/>
              <a:gd name="connsiteX588" fmla="*/ 1604511 w 2114552"/>
              <a:gd name="connsiteY588" fmla="*/ 166801 h 800100"/>
              <a:gd name="connsiteX589" fmla="*/ 1587729 w 2114552"/>
              <a:gd name="connsiteY589" fmla="*/ 154215 h 800100"/>
              <a:gd name="connsiteX590" fmla="*/ 1579338 w 2114552"/>
              <a:gd name="connsiteY590" fmla="*/ 158410 h 800100"/>
              <a:gd name="connsiteX591" fmla="*/ 1587729 w 2114552"/>
              <a:gd name="connsiteY591" fmla="*/ 175192 h 800100"/>
              <a:gd name="connsiteX592" fmla="*/ 1579338 w 2114552"/>
              <a:gd name="connsiteY592" fmla="*/ 179388 h 800100"/>
              <a:gd name="connsiteX593" fmla="*/ 1558360 w 2114552"/>
              <a:gd name="connsiteY593" fmla="*/ 141628 h 800100"/>
              <a:gd name="connsiteX594" fmla="*/ 1554164 w 2114552"/>
              <a:gd name="connsiteY594" fmla="*/ 137432 h 800100"/>
              <a:gd name="connsiteX595" fmla="*/ 1575142 w 2114552"/>
              <a:gd name="connsiteY595" fmla="*/ 124846 h 800100"/>
              <a:gd name="connsiteX596" fmla="*/ 1836161 w 2114552"/>
              <a:gd name="connsiteY596" fmla="*/ 117475 h 800100"/>
              <a:gd name="connsiteX597" fmla="*/ 1844532 w 2114552"/>
              <a:gd name="connsiteY597" fmla="*/ 121557 h 800100"/>
              <a:gd name="connsiteX598" fmla="*/ 1848717 w 2114552"/>
              <a:gd name="connsiteY598" fmla="*/ 141968 h 800100"/>
              <a:gd name="connsiteX599" fmla="*/ 1869644 w 2114552"/>
              <a:gd name="connsiteY599" fmla="*/ 133804 h 800100"/>
              <a:gd name="connsiteX600" fmla="*/ 1878014 w 2114552"/>
              <a:gd name="connsiteY600" fmla="*/ 137886 h 800100"/>
              <a:gd name="connsiteX601" fmla="*/ 1848717 w 2114552"/>
              <a:gd name="connsiteY601" fmla="*/ 154214 h 800100"/>
              <a:gd name="connsiteX602" fmla="*/ 1840347 w 2114552"/>
              <a:gd name="connsiteY602" fmla="*/ 174625 h 800100"/>
              <a:gd name="connsiteX603" fmla="*/ 1831976 w 2114552"/>
              <a:gd name="connsiteY603" fmla="*/ 166461 h 800100"/>
              <a:gd name="connsiteX604" fmla="*/ 1840347 w 2114552"/>
              <a:gd name="connsiteY604" fmla="*/ 146050 h 800100"/>
              <a:gd name="connsiteX605" fmla="*/ 1836161 w 2114552"/>
              <a:gd name="connsiteY605" fmla="*/ 117475 h 800100"/>
              <a:gd name="connsiteX606" fmla="*/ 1794829 w 2114552"/>
              <a:gd name="connsiteY606" fmla="*/ 112713 h 800100"/>
              <a:gd name="connsiteX607" fmla="*/ 1790701 w 2114552"/>
              <a:gd name="connsiteY607" fmla="*/ 120651 h 800100"/>
              <a:gd name="connsiteX608" fmla="*/ 1790701 w 2114552"/>
              <a:gd name="connsiteY608" fmla="*/ 124619 h 800100"/>
              <a:gd name="connsiteX609" fmla="*/ 1803084 w 2114552"/>
              <a:gd name="connsiteY609" fmla="*/ 128588 h 800100"/>
              <a:gd name="connsiteX610" fmla="*/ 1811339 w 2114552"/>
              <a:gd name="connsiteY610" fmla="*/ 120651 h 800100"/>
              <a:gd name="connsiteX611" fmla="*/ 1807212 w 2114552"/>
              <a:gd name="connsiteY611" fmla="*/ 116682 h 800100"/>
              <a:gd name="connsiteX612" fmla="*/ 1794829 w 2114552"/>
              <a:gd name="connsiteY612" fmla="*/ 112713 h 800100"/>
              <a:gd name="connsiteX613" fmla="*/ 1637508 w 2114552"/>
              <a:gd name="connsiteY613" fmla="*/ 112117 h 800100"/>
              <a:gd name="connsiteX614" fmla="*/ 1620839 w 2114552"/>
              <a:gd name="connsiteY614" fmla="*/ 124619 h 800100"/>
              <a:gd name="connsiteX615" fmla="*/ 1620839 w 2114552"/>
              <a:gd name="connsiteY615" fmla="*/ 128786 h 800100"/>
              <a:gd name="connsiteX616" fmla="*/ 1637508 w 2114552"/>
              <a:gd name="connsiteY616" fmla="*/ 141288 h 800100"/>
              <a:gd name="connsiteX617" fmla="*/ 1654177 w 2114552"/>
              <a:gd name="connsiteY617" fmla="*/ 124619 h 800100"/>
              <a:gd name="connsiteX618" fmla="*/ 1637508 w 2114552"/>
              <a:gd name="connsiteY618" fmla="*/ 112117 h 800100"/>
              <a:gd name="connsiteX619" fmla="*/ 1741489 w 2114552"/>
              <a:gd name="connsiteY619" fmla="*/ 104775 h 800100"/>
              <a:gd name="connsiteX620" fmla="*/ 1737520 w 2114552"/>
              <a:gd name="connsiteY620" fmla="*/ 117158 h 800100"/>
              <a:gd name="connsiteX621" fmla="*/ 1733551 w 2114552"/>
              <a:gd name="connsiteY621" fmla="*/ 125413 h 800100"/>
              <a:gd name="connsiteX622" fmla="*/ 1749426 w 2114552"/>
              <a:gd name="connsiteY622" fmla="*/ 125413 h 800100"/>
              <a:gd name="connsiteX623" fmla="*/ 1745457 w 2114552"/>
              <a:gd name="connsiteY623" fmla="*/ 117158 h 800100"/>
              <a:gd name="connsiteX624" fmla="*/ 1741489 w 2114552"/>
              <a:gd name="connsiteY624" fmla="*/ 104775 h 800100"/>
              <a:gd name="connsiteX625" fmla="*/ 1633407 w 2114552"/>
              <a:gd name="connsiteY625" fmla="*/ 104165 h 800100"/>
              <a:gd name="connsiteX626" fmla="*/ 1662114 w 2114552"/>
              <a:gd name="connsiteY626" fmla="*/ 124925 h 800100"/>
              <a:gd name="connsiteX627" fmla="*/ 1637508 w 2114552"/>
              <a:gd name="connsiteY627" fmla="*/ 149836 h 800100"/>
              <a:gd name="connsiteX628" fmla="*/ 1612901 w 2114552"/>
              <a:gd name="connsiteY628" fmla="*/ 129076 h 800100"/>
              <a:gd name="connsiteX629" fmla="*/ 1612901 w 2114552"/>
              <a:gd name="connsiteY629" fmla="*/ 124925 h 800100"/>
              <a:gd name="connsiteX630" fmla="*/ 1633407 w 2114552"/>
              <a:gd name="connsiteY630" fmla="*/ 104165 h 800100"/>
              <a:gd name="connsiteX631" fmla="*/ 1787382 w 2114552"/>
              <a:gd name="connsiteY631" fmla="*/ 100013 h 800100"/>
              <a:gd name="connsiteX632" fmla="*/ 1812494 w 2114552"/>
              <a:gd name="connsiteY632" fmla="*/ 108404 h 800100"/>
              <a:gd name="connsiteX633" fmla="*/ 1820864 w 2114552"/>
              <a:gd name="connsiteY633" fmla="*/ 120991 h 800100"/>
              <a:gd name="connsiteX634" fmla="*/ 1808308 w 2114552"/>
              <a:gd name="connsiteY634" fmla="*/ 137773 h 800100"/>
              <a:gd name="connsiteX635" fmla="*/ 1812494 w 2114552"/>
              <a:gd name="connsiteY635" fmla="*/ 158751 h 800100"/>
              <a:gd name="connsiteX636" fmla="*/ 1804123 w 2114552"/>
              <a:gd name="connsiteY636" fmla="*/ 154555 h 800100"/>
              <a:gd name="connsiteX637" fmla="*/ 1799938 w 2114552"/>
              <a:gd name="connsiteY637" fmla="*/ 133578 h 800100"/>
              <a:gd name="connsiteX638" fmla="*/ 1791567 w 2114552"/>
              <a:gd name="connsiteY638" fmla="*/ 133578 h 800100"/>
              <a:gd name="connsiteX639" fmla="*/ 1787382 w 2114552"/>
              <a:gd name="connsiteY639" fmla="*/ 150360 h 800100"/>
              <a:gd name="connsiteX640" fmla="*/ 1774826 w 2114552"/>
              <a:gd name="connsiteY640" fmla="*/ 146164 h 800100"/>
              <a:gd name="connsiteX641" fmla="*/ 1783197 w 2114552"/>
              <a:gd name="connsiteY641" fmla="*/ 120991 h 800100"/>
              <a:gd name="connsiteX642" fmla="*/ 1787382 w 2114552"/>
              <a:gd name="connsiteY642" fmla="*/ 100013 h 800100"/>
              <a:gd name="connsiteX643" fmla="*/ 1737015 w 2114552"/>
              <a:gd name="connsiteY643" fmla="*/ 92075 h 800100"/>
              <a:gd name="connsiteX644" fmla="*/ 1749571 w 2114552"/>
              <a:gd name="connsiteY644" fmla="*/ 92075 h 800100"/>
              <a:gd name="connsiteX645" fmla="*/ 1753757 w 2114552"/>
              <a:gd name="connsiteY645" fmla="*/ 116987 h 800100"/>
              <a:gd name="connsiteX646" fmla="*/ 1762127 w 2114552"/>
              <a:gd name="connsiteY646" fmla="*/ 146050 h 800100"/>
              <a:gd name="connsiteX647" fmla="*/ 1753757 w 2114552"/>
              <a:gd name="connsiteY647" fmla="*/ 141898 h 800100"/>
              <a:gd name="connsiteX648" fmla="*/ 1749571 w 2114552"/>
              <a:gd name="connsiteY648" fmla="*/ 133594 h 800100"/>
              <a:gd name="connsiteX649" fmla="*/ 1728645 w 2114552"/>
              <a:gd name="connsiteY649" fmla="*/ 133594 h 800100"/>
              <a:gd name="connsiteX650" fmla="*/ 1724460 w 2114552"/>
              <a:gd name="connsiteY650" fmla="*/ 141898 h 800100"/>
              <a:gd name="connsiteX651" fmla="*/ 1716089 w 2114552"/>
              <a:gd name="connsiteY651" fmla="*/ 141898 h 800100"/>
              <a:gd name="connsiteX652" fmla="*/ 1728645 w 2114552"/>
              <a:gd name="connsiteY652" fmla="*/ 116987 h 800100"/>
              <a:gd name="connsiteX653" fmla="*/ 1737015 w 2114552"/>
              <a:gd name="connsiteY653" fmla="*/ 92075 h 800100"/>
              <a:gd name="connsiteX654" fmla="*/ 1712914 w 2114552"/>
              <a:gd name="connsiteY654" fmla="*/ 92075 h 800100"/>
              <a:gd name="connsiteX655" fmla="*/ 1712914 w 2114552"/>
              <a:gd name="connsiteY655" fmla="*/ 100277 h 800100"/>
              <a:gd name="connsiteX656" fmla="*/ 1696173 w 2114552"/>
              <a:gd name="connsiteY656" fmla="*/ 100277 h 800100"/>
              <a:gd name="connsiteX657" fmla="*/ 1700358 w 2114552"/>
              <a:gd name="connsiteY657" fmla="*/ 141288 h 800100"/>
              <a:gd name="connsiteX658" fmla="*/ 1687802 w 2114552"/>
              <a:gd name="connsiteY658" fmla="*/ 141288 h 800100"/>
              <a:gd name="connsiteX659" fmla="*/ 1683617 w 2114552"/>
              <a:gd name="connsiteY659" fmla="*/ 100277 h 800100"/>
              <a:gd name="connsiteX660" fmla="*/ 1666876 w 2114552"/>
              <a:gd name="connsiteY660" fmla="*/ 104378 h 800100"/>
              <a:gd name="connsiteX661" fmla="*/ 1666876 w 2114552"/>
              <a:gd name="connsiteY661" fmla="*/ 96176 h 800100"/>
              <a:gd name="connsiteX662" fmla="*/ 1712914 w 2114552"/>
              <a:gd name="connsiteY662" fmla="*/ 92075 h 800100"/>
              <a:gd name="connsiteX663" fmla="*/ 1181630 w 2114552"/>
              <a:gd name="connsiteY663" fmla="*/ 92074 h 800100"/>
              <a:gd name="connsiteX664" fmla="*/ 1147763 w 2114552"/>
              <a:gd name="connsiteY664" fmla="*/ 133349 h 800100"/>
              <a:gd name="connsiteX665" fmla="*/ 1211263 w 2114552"/>
              <a:gd name="connsiteY665" fmla="*/ 133349 h 800100"/>
              <a:gd name="connsiteX666" fmla="*/ 1181630 w 2114552"/>
              <a:gd name="connsiteY666" fmla="*/ 92074 h 800100"/>
              <a:gd name="connsiteX667" fmla="*/ 1716089 w 2114552"/>
              <a:gd name="connsiteY667" fmla="*/ 84138 h 800100"/>
              <a:gd name="connsiteX668" fmla="*/ 1521183 w 2114552"/>
              <a:gd name="connsiteY668" fmla="*/ 150178 h 800100"/>
              <a:gd name="connsiteX669" fmla="*/ 1517036 w 2114552"/>
              <a:gd name="connsiteY669" fmla="*/ 166688 h 800100"/>
              <a:gd name="connsiteX670" fmla="*/ 1550212 w 2114552"/>
              <a:gd name="connsiteY670" fmla="*/ 203836 h 800100"/>
              <a:gd name="connsiteX671" fmla="*/ 1566799 w 2114552"/>
              <a:gd name="connsiteY671" fmla="*/ 203836 h 800100"/>
              <a:gd name="connsiteX672" fmla="*/ 1716089 w 2114552"/>
              <a:gd name="connsiteY672" fmla="*/ 150178 h 800100"/>
              <a:gd name="connsiteX673" fmla="*/ 1865379 w 2114552"/>
              <a:gd name="connsiteY673" fmla="*/ 203836 h 800100"/>
              <a:gd name="connsiteX674" fmla="*/ 1881967 w 2114552"/>
              <a:gd name="connsiteY674" fmla="*/ 203836 h 800100"/>
              <a:gd name="connsiteX675" fmla="*/ 1915142 w 2114552"/>
              <a:gd name="connsiteY675" fmla="*/ 166688 h 800100"/>
              <a:gd name="connsiteX676" fmla="*/ 1910995 w 2114552"/>
              <a:gd name="connsiteY676" fmla="*/ 150178 h 800100"/>
              <a:gd name="connsiteX677" fmla="*/ 1716089 w 2114552"/>
              <a:gd name="connsiteY677" fmla="*/ 84138 h 800100"/>
              <a:gd name="connsiteX678" fmla="*/ 1181894 w 2114552"/>
              <a:gd name="connsiteY678" fmla="*/ 84137 h 800100"/>
              <a:gd name="connsiteX679" fmla="*/ 1227138 w 2114552"/>
              <a:gd name="connsiteY679" fmla="*/ 137942 h 800100"/>
              <a:gd name="connsiteX680" fmla="*/ 1227138 w 2114552"/>
              <a:gd name="connsiteY680" fmla="*/ 146220 h 800100"/>
              <a:gd name="connsiteX681" fmla="*/ 1148989 w 2114552"/>
              <a:gd name="connsiteY681" fmla="*/ 146220 h 800100"/>
              <a:gd name="connsiteX682" fmla="*/ 1186007 w 2114552"/>
              <a:gd name="connsiteY682" fmla="*/ 187608 h 800100"/>
              <a:gd name="connsiteX683" fmla="*/ 1218912 w 2114552"/>
              <a:gd name="connsiteY683" fmla="*/ 179331 h 800100"/>
              <a:gd name="connsiteX684" fmla="*/ 1218912 w 2114552"/>
              <a:gd name="connsiteY684" fmla="*/ 191747 h 800100"/>
              <a:gd name="connsiteX685" fmla="*/ 1186007 w 2114552"/>
              <a:gd name="connsiteY685" fmla="*/ 200025 h 800100"/>
              <a:gd name="connsiteX686" fmla="*/ 1136650 w 2114552"/>
              <a:gd name="connsiteY686" fmla="*/ 142081 h 800100"/>
              <a:gd name="connsiteX687" fmla="*/ 1181894 w 2114552"/>
              <a:gd name="connsiteY687" fmla="*/ 84137 h 800100"/>
              <a:gd name="connsiteX688" fmla="*/ 887413 w 2114552"/>
              <a:gd name="connsiteY688" fmla="*/ 41274 h 800100"/>
              <a:gd name="connsiteX689" fmla="*/ 995363 w 2114552"/>
              <a:gd name="connsiteY689" fmla="*/ 41274 h 800100"/>
              <a:gd name="connsiteX690" fmla="*/ 995363 w 2114552"/>
              <a:gd name="connsiteY690" fmla="*/ 53974 h 800100"/>
              <a:gd name="connsiteX691" fmla="*/ 949326 w 2114552"/>
              <a:gd name="connsiteY691" fmla="*/ 53974 h 800100"/>
              <a:gd name="connsiteX692" fmla="*/ 949326 w 2114552"/>
              <a:gd name="connsiteY692" fmla="*/ 195262 h 800100"/>
              <a:gd name="connsiteX693" fmla="*/ 933451 w 2114552"/>
              <a:gd name="connsiteY693" fmla="*/ 195262 h 800100"/>
              <a:gd name="connsiteX694" fmla="*/ 933451 w 2114552"/>
              <a:gd name="connsiteY694" fmla="*/ 53974 h 800100"/>
              <a:gd name="connsiteX695" fmla="*/ 887413 w 2114552"/>
              <a:gd name="connsiteY695" fmla="*/ 53974 h 800100"/>
              <a:gd name="connsiteX696" fmla="*/ 1020763 w 2114552"/>
              <a:gd name="connsiteY696" fmla="*/ 28574 h 800100"/>
              <a:gd name="connsiteX697" fmla="*/ 1033010 w 2114552"/>
              <a:gd name="connsiteY697" fmla="*/ 28574 h 800100"/>
              <a:gd name="connsiteX698" fmla="*/ 1033010 w 2114552"/>
              <a:gd name="connsiteY698" fmla="*/ 103584 h 800100"/>
              <a:gd name="connsiteX699" fmla="*/ 1069749 w 2114552"/>
              <a:gd name="connsiteY699" fmla="*/ 82748 h 800100"/>
              <a:gd name="connsiteX700" fmla="*/ 1106488 w 2114552"/>
              <a:gd name="connsiteY700" fmla="*/ 128587 h 800100"/>
              <a:gd name="connsiteX701" fmla="*/ 1106488 w 2114552"/>
              <a:gd name="connsiteY701" fmla="*/ 195262 h 800100"/>
              <a:gd name="connsiteX702" fmla="*/ 1090160 w 2114552"/>
              <a:gd name="connsiteY702" fmla="*/ 195262 h 800100"/>
              <a:gd name="connsiteX703" fmla="*/ 1090160 w 2114552"/>
              <a:gd name="connsiteY703" fmla="*/ 128587 h 800100"/>
              <a:gd name="connsiteX704" fmla="*/ 1065667 w 2114552"/>
              <a:gd name="connsiteY704" fmla="*/ 91082 h 800100"/>
              <a:gd name="connsiteX705" fmla="*/ 1033010 w 2114552"/>
              <a:gd name="connsiteY705" fmla="*/ 136921 h 800100"/>
              <a:gd name="connsiteX706" fmla="*/ 1033010 w 2114552"/>
              <a:gd name="connsiteY706" fmla="*/ 195262 h 800100"/>
              <a:gd name="connsiteX707" fmla="*/ 1020763 w 2114552"/>
              <a:gd name="connsiteY707" fmla="*/ 195262 h 800100"/>
              <a:gd name="connsiteX708" fmla="*/ 1704456 w 2114552"/>
              <a:gd name="connsiteY708" fmla="*/ 0 h 800100"/>
              <a:gd name="connsiteX709" fmla="*/ 1729310 w 2114552"/>
              <a:gd name="connsiteY709" fmla="*/ 0 h 800100"/>
              <a:gd name="connsiteX710" fmla="*/ 1745880 w 2114552"/>
              <a:gd name="connsiteY710" fmla="*/ 62461 h 800100"/>
              <a:gd name="connsiteX711" fmla="*/ 1774877 w 2114552"/>
              <a:gd name="connsiteY711" fmla="*/ 66625 h 800100"/>
              <a:gd name="connsiteX712" fmla="*/ 1803873 w 2114552"/>
              <a:gd name="connsiteY712" fmla="*/ 12492 h 800100"/>
              <a:gd name="connsiteX713" fmla="*/ 1808016 w 2114552"/>
              <a:gd name="connsiteY713" fmla="*/ 12492 h 800100"/>
              <a:gd name="connsiteX714" fmla="*/ 1832870 w 2114552"/>
              <a:gd name="connsiteY714" fmla="*/ 16656 h 800100"/>
              <a:gd name="connsiteX715" fmla="*/ 1832870 w 2114552"/>
              <a:gd name="connsiteY715" fmla="*/ 20820 h 800100"/>
              <a:gd name="connsiteX716" fmla="*/ 1837012 w 2114552"/>
              <a:gd name="connsiteY716" fmla="*/ 49969 h 800100"/>
              <a:gd name="connsiteX717" fmla="*/ 1832870 w 2114552"/>
              <a:gd name="connsiteY717" fmla="*/ 83282 h 800100"/>
              <a:gd name="connsiteX718" fmla="*/ 1857724 w 2114552"/>
              <a:gd name="connsiteY718" fmla="*/ 91610 h 800100"/>
              <a:gd name="connsiteX719" fmla="*/ 1903291 w 2114552"/>
              <a:gd name="connsiteY719" fmla="*/ 49969 h 800100"/>
              <a:gd name="connsiteX720" fmla="*/ 1928145 w 2114552"/>
              <a:gd name="connsiteY720" fmla="*/ 62461 h 800100"/>
              <a:gd name="connsiteX721" fmla="*/ 1911575 w 2114552"/>
              <a:gd name="connsiteY721" fmla="*/ 124922 h 800100"/>
              <a:gd name="connsiteX722" fmla="*/ 1932287 w 2114552"/>
              <a:gd name="connsiteY722" fmla="*/ 141579 h 800100"/>
              <a:gd name="connsiteX723" fmla="*/ 1986138 w 2114552"/>
              <a:gd name="connsiteY723" fmla="*/ 108266 h 800100"/>
              <a:gd name="connsiteX724" fmla="*/ 2006850 w 2114552"/>
              <a:gd name="connsiteY724" fmla="*/ 129086 h 800100"/>
              <a:gd name="connsiteX725" fmla="*/ 1973711 w 2114552"/>
              <a:gd name="connsiteY725" fmla="*/ 183219 h 800100"/>
              <a:gd name="connsiteX726" fmla="*/ 1990281 w 2114552"/>
              <a:gd name="connsiteY726" fmla="*/ 204040 h 800100"/>
              <a:gd name="connsiteX727" fmla="*/ 2052416 w 2114552"/>
              <a:gd name="connsiteY727" fmla="*/ 187383 h 800100"/>
              <a:gd name="connsiteX728" fmla="*/ 2052416 w 2114552"/>
              <a:gd name="connsiteY728" fmla="*/ 191547 h 800100"/>
              <a:gd name="connsiteX729" fmla="*/ 2064844 w 2114552"/>
              <a:gd name="connsiteY729" fmla="*/ 212368 h 800100"/>
              <a:gd name="connsiteX730" fmla="*/ 2023420 w 2114552"/>
              <a:gd name="connsiteY730" fmla="*/ 258173 h 800100"/>
              <a:gd name="connsiteX731" fmla="*/ 2031705 w 2114552"/>
              <a:gd name="connsiteY731" fmla="*/ 283157 h 800100"/>
              <a:gd name="connsiteX732" fmla="*/ 2093840 w 2114552"/>
              <a:gd name="connsiteY732" fmla="*/ 283157 h 800100"/>
              <a:gd name="connsiteX733" fmla="*/ 2102125 w 2114552"/>
              <a:gd name="connsiteY733" fmla="*/ 308141 h 800100"/>
              <a:gd name="connsiteX734" fmla="*/ 2102125 w 2114552"/>
              <a:gd name="connsiteY734" fmla="*/ 312306 h 800100"/>
              <a:gd name="connsiteX735" fmla="*/ 2048274 w 2114552"/>
              <a:gd name="connsiteY735" fmla="*/ 341454 h 800100"/>
              <a:gd name="connsiteX736" fmla="*/ 2052416 w 2114552"/>
              <a:gd name="connsiteY736" fmla="*/ 366438 h 800100"/>
              <a:gd name="connsiteX737" fmla="*/ 2110410 w 2114552"/>
              <a:gd name="connsiteY737" fmla="*/ 383095 h 800100"/>
              <a:gd name="connsiteX738" fmla="*/ 2110410 w 2114552"/>
              <a:gd name="connsiteY738" fmla="*/ 387259 h 800100"/>
              <a:gd name="connsiteX739" fmla="*/ 2114552 w 2114552"/>
              <a:gd name="connsiteY739" fmla="*/ 399751 h 800100"/>
              <a:gd name="connsiteX740" fmla="*/ 2110410 w 2114552"/>
              <a:gd name="connsiteY740" fmla="*/ 412243 h 800100"/>
              <a:gd name="connsiteX741" fmla="*/ 2052416 w 2114552"/>
              <a:gd name="connsiteY741" fmla="*/ 428900 h 800100"/>
              <a:gd name="connsiteX742" fmla="*/ 2048274 w 2114552"/>
              <a:gd name="connsiteY742" fmla="*/ 453884 h 800100"/>
              <a:gd name="connsiteX743" fmla="*/ 2102125 w 2114552"/>
              <a:gd name="connsiteY743" fmla="*/ 487197 h 800100"/>
              <a:gd name="connsiteX744" fmla="*/ 2093840 w 2114552"/>
              <a:gd name="connsiteY744" fmla="*/ 512181 h 800100"/>
              <a:gd name="connsiteX745" fmla="*/ 2093840 w 2114552"/>
              <a:gd name="connsiteY745" fmla="*/ 516345 h 800100"/>
              <a:gd name="connsiteX746" fmla="*/ 2031705 w 2114552"/>
              <a:gd name="connsiteY746" fmla="*/ 516345 h 800100"/>
              <a:gd name="connsiteX747" fmla="*/ 2023420 w 2114552"/>
              <a:gd name="connsiteY747" fmla="*/ 537165 h 800100"/>
              <a:gd name="connsiteX748" fmla="*/ 2064844 w 2114552"/>
              <a:gd name="connsiteY748" fmla="*/ 582970 h 800100"/>
              <a:gd name="connsiteX749" fmla="*/ 2064844 w 2114552"/>
              <a:gd name="connsiteY749" fmla="*/ 587134 h 800100"/>
              <a:gd name="connsiteX750" fmla="*/ 2052416 w 2114552"/>
              <a:gd name="connsiteY750" fmla="*/ 607955 h 800100"/>
              <a:gd name="connsiteX751" fmla="*/ 1990281 w 2114552"/>
              <a:gd name="connsiteY751" fmla="*/ 591298 h 800100"/>
              <a:gd name="connsiteX752" fmla="*/ 1973711 w 2114552"/>
              <a:gd name="connsiteY752" fmla="*/ 612119 h 800100"/>
              <a:gd name="connsiteX753" fmla="*/ 2006850 w 2114552"/>
              <a:gd name="connsiteY753" fmla="*/ 666252 h 800100"/>
              <a:gd name="connsiteX754" fmla="*/ 2006850 w 2114552"/>
              <a:gd name="connsiteY754" fmla="*/ 670416 h 800100"/>
              <a:gd name="connsiteX755" fmla="*/ 1986138 w 2114552"/>
              <a:gd name="connsiteY755" fmla="*/ 687072 h 800100"/>
              <a:gd name="connsiteX756" fmla="*/ 1932287 w 2114552"/>
              <a:gd name="connsiteY756" fmla="*/ 657924 h 800100"/>
              <a:gd name="connsiteX757" fmla="*/ 1911575 w 2114552"/>
              <a:gd name="connsiteY757" fmla="*/ 674580 h 800100"/>
              <a:gd name="connsiteX758" fmla="*/ 1928145 w 2114552"/>
              <a:gd name="connsiteY758" fmla="*/ 732877 h 800100"/>
              <a:gd name="connsiteX759" fmla="*/ 1928145 w 2114552"/>
              <a:gd name="connsiteY759" fmla="*/ 737041 h 800100"/>
              <a:gd name="connsiteX760" fmla="*/ 1924002 w 2114552"/>
              <a:gd name="connsiteY760" fmla="*/ 737041 h 800100"/>
              <a:gd name="connsiteX761" fmla="*/ 1903291 w 2114552"/>
              <a:gd name="connsiteY761" fmla="*/ 749533 h 800100"/>
              <a:gd name="connsiteX762" fmla="*/ 1857724 w 2114552"/>
              <a:gd name="connsiteY762" fmla="*/ 703728 h 800100"/>
              <a:gd name="connsiteX763" fmla="*/ 1832870 w 2114552"/>
              <a:gd name="connsiteY763" fmla="*/ 716221 h 800100"/>
              <a:gd name="connsiteX764" fmla="*/ 1837012 w 2114552"/>
              <a:gd name="connsiteY764" fmla="*/ 745369 h 800100"/>
              <a:gd name="connsiteX765" fmla="*/ 1832870 w 2114552"/>
              <a:gd name="connsiteY765" fmla="*/ 778682 h 800100"/>
              <a:gd name="connsiteX766" fmla="*/ 1808016 w 2114552"/>
              <a:gd name="connsiteY766" fmla="*/ 787010 h 800100"/>
              <a:gd name="connsiteX767" fmla="*/ 1803873 w 2114552"/>
              <a:gd name="connsiteY767" fmla="*/ 787010 h 800100"/>
              <a:gd name="connsiteX768" fmla="*/ 1774877 w 2114552"/>
              <a:gd name="connsiteY768" fmla="*/ 732877 h 800100"/>
              <a:gd name="connsiteX769" fmla="*/ 1750022 w 2114552"/>
              <a:gd name="connsiteY769" fmla="*/ 732877 h 800100"/>
              <a:gd name="connsiteX770" fmla="*/ 1733453 w 2114552"/>
              <a:gd name="connsiteY770" fmla="*/ 795338 h 800100"/>
              <a:gd name="connsiteX771" fmla="*/ 1729310 w 2114552"/>
              <a:gd name="connsiteY771" fmla="*/ 795338 h 800100"/>
              <a:gd name="connsiteX772" fmla="*/ 1704456 w 2114552"/>
              <a:gd name="connsiteY772" fmla="*/ 795338 h 800100"/>
              <a:gd name="connsiteX773" fmla="*/ 1687886 w 2114552"/>
              <a:gd name="connsiteY773" fmla="*/ 732877 h 800100"/>
              <a:gd name="connsiteX774" fmla="*/ 1658890 w 2114552"/>
              <a:gd name="connsiteY774" fmla="*/ 732877 h 800100"/>
              <a:gd name="connsiteX775" fmla="*/ 1629893 w 2114552"/>
              <a:gd name="connsiteY775" fmla="*/ 787010 h 800100"/>
              <a:gd name="connsiteX776" fmla="*/ 1625751 w 2114552"/>
              <a:gd name="connsiteY776" fmla="*/ 787010 h 800100"/>
              <a:gd name="connsiteX777" fmla="*/ 1600896 w 2114552"/>
              <a:gd name="connsiteY777" fmla="*/ 778682 h 800100"/>
              <a:gd name="connsiteX778" fmla="*/ 1596754 w 2114552"/>
              <a:gd name="connsiteY778" fmla="*/ 745369 h 800100"/>
              <a:gd name="connsiteX779" fmla="*/ 1600896 w 2114552"/>
              <a:gd name="connsiteY779" fmla="*/ 716221 h 800100"/>
              <a:gd name="connsiteX780" fmla="*/ 1576042 w 2114552"/>
              <a:gd name="connsiteY780" fmla="*/ 703728 h 800100"/>
              <a:gd name="connsiteX781" fmla="*/ 1534618 w 2114552"/>
              <a:gd name="connsiteY781" fmla="*/ 749533 h 800100"/>
              <a:gd name="connsiteX782" fmla="*/ 1530476 w 2114552"/>
              <a:gd name="connsiteY782" fmla="*/ 749533 h 800100"/>
              <a:gd name="connsiteX783" fmla="*/ 1509764 w 2114552"/>
              <a:gd name="connsiteY783" fmla="*/ 737041 h 800100"/>
              <a:gd name="connsiteX784" fmla="*/ 1509764 w 2114552"/>
              <a:gd name="connsiteY784" fmla="*/ 732877 h 800100"/>
              <a:gd name="connsiteX785" fmla="*/ 1522191 w 2114552"/>
              <a:gd name="connsiteY785" fmla="*/ 674580 h 800100"/>
              <a:gd name="connsiteX786" fmla="*/ 1501479 w 2114552"/>
              <a:gd name="connsiteY786" fmla="*/ 657924 h 800100"/>
              <a:gd name="connsiteX787" fmla="*/ 1447628 w 2114552"/>
              <a:gd name="connsiteY787" fmla="*/ 687072 h 800100"/>
              <a:gd name="connsiteX788" fmla="*/ 1426916 w 2114552"/>
              <a:gd name="connsiteY788" fmla="*/ 670416 h 800100"/>
              <a:gd name="connsiteX789" fmla="*/ 1460055 w 2114552"/>
              <a:gd name="connsiteY789" fmla="*/ 616283 h 800100"/>
              <a:gd name="connsiteX790" fmla="*/ 1443486 w 2114552"/>
              <a:gd name="connsiteY790" fmla="*/ 591298 h 800100"/>
              <a:gd name="connsiteX791" fmla="*/ 1381350 w 2114552"/>
              <a:gd name="connsiteY791" fmla="*/ 607955 h 800100"/>
              <a:gd name="connsiteX792" fmla="*/ 1368923 w 2114552"/>
              <a:gd name="connsiteY792" fmla="*/ 587134 h 800100"/>
              <a:gd name="connsiteX793" fmla="*/ 1368923 w 2114552"/>
              <a:gd name="connsiteY793" fmla="*/ 582970 h 800100"/>
              <a:gd name="connsiteX794" fmla="*/ 1414489 w 2114552"/>
              <a:gd name="connsiteY794" fmla="*/ 541330 h 800100"/>
              <a:gd name="connsiteX795" fmla="*/ 1402062 w 2114552"/>
              <a:gd name="connsiteY795" fmla="*/ 516345 h 800100"/>
              <a:gd name="connsiteX796" fmla="*/ 1339926 w 2114552"/>
              <a:gd name="connsiteY796" fmla="*/ 516345 h 800100"/>
              <a:gd name="connsiteX797" fmla="*/ 1331641 w 2114552"/>
              <a:gd name="connsiteY797" fmla="*/ 491361 h 800100"/>
              <a:gd name="connsiteX798" fmla="*/ 1331641 w 2114552"/>
              <a:gd name="connsiteY798" fmla="*/ 487197 h 800100"/>
              <a:gd name="connsiteX799" fmla="*/ 1385492 w 2114552"/>
              <a:gd name="connsiteY799" fmla="*/ 453884 h 800100"/>
              <a:gd name="connsiteX800" fmla="*/ 1381350 w 2114552"/>
              <a:gd name="connsiteY800" fmla="*/ 428900 h 800100"/>
              <a:gd name="connsiteX801" fmla="*/ 1323357 w 2114552"/>
              <a:gd name="connsiteY801" fmla="*/ 412243 h 800100"/>
              <a:gd name="connsiteX802" fmla="*/ 1319214 w 2114552"/>
              <a:gd name="connsiteY802" fmla="*/ 412243 h 800100"/>
              <a:gd name="connsiteX803" fmla="*/ 1319214 w 2114552"/>
              <a:gd name="connsiteY803" fmla="*/ 399751 h 800100"/>
              <a:gd name="connsiteX804" fmla="*/ 1319214 w 2114552"/>
              <a:gd name="connsiteY804" fmla="*/ 383095 h 800100"/>
              <a:gd name="connsiteX805" fmla="*/ 1323357 w 2114552"/>
              <a:gd name="connsiteY805" fmla="*/ 383095 h 800100"/>
              <a:gd name="connsiteX806" fmla="*/ 1381350 w 2114552"/>
              <a:gd name="connsiteY806" fmla="*/ 366438 h 800100"/>
              <a:gd name="connsiteX807" fmla="*/ 1385492 w 2114552"/>
              <a:gd name="connsiteY807" fmla="*/ 341454 h 800100"/>
              <a:gd name="connsiteX808" fmla="*/ 1331641 w 2114552"/>
              <a:gd name="connsiteY808" fmla="*/ 308141 h 800100"/>
              <a:gd name="connsiteX809" fmla="*/ 1339926 w 2114552"/>
              <a:gd name="connsiteY809" fmla="*/ 283157 h 800100"/>
              <a:gd name="connsiteX810" fmla="*/ 1402062 w 2114552"/>
              <a:gd name="connsiteY810" fmla="*/ 283157 h 800100"/>
              <a:gd name="connsiteX811" fmla="*/ 1410347 w 2114552"/>
              <a:gd name="connsiteY811" fmla="*/ 258173 h 800100"/>
              <a:gd name="connsiteX812" fmla="*/ 1368923 w 2114552"/>
              <a:gd name="connsiteY812" fmla="*/ 212368 h 800100"/>
              <a:gd name="connsiteX813" fmla="*/ 1381350 w 2114552"/>
              <a:gd name="connsiteY813" fmla="*/ 187383 h 800100"/>
              <a:gd name="connsiteX814" fmla="*/ 1443486 w 2114552"/>
              <a:gd name="connsiteY814" fmla="*/ 204040 h 800100"/>
              <a:gd name="connsiteX815" fmla="*/ 1460055 w 2114552"/>
              <a:gd name="connsiteY815" fmla="*/ 183219 h 800100"/>
              <a:gd name="connsiteX816" fmla="*/ 1426916 w 2114552"/>
              <a:gd name="connsiteY816" fmla="*/ 129086 h 800100"/>
              <a:gd name="connsiteX817" fmla="*/ 1426916 w 2114552"/>
              <a:gd name="connsiteY817" fmla="*/ 124922 h 800100"/>
              <a:gd name="connsiteX818" fmla="*/ 1447628 w 2114552"/>
              <a:gd name="connsiteY818" fmla="*/ 108266 h 800100"/>
              <a:gd name="connsiteX819" fmla="*/ 1501479 w 2114552"/>
              <a:gd name="connsiteY819" fmla="*/ 137414 h 800100"/>
              <a:gd name="connsiteX820" fmla="*/ 1522191 w 2114552"/>
              <a:gd name="connsiteY820" fmla="*/ 124922 h 800100"/>
              <a:gd name="connsiteX821" fmla="*/ 1505621 w 2114552"/>
              <a:gd name="connsiteY821" fmla="*/ 62461 h 800100"/>
              <a:gd name="connsiteX822" fmla="*/ 1530476 w 2114552"/>
              <a:gd name="connsiteY822" fmla="*/ 49969 h 800100"/>
              <a:gd name="connsiteX823" fmla="*/ 1576042 w 2114552"/>
              <a:gd name="connsiteY823" fmla="*/ 91610 h 800100"/>
              <a:gd name="connsiteX824" fmla="*/ 1600896 w 2114552"/>
              <a:gd name="connsiteY824" fmla="*/ 83282 h 800100"/>
              <a:gd name="connsiteX825" fmla="*/ 1596754 w 2114552"/>
              <a:gd name="connsiteY825" fmla="*/ 49969 h 800100"/>
              <a:gd name="connsiteX826" fmla="*/ 1600896 w 2114552"/>
              <a:gd name="connsiteY826" fmla="*/ 20820 h 800100"/>
              <a:gd name="connsiteX827" fmla="*/ 1600896 w 2114552"/>
              <a:gd name="connsiteY827" fmla="*/ 16656 h 800100"/>
              <a:gd name="connsiteX828" fmla="*/ 1625751 w 2114552"/>
              <a:gd name="connsiteY828" fmla="*/ 12492 h 800100"/>
              <a:gd name="connsiteX829" fmla="*/ 1629893 w 2114552"/>
              <a:gd name="connsiteY829" fmla="*/ 12492 h 800100"/>
              <a:gd name="connsiteX830" fmla="*/ 1658890 w 2114552"/>
              <a:gd name="connsiteY830" fmla="*/ 66625 h 800100"/>
              <a:gd name="connsiteX831" fmla="*/ 1687886 w 2114552"/>
              <a:gd name="connsiteY831" fmla="*/ 62461 h 800100"/>
              <a:gd name="connsiteX832" fmla="*/ 1704456 w 2114552"/>
              <a:gd name="connsiteY832"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2114552" h="800100">
                <a:moveTo>
                  <a:pt x="2068305" y="749732"/>
                </a:moveTo>
                <a:lnTo>
                  <a:pt x="2068305" y="761609"/>
                </a:lnTo>
                <a:lnTo>
                  <a:pt x="2076013" y="761609"/>
                </a:lnTo>
                <a:cubicBezTo>
                  <a:pt x="2079697" y="761609"/>
                  <a:pt x="2082210" y="761060"/>
                  <a:pt x="2083551" y="759961"/>
                </a:cubicBezTo>
                <a:cubicBezTo>
                  <a:pt x="2084892" y="758862"/>
                  <a:pt x="2085563" y="757408"/>
                  <a:pt x="2085563" y="755598"/>
                </a:cubicBezTo>
                <a:cubicBezTo>
                  <a:pt x="2085563" y="754435"/>
                  <a:pt x="2085240" y="753392"/>
                  <a:pt x="2084594" y="752471"/>
                </a:cubicBezTo>
                <a:cubicBezTo>
                  <a:pt x="2083947" y="751550"/>
                  <a:pt x="2083050" y="750863"/>
                  <a:pt x="2081903" y="750411"/>
                </a:cubicBezTo>
                <a:cubicBezTo>
                  <a:pt x="2080756" y="749959"/>
                  <a:pt x="2078631" y="749732"/>
                  <a:pt x="2075528" y="749732"/>
                </a:cubicBezTo>
                <a:close/>
                <a:moveTo>
                  <a:pt x="2061954" y="744400"/>
                </a:moveTo>
                <a:lnTo>
                  <a:pt x="2075480" y="744400"/>
                </a:lnTo>
                <a:cubicBezTo>
                  <a:pt x="2080101" y="744400"/>
                  <a:pt x="2083446" y="744763"/>
                  <a:pt x="2085514" y="745491"/>
                </a:cubicBezTo>
                <a:cubicBezTo>
                  <a:pt x="2087583" y="746218"/>
                  <a:pt x="2089231" y="747486"/>
                  <a:pt x="2090459" y="749296"/>
                </a:cubicBezTo>
                <a:cubicBezTo>
                  <a:pt x="2091687" y="751106"/>
                  <a:pt x="2092301" y="753029"/>
                  <a:pt x="2092301" y="755065"/>
                </a:cubicBezTo>
                <a:cubicBezTo>
                  <a:pt x="2092301" y="757941"/>
                  <a:pt x="2091275" y="760446"/>
                  <a:pt x="2089223" y="762579"/>
                </a:cubicBezTo>
                <a:cubicBezTo>
                  <a:pt x="2087171" y="764712"/>
                  <a:pt x="2084448" y="765907"/>
                  <a:pt x="2081055" y="766166"/>
                </a:cubicBezTo>
                <a:cubicBezTo>
                  <a:pt x="2082444" y="766748"/>
                  <a:pt x="2083559" y="767443"/>
                  <a:pt x="2084400" y="768251"/>
                </a:cubicBezTo>
                <a:cubicBezTo>
                  <a:pt x="2085983" y="769802"/>
                  <a:pt x="2087922" y="772403"/>
                  <a:pt x="2090217" y="776055"/>
                </a:cubicBezTo>
                <a:lnTo>
                  <a:pt x="2095016" y="783763"/>
                </a:lnTo>
                <a:lnTo>
                  <a:pt x="2087260" y="783763"/>
                </a:lnTo>
                <a:lnTo>
                  <a:pt x="2083769" y="777558"/>
                </a:lnTo>
                <a:cubicBezTo>
                  <a:pt x="2081022" y="772678"/>
                  <a:pt x="2078808" y="769624"/>
                  <a:pt x="2077128" y="768396"/>
                </a:cubicBezTo>
                <a:cubicBezTo>
                  <a:pt x="2075965" y="767491"/>
                  <a:pt x="2074268" y="767039"/>
                  <a:pt x="2072038" y="767039"/>
                </a:cubicBezTo>
                <a:lnTo>
                  <a:pt x="2068305" y="767039"/>
                </a:lnTo>
                <a:lnTo>
                  <a:pt x="2068305" y="783763"/>
                </a:lnTo>
                <a:lnTo>
                  <a:pt x="2061954" y="783763"/>
                </a:lnTo>
                <a:close/>
                <a:moveTo>
                  <a:pt x="834048" y="741362"/>
                </a:moveTo>
                <a:cubicBezTo>
                  <a:pt x="813289" y="741362"/>
                  <a:pt x="784225" y="741362"/>
                  <a:pt x="784225" y="766474"/>
                </a:cubicBezTo>
                <a:cubicBezTo>
                  <a:pt x="784225" y="783215"/>
                  <a:pt x="792529" y="787400"/>
                  <a:pt x="804985" y="787400"/>
                </a:cubicBezTo>
                <a:cubicBezTo>
                  <a:pt x="838200" y="787400"/>
                  <a:pt x="838200" y="758103"/>
                  <a:pt x="838200" y="745547"/>
                </a:cubicBezTo>
                <a:lnTo>
                  <a:pt x="838200" y="741362"/>
                </a:lnTo>
                <a:cubicBezTo>
                  <a:pt x="834048" y="741362"/>
                  <a:pt x="834048" y="741362"/>
                  <a:pt x="834048" y="741362"/>
                </a:cubicBezTo>
                <a:close/>
                <a:moveTo>
                  <a:pt x="2078001" y="733008"/>
                </a:moveTo>
                <a:cubicBezTo>
                  <a:pt x="2072862" y="733008"/>
                  <a:pt x="2067861" y="734325"/>
                  <a:pt x="2062997" y="736959"/>
                </a:cubicBezTo>
                <a:cubicBezTo>
                  <a:pt x="2058133" y="739592"/>
                  <a:pt x="2054328" y="743358"/>
                  <a:pt x="2051581" y="748254"/>
                </a:cubicBezTo>
                <a:cubicBezTo>
                  <a:pt x="2048833" y="753150"/>
                  <a:pt x="2047460" y="758248"/>
                  <a:pt x="2047460" y="763548"/>
                </a:cubicBezTo>
                <a:cubicBezTo>
                  <a:pt x="2047460" y="768816"/>
                  <a:pt x="2048809" y="773866"/>
                  <a:pt x="2051508" y="778697"/>
                </a:cubicBezTo>
                <a:cubicBezTo>
                  <a:pt x="2054206" y="783529"/>
                  <a:pt x="2057980" y="787294"/>
                  <a:pt x="2062827" y="789993"/>
                </a:cubicBezTo>
                <a:cubicBezTo>
                  <a:pt x="2067675" y="792691"/>
                  <a:pt x="2072733" y="794041"/>
                  <a:pt x="2078001" y="794041"/>
                </a:cubicBezTo>
                <a:cubicBezTo>
                  <a:pt x="2083269" y="794041"/>
                  <a:pt x="2088326" y="792691"/>
                  <a:pt x="2093174" y="789993"/>
                </a:cubicBezTo>
                <a:cubicBezTo>
                  <a:pt x="2098022" y="787294"/>
                  <a:pt x="2101787" y="783529"/>
                  <a:pt x="2104469" y="778697"/>
                </a:cubicBezTo>
                <a:cubicBezTo>
                  <a:pt x="2107152" y="773866"/>
                  <a:pt x="2108493" y="768816"/>
                  <a:pt x="2108493" y="763548"/>
                </a:cubicBezTo>
                <a:cubicBezTo>
                  <a:pt x="2108493" y="758248"/>
                  <a:pt x="2107127" y="753150"/>
                  <a:pt x="2104397" y="748254"/>
                </a:cubicBezTo>
                <a:cubicBezTo>
                  <a:pt x="2101666" y="743358"/>
                  <a:pt x="2097860" y="739592"/>
                  <a:pt x="2092980" y="736959"/>
                </a:cubicBezTo>
                <a:cubicBezTo>
                  <a:pt x="2088100" y="734325"/>
                  <a:pt x="2083107" y="733008"/>
                  <a:pt x="2078001" y="733008"/>
                </a:cubicBezTo>
                <a:close/>
                <a:moveTo>
                  <a:pt x="2078001" y="726948"/>
                </a:moveTo>
                <a:cubicBezTo>
                  <a:pt x="2084141" y="726948"/>
                  <a:pt x="2090136" y="728524"/>
                  <a:pt x="2095985" y="731675"/>
                </a:cubicBezTo>
                <a:cubicBezTo>
                  <a:pt x="2101835" y="734825"/>
                  <a:pt x="2106392" y="739334"/>
                  <a:pt x="2109656" y="745200"/>
                </a:cubicBezTo>
                <a:cubicBezTo>
                  <a:pt x="2112920" y="751065"/>
                  <a:pt x="2114552" y="757181"/>
                  <a:pt x="2114552" y="763548"/>
                </a:cubicBezTo>
                <a:cubicBezTo>
                  <a:pt x="2114552" y="769850"/>
                  <a:pt x="2112944" y="775910"/>
                  <a:pt x="2109729" y="781727"/>
                </a:cubicBezTo>
                <a:cubicBezTo>
                  <a:pt x="2106513" y="787544"/>
                  <a:pt x="2102005" y="792061"/>
                  <a:pt x="2096204" y="795277"/>
                </a:cubicBezTo>
                <a:cubicBezTo>
                  <a:pt x="2090402" y="798492"/>
                  <a:pt x="2084335" y="800100"/>
                  <a:pt x="2078001" y="800100"/>
                </a:cubicBezTo>
                <a:cubicBezTo>
                  <a:pt x="2071666" y="800100"/>
                  <a:pt x="2065599" y="798492"/>
                  <a:pt x="2059797" y="795277"/>
                </a:cubicBezTo>
                <a:cubicBezTo>
                  <a:pt x="2053996" y="792061"/>
                  <a:pt x="2049480" y="787544"/>
                  <a:pt x="2046248" y="781727"/>
                </a:cubicBezTo>
                <a:cubicBezTo>
                  <a:pt x="2043016" y="775910"/>
                  <a:pt x="2041400" y="769850"/>
                  <a:pt x="2041400" y="763548"/>
                </a:cubicBezTo>
                <a:cubicBezTo>
                  <a:pt x="2041400" y="757181"/>
                  <a:pt x="2043041" y="751065"/>
                  <a:pt x="2046321" y="745200"/>
                </a:cubicBezTo>
                <a:cubicBezTo>
                  <a:pt x="2049601" y="739334"/>
                  <a:pt x="2054166" y="734825"/>
                  <a:pt x="2060016" y="731675"/>
                </a:cubicBezTo>
                <a:cubicBezTo>
                  <a:pt x="2065865" y="728524"/>
                  <a:pt x="2071860" y="726948"/>
                  <a:pt x="2078001" y="726948"/>
                </a:cubicBezTo>
                <a:close/>
                <a:moveTo>
                  <a:pt x="1058070" y="692149"/>
                </a:moveTo>
                <a:cubicBezTo>
                  <a:pt x="1037466" y="692149"/>
                  <a:pt x="1020763" y="713471"/>
                  <a:pt x="1020763" y="739774"/>
                </a:cubicBezTo>
                <a:cubicBezTo>
                  <a:pt x="1020763" y="766077"/>
                  <a:pt x="1037466" y="787399"/>
                  <a:pt x="1058070" y="787399"/>
                </a:cubicBezTo>
                <a:cubicBezTo>
                  <a:pt x="1078674" y="787399"/>
                  <a:pt x="1095377" y="766077"/>
                  <a:pt x="1095377" y="739774"/>
                </a:cubicBezTo>
                <a:cubicBezTo>
                  <a:pt x="1095377" y="713471"/>
                  <a:pt x="1078674" y="692149"/>
                  <a:pt x="1058070" y="692149"/>
                </a:cubicBezTo>
                <a:close/>
                <a:moveTo>
                  <a:pt x="692151" y="692149"/>
                </a:moveTo>
                <a:cubicBezTo>
                  <a:pt x="673739" y="692149"/>
                  <a:pt x="658813" y="713471"/>
                  <a:pt x="658813" y="739774"/>
                </a:cubicBezTo>
                <a:cubicBezTo>
                  <a:pt x="658813" y="766077"/>
                  <a:pt x="673739" y="787399"/>
                  <a:pt x="692151" y="787399"/>
                </a:cubicBezTo>
                <a:cubicBezTo>
                  <a:pt x="710563" y="787399"/>
                  <a:pt x="725489" y="766077"/>
                  <a:pt x="725489" y="739774"/>
                </a:cubicBezTo>
                <a:cubicBezTo>
                  <a:pt x="725489" y="713471"/>
                  <a:pt x="710563" y="692149"/>
                  <a:pt x="692151" y="692149"/>
                </a:cubicBezTo>
                <a:close/>
                <a:moveTo>
                  <a:pt x="323056" y="692149"/>
                </a:moveTo>
                <a:cubicBezTo>
                  <a:pt x="302452" y="692149"/>
                  <a:pt x="285749" y="713471"/>
                  <a:pt x="285749" y="739774"/>
                </a:cubicBezTo>
                <a:cubicBezTo>
                  <a:pt x="285749" y="766077"/>
                  <a:pt x="302452" y="787399"/>
                  <a:pt x="323056" y="787399"/>
                </a:cubicBezTo>
                <a:cubicBezTo>
                  <a:pt x="343660" y="787399"/>
                  <a:pt x="360363" y="766077"/>
                  <a:pt x="360363" y="739774"/>
                </a:cubicBezTo>
                <a:cubicBezTo>
                  <a:pt x="360363" y="713471"/>
                  <a:pt x="343660" y="692149"/>
                  <a:pt x="323056" y="692149"/>
                </a:cubicBezTo>
                <a:close/>
                <a:moveTo>
                  <a:pt x="966943" y="685949"/>
                </a:moveTo>
                <a:lnTo>
                  <a:pt x="981464" y="685949"/>
                </a:lnTo>
                <a:lnTo>
                  <a:pt x="981464" y="799333"/>
                </a:lnTo>
                <a:lnTo>
                  <a:pt x="966943" y="799333"/>
                </a:lnTo>
                <a:close/>
                <a:moveTo>
                  <a:pt x="1136650" y="684212"/>
                </a:moveTo>
                <a:cubicBezTo>
                  <a:pt x="1148897" y="684212"/>
                  <a:pt x="1148897" y="684212"/>
                  <a:pt x="1148897" y="684212"/>
                </a:cubicBezTo>
                <a:cubicBezTo>
                  <a:pt x="1148897" y="704791"/>
                  <a:pt x="1148897" y="704791"/>
                  <a:pt x="1148897" y="704791"/>
                </a:cubicBezTo>
                <a:cubicBezTo>
                  <a:pt x="1157061" y="696559"/>
                  <a:pt x="1165225" y="684212"/>
                  <a:pt x="1185636" y="684212"/>
                </a:cubicBezTo>
                <a:cubicBezTo>
                  <a:pt x="1214211" y="684212"/>
                  <a:pt x="1222375" y="700675"/>
                  <a:pt x="1222375" y="725369"/>
                </a:cubicBezTo>
                <a:cubicBezTo>
                  <a:pt x="1222375" y="795337"/>
                  <a:pt x="1222375" y="795337"/>
                  <a:pt x="1222375" y="795337"/>
                </a:cubicBezTo>
                <a:cubicBezTo>
                  <a:pt x="1210129" y="795337"/>
                  <a:pt x="1210129" y="795337"/>
                  <a:pt x="1210129" y="795337"/>
                </a:cubicBezTo>
                <a:cubicBezTo>
                  <a:pt x="1210129" y="729485"/>
                  <a:pt x="1210129" y="729485"/>
                  <a:pt x="1210129" y="729485"/>
                </a:cubicBezTo>
                <a:cubicBezTo>
                  <a:pt x="1210129" y="708906"/>
                  <a:pt x="1201964" y="692443"/>
                  <a:pt x="1185636" y="692443"/>
                </a:cubicBezTo>
                <a:cubicBezTo>
                  <a:pt x="1161143" y="692443"/>
                  <a:pt x="1152979" y="717138"/>
                  <a:pt x="1152979" y="733601"/>
                </a:cubicBezTo>
                <a:cubicBezTo>
                  <a:pt x="1152979" y="795337"/>
                  <a:pt x="1152979" y="795337"/>
                  <a:pt x="1152979" y="795337"/>
                </a:cubicBezTo>
                <a:cubicBezTo>
                  <a:pt x="1136650" y="795337"/>
                  <a:pt x="1136650" y="795337"/>
                  <a:pt x="1136650" y="795337"/>
                </a:cubicBezTo>
                <a:lnTo>
                  <a:pt x="1136650" y="713022"/>
                </a:lnTo>
                <a:cubicBezTo>
                  <a:pt x="1136650" y="704791"/>
                  <a:pt x="1136650" y="692443"/>
                  <a:pt x="1136650" y="684212"/>
                </a:cubicBezTo>
                <a:close/>
                <a:moveTo>
                  <a:pt x="1054894" y="684212"/>
                </a:moveTo>
                <a:cubicBezTo>
                  <a:pt x="1083389" y="684212"/>
                  <a:pt x="1106488" y="710154"/>
                  <a:pt x="1106488" y="742156"/>
                </a:cubicBezTo>
                <a:cubicBezTo>
                  <a:pt x="1106488" y="774158"/>
                  <a:pt x="1083389" y="800100"/>
                  <a:pt x="1054894" y="800100"/>
                </a:cubicBezTo>
                <a:cubicBezTo>
                  <a:pt x="1026399" y="800100"/>
                  <a:pt x="1003300" y="774158"/>
                  <a:pt x="1003300" y="742156"/>
                </a:cubicBezTo>
                <a:cubicBezTo>
                  <a:pt x="1003300" y="710154"/>
                  <a:pt x="1026399" y="684212"/>
                  <a:pt x="1054894" y="684212"/>
                </a:cubicBezTo>
                <a:close/>
                <a:moveTo>
                  <a:pt x="812499" y="684212"/>
                </a:moveTo>
                <a:cubicBezTo>
                  <a:pt x="841603" y="684212"/>
                  <a:pt x="854076" y="696629"/>
                  <a:pt x="854076" y="725601"/>
                </a:cubicBezTo>
                <a:cubicBezTo>
                  <a:pt x="854076" y="775267"/>
                  <a:pt x="854076" y="775267"/>
                  <a:pt x="854076" y="775267"/>
                </a:cubicBezTo>
                <a:cubicBezTo>
                  <a:pt x="854076" y="783545"/>
                  <a:pt x="854076" y="791822"/>
                  <a:pt x="854076" y="795961"/>
                </a:cubicBezTo>
                <a:cubicBezTo>
                  <a:pt x="841603" y="795961"/>
                  <a:pt x="841603" y="795961"/>
                  <a:pt x="841603" y="795961"/>
                </a:cubicBezTo>
                <a:lnTo>
                  <a:pt x="841603" y="779406"/>
                </a:lnTo>
                <a:cubicBezTo>
                  <a:pt x="837445" y="779406"/>
                  <a:pt x="837445" y="779406"/>
                  <a:pt x="837445" y="779406"/>
                </a:cubicBezTo>
                <a:cubicBezTo>
                  <a:pt x="833287" y="791822"/>
                  <a:pt x="816656" y="800100"/>
                  <a:pt x="804183" y="800100"/>
                </a:cubicBezTo>
                <a:cubicBezTo>
                  <a:pt x="770921" y="800100"/>
                  <a:pt x="766763" y="779406"/>
                  <a:pt x="766763" y="766989"/>
                </a:cubicBezTo>
                <a:cubicBezTo>
                  <a:pt x="766763" y="729739"/>
                  <a:pt x="808341" y="729739"/>
                  <a:pt x="837445" y="729739"/>
                </a:cubicBezTo>
                <a:cubicBezTo>
                  <a:pt x="837445" y="721462"/>
                  <a:pt x="837445" y="721462"/>
                  <a:pt x="837445" y="721462"/>
                </a:cubicBezTo>
                <a:cubicBezTo>
                  <a:pt x="837445" y="704906"/>
                  <a:pt x="833287" y="692490"/>
                  <a:pt x="812499" y="692490"/>
                </a:cubicBezTo>
                <a:cubicBezTo>
                  <a:pt x="800025" y="692490"/>
                  <a:pt x="791710" y="696629"/>
                  <a:pt x="779236" y="704906"/>
                </a:cubicBezTo>
                <a:cubicBezTo>
                  <a:pt x="779236" y="688351"/>
                  <a:pt x="779236" y="688351"/>
                  <a:pt x="779236" y="688351"/>
                </a:cubicBezTo>
                <a:cubicBezTo>
                  <a:pt x="787552" y="684212"/>
                  <a:pt x="804183" y="684212"/>
                  <a:pt x="812499" y="684212"/>
                </a:cubicBezTo>
                <a:close/>
                <a:moveTo>
                  <a:pt x="527050" y="684212"/>
                </a:moveTo>
                <a:cubicBezTo>
                  <a:pt x="539523" y="684212"/>
                  <a:pt x="539523" y="684212"/>
                  <a:pt x="539523" y="684212"/>
                </a:cubicBezTo>
                <a:cubicBezTo>
                  <a:pt x="539523" y="704791"/>
                  <a:pt x="539523" y="704791"/>
                  <a:pt x="539523" y="704791"/>
                </a:cubicBezTo>
                <a:cubicBezTo>
                  <a:pt x="547839" y="696559"/>
                  <a:pt x="556154" y="684212"/>
                  <a:pt x="576943" y="684212"/>
                </a:cubicBezTo>
                <a:cubicBezTo>
                  <a:pt x="606047" y="684212"/>
                  <a:pt x="614363" y="700675"/>
                  <a:pt x="614363" y="725369"/>
                </a:cubicBezTo>
                <a:cubicBezTo>
                  <a:pt x="614363" y="795337"/>
                  <a:pt x="614363" y="795337"/>
                  <a:pt x="614363" y="795337"/>
                </a:cubicBezTo>
                <a:cubicBezTo>
                  <a:pt x="601890" y="795337"/>
                  <a:pt x="601890" y="795337"/>
                  <a:pt x="601890" y="795337"/>
                </a:cubicBezTo>
                <a:cubicBezTo>
                  <a:pt x="601890" y="729485"/>
                  <a:pt x="601890" y="729485"/>
                  <a:pt x="601890" y="729485"/>
                </a:cubicBezTo>
                <a:cubicBezTo>
                  <a:pt x="601890" y="708906"/>
                  <a:pt x="593574" y="692443"/>
                  <a:pt x="576943" y="692443"/>
                </a:cubicBezTo>
                <a:cubicBezTo>
                  <a:pt x="551996" y="692443"/>
                  <a:pt x="543681" y="717138"/>
                  <a:pt x="543681" y="733601"/>
                </a:cubicBezTo>
                <a:cubicBezTo>
                  <a:pt x="543681" y="795337"/>
                  <a:pt x="543681" y="795337"/>
                  <a:pt x="543681" y="795337"/>
                </a:cubicBezTo>
                <a:cubicBezTo>
                  <a:pt x="527050" y="795337"/>
                  <a:pt x="527050" y="795337"/>
                  <a:pt x="527050" y="795337"/>
                </a:cubicBezTo>
                <a:lnTo>
                  <a:pt x="527050" y="713022"/>
                </a:lnTo>
                <a:cubicBezTo>
                  <a:pt x="527050" y="704791"/>
                  <a:pt x="527050" y="692443"/>
                  <a:pt x="527050" y="684212"/>
                </a:cubicBezTo>
                <a:close/>
                <a:moveTo>
                  <a:pt x="406400" y="684212"/>
                </a:moveTo>
                <a:cubicBezTo>
                  <a:pt x="418873" y="684212"/>
                  <a:pt x="418873" y="684212"/>
                  <a:pt x="418873" y="684212"/>
                </a:cubicBezTo>
                <a:cubicBezTo>
                  <a:pt x="418873" y="754573"/>
                  <a:pt x="418873" y="754573"/>
                  <a:pt x="418873" y="754573"/>
                </a:cubicBezTo>
                <a:cubicBezTo>
                  <a:pt x="418873" y="775267"/>
                  <a:pt x="427189" y="787683"/>
                  <a:pt x="443820" y="787683"/>
                </a:cubicBezTo>
                <a:cubicBezTo>
                  <a:pt x="468766" y="787683"/>
                  <a:pt x="477082" y="766989"/>
                  <a:pt x="477082" y="746295"/>
                </a:cubicBezTo>
                <a:cubicBezTo>
                  <a:pt x="477082" y="684212"/>
                  <a:pt x="477082" y="684212"/>
                  <a:pt x="477082" y="684212"/>
                </a:cubicBezTo>
                <a:cubicBezTo>
                  <a:pt x="493713" y="684212"/>
                  <a:pt x="493713" y="684212"/>
                  <a:pt x="493713" y="684212"/>
                </a:cubicBezTo>
                <a:lnTo>
                  <a:pt x="493713" y="771128"/>
                </a:lnTo>
                <a:cubicBezTo>
                  <a:pt x="493713" y="779406"/>
                  <a:pt x="493713" y="787683"/>
                  <a:pt x="493713" y="795961"/>
                </a:cubicBezTo>
                <a:cubicBezTo>
                  <a:pt x="481240" y="795961"/>
                  <a:pt x="481240" y="795961"/>
                  <a:pt x="481240" y="795961"/>
                </a:cubicBezTo>
                <a:cubicBezTo>
                  <a:pt x="481240" y="779406"/>
                  <a:pt x="481240" y="779406"/>
                  <a:pt x="481240" y="779406"/>
                </a:cubicBezTo>
                <a:cubicBezTo>
                  <a:pt x="472924" y="787683"/>
                  <a:pt x="464609" y="800100"/>
                  <a:pt x="443820" y="800100"/>
                </a:cubicBezTo>
                <a:cubicBezTo>
                  <a:pt x="414715" y="800100"/>
                  <a:pt x="406400" y="783545"/>
                  <a:pt x="406400" y="758711"/>
                </a:cubicBezTo>
                <a:cubicBezTo>
                  <a:pt x="406400" y="684212"/>
                  <a:pt x="406400" y="684212"/>
                  <a:pt x="406400" y="684212"/>
                </a:cubicBezTo>
                <a:close/>
                <a:moveTo>
                  <a:pt x="325437" y="684212"/>
                </a:moveTo>
                <a:cubicBezTo>
                  <a:pt x="354370" y="684212"/>
                  <a:pt x="377825" y="710154"/>
                  <a:pt x="377825" y="742156"/>
                </a:cubicBezTo>
                <a:cubicBezTo>
                  <a:pt x="377825" y="774158"/>
                  <a:pt x="354370" y="800100"/>
                  <a:pt x="325437" y="800100"/>
                </a:cubicBezTo>
                <a:cubicBezTo>
                  <a:pt x="296504" y="800100"/>
                  <a:pt x="273049" y="774158"/>
                  <a:pt x="273049" y="742156"/>
                </a:cubicBezTo>
                <a:cubicBezTo>
                  <a:pt x="273049" y="710154"/>
                  <a:pt x="296504" y="684212"/>
                  <a:pt x="325437" y="684212"/>
                </a:cubicBezTo>
                <a:close/>
                <a:moveTo>
                  <a:pt x="1724027" y="666750"/>
                </a:moveTo>
                <a:lnTo>
                  <a:pt x="1720852" y="679450"/>
                </a:lnTo>
                <a:lnTo>
                  <a:pt x="1716089" y="687388"/>
                </a:lnTo>
                <a:lnTo>
                  <a:pt x="1733552" y="687388"/>
                </a:lnTo>
                <a:lnTo>
                  <a:pt x="1728789" y="679450"/>
                </a:lnTo>
                <a:close/>
                <a:moveTo>
                  <a:pt x="1728922" y="654050"/>
                </a:moveTo>
                <a:cubicBezTo>
                  <a:pt x="1728922" y="658202"/>
                  <a:pt x="1728922" y="658202"/>
                  <a:pt x="1728922" y="658202"/>
                </a:cubicBezTo>
                <a:lnTo>
                  <a:pt x="1737124" y="678962"/>
                </a:lnTo>
                <a:cubicBezTo>
                  <a:pt x="1749427" y="703873"/>
                  <a:pt x="1749427" y="703873"/>
                  <a:pt x="1749427" y="703873"/>
                </a:cubicBezTo>
                <a:cubicBezTo>
                  <a:pt x="1745326" y="703873"/>
                  <a:pt x="1741225" y="703873"/>
                  <a:pt x="1737124" y="703873"/>
                </a:cubicBezTo>
                <a:cubicBezTo>
                  <a:pt x="1737124" y="695569"/>
                  <a:pt x="1737124" y="695569"/>
                  <a:pt x="1737124" y="695569"/>
                </a:cubicBezTo>
                <a:cubicBezTo>
                  <a:pt x="1712517" y="695569"/>
                  <a:pt x="1712517" y="695569"/>
                  <a:pt x="1712517" y="695569"/>
                </a:cubicBezTo>
                <a:cubicBezTo>
                  <a:pt x="1712517" y="708025"/>
                  <a:pt x="1712517" y="708025"/>
                  <a:pt x="1712517" y="708025"/>
                </a:cubicBezTo>
                <a:cubicBezTo>
                  <a:pt x="1708416" y="703873"/>
                  <a:pt x="1704315" y="703873"/>
                  <a:pt x="1700214" y="703873"/>
                </a:cubicBezTo>
                <a:cubicBezTo>
                  <a:pt x="1712517" y="678962"/>
                  <a:pt x="1712517" y="678962"/>
                  <a:pt x="1712517" y="678962"/>
                </a:cubicBezTo>
                <a:cubicBezTo>
                  <a:pt x="1716618" y="658202"/>
                  <a:pt x="1716618" y="658202"/>
                  <a:pt x="1716618" y="658202"/>
                </a:cubicBezTo>
                <a:cubicBezTo>
                  <a:pt x="1728922" y="654050"/>
                  <a:pt x="1728922" y="654050"/>
                  <a:pt x="1728922" y="654050"/>
                </a:cubicBezTo>
                <a:close/>
                <a:moveTo>
                  <a:pt x="907733" y="654049"/>
                </a:moveTo>
                <a:cubicBezTo>
                  <a:pt x="907733" y="683259"/>
                  <a:pt x="907733" y="683259"/>
                  <a:pt x="907733" y="683259"/>
                </a:cubicBezTo>
                <a:cubicBezTo>
                  <a:pt x="932498" y="683259"/>
                  <a:pt x="932498" y="683259"/>
                  <a:pt x="932498" y="683259"/>
                </a:cubicBezTo>
                <a:lnTo>
                  <a:pt x="932498" y="695778"/>
                </a:lnTo>
                <a:cubicBezTo>
                  <a:pt x="907733" y="695778"/>
                  <a:pt x="907733" y="695778"/>
                  <a:pt x="907733" y="695778"/>
                </a:cubicBezTo>
                <a:cubicBezTo>
                  <a:pt x="907733" y="770889"/>
                  <a:pt x="907733" y="770889"/>
                  <a:pt x="907733" y="770889"/>
                </a:cubicBezTo>
                <a:cubicBezTo>
                  <a:pt x="907733" y="779235"/>
                  <a:pt x="911861" y="787580"/>
                  <a:pt x="924243" y="787580"/>
                </a:cubicBezTo>
                <a:cubicBezTo>
                  <a:pt x="928371" y="787580"/>
                  <a:pt x="932498" y="787580"/>
                  <a:pt x="936626" y="783408"/>
                </a:cubicBezTo>
                <a:cubicBezTo>
                  <a:pt x="936626" y="795926"/>
                  <a:pt x="936626" y="795926"/>
                  <a:pt x="936626" y="795926"/>
                </a:cubicBezTo>
                <a:cubicBezTo>
                  <a:pt x="932498" y="800099"/>
                  <a:pt x="928371" y="800099"/>
                  <a:pt x="920116" y="800099"/>
                </a:cubicBezTo>
                <a:cubicBezTo>
                  <a:pt x="895351" y="800099"/>
                  <a:pt x="895351" y="783408"/>
                  <a:pt x="895351" y="762543"/>
                </a:cubicBezTo>
                <a:cubicBezTo>
                  <a:pt x="895351" y="695778"/>
                  <a:pt x="895351" y="695778"/>
                  <a:pt x="895351" y="695778"/>
                </a:cubicBezTo>
                <a:cubicBezTo>
                  <a:pt x="874713" y="695778"/>
                  <a:pt x="874713" y="695778"/>
                  <a:pt x="874713" y="695778"/>
                </a:cubicBezTo>
                <a:cubicBezTo>
                  <a:pt x="874713" y="683259"/>
                  <a:pt x="874713" y="683259"/>
                  <a:pt x="874713" y="683259"/>
                </a:cubicBezTo>
                <a:cubicBezTo>
                  <a:pt x="895351" y="683259"/>
                  <a:pt x="895351" y="683259"/>
                  <a:pt x="895351" y="683259"/>
                </a:cubicBezTo>
                <a:cubicBezTo>
                  <a:pt x="895351" y="658222"/>
                  <a:pt x="895351" y="658222"/>
                  <a:pt x="895351" y="658222"/>
                </a:cubicBezTo>
                <a:cubicBezTo>
                  <a:pt x="907733" y="654049"/>
                  <a:pt x="907733" y="654049"/>
                  <a:pt x="907733" y="654049"/>
                </a:cubicBezTo>
                <a:close/>
                <a:moveTo>
                  <a:pt x="1658542" y="650875"/>
                </a:moveTo>
                <a:cubicBezTo>
                  <a:pt x="1662643" y="650875"/>
                  <a:pt x="1662643" y="650875"/>
                  <a:pt x="1666745" y="650875"/>
                </a:cubicBezTo>
                <a:cubicBezTo>
                  <a:pt x="1666745" y="650875"/>
                  <a:pt x="1666745" y="650875"/>
                  <a:pt x="1683149" y="688242"/>
                </a:cubicBezTo>
                <a:cubicBezTo>
                  <a:pt x="1683149" y="688242"/>
                  <a:pt x="1683149" y="688242"/>
                  <a:pt x="1687250" y="655027"/>
                </a:cubicBezTo>
                <a:cubicBezTo>
                  <a:pt x="1687250" y="655027"/>
                  <a:pt x="1691351" y="655027"/>
                  <a:pt x="1695452" y="655027"/>
                </a:cubicBezTo>
                <a:cubicBezTo>
                  <a:pt x="1695452" y="655027"/>
                  <a:pt x="1695452" y="655027"/>
                  <a:pt x="1687250" y="704850"/>
                </a:cubicBezTo>
                <a:cubicBezTo>
                  <a:pt x="1687250" y="704850"/>
                  <a:pt x="1683149" y="704850"/>
                  <a:pt x="1679048" y="704850"/>
                </a:cubicBezTo>
                <a:cubicBezTo>
                  <a:pt x="1679048" y="704850"/>
                  <a:pt x="1679048" y="704850"/>
                  <a:pt x="1662643" y="671635"/>
                </a:cubicBezTo>
                <a:cubicBezTo>
                  <a:pt x="1662643" y="671635"/>
                  <a:pt x="1662643" y="671635"/>
                  <a:pt x="1658542" y="700698"/>
                </a:cubicBezTo>
                <a:cubicBezTo>
                  <a:pt x="1654441" y="700698"/>
                  <a:pt x="1650340" y="700698"/>
                  <a:pt x="1646239" y="700698"/>
                </a:cubicBezTo>
                <a:cubicBezTo>
                  <a:pt x="1646239" y="700698"/>
                  <a:pt x="1646239" y="700698"/>
                  <a:pt x="1658542" y="650875"/>
                </a:cubicBezTo>
                <a:close/>
                <a:moveTo>
                  <a:pt x="1787526" y="646113"/>
                </a:moveTo>
                <a:lnTo>
                  <a:pt x="1787526" y="654504"/>
                </a:lnTo>
                <a:cubicBezTo>
                  <a:pt x="1783399" y="658700"/>
                  <a:pt x="1779271" y="658700"/>
                  <a:pt x="1771016" y="658700"/>
                </a:cubicBezTo>
                <a:cubicBezTo>
                  <a:pt x="1771016" y="658700"/>
                  <a:pt x="1771016" y="658700"/>
                  <a:pt x="1779271" y="700655"/>
                </a:cubicBezTo>
                <a:cubicBezTo>
                  <a:pt x="1779271" y="700655"/>
                  <a:pt x="1779271" y="700655"/>
                  <a:pt x="1771016" y="704851"/>
                </a:cubicBezTo>
                <a:cubicBezTo>
                  <a:pt x="1771016" y="704851"/>
                  <a:pt x="1771016" y="704851"/>
                  <a:pt x="1762761" y="662895"/>
                </a:cubicBezTo>
                <a:cubicBezTo>
                  <a:pt x="1758634" y="662895"/>
                  <a:pt x="1754506" y="662895"/>
                  <a:pt x="1746251" y="662895"/>
                </a:cubicBezTo>
                <a:cubicBezTo>
                  <a:pt x="1746251" y="662895"/>
                  <a:pt x="1746251" y="662895"/>
                  <a:pt x="1746251" y="654504"/>
                </a:cubicBezTo>
                <a:cubicBezTo>
                  <a:pt x="1758634" y="654504"/>
                  <a:pt x="1771016" y="650309"/>
                  <a:pt x="1787526" y="646113"/>
                </a:cubicBezTo>
                <a:close/>
                <a:moveTo>
                  <a:pt x="1617029" y="646113"/>
                </a:moveTo>
                <a:cubicBezTo>
                  <a:pt x="1617029" y="654051"/>
                  <a:pt x="1617029" y="654051"/>
                  <a:pt x="1617029" y="654051"/>
                </a:cubicBezTo>
                <a:cubicBezTo>
                  <a:pt x="1612901" y="658019"/>
                  <a:pt x="1612901" y="658019"/>
                  <a:pt x="1612901" y="658019"/>
                </a:cubicBezTo>
                <a:cubicBezTo>
                  <a:pt x="1625284" y="661988"/>
                  <a:pt x="1625284" y="661988"/>
                  <a:pt x="1625284" y="661988"/>
                </a:cubicBezTo>
                <a:cubicBezTo>
                  <a:pt x="1629412" y="661988"/>
                  <a:pt x="1633539" y="658019"/>
                  <a:pt x="1633539" y="658019"/>
                </a:cubicBezTo>
                <a:cubicBezTo>
                  <a:pt x="1633539" y="658019"/>
                  <a:pt x="1633539" y="654051"/>
                  <a:pt x="1633539" y="654051"/>
                </a:cubicBezTo>
                <a:cubicBezTo>
                  <a:pt x="1633539" y="654051"/>
                  <a:pt x="1633539" y="650082"/>
                  <a:pt x="1629412" y="650082"/>
                </a:cubicBezTo>
                <a:cubicBezTo>
                  <a:pt x="1617029" y="646113"/>
                  <a:pt x="1617029" y="646113"/>
                  <a:pt x="1617029" y="646113"/>
                </a:cubicBezTo>
                <a:close/>
                <a:moveTo>
                  <a:pt x="966943" y="643885"/>
                </a:moveTo>
                <a:lnTo>
                  <a:pt x="981464" y="643885"/>
                </a:lnTo>
                <a:lnTo>
                  <a:pt x="981464" y="660066"/>
                </a:lnTo>
                <a:lnTo>
                  <a:pt x="966943" y="660066"/>
                </a:lnTo>
                <a:close/>
                <a:moveTo>
                  <a:pt x="1795464" y="641350"/>
                </a:moveTo>
                <a:cubicBezTo>
                  <a:pt x="1799546" y="641350"/>
                  <a:pt x="1803628" y="641350"/>
                  <a:pt x="1807711" y="641350"/>
                </a:cubicBezTo>
                <a:cubicBezTo>
                  <a:pt x="1807711" y="641350"/>
                  <a:pt x="1807711" y="641350"/>
                  <a:pt x="1824039" y="687917"/>
                </a:cubicBezTo>
                <a:cubicBezTo>
                  <a:pt x="1819957" y="687917"/>
                  <a:pt x="1815875" y="687917"/>
                  <a:pt x="1811793" y="692150"/>
                </a:cubicBezTo>
                <a:cubicBezTo>
                  <a:pt x="1811793" y="692150"/>
                  <a:pt x="1811793" y="692150"/>
                  <a:pt x="1795464" y="641350"/>
                </a:cubicBezTo>
                <a:close/>
                <a:moveTo>
                  <a:pt x="177800" y="641349"/>
                </a:moveTo>
                <a:lnTo>
                  <a:pt x="252413" y="641349"/>
                </a:lnTo>
                <a:lnTo>
                  <a:pt x="252413" y="654049"/>
                </a:lnTo>
                <a:lnTo>
                  <a:pt x="195262" y="654049"/>
                </a:lnTo>
                <a:lnTo>
                  <a:pt x="195262" y="712787"/>
                </a:lnTo>
                <a:lnTo>
                  <a:pt x="249238" y="712787"/>
                </a:lnTo>
                <a:lnTo>
                  <a:pt x="249238" y="725487"/>
                </a:lnTo>
                <a:lnTo>
                  <a:pt x="195262" y="725487"/>
                </a:lnTo>
                <a:lnTo>
                  <a:pt x="195262" y="795337"/>
                </a:lnTo>
                <a:lnTo>
                  <a:pt x="177800" y="795337"/>
                </a:lnTo>
                <a:close/>
                <a:moveTo>
                  <a:pt x="1612770" y="633413"/>
                </a:moveTo>
                <a:cubicBezTo>
                  <a:pt x="1633275" y="641668"/>
                  <a:pt x="1633275" y="641668"/>
                  <a:pt x="1633275" y="641668"/>
                </a:cubicBezTo>
                <a:cubicBezTo>
                  <a:pt x="1641477" y="645796"/>
                  <a:pt x="1641477" y="649923"/>
                  <a:pt x="1641477" y="654051"/>
                </a:cubicBezTo>
                <a:cubicBezTo>
                  <a:pt x="1641477" y="654051"/>
                  <a:pt x="1641477" y="658178"/>
                  <a:pt x="1641477" y="658178"/>
                </a:cubicBezTo>
                <a:cubicBezTo>
                  <a:pt x="1641477" y="662306"/>
                  <a:pt x="1637376" y="670561"/>
                  <a:pt x="1629174" y="670561"/>
                </a:cubicBezTo>
                <a:cubicBezTo>
                  <a:pt x="1633275" y="695326"/>
                  <a:pt x="1633275" y="695326"/>
                  <a:pt x="1633275" y="695326"/>
                </a:cubicBezTo>
                <a:cubicBezTo>
                  <a:pt x="1629174" y="695326"/>
                  <a:pt x="1625073" y="691198"/>
                  <a:pt x="1620972" y="691198"/>
                </a:cubicBezTo>
                <a:cubicBezTo>
                  <a:pt x="1620972" y="670561"/>
                  <a:pt x="1620972" y="670561"/>
                  <a:pt x="1620972" y="670561"/>
                </a:cubicBezTo>
                <a:cubicBezTo>
                  <a:pt x="1608668" y="666433"/>
                  <a:pt x="1608668" y="666433"/>
                  <a:pt x="1608668" y="666433"/>
                </a:cubicBezTo>
                <a:cubicBezTo>
                  <a:pt x="1604567" y="682943"/>
                  <a:pt x="1604567" y="682943"/>
                  <a:pt x="1604567" y="682943"/>
                </a:cubicBezTo>
                <a:cubicBezTo>
                  <a:pt x="1600466" y="682943"/>
                  <a:pt x="1596365" y="682943"/>
                  <a:pt x="1592264" y="678816"/>
                </a:cubicBezTo>
                <a:cubicBezTo>
                  <a:pt x="1604567" y="658178"/>
                  <a:pt x="1604567" y="658178"/>
                  <a:pt x="1604567" y="658178"/>
                </a:cubicBezTo>
                <a:cubicBezTo>
                  <a:pt x="1604567" y="654051"/>
                  <a:pt x="1604567" y="654051"/>
                  <a:pt x="1604567" y="654051"/>
                </a:cubicBezTo>
                <a:cubicBezTo>
                  <a:pt x="1612770" y="633413"/>
                  <a:pt x="1612770" y="633413"/>
                  <a:pt x="1612770" y="633413"/>
                </a:cubicBezTo>
                <a:close/>
                <a:moveTo>
                  <a:pt x="1855109" y="630214"/>
                </a:moveTo>
                <a:cubicBezTo>
                  <a:pt x="1851027" y="629693"/>
                  <a:pt x="1846945" y="630735"/>
                  <a:pt x="1844903" y="632818"/>
                </a:cubicBezTo>
                <a:cubicBezTo>
                  <a:pt x="1836739" y="636986"/>
                  <a:pt x="1836739" y="641153"/>
                  <a:pt x="1836739" y="645320"/>
                </a:cubicBezTo>
                <a:cubicBezTo>
                  <a:pt x="1836739" y="649487"/>
                  <a:pt x="1836739" y="653655"/>
                  <a:pt x="1836739" y="653655"/>
                </a:cubicBezTo>
                <a:cubicBezTo>
                  <a:pt x="1836739" y="653655"/>
                  <a:pt x="1836739" y="657822"/>
                  <a:pt x="1840821" y="657822"/>
                </a:cubicBezTo>
                <a:cubicBezTo>
                  <a:pt x="1844903" y="661989"/>
                  <a:pt x="1853068" y="661989"/>
                  <a:pt x="1857150" y="661989"/>
                </a:cubicBezTo>
                <a:cubicBezTo>
                  <a:pt x="1861232" y="657822"/>
                  <a:pt x="1861232" y="657822"/>
                  <a:pt x="1861232" y="657822"/>
                </a:cubicBezTo>
                <a:cubicBezTo>
                  <a:pt x="1865314" y="653655"/>
                  <a:pt x="1865314" y="649487"/>
                  <a:pt x="1865314" y="645320"/>
                </a:cubicBezTo>
                <a:cubicBezTo>
                  <a:pt x="1865314" y="645320"/>
                  <a:pt x="1865314" y="641153"/>
                  <a:pt x="1865314" y="636986"/>
                </a:cubicBezTo>
                <a:cubicBezTo>
                  <a:pt x="1863273" y="632818"/>
                  <a:pt x="1859191" y="630735"/>
                  <a:pt x="1855109" y="630214"/>
                </a:cubicBezTo>
                <a:close/>
                <a:moveTo>
                  <a:pt x="726110" y="628649"/>
                </a:moveTo>
                <a:cubicBezTo>
                  <a:pt x="742951" y="628649"/>
                  <a:pt x="742951" y="628649"/>
                  <a:pt x="742951" y="628649"/>
                </a:cubicBezTo>
                <a:lnTo>
                  <a:pt x="742951" y="795917"/>
                </a:lnTo>
                <a:cubicBezTo>
                  <a:pt x="726110" y="795917"/>
                  <a:pt x="726110" y="795917"/>
                  <a:pt x="726110" y="795917"/>
                </a:cubicBezTo>
                <a:cubicBezTo>
                  <a:pt x="726110" y="779190"/>
                  <a:pt x="726110" y="779190"/>
                  <a:pt x="726110" y="779190"/>
                </a:cubicBezTo>
                <a:cubicBezTo>
                  <a:pt x="717689" y="795917"/>
                  <a:pt x="709268" y="800099"/>
                  <a:pt x="692427" y="800099"/>
                </a:cubicBezTo>
                <a:cubicBezTo>
                  <a:pt x="658744" y="800099"/>
                  <a:pt x="646113" y="775009"/>
                  <a:pt x="646113" y="741555"/>
                </a:cubicBezTo>
                <a:cubicBezTo>
                  <a:pt x="646113" y="708101"/>
                  <a:pt x="658744" y="683011"/>
                  <a:pt x="692427" y="683011"/>
                </a:cubicBezTo>
                <a:cubicBezTo>
                  <a:pt x="713479" y="683011"/>
                  <a:pt x="726110" y="695556"/>
                  <a:pt x="726110" y="703920"/>
                </a:cubicBezTo>
                <a:cubicBezTo>
                  <a:pt x="726110" y="628649"/>
                  <a:pt x="726110" y="628649"/>
                  <a:pt x="726110" y="628649"/>
                </a:cubicBezTo>
                <a:close/>
                <a:moveTo>
                  <a:pt x="1857377" y="622131"/>
                </a:moveTo>
                <a:cubicBezTo>
                  <a:pt x="1864256" y="623662"/>
                  <a:pt x="1870606" y="627744"/>
                  <a:pt x="1874839" y="633868"/>
                </a:cubicBezTo>
                <a:cubicBezTo>
                  <a:pt x="1874839" y="637950"/>
                  <a:pt x="1874839" y="642032"/>
                  <a:pt x="1874839" y="646114"/>
                </a:cubicBezTo>
                <a:cubicBezTo>
                  <a:pt x="1874839" y="650196"/>
                  <a:pt x="1874839" y="654278"/>
                  <a:pt x="1874839" y="658360"/>
                </a:cubicBezTo>
                <a:cubicBezTo>
                  <a:pt x="1870606" y="662443"/>
                  <a:pt x="1870606" y="666525"/>
                  <a:pt x="1862139" y="666525"/>
                </a:cubicBezTo>
                <a:cubicBezTo>
                  <a:pt x="1853672" y="674689"/>
                  <a:pt x="1836739" y="670607"/>
                  <a:pt x="1828272" y="658360"/>
                </a:cubicBezTo>
                <a:cubicBezTo>
                  <a:pt x="1828272" y="654278"/>
                  <a:pt x="1824039" y="650196"/>
                  <a:pt x="1824039" y="646114"/>
                </a:cubicBezTo>
                <a:cubicBezTo>
                  <a:pt x="1824039" y="637950"/>
                  <a:pt x="1828272" y="629785"/>
                  <a:pt x="1836739" y="625703"/>
                </a:cubicBezTo>
                <a:cubicBezTo>
                  <a:pt x="1843089" y="621621"/>
                  <a:pt x="1850497" y="620601"/>
                  <a:pt x="1857377" y="622131"/>
                </a:cubicBezTo>
                <a:close/>
                <a:moveTo>
                  <a:pt x="1571138" y="612775"/>
                </a:moveTo>
                <a:cubicBezTo>
                  <a:pt x="1579442" y="616903"/>
                  <a:pt x="1591897" y="625158"/>
                  <a:pt x="1600201" y="629285"/>
                </a:cubicBezTo>
                <a:cubicBezTo>
                  <a:pt x="1600201" y="629285"/>
                  <a:pt x="1600201" y="629285"/>
                  <a:pt x="1596049" y="637540"/>
                </a:cubicBezTo>
                <a:cubicBezTo>
                  <a:pt x="1587745" y="633413"/>
                  <a:pt x="1583593" y="629285"/>
                  <a:pt x="1575290" y="625158"/>
                </a:cubicBezTo>
                <a:lnTo>
                  <a:pt x="1571138" y="633413"/>
                </a:lnTo>
                <a:cubicBezTo>
                  <a:pt x="1575290" y="637540"/>
                  <a:pt x="1579442" y="641668"/>
                  <a:pt x="1583593" y="641668"/>
                </a:cubicBezTo>
                <a:cubicBezTo>
                  <a:pt x="1583593" y="641668"/>
                  <a:pt x="1583593" y="641668"/>
                  <a:pt x="1579442" y="649923"/>
                </a:cubicBezTo>
                <a:cubicBezTo>
                  <a:pt x="1579442" y="649923"/>
                  <a:pt x="1579442" y="649923"/>
                  <a:pt x="1566986" y="641668"/>
                </a:cubicBezTo>
                <a:cubicBezTo>
                  <a:pt x="1566986" y="641668"/>
                  <a:pt x="1566986" y="641668"/>
                  <a:pt x="1558682" y="654050"/>
                </a:cubicBezTo>
                <a:cubicBezTo>
                  <a:pt x="1558682" y="654050"/>
                  <a:pt x="1558682" y="654050"/>
                  <a:pt x="1579442" y="666433"/>
                </a:cubicBezTo>
                <a:cubicBezTo>
                  <a:pt x="1579442" y="666433"/>
                  <a:pt x="1579442" y="666433"/>
                  <a:pt x="1575290" y="674688"/>
                </a:cubicBezTo>
                <a:cubicBezTo>
                  <a:pt x="1562834" y="666433"/>
                  <a:pt x="1554530" y="662305"/>
                  <a:pt x="1546226" y="654050"/>
                </a:cubicBezTo>
                <a:cubicBezTo>
                  <a:pt x="1546226" y="654050"/>
                  <a:pt x="1546226" y="654050"/>
                  <a:pt x="1571138" y="612775"/>
                </a:cubicBezTo>
                <a:close/>
                <a:moveTo>
                  <a:pt x="1898969" y="579438"/>
                </a:moveTo>
                <a:cubicBezTo>
                  <a:pt x="1898969" y="579438"/>
                  <a:pt x="1898969" y="579438"/>
                  <a:pt x="1931989" y="616943"/>
                </a:cubicBezTo>
                <a:cubicBezTo>
                  <a:pt x="1927862" y="621110"/>
                  <a:pt x="1927862" y="621110"/>
                  <a:pt x="1923734" y="625277"/>
                </a:cubicBezTo>
                <a:cubicBezTo>
                  <a:pt x="1923734" y="625277"/>
                  <a:pt x="1923734" y="625277"/>
                  <a:pt x="1890714" y="612776"/>
                </a:cubicBezTo>
                <a:cubicBezTo>
                  <a:pt x="1890714" y="612776"/>
                  <a:pt x="1890714" y="612776"/>
                  <a:pt x="1907224" y="637779"/>
                </a:cubicBezTo>
                <a:cubicBezTo>
                  <a:pt x="1903096" y="641946"/>
                  <a:pt x="1903096" y="641946"/>
                  <a:pt x="1898969" y="646113"/>
                </a:cubicBezTo>
                <a:cubicBezTo>
                  <a:pt x="1898969" y="646113"/>
                  <a:pt x="1898969" y="646113"/>
                  <a:pt x="1870076" y="604441"/>
                </a:cubicBezTo>
                <a:cubicBezTo>
                  <a:pt x="1874204" y="604441"/>
                  <a:pt x="1874204" y="600274"/>
                  <a:pt x="1878331" y="600274"/>
                </a:cubicBezTo>
                <a:cubicBezTo>
                  <a:pt x="1878331" y="600274"/>
                  <a:pt x="1878331" y="600274"/>
                  <a:pt x="1911351" y="608608"/>
                </a:cubicBezTo>
                <a:cubicBezTo>
                  <a:pt x="1911351" y="608608"/>
                  <a:pt x="1911351" y="608608"/>
                  <a:pt x="1890714" y="587772"/>
                </a:cubicBezTo>
                <a:cubicBezTo>
                  <a:pt x="1894841" y="583605"/>
                  <a:pt x="1894841" y="583605"/>
                  <a:pt x="1898969" y="579438"/>
                </a:cubicBezTo>
                <a:close/>
                <a:moveTo>
                  <a:pt x="1534626" y="579438"/>
                </a:moveTo>
                <a:cubicBezTo>
                  <a:pt x="1542930" y="587742"/>
                  <a:pt x="1551233" y="596046"/>
                  <a:pt x="1563689" y="604350"/>
                </a:cubicBezTo>
                <a:cubicBezTo>
                  <a:pt x="1559537" y="612653"/>
                  <a:pt x="1559537" y="612653"/>
                  <a:pt x="1559537" y="612653"/>
                </a:cubicBezTo>
                <a:cubicBezTo>
                  <a:pt x="1555385" y="608501"/>
                  <a:pt x="1551233" y="604350"/>
                  <a:pt x="1547081" y="604350"/>
                </a:cubicBezTo>
                <a:cubicBezTo>
                  <a:pt x="1518018" y="633413"/>
                  <a:pt x="1518018" y="633413"/>
                  <a:pt x="1518018" y="633413"/>
                </a:cubicBezTo>
                <a:cubicBezTo>
                  <a:pt x="1509714" y="625109"/>
                  <a:pt x="1509714" y="625109"/>
                  <a:pt x="1509714" y="625109"/>
                </a:cubicBezTo>
                <a:cubicBezTo>
                  <a:pt x="1538778" y="596046"/>
                  <a:pt x="1538778" y="596046"/>
                  <a:pt x="1538778" y="596046"/>
                </a:cubicBezTo>
                <a:cubicBezTo>
                  <a:pt x="1534626" y="591894"/>
                  <a:pt x="1530474" y="587742"/>
                  <a:pt x="1526322" y="583590"/>
                </a:cubicBezTo>
                <a:cubicBezTo>
                  <a:pt x="1534626" y="579438"/>
                  <a:pt x="1534626" y="579438"/>
                  <a:pt x="1534626" y="579438"/>
                </a:cubicBezTo>
                <a:close/>
                <a:moveTo>
                  <a:pt x="1924051" y="566738"/>
                </a:moveTo>
                <a:lnTo>
                  <a:pt x="1931989" y="579438"/>
                </a:lnTo>
                <a:lnTo>
                  <a:pt x="1936751" y="587376"/>
                </a:lnTo>
                <a:lnTo>
                  <a:pt x="1944689" y="579438"/>
                </a:lnTo>
                <a:lnTo>
                  <a:pt x="1944689" y="574676"/>
                </a:lnTo>
                <a:close/>
                <a:moveTo>
                  <a:pt x="1919742" y="558800"/>
                </a:moveTo>
                <a:cubicBezTo>
                  <a:pt x="1970089" y="571103"/>
                  <a:pt x="1970089" y="571103"/>
                  <a:pt x="1970089" y="571103"/>
                </a:cubicBezTo>
                <a:cubicBezTo>
                  <a:pt x="1970089" y="575204"/>
                  <a:pt x="1965894" y="575204"/>
                  <a:pt x="1965894" y="579305"/>
                </a:cubicBezTo>
                <a:cubicBezTo>
                  <a:pt x="1965894" y="579305"/>
                  <a:pt x="1965894" y="579305"/>
                  <a:pt x="1961698" y="579305"/>
                </a:cubicBezTo>
                <a:cubicBezTo>
                  <a:pt x="1953307" y="579305"/>
                  <a:pt x="1953307" y="579305"/>
                  <a:pt x="1953307" y="579305"/>
                </a:cubicBezTo>
                <a:cubicBezTo>
                  <a:pt x="1940720" y="595710"/>
                  <a:pt x="1940720" y="595710"/>
                  <a:pt x="1940720" y="595710"/>
                </a:cubicBezTo>
                <a:cubicBezTo>
                  <a:pt x="1944916" y="603912"/>
                  <a:pt x="1944916" y="603912"/>
                  <a:pt x="1944916" y="603912"/>
                </a:cubicBezTo>
                <a:cubicBezTo>
                  <a:pt x="1944916" y="603912"/>
                  <a:pt x="1940720" y="608013"/>
                  <a:pt x="1940720" y="608013"/>
                </a:cubicBezTo>
                <a:cubicBezTo>
                  <a:pt x="1919742" y="579305"/>
                  <a:pt x="1919742" y="579305"/>
                  <a:pt x="1919742" y="579305"/>
                </a:cubicBezTo>
                <a:cubicBezTo>
                  <a:pt x="1911351" y="567002"/>
                  <a:pt x="1911351" y="567002"/>
                  <a:pt x="1911351" y="567002"/>
                </a:cubicBezTo>
                <a:close/>
                <a:moveTo>
                  <a:pt x="1500586" y="541338"/>
                </a:moveTo>
                <a:cubicBezTo>
                  <a:pt x="1504753" y="545571"/>
                  <a:pt x="1504753" y="545571"/>
                  <a:pt x="1508920" y="549805"/>
                </a:cubicBezTo>
                <a:cubicBezTo>
                  <a:pt x="1508920" y="549805"/>
                  <a:pt x="1508920" y="549805"/>
                  <a:pt x="1496419" y="583671"/>
                </a:cubicBezTo>
                <a:cubicBezTo>
                  <a:pt x="1496419" y="583671"/>
                  <a:pt x="1496419" y="583671"/>
                  <a:pt x="1521422" y="562505"/>
                </a:cubicBezTo>
                <a:cubicBezTo>
                  <a:pt x="1521422" y="566738"/>
                  <a:pt x="1525589" y="566738"/>
                  <a:pt x="1525589" y="570971"/>
                </a:cubicBezTo>
                <a:cubicBezTo>
                  <a:pt x="1525589" y="570971"/>
                  <a:pt x="1525589" y="570971"/>
                  <a:pt x="1488084" y="604838"/>
                </a:cubicBezTo>
                <a:cubicBezTo>
                  <a:pt x="1483917" y="600605"/>
                  <a:pt x="1483917" y="600605"/>
                  <a:pt x="1479750" y="596371"/>
                </a:cubicBezTo>
                <a:cubicBezTo>
                  <a:pt x="1479750" y="596371"/>
                  <a:pt x="1479750" y="596371"/>
                  <a:pt x="1492252" y="562505"/>
                </a:cubicBezTo>
                <a:cubicBezTo>
                  <a:pt x="1492252" y="562505"/>
                  <a:pt x="1492252" y="562505"/>
                  <a:pt x="1467249" y="579438"/>
                </a:cubicBezTo>
                <a:cubicBezTo>
                  <a:pt x="1463081" y="575205"/>
                  <a:pt x="1463081" y="575205"/>
                  <a:pt x="1458914" y="570971"/>
                </a:cubicBezTo>
                <a:cubicBezTo>
                  <a:pt x="1458914" y="570971"/>
                  <a:pt x="1458914" y="570971"/>
                  <a:pt x="1500586" y="541338"/>
                </a:cubicBezTo>
                <a:close/>
                <a:moveTo>
                  <a:pt x="1936752" y="528638"/>
                </a:moveTo>
                <a:lnTo>
                  <a:pt x="1973264" y="550863"/>
                </a:lnTo>
                <a:lnTo>
                  <a:pt x="1985965" y="528638"/>
                </a:lnTo>
                <a:lnTo>
                  <a:pt x="1993902" y="533401"/>
                </a:lnTo>
                <a:lnTo>
                  <a:pt x="1978027" y="561976"/>
                </a:lnTo>
                <a:lnTo>
                  <a:pt x="1931989" y="538163"/>
                </a:lnTo>
                <a:close/>
                <a:moveTo>
                  <a:pt x="1492829" y="525463"/>
                </a:moveTo>
                <a:cubicBezTo>
                  <a:pt x="1492829" y="529630"/>
                  <a:pt x="1497014" y="529630"/>
                  <a:pt x="1497014" y="533798"/>
                </a:cubicBezTo>
                <a:cubicBezTo>
                  <a:pt x="1497014" y="533798"/>
                  <a:pt x="1497014" y="533798"/>
                  <a:pt x="1455161" y="558801"/>
                </a:cubicBezTo>
                <a:cubicBezTo>
                  <a:pt x="1450976" y="554634"/>
                  <a:pt x="1450976" y="550467"/>
                  <a:pt x="1450976" y="550467"/>
                </a:cubicBezTo>
                <a:cubicBezTo>
                  <a:pt x="1450976" y="550467"/>
                  <a:pt x="1450976" y="550467"/>
                  <a:pt x="1492829" y="525463"/>
                </a:cubicBezTo>
                <a:close/>
                <a:moveTo>
                  <a:pt x="1482542" y="485751"/>
                </a:moveTo>
                <a:cubicBezTo>
                  <a:pt x="1480468" y="485230"/>
                  <a:pt x="1478394" y="486272"/>
                  <a:pt x="1476320" y="488355"/>
                </a:cubicBezTo>
                <a:cubicBezTo>
                  <a:pt x="1430696" y="500857"/>
                  <a:pt x="1430696" y="500857"/>
                  <a:pt x="1430696" y="500857"/>
                </a:cubicBezTo>
                <a:cubicBezTo>
                  <a:pt x="1422401" y="505024"/>
                  <a:pt x="1422401" y="509191"/>
                  <a:pt x="1422401" y="517526"/>
                </a:cubicBezTo>
                <a:cubicBezTo>
                  <a:pt x="1468025" y="634207"/>
                  <a:pt x="1584159" y="717551"/>
                  <a:pt x="1716883" y="717551"/>
                </a:cubicBezTo>
                <a:cubicBezTo>
                  <a:pt x="1849607" y="717551"/>
                  <a:pt x="1965740" y="634207"/>
                  <a:pt x="2011364" y="513358"/>
                </a:cubicBezTo>
                <a:cubicBezTo>
                  <a:pt x="2011364" y="509191"/>
                  <a:pt x="2007217" y="505024"/>
                  <a:pt x="2003069" y="500857"/>
                </a:cubicBezTo>
                <a:cubicBezTo>
                  <a:pt x="1957445" y="488355"/>
                  <a:pt x="1957445" y="488355"/>
                  <a:pt x="1957445" y="488355"/>
                </a:cubicBezTo>
                <a:cubicBezTo>
                  <a:pt x="1955371" y="486272"/>
                  <a:pt x="1953297" y="485230"/>
                  <a:pt x="1951224" y="485751"/>
                </a:cubicBezTo>
                <a:cubicBezTo>
                  <a:pt x="1949150" y="486272"/>
                  <a:pt x="1947076" y="488355"/>
                  <a:pt x="1945002" y="492522"/>
                </a:cubicBezTo>
                <a:cubicBezTo>
                  <a:pt x="1907673" y="584201"/>
                  <a:pt x="1820573" y="646709"/>
                  <a:pt x="1716883" y="646709"/>
                </a:cubicBezTo>
                <a:cubicBezTo>
                  <a:pt x="1613192" y="646709"/>
                  <a:pt x="1526092" y="584201"/>
                  <a:pt x="1488763" y="492522"/>
                </a:cubicBezTo>
                <a:cubicBezTo>
                  <a:pt x="1486689" y="488355"/>
                  <a:pt x="1484616" y="486272"/>
                  <a:pt x="1482542" y="485751"/>
                </a:cubicBezTo>
                <a:close/>
                <a:moveTo>
                  <a:pt x="1662749" y="478852"/>
                </a:moveTo>
                <a:cubicBezTo>
                  <a:pt x="1551306" y="533313"/>
                  <a:pt x="1551306" y="533313"/>
                  <a:pt x="1551306" y="533313"/>
                </a:cubicBezTo>
                <a:cubicBezTo>
                  <a:pt x="1547179" y="533313"/>
                  <a:pt x="1543051" y="533313"/>
                  <a:pt x="1543051" y="537502"/>
                </a:cubicBezTo>
                <a:cubicBezTo>
                  <a:pt x="1543051" y="537502"/>
                  <a:pt x="1543051" y="537502"/>
                  <a:pt x="1543051" y="541691"/>
                </a:cubicBezTo>
                <a:cubicBezTo>
                  <a:pt x="1543051" y="541691"/>
                  <a:pt x="1543051" y="545880"/>
                  <a:pt x="1547179" y="545880"/>
                </a:cubicBezTo>
                <a:cubicBezTo>
                  <a:pt x="1584326" y="587773"/>
                  <a:pt x="1621474" y="608719"/>
                  <a:pt x="1675132" y="621287"/>
                </a:cubicBezTo>
                <a:cubicBezTo>
                  <a:pt x="1679259" y="625476"/>
                  <a:pt x="1683387" y="625476"/>
                  <a:pt x="1683387" y="621287"/>
                </a:cubicBezTo>
                <a:cubicBezTo>
                  <a:pt x="1687514" y="621287"/>
                  <a:pt x="1687514" y="617098"/>
                  <a:pt x="1687514" y="608719"/>
                </a:cubicBezTo>
                <a:cubicBezTo>
                  <a:pt x="1687514" y="608719"/>
                  <a:pt x="1679259" y="487231"/>
                  <a:pt x="1679259" y="487231"/>
                </a:cubicBezTo>
                <a:cubicBezTo>
                  <a:pt x="1679259" y="483042"/>
                  <a:pt x="1675132" y="478852"/>
                  <a:pt x="1675132" y="478852"/>
                </a:cubicBezTo>
                <a:cubicBezTo>
                  <a:pt x="1671004" y="474663"/>
                  <a:pt x="1666877" y="474663"/>
                  <a:pt x="1662749" y="478852"/>
                </a:cubicBezTo>
                <a:close/>
                <a:moveTo>
                  <a:pt x="1762761" y="474663"/>
                </a:moveTo>
                <a:cubicBezTo>
                  <a:pt x="1758634" y="478836"/>
                  <a:pt x="1758634" y="483009"/>
                  <a:pt x="1758634" y="487182"/>
                </a:cubicBezTo>
                <a:cubicBezTo>
                  <a:pt x="1746251" y="608194"/>
                  <a:pt x="1746251" y="608194"/>
                  <a:pt x="1746251" y="608194"/>
                </a:cubicBezTo>
                <a:cubicBezTo>
                  <a:pt x="1746251" y="612367"/>
                  <a:pt x="1746251" y="616540"/>
                  <a:pt x="1750379" y="620713"/>
                </a:cubicBezTo>
                <a:cubicBezTo>
                  <a:pt x="1750379" y="620713"/>
                  <a:pt x="1754506" y="620713"/>
                  <a:pt x="1758634" y="620713"/>
                </a:cubicBezTo>
                <a:cubicBezTo>
                  <a:pt x="1812291" y="608194"/>
                  <a:pt x="1849439" y="587330"/>
                  <a:pt x="1886587" y="545602"/>
                </a:cubicBezTo>
                <a:cubicBezTo>
                  <a:pt x="1890714" y="541429"/>
                  <a:pt x="1890714" y="541429"/>
                  <a:pt x="1890714" y="537256"/>
                </a:cubicBezTo>
                <a:cubicBezTo>
                  <a:pt x="1890714" y="533083"/>
                  <a:pt x="1886587" y="533083"/>
                  <a:pt x="1882459" y="528910"/>
                </a:cubicBezTo>
                <a:cubicBezTo>
                  <a:pt x="1775144" y="474663"/>
                  <a:pt x="1775144" y="474663"/>
                  <a:pt x="1775144" y="474663"/>
                </a:cubicBezTo>
                <a:cubicBezTo>
                  <a:pt x="1771016" y="474663"/>
                  <a:pt x="1766889" y="474663"/>
                  <a:pt x="1762761" y="474663"/>
                </a:cubicBezTo>
                <a:close/>
                <a:moveTo>
                  <a:pt x="725572" y="428624"/>
                </a:moveTo>
                <a:cubicBezTo>
                  <a:pt x="705101" y="432820"/>
                  <a:pt x="696913" y="441211"/>
                  <a:pt x="696913" y="457993"/>
                </a:cubicBezTo>
                <a:cubicBezTo>
                  <a:pt x="696913" y="470580"/>
                  <a:pt x="696913" y="487362"/>
                  <a:pt x="717384" y="487362"/>
                </a:cubicBezTo>
                <a:cubicBezTo>
                  <a:pt x="741948" y="487362"/>
                  <a:pt x="774701" y="478971"/>
                  <a:pt x="774701" y="478971"/>
                </a:cubicBezTo>
                <a:cubicBezTo>
                  <a:pt x="774701" y="428624"/>
                  <a:pt x="774701" y="428624"/>
                  <a:pt x="774701" y="428624"/>
                </a:cubicBezTo>
                <a:close/>
                <a:moveTo>
                  <a:pt x="352426" y="346073"/>
                </a:moveTo>
                <a:cubicBezTo>
                  <a:pt x="315516" y="346073"/>
                  <a:pt x="303213" y="362695"/>
                  <a:pt x="303213" y="412562"/>
                </a:cubicBezTo>
                <a:cubicBezTo>
                  <a:pt x="303213" y="462428"/>
                  <a:pt x="311415" y="487361"/>
                  <a:pt x="352426" y="487361"/>
                </a:cubicBezTo>
                <a:cubicBezTo>
                  <a:pt x="393436" y="487361"/>
                  <a:pt x="401638" y="458272"/>
                  <a:pt x="401638" y="412562"/>
                </a:cubicBezTo>
                <a:cubicBezTo>
                  <a:pt x="401638" y="362695"/>
                  <a:pt x="389335" y="346073"/>
                  <a:pt x="352426" y="346073"/>
                </a:cubicBezTo>
                <a:close/>
                <a:moveTo>
                  <a:pt x="1704770" y="341312"/>
                </a:moveTo>
                <a:cubicBezTo>
                  <a:pt x="1704770" y="341312"/>
                  <a:pt x="1704770" y="353885"/>
                  <a:pt x="1704770" y="353885"/>
                </a:cubicBezTo>
                <a:cubicBezTo>
                  <a:pt x="1684063" y="358076"/>
                  <a:pt x="1671639" y="379031"/>
                  <a:pt x="1671639" y="399986"/>
                </a:cubicBezTo>
                <a:cubicBezTo>
                  <a:pt x="1671639" y="425132"/>
                  <a:pt x="1692346" y="446087"/>
                  <a:pt x="1717193" y="446087"/>
                </a:cubicBezTo>
                <a:cubicBezTo>
                  <a:pt x="1742041" y="446087"/>
                  <a:pt x="1766889" y="425132"/>
                  <a:pt x="1766889" y="399986"/>
                </a:cubicBezTo>
                <a:cubicBezTo>
                  <a:pt x="1766889" y="379031"/>
                  <a:pt x="1750324" y="358076"/>
                  <a:pt x="1729617" y="353885"/>
                </a:cubicBezTo>
                <a:cubicBezTo>
                  <a:pt x="1729617" y="349694"/>
                  <a:pt x="1729617" y="341312"/>
                  <a:pt x="1729617" y="341312"/>
                </a:cubicBezTo>
                <a:cubicBezTo>
                  <a:pt x="1704770" y="341312"/>
                  <a:pt x="1704770" y="341312"/>
                  <a:pt x="1704770" y="341312"/>
                </a:cubicBezTo>
                <a:close/>
                <a:moveTo>
                  <a:pt x="1716883" y="328612"/>
                </a:moveTo>
                <a:cubicBezTo>
                  <a:pt x="1755899" y="328612"/>
                  <a:pt x="1787527" y="360596"/>
                  <a:pt x="1787527" y="400050"/>
                </a:cubicBezTo>
                <a:cubicBezTo>
                  <a:pt x="1787527" y="439504"/>
                  <a:pt x="1755899" y="471488"/>
                  <a:pt x="1716883" y="471488"/>
                </a:cubicBezTo>
                <a:cubicBezTo>
                  <a:pt x="1677867" y="471488"/>
                  <a:pt x="1646239" y="439504"/>
                  <a:pt x="1646239" y="400050"/>
                </a:cubicBezTo>
                <a:cubicBezTo>
                  <a:pt x="1646239" y="360596"/>
                  <a:pt x="1677867" y="328612"/>
                  <a:pt x="1716883" y="328612"/>
                </a:cubicBezTo>
                <a:close/>
                <a:moveTo>
                  <a:pt x="1716883" y="320675"/>
                </a:moveTo>
                <a:cubicBezTo>
                  <a:pt x="1673483" y="320675"/>
                  <a:pt x="1638301" y="356212"/>
                  <a:pt x="1638301" y="400050"/>
                </a:cubicBezTo>
                <a:cubicBezTo>
                  <a:pt x="1638301" y="443888"/>
                  <a:pt x="1673483" y="479425"/>
                  <a:pt x="1716883" y="479425"/>
                </a:cubicBezTo>
                <a:cubicBezTo>
                  <a:pt x="1760283" y="479425"/>
                  <a:pt x="1795465" y="443888"/>
                  <a:pt x="1795465" y="400050"/>
                </a:cubicBezTo>
                <a:cubicBezTo>
                  <a:pt x="1795465" y="356212"/>
                  <a:pt x="1760283" y="320675"/>
                  <a:pt x="1716883" y="320675"/>
                </a:cubicBezTo>
                <a:close/>
                <a:moveTo>
                  <a:pt x="1924004" y="317500"/>
                </a:moveTo>
                <a:cubicBezTo>
                  <a:pt x="1924004" y="317500"/>
                  <a:pt x="1919866" y="317500"/>
                  <a:pt x="1911592" y="321667"/>
                </a:cubicBezTo>
                <a:cubicBezTo>
                  <a:pt x="1812301" y="388342"/>
                  <a:pt x="1812301" y="388342"/>
                  <a:pt x="1812301" y="388342"/>
                </a:cubicBezTo>
                <a:cubicBezTo>
                  <a:pt x="1808164" y="392510"/>
                  <a:pt x="1808164" y="396677"/>
                  <a:pt x="1808164" y="400844"/>
                </a:cubicBezTo>
                <a:cubicBezTo>
                  <a:pt x="1808164" y="400844"/>
                  <a:pt x="1808164" y="405011"/>
                  <a:pt x="1812301" y="409178"/>
                </a:cubicBezTo>
                <a:lnTo>
                  <a:pt x="1915729" y="480021"/>
                </a:lnTo>
                <a:cubicBezTo>
                  <a:pt x="1915729" y="480021"/>
                  <a:pt x="1919866" y="484188"/>
                  <a:pt x="1924004" y="480021"/>
                </a:cubicBezTo>
                <a:cubicBezTo>
                  <a:pt x="1928141" y="480021"/>
                  <a:pt x="1928141" y="480021"/>
                  <a:pt x="1928141" y="471686"/>
                </a:cubicBezTo>
                <a:cubicBezTo>
                  <a:pt x="1944689" y="421680"/>
                  <a:pt x="1944689" y="375841"/>
                  <a:pt x="1928141" y="325834"/>
                </a:cubicBezTo>
                <a:cubicBezTo>
                  <a:pt x="1928141" y="321667"/>
                  <a:pt x="1928141" y="317500"/>
                  <a:pt x="1924004" y="317500"/>
                </a:cubicBezTo>
                <a:close/>
                <a:moveTo>
                  <a:pt x="1509762" y="317500"/>
                </a:moveTo>
                <a:cubicBezTo>
                  <a:pt x="1505625" y="317500"/>
                  <a:pt x="1505625" y="321667"/>
                  <a:pt x="1501487" y="325834"/>
                </a:cubicBezTo>
                <a:cubicBezTo>
                  <a:pt x="1489076" y="375841"/>
                  <a:pt x="1489076" y="421680"/>
                  <a:pt x="1501487" y="475854"/>
                </a:cubicBezTo>
                <a:cubicBezTo>
                  <a:pt x="1505625" y="475854"/>
                  <a:pt x="1505625" y="480021"/>
                  <a:pt x="1509762" y="480021"/>
                </a:cubicBezTo>
                <a:cubicBezTo>
                  <a:pt x="1509762" y="484188"/>
                  <a:pt x="1513899" y="480021"/>
                  <a:pt x="1518036" y="480021"/>
                </a:cubicBezTo>
                <a:cubicBezTo>
                  <a:pt x="1621464" y="409178"/>
                  <a:pt x="1621464" y="409178"/>
                  <a:pt x="1621464" y="409178"/>
                </a:cubicBezTo>
                <a:cubicBezTo>
                  <a:pt x="1625601" y="409178"/>
                  <a:pt x="1625601" y="405011"/>
                  <a:pt x="1625601" y="400844"/>
                </a:cubicBezTo>
                <a:cubicBezTo>
                  <a:pt x="1625601" y="396677"/>
                  <a:pt x="1625601" y="392510"/>
                  <a:pt x="1621464" y="388342"/>
                </a:cubicBezTo>
                <a:lnTo>
                  <a:pt x="1518036" y="321667"/>
                </a:lnTo>
                <a:cubicBezTo>
                  <a:pt x="1518036" y="317500"/>
                  <a:pt x="1513899" y="317500"/>
                  <a:pt x="1509762" y="317500"/>
                </a:cubicBezTo>
                <a:close/>
                <a:moveTo>
                  <a:pt x="1032821" y="304799"/>
                </a:moveTo>
                <a:cubicBezTo>
                  <a:pt x="1032821" y="304799"/>
                  <a:pt x="1036942" y="304799"/>
                  <a:pt x="1041062" y="304799"/>
                </a:cubicBezTo>
                <a:cubicBezTo>
                  <a:pt x="1041062" y="304799"/>
                  <a:pt x="1041062" y="304799"/>
                  <a:pt x="1074028" y="304799"/>
                </a:cubicBezTo>
                <a:cubicBezTo>
                  <a:pt x="1078149" y="304799"/>
                  <a:pt x="1078149" y="304799"/>
                  <a:pt x="1082270" y="308966"/>
                </a:cubicBezTo>
                <a:cubicBezTo>
                  <a:pt x="1082270" y="308966"/>
                  <a:pt x="1082270" y="308966"/>
                  <a:pt x="1123477" y="479821"/>
                </a:cubicBezTo>
                <a:cubicBezTo>
                  <a:pt x="1123477" y="479821"/>
                  <a:pt x="1123477" y="479821"/>
                  <a:pt x="1127598" y="479821"/>
                </a:cubicBezTo>
                <a:cubicBezTo>
                  <a:pt x="1127598" y="479821"/>
                  <a:pt x="1127598" y="479821"/>
                  <a:pt x="1172926" y="308966"/>
                </a:cubicBezTo>
                <a:cubicBezTo>
                  <a:pt x="1172926" y="304799"/>
                  <a:pt x="1177047" y="304799"/>
                  <a:pt x="1181168" y="304799"/>
                </a:cubicBezTo>
                <a:cubicBezTo>
                  <a:pt x="1181168" y="304799"/>
                  <a:pt x="1181168" y="304799"/>
                  <a:pt x="1214134" y="304799"/>
                </a:cubicBezTo>
                <a:cubicBezTo>
                  <a:pt x="1218254" y="304799"/>
                  <a:pt x="1218254" y="304799"/>
                  <a:pt x="1222375" y="304799"/>
                </a:cubicBezTo>
                <a:cubicBezTo>
                  <a:pt x="1222375" y="308966"/>
                  <a:pt x="1222375" y="308966"/>
                  <a:pt x="1222375" y="313133"/>
                </a:cubicBezTo>
                <a:cubicBezTo>
                  <a:pt x="1222375" y="313133"/>
                  <a:pt x="1222375" y="313133"/>
                  <a:pt x="1218254" y="338137"/>
                </a:cubicBezTo>
                <a:cubicBezTo>
                  <a:pt x="1214134" y="350638"/>
                  <a:pt x="1210013" y="367307"/>
                  <a:pt x="1201771" y="388143"/>
                </a:cubicBezTo>
                <a:cubicBezTo>
                  <a:pt x="1193530" y="433982"/>
                  <a:pt x="1177047" y="496490"/>
                  <a:pt x="1164685" y="542329"/>
                </a:cubicBezTo>
                <a:cubicBezTo>
                  <a:pt x="1152322" y="584001"/>
                  <a:pt x="1131719" y="604837"/>
                  <a:pt x="1098753" y="604837"/>
                </a:cubicBezTo>
                <a:cubicBezTo>
                  <a:pt x="1098753" y="604837"/>
                  <a:pt x="1098753" y="604837"/>
                  <a:pt x="1094632" y="604837"/>
                </a:cubicBezTo>
                <a:cubicBezTo>
                  <a:pt x="1078149" y="604837"/>
                  <a:pt x="1053425" y="600670"/>
                  <a:pt x="1041062" y="600670"/>
                </a:cubicBezTo>
                <a:cubicBezTo>
                  <a:pt x="1036942" y="596503"/>
                  <a:pt x="1032821" y="596503"/>
                  <a:pt x="1032821" y="592335"/>
                </a:cubicBezTo>
                <a:cubicBezTo>
                  <a:pt x="1032821" y="592335"/>
                  <a:pt x="1032821" y="592335"/>
                  <a:pt x="1032821" y="567332"/>
                </a:cubicBezTo>
                <a:cubicBezTo>
                  <a:pt x="1032821" y="567332"/>
                  <a:pt x="1032821" y="563165"/>
                  <a:pt x="1036942" y="563165"/>
                </a:cubicBezTo>
                <a:cubicBezTo>
                  <a:pt x="1036942" y="558998"/>
                  <a:pt x="1041062" y="558998"/>
                  <a:pt x="1041062" y="558998"/>
                </a:cubicBezTo>
                <a:cubicBezTo>
                  <a:pt x="1041062" y="558998"/>
                  <a:pt x="1041062" y="558998"/>
                  <a:pt x="1082270" y="563165"/>
                </a:cubicBezTo>
                <a:cubicBezTo>
                  <a:pt x="1106994" y="563165"/>
                  <a:pt x="1111115" y="550663"/>
                  <a:pt x="1115236" y="538162"/>
                </a:cubicBezTo>
                <a:cubicBezTo>
                  <a:pt x="1115236" y="533995"/>
                  <a:pt x="1115236" y="533995"/>
                  <a:pt x="1119357" y="529828"/>
                </a:cubicBezTo>
                <a:cubicBezTo>
                  <a:pt x="1119357" y="529828"/>
                  <a:pt x="1119357" y="529828"/>
                  <a:pt x="1106994" y="529828"/>
                </a:cubicBezTo>
                <a:cubicBezTo>
                  <a:pt x="1090511" y="529828"/>
                  <a:pt x="1082270" y="513159"/>
                  <a:pt x="1082270" y="504824"/>
                </a:cubicBezTo>
                <a:cubicBezTo>
                  <a:pt x="1082270" y="504824"/>
                  <a:pt x="1082270" y="504824"/>
                  <a:pt x="1032821" y="313133"/>
                </a:cubicBezTo>
                <a:cubicBezTo>
                  <a:pt x="1028700" y="308966"/>
                  <a:pt x="1032821" y="308966"/>
                  <a:pt x="1032821" y="304799"/>
                </a:cubicBezTo>
                <a:close/>
                <a:moveTo>
                  <a:pt x="994979" y="300037"/>
                </a:moveTo>
                <a:cubicBezTo>
                  <a:pt x="994979" y="300037"/>
                  <a:pt x="999140" y="300037"/>
                  <a:pt x="999140" y="304193"/>
                </a:cubicBezTo>
                <a:cubicBezTo>
                  <a:pt x="1003300" y="304193"/>
                  <a:pt x="1003300" y="308350"/>
                  <a:pt x="1003300" y="308350"/>
                </a:cubicBezTo>
                <a:cubicBezTo>
                  <a:pt x="1003300" y="308350"/>
                  <a:pt x="1003300" y="308350"/>
                  <a:pt x="1003300" y="341601"/>
                </a:cubicBezTo>
                <a:cubicBezTo>
                  <a:pt x="1003300" y="345757"/>
                  <a:pt x="999140" y="345757"/>
                  <a:pt x="994979" y="349913"/>
                </a:cubicBezTo>
                <a:cubicBezTo>
                  <a:pt x="965857" y="349913"/>
                  <a:pt x="940895" y="370695"/>
                  <a:pt x="932574" y="374852"/>
                </a:cubicBezTo>
                <a:cubicBezTo>
                  <a:pt x="932574" y="374852"/>
                  <a:pt x="932574" y="374852"/>
                  <a:pt x="932574" y="520324"/>
                </a:cubicBezTo>
                <a:cubicBezTo>
                  <a:pt x="932574" y="524481"/>
                  <a:pt x="928414" y="528637"/>
                  <a:pt x="924254" y="528637"/>
                </a:cubicBezTo>
                <a:cubicBezTo>
                  <a:pt x="924254" y="528637"/>
                  <a:pt x="924254" y="528637"/>
                  <a:pt x="890971" y="528637"/>
                </a:cubicBezTo>
                <a:cubicBezTo>
                  <a:pt x="886810" y="528637"/>
                  <a:pt x="882650" y="524481"/>
                  <a:pt x="882650" y="520324"/>
                </a:cubicBezTo>
                <a:cubicBezTo>
                  <a:pt x="882650" y="520324"/>
                  <a:pt x="882650" y="520324"/>
                  <a:pt x="882650" y="312506"/>
                </a:cubicBezTo>
                <a:cubicBezTo>
                  <a:pt x="882650" y="304193"/>
                  <a:pt x="886810" y="304193"/>
                  <a:pt x="890971" y="304193"/>
                </a:cubicBezTo>
                <a:cubicBezTo>
                  <a:pt x="890971" y="304193"/>
                  <a:pt x="890971" y="304193"/>
                  <a:pt x="924254" y="304193"/>
                </a:cubicBezTo>
                <a:cubicBezTo>
                  <a:pt x="928414" y="304193"/>
                  <a:pt x="932574" y="304193"/>
                  <a:pt x="932574" y="312506"/>
                </a:cubicBezTo>
                <a:cubicBezTo>
                  <a:pt x="932574" y="312506"/>
                  <a:pt x="932574" y="312506"/>
                  <a:pt x="932574" y="324975"/>
                </a:cubicBezTo>
                <a:cubicBezTo>
                  <a:pt x="949216" y="316662"/>
                  <a:pt x="970017" y="300037"/>
                  <a:pt x="994979" y="300037"/>
                </a:cubicBezTo>
                <a:close/>
                <a:moveTo>
                  <a:pt x="750816" y="295274"/>
                </a:moveTo>
                <a:cubicBezTo>
                  <a:pt x="800606" y="295274"/>
                  <a:pt x="825501" y="320340"/>
                  <a:pt x="825501" y="374649"/>
                </a:cubicBezTo>
                <a:cubicBezTo>
                  <a:pt x="825501" y="525044"/>
                  <a:pt x="825501" y="525044"/>
                  <a:pt x="825501" y="525044"/>
                </a:cubicBezTo>
                <a:cubicBezTo>
                  <a:pt x="825501" y="525044"/>
                  <a:pt x="825501" y="529221"/>
                  <a:pt x="825501" y="529221"/>
                </a:cubicBezTo>
                <a:cubicBezTo>
                  <a:pt x="821352" y="533399"/>
                  <a:pt x="821352" y="533399"/>
                  <a:pt x="817203" y="533399"/>
                </a:cubicBezTo>
                <a:cubicBezTo>
                  <a:pt x="800606" y="529221"/>
                  <a:pt x="792308" y="525044"/>
                  <a:pt x="784010" y="516688"/>
                </a:cubicBezTo>
                <a:cubicBezTo>
                  <a:pt x="784010" y="516688"/>
                  <a:pt x="742518" y="533399"/>
                  <a:pt x="709325" y="533399"/>
                </a:cubicBezTo>
                <a:cubicBezTo>
                  <a:pt x="667833" y="533399"/>
                  <a:pt x="642938" y="508333"/>
                  <a:pt x="642938" y="462379"/>
                </a:cubicBezTo>
                <a:cubicBezTo>
                  <a:pt x="642938" y="416425"/>
                  <a:pt x="667833" y="395537"/>
                  <a:pt x="717623" y="391360"/>
                </a:cubicBezTo>
                <a:cubicBezTo>
                  <a:pt x="775711" y="387182"/>
                  <a:pt x="775711" y="387182"/>
                  <a:pt x="775711" y="387182"/>
                </a:cubicBezTo>
                <a:cubicBezTo>
                  <a:pt x="775711" y="374649"/>
                  <a:pt x="775711" y="374649"/>
                  <a:pt x="775711" y="374649"/>
                </a:cubicBezTo>
                <a:cubicBezTo>
                  <a:pt x="775711" y="357939"/>
                  <a:pt x="763264" y="345406"/>
                  <a:pt x="746667" y="345406"/>
                </a:cubicBezTo>
                <a:cubicBezTo>
                  <a:pt x="721772" y="345406"/>
                  <a:pt x="688579" y="349583"/>
                  <a:pt x="667833" y="349583"/>
                </a:cubicBezTo>
                <a:cubicBezTo>
                  <a:pt x="667833" y="349583"/>
                  <a:pt x="663684" y="349583"/>
                  <a:pt x="663684" y="349583"/>
                </a:cubicBezTo>
                <a:cubicBezTo>
                  <a:pt x="659535" y="345406"/>
                  <a:pt x="659535" y="345406"/>
                  <a:pt x="659535" y="341228"/>
                </a:cubicBezTo>
                <a:cubicBezTo>
                  <a:pt x="659535" y="311985"/>
                  <a:pt x="659535" y="311985"/>
                  <a:pt x="659535" y="311985"/>
                </a:cubicBezTo>
                <a:cubicBezTo>
                  <a:pt x="659535" y="307807"/>
                  <a:pt x="663684" y="303629"/>
                  <a:pt x="667833" y="303629"/>
                </a:cubicBezTo>
                <a:cubicBezTo>
                  <a:pt x="684430" y="303629"/>
                  <a:pt x="725921" y="295274"/>
                  <a:pt x="750816" y="295274"/>
                </a:cubicBezTo>
                <a:close/>
                <a:moveTo>
                  <a:pt x="354013" y="295273"/>
                </a:moveTo>
                <a:cubicBezTo>
                  <a:pt x="410125" y="295273"/>
                  <a:pt x="455613" y="348579"/>
                  <a:pt x="455613" y="414336"/>
                </a:cubicBezTo>
                <a:cubicBezTo>
                  <a:pt x="455613" y="480093"/>
                  <a:pt x="410125" y="533399"/>
                  <a:pt x="354013" y="533399"/>
                </a:cubicBezTo>
                <a:cubicBezTo>
                  <a:pt x="297901" y="533399"/>
                  <a:pt x="252413" y="480093"/>
                  <a:pt x="252413" y="414336"/>
                </a:cubicBezTo>
                <a:cubicBezTo>
                  <a:pt x="252413" y="348579"/>
                  <a:pt x="297901" y="295273"/>
                  <a:pt x="354013" y="295273"/>
                </a:cubicBezTo>
                <a:close/>
                <a:moveTo>
                  <a:pt x="53975" y="266699"/>
                </a:moveTo>
                <a:cubicBezTo>
                  <a:pt x="53975" y="358774"/>
                  <a:pt x="53975" y="358774"/>
                  <a:pt x="53975" y="358774"/>
                </a:cubicBezTo>
                <a:cubicBezTo>
                  <a:pt x="62207" y="358774"/>
                  <a:pt x="82785" y="358774"/>
                  <a:pt x="107480" y="358774"/>
                </a:cubicBezTo>
                <a:cubicBezTo>
                  <a:pt x="144521" y="358774"/>
                  <a:pt x="165100" y="342033"/>
                  <a:pt x="165100" y="312737"/>
                </a:cubicBezTo>
                <a:cubicBezTo>
                  <a:pt x="165100" y="291810"/>
                  <a:pt x="148637" y="266699"/>
                  <a:pt x="111595" y="266699"/>
                </a:cubicBezTo>
                <a:cubicBezTo>
                  <a:pt x="91017" y="266699"/>
                  <a:pt x="91017" y="266699"/>
                  <a:pt x="91017" y="266699"/>
                </a:cubicBezTo>
                <a:cubicBezTo>
                  <a:pt x="70438" y="266699"/>
                  <a:pt x="62207" y="266699"/>
                  <a:pt x="53975" y="266699"/>
                </a:cubicBezTo>
                <a:close/>
                <a:moveTo>
                  <a:pt x="546894" y="250824"/>
                </a:moveTo>
                <a:cubicBezTo>
                  <a:pt x="546894" y="250824"/>
                  <a:pt x="551050" y="250824"/>
                  <a:pt x="551050" y="250824"/>
                </a:cubicBezTo>
                <a:cubicBezTo>
                  <a:pt x="555205" y="254980"/>
                  <a:pt x="555205" y="254980"/>
                  <a:pt x="555205" y="259135"/>
                </a:cubicBezTo>
                <a:cubicBezTo>
                  <a:pt x="555205" y="304846"/>
                  <a:pt x="555205" y="304846"/>
                  <a:pt x="555205" y="304846"/>
                </a:cubicBezTo>
                <a:cubicBezTo>
                  <a:pt x="609227" y="304846"/>
                  <a:pt x="609227" y="304846"/>
                  <a:pt x="609227" y="304846"/>
                </a:cubicBezTo>
                <a:cubicBezTo>
                  <a:pt x="613383" y="304846"/>
                  <a:pt x="617538" y="304846"/>
                  <a:pt x="617538" y="313157"/>
                </a:cubicBezTo>
                <a:cubicBezTo>
                  <a:pt x="617538" y="342245"/>
                  <a:pt x="617538" y="342245"/>
                  <a:pt x="617538" y="342245"/>
                </a:cubicBezTo>
                <a:cubicBezTo>
                  <a:pt x="617538" y="346401"/>
                  <a:pt x="613383" y="350556"/>
                  <a:pt x="609227" y="350556"/>
                </a:cubicBezTo>
                <a:cubicBezTo>
                  <a:pt x="555205" y="350556"/>
                  <a:pt x="555205" y="350556"/>
                  <a:pt x="555205" y="350556"/>
                </a:cubicBezTo>
                <a:cubicBezTo>
                  <a:pt x="555205" y="441978"/>
                  <a:pt x="555205" y="441978"/>
                  <a:pt x="555205" y="441978"/>
                </a:cubicBezTo>
                <a:cubicBezTo>
                  <a:pt x="555205" y="475222"/>
                  <a:pt x="555205" y="483533"/>
                  <a:pt x="580138" y="483533"/>
                </a:cubicBezTo>
                <a:cubicBezTo>
                  <a:pt x="588449" y="483533"/>
                  <a:pt x="600916" y="483533"/>
                  <a:pt x="609227" y="483533"/>
                </a:cubicBezTo>
                <a:cubicBezTo>
                  <a:pt x="613383" y="483533"/>
                  <a:pt x="617538" y="487688"/>
                  <a:pt x="617538" y="491844"/>
                </a:cubicBezTo>
                <a:cubicBezTo>
                  <a:pt x="617538" y="520932"/>
                  <a:pt x="617538" y="520932"/>
                  <a:pt x="617538" y="520932"/>
                </a:cubicBezTo>
                <a:cubicBezTo>
                  <a:pt x="617538" y="525088"/>
                  <a:pt x="613383" y="529244"/>
                  <a:pt x="609227" y="529244"/>
                </a:cubicBezTo>
                <a:cubicBezTo>
                  <a:pt x="596760" y="529244"/>
                  <a:pt x="584294" y="533399"/>
                  <a:pt x="571827" y="533399"/>
                </a:cubicBezTo>
                <a:cubicBezTo>
                  <a:pt x="521961" y="533399"/>
                  <a:pt x="505339" y="512621"/>
                  <a:pt x="505339" y="450289"/>
                </a:cubicBezTo>
                <a:cubicBezTo>
                  <a:pt x="505339" y="350556"/>
                  <a:pt x="505339" y="350556"/>
                  <a:pt x="505339" y="350556"/>
                </a:cubicBezTo>
                <a:cubicBezTo>
                  <a:pt x="484561" y="350556"/>
                  <a:pt x="484561" y="350556"/>
                  <a:pt x="484561" y="350556"/>
                </a:cubicBezTo>
                <a:cubicBezTo>
                  <a:pt x="480406" y="350556"/>
                  <a:pt x="476250" y="346401"/>
                  <a:pt x="476250" y="342245"/>
                </a:cubicBezTo>
                <a:cubicBezTo>
                  <a:pt x="476250" y="313157"/>
                  <a:pt x="476250" y="313157"/>
                  <a:pt x="476250" y="313157"/>
                </a:cubicBezTo>
                <a:cubicBezTo>
                  <a:pt x="476250" y="304846"/>
                  <a:pt x="480406" y="304846"/>
                  <a:pt x="484561" y="304846"/>
                </a:cubicBezTo>
                <a:cubicBezTo>
                  <a:pt x="505339" y="304846"/>
                  <a:pt x="505339" y="304846"/>
                  <a:pt x="505339" y="304846"/>
                </a:cubicBezTo>
                <a:cubicBezTo>
                  <a:pt x="505339" y="267446"/>
                  <a:pt x="505339" y="267446"/>
                  <a:pt x="505339" y="267446"/>
                </a:cubicBezTo>
                <a:cubicBezTo>
                  <a:pt x="505339" y="263291"/>
                  <a:pt x="505339" y="259135"/>
                  <a:pt x="509494" y="259135"/>
                </a:cubicBezTo>
                <a:cubicBezTo>
                  <a:pt x="546894" y="250824"/>
                  <a:pt x="546894" y="250824"/>
                  <a:pt x="546894" y="250824"/>
                </a:cubicBezTo>
                <a:close/>
                <a:moveTo>
                  <a:pt x="103337" y="217487"/>
                </a:moveTo>
                <a:cubicBezTo>
                  <a:pt x="107471" y="217487"/>
                  <a:pt x="111604" y="217487"/>
                  <a:pt x="111604" y="217487"/>
                </a:cubicBezTo>
                <a:cubicBezTo>
                  <a:pt x="198408" y="217487"/>
                  <a:pt x="219075" y="267271"/>
                  <a:pt x="219075" y="312906"/>
                </a:cubicBezTo>
                <a:cubicBezTo>
                  <a:pt x="219075" y="350244"/>
                  <a:pt x="202541" y="375136"/>
                  <a:pt x="165340" y="391731"/>
                </a:cubicBezTo>
                <a:lnTo>
                  <a:pt x="219075" y="516191"/>
                </a:lnTo>
                <a:cubicBezTo>
                  <a:pt x="219075" y="520340"/>
                  <a:pt x="219075" y="520340"/>
                  <a:pt x="219075" y="524488"/>
                </a:cubicBezTo>
                <a:cubicBezTo>
                  <a:pt x="219075" y="524488"/>
                  <a:pt x="214942" y="528637"/>
                  <a:pt x="210808" y="528637"/>
                </a:cubicBezTo>
                <a:cubicBezTo>
                  <a:pt x="173607" y="528637"/>
                  <a:pt x="173607" y="528637"/>
                  <a:pt x="173607" y="528637"/>
                </a:cubicBezTo>
                <a:cubicBezTo>
                  <a:pt x="169473" y="528637"/>
                  <a:pt x="165340" y="524488"/>
                  <a:pt x="165340" y="524488"/>
                </a:cubicBezTo>
                <a:cubicBezTo>
                  <a:pt x="111604" y="408326"/>
                  <a:pt x="111604" y="408326"/>
                  <a:pt x="111604" y="408326"/>
                </a:cubicBezTo>
                <a:cubicBezTo>
                  <a:pt x="86803" y="408326"/>
                  <a:pt x="66136" y="408326"/>
                  <a:pt x="53736" y="404177"/>
                </a:cubicBezTo>
                <a:cubicBezTo>
                  <a:pt x="53736" y="520340"/>
                  <a:pt x="53736" y="520340"/>
                  <a:pt x="53736" y="520340"/>
                </a:cubicBezTo>
                <a:cubicBezTo>
                  <a:pt x="53736" y="524488"/>
                  <a:pt x="49602" y="528637"/>
                  <a:pt x="45469" y="528637"/>
                </a:cubicBezTo>
                <a:cubicBezTo>
                  <a:pt x="8267" y="528637"/>
                  <a:pt x="8267" y="528637"/>
                  <a:pt x="8267" y="528637"/>
                </a:cubicBezTo>
                <a:cubicBezTo>
                  <a:pt x="4134" y="528637"/>
                  <a:pt x="0" y="524488"/>
                  <a:pt x="0" y="520340"/>
                </a:cubicBezTo>
                <a:cubicBezTo>
                  <a:pt x="0" y="229933"/>
                  <a:pt x="0" y="229933"/>
                  <a:pt x="0" y="229933"/>
                </a:cubicBezTo>
                <a:cubicBezTo>
                  <a:pt x="0" y="225784"/>
                  <a:pt x="4134" y="221636"/>
                  <a:pt x="8267" y="221636"/>
                </a:cubicBezTo>
                <a:cubicBezTo>
                  <a:pt x="53736" y="217487"/>
                  <a:pt x="90937" y="217487"/>
                  <a:pt x="103337" y="217487"/>
                </a:cubicBezTo>
                <a:close/>
                <a:moveTo>
                  <a:pt x="1941299" y="180951"/>
                </a:moveTo>
                <a:cubicBezTo>
                  <a:pt x="1938725" y="180430"/>
                  <a:pt x="1936665" y="181472"/>
                  <a:pt x="1936665" y="183555"/>
                </a:cubicBezTo>
                <a:cubicBezTo>
                  <a:pt x="1903714" y="221060"/>
                  <a:pt x="1903714" y="221060"/>
                  <a:pt x="1903714" y="221060"/>
                </a:cubicBezTo>
                <a:cubicBezTo>
                  <a:pt x="1895476" y="225227"/>
                  <a:pt x="1895476" y="233562"/>
                  <a:pt x="1903714" y="237729"/>
                </a:cubicBezTo>
                <a:cubicBezTo>
                  <a:pt x="1953141" y="291902"/>
                  <a:pt x="1973736" y="362745"/>
                  <a:pt x="1957260" y="450256"/>
                </a:cubicBezTo>
                <a:cubicBezTo>
                  <a:pt x="1957260" y="458590"/>
                  <a:pt x="1961379" y="462757"/>
                  <a:pt x="1965498" y="462757"/>
                </a:cubicBezTo>
                <a:cubicBezTo>
                  <a:pt x="2010806" y="475259"/>
                  <a:pt x="2010806" y="475259"/>
                  <a:pt x="2010806" y="475259"/>
                </a:cubicBezTo>
                <a:cubicBezTo>
                  <a:pt x="2019044" y="479426"/>
                  <a:pt x="2023163" y="475259"/>
                  <a:pt x="2023163" y="471092"/>
                </a:cubicBezTo>
                <a:cubicBezTo>
                  <a:pt x="2047876" y="362745"/>
                  <a:pt x="2014925" y="254398"/>
                  <a:pt x="1949022" y="187722"/>
                </a:cubicBezTo>
                <a:cubicBezTo>
                  <a:pt x="1946963" y="183555"/>
                  <a:pt x="1943873" y="181472"/>
                  <a:pt x="1941299" y="180951"/>
                </a:cubicBezTo>
                <a:close/>
                <a:moveTo>
                  <a:pt x="1491989" y="180951"/>
                </a:moveTo>
                <a:cubicBezTo>
                  <a:pt x="1489388" y="181472"/>
                  <a:pt x="1486266" y="183555"/>
                  <a:pt x="1484185" y="187722"/>
                </a:cubicBezTo>
                <a:cubicBezTo>
                  <a:pt x="1417596" y="254398"/>
                  <a:pt x="1384301" y="362745"/>
                  <a:pt x="1409272" y="471092"/>
                </a:cubicBezTo>
                <a:cubicBezTo>
                  <a:pt x="1409272" y="475259"/>
                  <a:pt x="1413434" y="479426"/>
                  <a:pt x="1421758" y="475259"/>
                </a:cubicBezTo>
                <a:cubicBezTo>
                  <a:pt x="1467538" y="462757"/>
                  <a:pt x="1467538" y="462757"/>
                  <a:pt x="1467538" y="462757"/>
                </a:cubicBezTo>
                <a:cubicBezTo>
                  <a:pt x="1471700" y="462757"/>
                  <a:pt x="1475862" y="458590"/>
                  <a:pt x="1475862" y="450256"/>
                </a:cubicBezTo>
                <a:cubicBezTo>
                  <a:pt x="1459214" y="362745"/>
                  <a:pt x="1480023" y="291902"/>
                  <a:pt x="1529965" y="237729"/>
                </a:cubicBezTo>
                <a:cubicBezTo>
                  <a:pt x="1538289" y="233562"/>
                  <a:pt x="1538289" y="225227"/>
                  <a:pt x="1534127" y="221060"/>
                </a:cubicBezTo>
                <a:cubicBezTo>
                  <a:pt x="1496671" y="183555"/>
                  <a:pt x="1496671" y="183555"/>
                  <a:pt x="1496671" y="183555"/>
                </a:cubicBezTo>
                <a:cubicBezTo>
                  <a:pt x="1496671" y="181472"/>
                  <a:pt x="1494590" y="180430"/>
                  <a:pt x="1491989" y="180951"/>
                </a:cubicBezTo>
                <a:close/>
                <a:moveTo>
                  <a:pt x="1750379" y="174625"/>
                </a:moveTo>
                <a:cubicBezTo>
                  <a:pt x="1746251" y="178798"/>
                  <a:pt x="1746251" y="182971"/>
                  <a:pt x="1746251" y="187144"/>
                </a:cubicBezTo>
                <a:cubicBezTo>
                  <a:pt x="1754506" y="308156"/>
                  <a:pt x="1754506" y="308156"/>
                  <a:pt x="1754506" y="308156"/>
                </a:cubicBezTo>
                <a:cubicBezTo>
                  <a:pt x="1758634" y="312329"/>
                  <a:pt x="1758634" y="316502"/>
                  <a:pt x="1762761" y="320675"/>
                </a:cubicBezTo>
                <a:cubicBezTo>
                  <a:pt x="1766889" y="320675"/>
                  <a:pt x="1771016" y="320675"/>
                  <a:pt x="1775144" y="320675"/>
                </a:cubicBezTo>
                <a:cubicBezTo>
                  <a:pt x="1882459" y="266428"/>
                  <a:pt x="1882459" y="266428"/>
                  <a:pt x="1882459" y="266428"/>
                </a:cubicBezTo>
                <a:cubicBezTo>
                  <a:pt x="1886587" y="262255"/>
                  <a:pt x="1890714" y="262255"/>
                  <a:pt x="1890714" y="258082"/>
                </a:cubicBezTo>
                <a:cubicBezTo>
                  <a:pt x="1890714" y="253909"/>
                  <a:pt x="1890714" y="253909"/>
                  <a:pt x="1886587" y="249736"/>
                </a:cubicBezTo>
                <a:cubicBezTo>
                  <a:pt x="1849439" y="208008"/>
                  <a:pt x="1812291" y="187144"/>
                  <a:pt x="1758634" y="174625"/>
                </a:cubicBezTo>
                <a:cubicBezTo>
                  <a:pt x="1754506" y="174625"/>
                  <a:pt x="1754506" y="174625"/>
                  <a:pt x="1750379" y="174625"/>
                </a:cubicBezTo>
                <a:close/>
                <a:moveTo>
                  <a:pt x="1675132" y="174625"/>
                </a:moveTo>
                <a:cubicBezTo>
                  <a:pt x="1621474" y="187144"/>
                  <a:pt x="1584326" y="212181"/>
                  <a:pt x="1547179" y="249736"/>
                </a:cubicBezTo>
                <a:cubicBezTo>
                  <a:pt x="1543051" y="253909"/>
                  <a:pt x="1543051" y="258082"/>
                  <a:pt x="1543051" y="258082"/>
                </a:cubicBezTo>
                <a:cubicBezTo>
                  <a:pt x="1543051" y="262255"/>
                  <a:pt x="1547179" y="266428"/>
                  <a:pt x="1551306" y="266428"/>
                </a:cubicBezTo>
                <a:cubicBezTo>
                  <a:pt x="1658622" y="320675"/>
                  <a:pt x="1658622" y="320675"/>
                  <a:pt x="1658622" y="320675"/>
                </a:cubicBezTo>
                <a:cubicBezTo>
                  <a:pt x="1662749" y="320675"/>
                  <a:pt x="1666877" y="320675"/>
                  <a:pt x="1671004" y="320675"/>
                </a:cubicBezTo>
                <a:cubicBezTo>
                  <a:pt x="1675132" y="320675"/>
                  <a:pt x="1675132" y="316502"/>
                  <a:pt x="1675132" y="312329"/>
                </a:cubicBezTo>
                <a:cubicBezTo>
                  <a:pt x="1687514" y="187144"/>
                  <a:pt x="1687514" y="187144"/>
                  <a:pt x="1687514" y="187144"/>
                </a:cubicBezTo>
                <a:cubicBezTo>
                  <a:pt x="1687514" y="182971"/>
                  <a:pt x="1683387" y="178798"/>
                  <a:pt x="1683387" y="174625"/>
                </a:cubicBezTo>
                <a:cubicBezTo>
                  <a:pt x="1679259" y="174625"/>
                  <a:pt x="1679259" y="174625"/>
                  <a:pt x="1675132" y="174625"/>
                </a:cubicBezTo>
                <a:close/>
                <a:moveTo>
                  <a:pt x="1579247" y="133350"/>
                </a:moveTo>
                <a:cubicBezTo>
                  <a:pt x="1575119" y="137716"/>
                  <a:pt x="1570992" y="137716"/>
                  <a:pt x="1566864" y="142082"/>
                </a:cubicBezTo>
                <a:cubicBezTo>
                  <a:pt x="1570992" y="142082"/>
                  <a:pt x="1570992" y="142082"/>
                  <a:pt x="1570992" y="142082"/>
                </a:cubicBezTo>
                <a:cubicBezTo>
                  <a:pt x="1575119" y="150813"/>
                  <a:pt x="1575119" y="150813"/>
                  <a:pt x="1575119" y="150813"/>
                </a:cubicBezTo>
                <a:cubicBezTo>
                  <a:pt x="1583375" y="146447"/>
                  <a:pt x="1583375" y="146447"/>
                  <a:pt x="1583375" y="146447"/>
                </a:cubicBezTo>
                <a:cubicBezTo>
                  <a:pt x="1587502" y="146447"/>
                  <a:pt x="1587502" y="146447"/>
                  <a:pt x="1587502" y="142082"/>
                </a:cubicBezTo>
                <a:cubicBezTo>
                  <a:pt x="1587502" y="137716"/>
                  <a:pt x="1583375" y="133350"/>
                  <a:pt x="1579247" y="133350"/>
                </a:cubicBezTo>
                <a:close/>
                <a:moveTo>
                  <a:pt x="1575142" y="124846"/>
                </a:moveTo>
                <a:cubicBezTo>
                  <a:pt x="1587729" y="120650"/>
                  <a:pt x="1600315" y="133237"/>
                  <a:pt x="1596120" y="141628"/>
                </a:cubicBezTo>
                <a:cubicBezTo>
                  <a:pt x="1596120" y="145823"/>
                  <a:pt x="1596120" y="145823"/>
                  <a:pt x="1596120" y="145823"/>
                </a:cubicBezTo>
                <a:cubicBezTo>
                  <a:pt x="1612902" y="162606"/>
                  <a:pt x="1612902" y="162606"/>
                  <a:pt x="1612902" y="162606"/>
                </a:cubicBezTo>
                <a:cubicBezTo>
                  <a:pt x="1608707" y="162606"/>
                  <a:pt x="1608707" y="162606"/>
                  <a:pt x="1604511" y="166801"/>
                </a:cubicBezTo>
                <a:cubicBezTo>
                  <a:pt x="1587729" y="154215"/>
                  <a:pt x="1587729" y="154215"/>
                  <a:pt x="1587729" y="154215"/>
                </a:cubicBezTo>
                <a:cubicBezTo>
                  <a:pt x="1579338" y="158410"/>
                  <a:pt x="1579338" y="158410"/>
                  <a:pt x="1579338" y="158410"/>
                </a:cubicBezTo>
                <a:cubicBezTo>
                  <a:pt x="1587729" y="175192"/>
                  <a:pt x="1587729" y="175192"/>
                  <a:pt x="1587729" y="175192"/>
                </a:cubicBezTo>
                <a:cubicBezTo>
                  <a:pt x="1583533" y="175192"/>
                  <a:pt x="1583533" y="179388"/>
                  <a:pt x="1579338" y="179388"/>
                </a:cubicBezTo>
                <a:lnTo>
                  <a:pt x="1558360" y="141628"/>
                </a:lnTo>
                <a:cubicBezTo>
                  <a:pt x="1554164" y="137432"/>
                  <a:pt x="1554164" y="137432"/>
                  <a:pt x="1554164" y="137432"/>
                </a:cubicBezTo>
                <a:cubicBezTo>
                  <a:pt x="1562555" y="133237"/>
                  <a:pt x="1570946" y="129041"/>
                  <a:pt x="1575142" y="124846"/>
                </a:cubicBezTo>
                <a:close/>
                <a:moveTo>
                  <a:pt x="1836161" y="117475"/>
                </a:moveTo>
                <a:cubicBezTo>
                  <a:pt x="1840347" y="117475"/>
                  <a:pt x="1840347" y="117475"/>
                  <a:pt x="1844532" y="121557"/>
                </a:cubicBezTo>
                <a:cubicBezTo>
                  <a:pt x="1844532" y="121557"/>
                  <a:pt x="1844532" y="121557"/>
                  <a:pt x="1848717" y="141968"/>
                </a:cubicBezTo>
                <a:cubicBezTo>
                  <a:pt x="1848717" y="141968"/>
                  <a:pt x="1848717" y="141968"/>
                  <a:pt x="1869644" y="133804"/>
                </a:cubicBezTo>
                <a:cubicBezTo>
                  <a:pt x="1873829" y="133804"/>
                  <a:pt x="1878014" y="137886"/>
                  <a:pt x="1878014" y="137886"/>
                </a:cubicBezTo>
                <a:cubicBezTo>
                  <a:pt x="1878014" y="137886"/>
                  <a:pt x="1878014" y="137886"/>
                  <a:pt x="1848717" y="154214"/>
                </a:cubicBezTo>
                <a:cubicBezTo>
                  <a:pt x="1848717" y="154214"/>
                  <a:pt x="1848717" y="154214"/>
                  <a:pt x="1840347" y="174625"/>
                </a:cubicBezTo>
                <a:lnTo>
                  <a:pt x="1831976" y="166461"/>
                </a:lnTo>
                <a:cubicBezTo>
                  <a:pt x="1831976" y="166461"/>
                  <a:pt x="1831976" y="166461"/>
                  <a:pt x="1840347" y="146050"/>
                </a:cubicBezTo>
                <a:cubicBezTo>
                  <a:pt x="1840347" y="146050"/>
                  <a:pt x="1840347" y="146050"/>
                  <a:pt x="1836161" y="117475"/>
                </a:cubicBezTo>
                <a:close/>
                <a:moveTo>
                  <a:pt x="1794829" y="112713"/>
                </a:moveTo>
                <a:cubicBezTo>
                  <a:pt x="1790701" y="120651"/>
                  <a:pt x="1790701" y="120651"/>
                  <a:pt x="1790701" y="120651"/>
                </a:cubicBezTo>
                <a:lnTo>
                  <a:pt x="1790701" y="124619"/>
                </a:lnTo>
                <a:cubicBezTo>
                  <a:pt x="1803084" y="128588"/>
                  <a:pt x="1803084" y="128588"/>
                  <a:pt x="1803084" y="128588"/>
                </a:cubicBezTo>
                <a:cubicBezTo>
                  <a:pt x="1807212" y="128588"/>
                  <a:pt x="1811339" y="124619"/>
                  <a:pt x="1811339" y="120651"/>
                </a:cubicBezTo>
                <a:cubicBezTo>
                  <a:pt x="1811339" y="116682"/>
                  <a:pt x="1807212" y="116682"/>
                  <a:pt x="1807212" y="116682"/>
                </a:cubicBezTo>
                <a:cubicBezTo>
                  <a:pt x="1803084" y="112713"/>
                  <a:pt x="1798956" y="112713"/>
                  <a:pt x="1794829" y="112713"/>
                </a:cubicBezTo>
                <a:close/>
                <a:moveTo>
                  <a:pt x="1637508" y="112117"/>
                </a:moveTo>
                <a:cubicBezTo>
                  <a:pt x="1629174" y="112117"/>
                  <a:pt x="1620839" y="116285"/>
                  <a:pt x="1620839" y="124619"/>
                </a:cubicBezTo>
                <a:cubicBezTo>
                  <a:pt x="1620839" y="128786"/>
                  <a:pt x="1620839" y="128786"/>
                  <a:pt x="1620839" y="128786"/>
                </a:cubicBezTo>
                <a:cubicBezTo>
                  <a:pt x="1620839" y="137121"/>
                  <a:pt x="1629174" y="141288"/>
                  <a:pt x="1637508" y="141288"/>
                </a:cubicBezTo>
                <a:cubicBezTo>
                  <a:pt x="1645843" y="141288"/>
                  <a:pt x="1654177" y="132954"/>
                  <a:pt x="1654177" y="124619"/>
                </a:cubicBezTo>
                <a:cubicBezTo>
                  <a:pt x="1654177" y="116285"/>
                  <a:pt x="1645843" y="107950"/>
                  <a:pt x="1637508" y="112117"/>
                </a:cubicBezTo>
                <a:close/>
                <a:moveTo>
                  <a:pt x="1741489" y="104775"/>
                </a:moveTo>
                <a:cubicBezTo>
                  <a:pt x="1737520" y="117158"/>
                  <a:pt x="1737520" y="117158"/>
                  <a:pt x="1737520" y="117158"/>
                </a:cubicBezTo>
                <a:lnTo>
                  <a:pt x="1733551" y="125413"/>
                </a:lnTo>
                <a:cubicBezTo>
                  <a:pt x="1737520" y="125413"/>
                  <a:pt x="1745457" y="125413"/>
                  <a:pt x="1749426" y="125413"/>
                </a:cubicBezTo>
                <a:cubicBezTo>
                  <a:pt x="1745457" y="117158"/>
                  <a:pt x="1745457" y="117158"/>
                  <a:pt x="1745457" y="117158"/>
                </a:cubicBezTo>
                <a:cubicBezTo>
                  <a:pt x="1741489" y="104775"/>
                  <a:pt x="1741489" y="104775"/>
                  <a:pt x="1741489" y="104775"/>
                </a:cubicBezTo>
                <a:close/>
                <a:moveTo>
                  <a:pt x="1633407" y="104165"/>
                </a:moveTo>
                <a:cubicBezTo>
                  <a:pt x="1649811" y="100013"/>
                  <a:pt x="1662114" y="112469"/>
                  <a:pt x="1662114" y="124925"/>
                </a:cubicBezTo>
                <a:cubicBezTo>
                  <a:pt x="1662114" y="141532"/>
                  <a:pt x="1653912" y="149836"/>
                  <a:pt x="1637508" y="149836"/>
                </a:cubicBezTo>
                <a:cubicBezTo>
                  <a:pt x="1625204" y="153988"/>
                  <a:pt x="1612901" y="141532"/>
                  <a:pt x="1612901" y="129076"/>
                </a:cubicBezTo>
                <a:cubicBezTo>
                  <a:pt x="1612901" y="129076"/>
                  <a:pt x="1612901" y="129076"/>
                  <a:pt x="1612901" y="124925"/>
                </a:cubicBezTo>
                <a:cubicBezTo>
                  <a:pt x="1612901" y="112469"/>
                  <a:pt x="1621103" y="104165"/>
                  <a:pt x="1633407" y="104165"/>
                </a:cubicBezTo>
                <a:close/>
                <a:moveTo>
                  <a:pt x="1787382" y="100013"/>
                </a:moveTo>
                <a:cubicBezTo>
                  <a:pt x="1795752" y="100013"/>
                  <a:pt x="1804123" y="104209"/>
                  <a:pt x="1812494" y="108404"/>
                </a:cubicBezTo>
                <a:cubicBezTo>
                  <a:pt x="1816679" y="108404"/>
                  <a:pt x="1820864" y="112600"/>
                  <a:pt x="1820864" y="120991"/>
                </a:cubicBezTo>
                <a:cubicBezTo>
                  <a:pt x="1820864" y="125186"/>
                  <a:pt x="1816679" y="133578"/>
                  <a:pt x="1808308" y="137773"/>
                </a:cubicBezTo>
                <a:cubicBezTo>
                  <a:pt x="1812494" y="158751"/>
                  <a:pt x="1812494" y="158751"/>
                  <a:pt x="1812494" y="158751"/>
                </a:cubicBezTo>
                <a:cubicBezTo>
                  <a:pt x="1808308" y="158751"/>
                  <a:pt x="1808308" y="158751"/>
                  <a:pt x="1804123" y="154555"/>
                </a:cubicBezTo>
                <a:cubicBezTo>
                  <a:pt x="1799938" y="133578"/>
                  <a:pt x="1799938" y="133578"/>
                  <a:pt x="1799938" y="133578"/>
                </a:cubicBezTo>
                <a:cubicBezTo>
                  <a:pt x="1791567" y="133578"/>
                  <a:pt x="1791567" y="133578"/>
                  <a:pt x="1791567" y="133578"/>
                </a:cubicBezTo>
                <a:lnTo>
                  <a:pt x="1787382" y="150360"/>
                </a:lnTo>
                <a:cubicBezTo>
                  <a:pt x="1783197" y="150360"/>
                  <a:pt x="1779011" y="150360"/>
                  <a:pt x="1774826" y="146164"/>
                </a:cubicBezTo>
                <a:cubicBezTo>
                  <a:pt x="1783197" y="120991"/>
                  <a:pt x="1783197" y="120991"/>
                  <a:pt x="1783197" y="120991"/>
                </a:cubicBezTo>
                <a:cubicBezTo>
                  <a:pt x="1787382" y="100013"/>
                  <a:pt x="1787382" y="100013"/>
                  <a:pt x="1787382" y="100013"/>
                </a:cubicBezTo>
                <a:close/>
                <a:moveTo>
                  <a:pt x="1737015" y="92075"/>
                </a:moveTo>
                <a:cubicBezTo>
                  <a:pt x="1749571" y="92075"/>
                  <a:pt x="1749571" y="92075"/>
                  <a:pt x="1749571" y="92075"/>
                </a:cubicBezTo>
                <a:cubicBezTo>
                  <a:pt x="1753757" y="116987"/>
                  <a:pt x="1753757" y="116987"/>
                  <a:pt x="1753757" y="116987"/>
                </a:cubicBezTo>
                <a:cubicBezTo>
                  <a:pt x="1762127" y="146050"/>
                  <a:pt x="1762127" y="146050"/>
                  <a:pt x="1762127" y="146050"/>
                </a:cubicBezTo>
                <a:cubicBezTo>
                  <a:pt x="1757942" y="146050"/>
                  <a:pt x="1757942" y="141898"/>
                  <a:pt x="1753757" y="141898"/>
                </a:cubicBezTo>
                <a:cubicBezTo>
                  <a:pt x="1749571" y="133594"/>
                  <a:pt x="1749571" y="133594"/>
                  <a:pt x="1749571" y="133594"/>
                </a:cubicBezTo>
                <a:cubicBezTo>
                  <a:pt x="1741201" y="133594"/>
                  <a:pt x="1737015" y="133594"/>
                  <a:pt x="1728645" y="133594"/>
                </a:cubicBezTo>
                <a:lnTo>
                  <a:pt x="1724460" y="141898"/>
                </a:lnTo>
                <a:cubicBezTo>
                  <a:pt x="1720274" y="141898"/>
                  <a:pt x="1720274" y="141898"/>
                  <a:pt x="1716089" y="141898"/>
                </a:cubicBezTo>
                <a:cubicBezTo>
                  <a:pt x="1728645" y="116987"/>
                  <a:pt x="1728645" y="116987"/>
                  <a:pt x="1728645" y="116987"/>
                </a:cubicBezTo>
                <a:cubicBezTo>
                  <a:pt x="1737015" y="92075"/>
                  <a:pt x="1737015" y="92075"/>
                  <a:pt x="1737015" y="92075"/>
                </a:cubicBezTo>
                <a:close/>
                <a:moveTo>
                  <a:pt x="1712914" y="92075"/>
                </a:moveTo>
                <a:cubicBezTo>
                  <a:pt x="1712914" y="92075"/>
                  <a:pt x="1712914" y="92075"/>
                  <a:pt x="1712914" y="100277"/>
                </a:cubicBezTo>
                <a:cubicBezTo>
                  <a:pt x="1712914" y="100277"/>
                  <a:pt x="1712914" y="100277"/>
                  <a:pt x="1696173" y="100277"/>
                </a:cubicBezTo>
                <a:cubicBezTo>
                  <a:pt x="1696173" y="100277"/>
                  <a:pt x="1696173" y="100277"/>
                  <a:pt x="1700358" y="141288"/>
                </a:cubicBezTo>
                <a:cubicBezTo>
                  <a:pt x="1700358" y="141288"/>
                  <a:pt x="1700358" y="141288"/>
                  <a:pt x="1687802" y="141288"/>
                </a:cubicBezTo>
                <a:cubicBezTo>
                  <a:pt x="1687802" y="141288"/>
                  <a:pt x="1687802" y="141288"/>
                  <a:pt x="1683617" y="100277"/>
                </a:cubicBezTo>
                <a:lnTo>
                  <a:pt x="1666876" y="104378"/>
                </a:lnTo>
                <a:cubicBezTo>
                  <a:pt x="1666876" y="104378"/>
                  <a:pt x="1666876" y="104378"/>
                  <a:pt x="1666876" y="96176"/>
                </a:cubicBezTo>
                <a:cubicBezTo>
                  <a:pt x="1683617" y="92075"/>
                  <a:pt x="1691988" y="92075"/>
                  <a:pt x="1712914" y="92075"/>
                </a:cubicBezTo>
                <a:close/>
                <a:moveTo>
                  <a:pt x="1181630" y="92074"/>
                </a:moveTo>
                <a:cubicBezTo>
                  <a:pt x="1160463" y="92074"/>
                  <a:pt x="1147763" y="112712"/>
                  <a:pt x="1147763" y="133349"/>
                </a:cubicBezTo>
                <a:lnTo>
                  <a:pt x="1211263" y="133349"/>
                </a:lnTo>
                <a:cubicBezTo>
                  <a:pt x="1211263" y="112712"/>
                  <a:pt x="1202796" y="92074"/>
                  <a:pt x="1181630" y="92074"/>
                </a:cubicBezTo>
                <a:close/>
                <a:moveTo>
                  <a:pt x="1716089" y="84138"/>
                </a:moveTo>
                <a:cubicBezTo>
                  <a:pt x="1641444" y="84138"/>
                  <a:pt x="1575093" y="108903"/>
                  <a:pt x="1521183" y="150178"/>
                </a:cubicBezTo>
                <a:cubicBezTo>
                  <a:pt x="1512889" y="158433"/>
                  <a:pt x="1512889" y="162561"/>
                  <a:pt x="1517036" y="166688"/>
                </a:cubicBezTo>
                <a:cubicBezTo>
                  <a:pt x="1550212" y="203836"/>
                  <a:pt x="1550212" y="203836"/>
                  <a:pt x="1550212" y="203836"/>
                </a:cubicBezTo>
                <a:cubicBezTo>
                  <a:pt x="1554359" y="207963"/>
                  <a:pt x="1558505" y="207963"/>
                  <a:pt x="1566799" y="203836"/>
                </a:cubicBezTo>
                <a:cubicBezTo>
                  <a:pt x="1608269" y="170816"/>
                  <a:pt x="1658032" y="150178"/>
                  <a:pt x="1716089" y="150178"/>
                </a:cubicBezTo>
                <a:cubicBezTo>
                  <a:pt x="1769999" y="150178"/>
                  <a:pt x="1823910" y="170816"/>
                  <a:pt x="1865379" y="203836"/>
                </a:cubicBezTo>
                <a:cubicBezTo>
                  <a:pt x="1873673" y="207963"/>
                  <a:pt x="1877820" y="207963"/>
                  <a:pt x="1881967" y="203836"/>
                </a:cubicBezTo>
                <a:cubicBezTo>
                  <a:pt x="1915142" y="166688"/>
                  <a:pt x="1915142" y="166688"/>
                  <a:pt x="1915142" y="166688"/>
                </a:cubicBezTo>
                <a:cubicBezTo>
                  <a:pt x="1919289" y="162561"/>
                  <a:pt x="1919289" y="158433"/>
                  <a:pt x="1910995" y="150178"/>
                </a:cubicBezTo>
                <a:cubicBezTo>
                  <a:pt x="1857085" y="108903"/>
                  <a:pt x="1790734" y="84138"/>
                  <a:pt x="1716089" y="84138"/>
                </a:cubicBezTo>
                <a:close/>
                <a:moveTo>
                  <a:pt x="1181894" y="84137"/>
                </a:moveTo>
                <a:cubicBezTo>
                  <a:pt x="1214799" y="84137"/>
                  <a:pt x="1227138" y="108970"/>
                  <a:pt x="1227138" y="137942"/>
                </a:cubicBezTo>
                <a:cubicBezTo>
                  <a:pt x="1227138" y="146220"/>
                  <a:pt x="1227138" y="146220"/>
                  <a:pt x="1227138" y="146220"/>
                </a:cubicBezTo>
                <a:cubicBezTo>
                  <a:pt x="1148989" y="146220"/>
                  <a:pt x="1148989" y="146220"/>
                  <a:pt x="1148989" y="146220"/>
                </a:cubicBezTo>
                <a:cubicBezTo>
                  <a:pt x="1148989" y="166914"/>
                  <a:pt x="1161329" y="187608"/>
                  <a:pt x="1186007" y="187608"/>
                </a:cubicBezTo>
                <a:cubicBezTo>
                  <a:pt x="1198346" y="187608"/>
                  <a:pt x="1210686" y="183470"/>
                  <a:pt x="1218912" y="179331"/>
                </a:cubicBezTo>
                <a:lnTo>
                  <a:pt x="1218912" y="191747"/>
                </a:lnTo>
                <a:cubicBezTo>
                  <a:pt x="1210686" y="195886"/>
                  <a:pt x="1194233" y="200025"/>
                  <a:pt x="1186007" y="200025"/>
                </a:cubicBezTo>
                <a:cubicBezTo>
                  <a:pt x="1148989" y="200025"/>
                  <a:pt x="1136650" y="175192"/>
                  <a:pt x="1136650" y="142081"/>
                </a:cubicBezTo>
                <a:cubicBezTo>
                  <a:pt x="1136650" y="104831"/>
                  <a:pt x="1153102" y="84137"/>
                  <a:pt x="1181894" y="84137"/>
                </a:cubicBezTo>
                <a:close/>
                <a:moveTo>
                  <a:pt x="887413" y="41274"/>
                </a:moveTo>
                <a:lnTo>
                  <a:pt x="995363" y="41274"/>
                </a:lnTo>
                <a:lnTo>
                  <a:pt x="995363" y="53974"/>
                </a:lnTo>
                <a:lnTo>
                  <a:pt x="949326" y="53974"/>
                </a:lnTo>
                <a:lnTo>
                  <a:pt x="949326" y="195262"/>
                </a:lnTo>
                <a:lnTo>
                  <a:pt x="933451" y="195262"/>
                </a:lnTo>
                <a:lnTo>
                  <a:pt x="933451" y="53974"/>
                </a:lnTo>
                <a:lnTo>
                  <a:pt x="887413" y="53974"/>
                </a:lnTo>
                <a:close/>
                <a:moveTo>
                  <a:pt x="1020763" y="28574"/>
                </a:moveTo>
                <a:cubicBezTo>
                  <a:pt x="1033010" y="28574"/>
                  <a:pt x="1033010" y="28574"/>
                  <a:pt x="1033010" y="28574"/>
                </a:cubicBezTo>
                <a:cubicBezTo>
                  <a:pt x="1033010" y="103584"/>
                  <a:pt x="1033010" y="103584"/>
                  <a:pt x="1033010" y="103584"/>
                </a:cubicBezTo>
                <a:cubicBezTo>
                  <a:pt x="1041174" y="91082"/>
                  <a:pt x="1053420" y="82748"/>
                  <a:pt x="1069749" y="82748"/>
                </a:cubicBezTo>
                <a:cubicBezTo>
                  <a:pt x="1098324" y="82748"/>
                  <a:pt x="1106488" y="99416"/>
                  <a:pt x="1106488" y="128587"/>
                </a:cubicBezTo>
                <a:cubicBezTo>
                  <a:pt x="1106488" y="195262"/>
                  <a:pt x="1106488" y="195262"/>
                  <a:pt x="1106488" y="195262"/>
                </a:cubicBezTo>
                <a:cubicBezTo>
                  <a:pt x="1090160" y="195262"/>
                  <a:pt x="1090160" y="195262"/>
                  <a:pt x="1090160" y="195262"/>
                </a:cubicBezTo>
                <a:cubicBezTo>
                  <a:pt x="1090160" y="128587"/>
                  <a:pt x="1090160" y="128587"/>
                  <a:pt x="1090160" y="128587"/>
                </a:cubicBezTo>
                <a:cubicBezTo>
                  <a:pt x="1090160" y="107751"/>
                  <a:pt x="1090160" y="91082"/>
                  <a:pt x="1065667" y="91082"/>
                </a:cubicBezTo>
                <a:cubicBezTo>
                  <a:pt x="1041174" y="91082"/>
                  <a:pt x="1033010" y="116085"/>
                  <a:pt x="1033010" y="136921"/>
                </a:cubicBezTo>
                <a:cubicBezTo>
                  <a:pt x="1033010" y="195262"/>
                  <a:pt x="1033010" y="195262"/>
                  <a:pt x="1033010" y="195262"/>
                </a:cubicBezTo>
                <a:cubicBezTo>
                  <a:pt x="1020763" y="195262"/>
                  <a:pt x="1020763" y="195262"/>
                  <a:pt x="1020763" y="195262"/>
                </a:cubicBezTo>
                <a:close/>
                <a:moveTo>
                  <a:pt x="1704456" y="0"/>
                </a:moveTo>
                <a:cubicBezTo>
                  <a:pt x="1712741" y="0"/>
                  <a:pt x="1721026" y="0"/>
                  <a:pt x="1729310" y="0"/>
                </a:cubicBezTo>
                <a:cubicBezTo>
                  <a:pt x="1741737" y="20820"/>
                  <a:pt x="1745880" y="41641"/>
                  <a:pt x="1745880" y="62461"/>
                </a:cubicBezTo>
                <a:cubicBezTo>
                  <a:pt x="1750022" y="62461"/>
                  <a:pt x="1770734" y="66625"/>
                  <a:pt x="1774877" y="66625"/>
                </a:cubicBezTo>
                <a:cubicBezTo>
                  <a:pt x="1779019" y="45805"/>
                  <a:pt x="1791446" y="24984"/>
                  <a:pt x="1803873" y="12492"/>
                </a:cubicBezTo>
                <a:cubicBezTo>
                  <a:pt x="1808016" y="12492"/>
                  <a:pt x="1808016" y="12492"/>
                  <a:pt x="1808016" y="12492"/>
                </a:cubicBezTo>
                <a:cubicBezTo>
                  <a:pt x="1816300" y="12492"/>
                  <a:pt x="1824585" y="16656"/>
                  <a:pt x="1832870" y="16656"/>
                </a:cubicBezTo>
                <a:cubicBezTo>
                  <a:pt x="1832870" y="20820"/>
                  <a:pt x="1832870" y="20820"/>
                  <a:pt x="1832870" y="20820"/>
                </a:cubicBezTo>
                <a:cubicBezTo>
                  <a:pt x="1837012" y="29149"/>
                  <a:pt x="1837012" y="37477"/>
                  <a:pt x="1837012" y="49969"/>
                </a:cubicBezTo>
                <a:cubicBezTo>
                  <a:pt x="1837012" y="62461"/>
                  <a:pt x="1837012" y="70789"/>
                  <a:pt x="1832870" y="83282"/>
                </a:cubicBezTo>
                <a:cubicBezTo>
                  <a:pt x="1837012" y="83282"/>
                  <a:pt x="1853582" y="91610"/>
                  <a:pt x="1857724" y="91610"/>
                </a:cubicBezTo>
                <a:cubicBezTo>
                  <a:pt x="1870151" y="74953"/>
                  <a:pt x="1886721" y="58297"/>
                  <a:pt x="1903291" y="49969"/>
                </a:cubicBezTo>
                <a:cubicBezTo>
                  <a:pt x="1911575" y="49969"/>
                  <a:pt x="1919860" y="58297"/>
                  <a:pt x="1928145" y="62461"/>
                </a:cubicBezTo>
                <a:cubicBezTo>
                  <a:pt x="1928145" y="83282"/>
                  <a:pt x="1919860" y="104102"/>
                  <a:pt x="1911575" y="124922"/>
                </a:cubicBezTo>
                <a:cubicBezTo>
                  <a:pt x="1911575" y="124922"/>
                  <a:pt x="1928145" y="137414"/>
                  <a:pt x="1932287" y="141579"/>
                </a:cubicBezTo>
                <a:cubicBezTo>
                  <a:pt x="1948857" y="124922"/>
                  <a:pt x="1965426" y="112430"/>
                  <a:pt x="1986138" y="108266"/>
                </a:cubicBezTo>
                <a:cubicBezTo>
                  <a:pt x="1994423" y="112430"/>
                  <a:pt x="2002708" y="120758"/>
                  <a:pt x="2006850" y="129086"/>
                </a:cubicBezTo>
                <a:cubicBezTo>
                  <a:pt x="2002708" y="149907"/>
                  <a:pt x="1990281" y="166563"/>
                  <a:pt x="1973711" y="183219"/>
                </a:cubicBezTo>
                <a:cubicBezTo>
                  <a:pt x="1977853" y="187383"/>
                  <a:pt x="1990281" y="204040"/>
                  <a:pt x="1990281" y="204040"/>
                </a:cubicBezTo>
                <a:cubicBezTo>
                  <a:pt x="2010993" y="195711"/>
                  <a:pt x="2031705" y="187383"/>
                  <a:pt x="2052416" y="187383"/>
                </a:cubicBezTo>
                <a:cubicBezTo>
                  <a:pt x="2052416" y="191547"/>
                  <a:pt x="2052416" y="191547"/>
                  <a:pt x="2052416" y="191547"/>
                </a:cubicBezTo>
                <a:cubicBezTo>
                  <a:pt x="2056559" y="195711"/>
                  <a:pt x="2064844" y="204040"/>
                  <a:pt x="2064844" y="212368"/>
                </a:cubicBezTo>
                <a:cubicBezTo>
                  <a:pt x="2056559" y="233188"/>
                  <a:pt x="2039989" y="245680"/>
                  <a:pt x="2023420" y="258173"/>
                </a:cubicBezTo>
                <a:cubicBezTo>
                  <a:pt x="2023420" y="262337"/>
                  <a:pt x="2031705" y="278993"/>
                  <a:pt x="2031705" y="283157"/>
                </a:cubicBezTo>
                <a:cubicBezTo>
                  <a:pt x="2052416" y="278993"/>
                  <a:pt x="2073128" y="278993"/>
                  <a:pt x="2093840" y="283157"/>
                </a:cubicBezTo>
                <a:cubicBezTo>
                  <a:pt x="2097983" y="291485"/>
                  <a:pt x="2102125" y="299813"/>
                  <a:pt x="2102125" y="308141"/>
                </a:cubicBezTo>
                <a:cubicBezTo>
                  <a:pt x="2102125" y="312306"/>
                  <a:pt x="2102125" y="312306"/>
                  <a:pt x="2102125" y="312306"/>
                </a:cubicBezTo>
                <a:cubicBezTo>
                  <a:pt x="2089698" y="324798"/>
                  <a:pt x="2068986" y="337290"/>
                  <a:pt x="2048274" y="341454"/>
                </a:cubicBezTo>
                <a:cubicBezTo>
                  <a:pt x="2048274" y="345618"/>
                  <a:pt x="2052416" y="366438"/>
                  <a:pt x="2052416" y="366438"/>
                </a:cubicBezTo>
                <a:cubicBezTo>
                  <a:pt x="2073128" y="366438"/>
                  <a:pt x="2093840" y="374767"/>
                  <a:pt x="2110410" y="383095"/>
                </a:cubicBezTo>
                <a:cubicBezTo>
                  <a:pt x="2110410" y="387259"/>
                  <a:pt x="2110410" y="387259"/>
                  <a:pt x="2110410" y="387259"/>
                </a:cubicBezTo>
                <a:cubicBezTo>
                  <a:pt x="2114552" y="391423"/>
                  <a:pt x="2114552" y="395587"/>
                  <a:pt x="2114552" y="399751"/>
                </a:cubicBezTo>
                <a:cubicBezTo>
                  <a:pt x="2114552" y="403915"/>
                  <a:pt x="2114552" y="408079"/>
                  <a:pt x="2110410" y="412243"/>
                </a:cubicBezTo>
                <a:cubicBezTo>
                  <a:pt x="2093840" y="424736"/>
                  <a:pt x="2073128" y="428900"/>
                  <a:pt x="2052416" y="428900"/>
                </a:cubicBezTo>
                <a:cubicBezTo>
                  <a:pt x="2048274" y="433064"/>
                  <a:pt x="2048274" y="453884"/>
                  <a:pt x="2048274" y="453884"/>
                </a:cubicBezTo>
                <a:cubicBezTo>
                  <a:pt x="2068986" y="462212"/>
                  <a:pt x="2085556" y="470540"/>
                  <a:pt x="2102125" y="487197"/>
                </a:cubicBezTo>
                <a:cubicBezTo>
                  <a:pt x="2102125" y="495525"/>
                  <a:pt x="2097983" y="508017"/>
                  <a:pt x="2093840" y="512181"/>
                </a:cubicBezTo>
                <a:cubicBezTo>
                  <a:pt x="2093840" y="516345"/>
                  <a:pt x="2093840" y="516345"/>
                  <a:pt x="2093840" y="516345"/>
                </a:cubicBezTo>
                <a:cubicBezTo>
                  <a:pt x="2073128" y="520509"/>
                  <a:pt x="2052416" y="520509"/>
                  <a:pt x="2031705" y="516345"/>
                </a:cubicBezTo>
                <a:cubicBezTo>
                  <a:pt x="2031705" y="516345"/>
                  <a:pt x="2023420" y="537165"/>
                  <a:pt x="2023420" y="537165"/>
                </a:cubicBezTo>
                <a:cubicBezTo>
                  <a:pt x="2039989" y="549658"/>
                  <a:pt x="2056559" y="566314"/>
                  <a:pt x="2064844" y="582970"/>
                </a:cubicBezTo>
                <a:cubicBezTo>
                  <a:pt x="2064844" y="587134"/>
                  <a:pt x="2064844" y="587134"/>
                  <a:pt x="2064844" y="587134"/>
                </a:cubicBezTo>
                <a:cubicBezTo>
                  <a:pt x="2060701" y="591298"/>
                  <a:pt x="2056559" y="599627"/>
                  <a:pt x="2052416" y="607955"/>
                </a:cubicBezTo>
                <a:cubicBezTo>
                  <a:pt x="2031705" y="607955"/>
                  <a:pt x="2010993" y="603791"/>
                  <a:pt x="1990281" y="591298"/>
                </a:cubicBezTo>
                <a:cubicBezTo>
                  <a:pt x="1990281" y="595463"/>
                  <a:pt x="1977853" y="612119"/>
                  <a:pt x="1973711" y="612119"/>
                </a:cubicBezTo>
                <a:cubicBezTo>
                  <a:pt x="1990281" y="628775"/>
                  <a:pt x="2002708" y="649595"/>
                  <a:pt x="2006850" y="666252"/>
                </a:cubicBezTo>
                <a:cubicBezTo>
                  <a:pt x="2006850" y="670416"/>
                  <a:pt x="2006850" y="670416"/>
                  <a:pt x="2006850" y="670416"/>
                </a:cubicBezTo>
                <a:cubicBezTo>
                  <a:pt x="2002708" y="674580"/>
                  <a:pt x="1994423" y="682908"/>
                  <a:pt x="1986138" y="687072"/>
                </a:cubicBezTo>
                <a:cubicBezTo>
                  <a:pt x="1965426" y="682908"/>
                  <a:pt x="1944714" y="670416"/>
                  <a:pt x="1932287" y="657924"/>
                </a:cubicBezTo>
                <a:cubicBezTo>
                  <a:pt x="1928145" y="657924"/>
                  <a:pt x="1911575" y="670416"/>
                  <a:pt x="1911575" y="674580"/>
                </a:cubicBezTo>
                <a:cubicBezTo>
                  <a:pt x="1919860" y="691236"/>
                  <a:pt x="1928145" y="712057"/>
                  <a:pt x="1928145" y="732877"/>
                </a:cubicBezTo>
                <a:cubicBezTo>
                  <a:pt x="1928145" y="732877"/>
                  <a:pt x="1928145" y="737041"/>
                  <a:pt x="1928145" y="737041"/>
                </a:cubicBezTo>
                <a:cubicBezTo>
                  <a:pt x="1924002" y="737041"/>
                  <a:pt x="1924002" y="737041"/>
                  <a:pt x="1924002" y="737041"/>
                </a:cubicBezTo>
                <a:cubicBezTo>
                  <a:pt x="1919860" y="741205"/>
                  <a:pt x="1911575" y="745369"/>
                  <a:pt x="1903291" y="749533"/>
                </a:cubicBezTo>
                <a:cubicBezTo>
                  <a:pt x="1882579" y="737041"/>
                  <a:pt x="1870151" y="724549"/>
                  <a:pt x="1857724" y="703728"/>
                </a:cubicBezTo>
                <a:cubicBezTo>
                  <a:pt x="1853582" y="703728"/>
                  <a:pt x="1837012" y="712057"/>
                  <a:pt x="1832870" y="716221"/>
                </a:cubicBezTo>
                <a:cubicBezTo>
                  <a:pt x="1837012" y="724549"/>
                  <a:pt x="1837012" y="737041"/>
                  <a:pt x="1837012" y="745369"/>
                </a:cubicBezTo>
                <a:cubicBezTo>
                  <a:pt x="1837012" y="757861"/>
                  <a:pt x="1837012" y="766190"/>
                  <a:pt x="1832870" y="778682"/>
                </a:cubicBezTo>
                <a:cubicBezTo>
                  <a:pt x="1824585" y="782846"/>
                  <a:pt x="1816300" y="782846"/>
                  <a:pt x="1808016" y="787010"/>
                </a:cubicBezTo>
                <a:cubicBezTo>
                  <a:pt x="1803873" y="787010"/>
                  <a:pt x="1803873" y="787010"/>
                  <a:pt x="1803873" y="787010"/>
                </a:cubicBezTo>
                <a:cubicBezTo>
                  <a:pt x="1791446" y="770354"/>
                  <a:pt x="1779019" y="749533"/>
                  <a:pt x="1774877" y="732877"/>
                </a:cubicBezTo>
                <a:cubicBezTo>
                  <a:pt x="1770734" y="732877"/>
                  <a:pt x="1750022" y="732877"/>
                  <a:pt x="1750022" y="732877"/>
                </a:cubicBezTo>
                <a:cubicBezTo>
                  <a:pt x="1750022" y="757861"/>
                  <a:pt x="1741737" y="778682"/>
                  <a:pt x="1733453" y="795338"/>
                </a:cubicBezTo>
                <a:cubicBezTo>
                  <a:pt x="1729310" y="795338"/>
                  <a:pt x="1729310" y="795338"/>
                  <a:pt x="1729310" y="795338"/>
                </a:cubicBezTo>
                <a:cubicBezTo>
                  <a:pt x="1725168" y="795338"/>
                  <a:pt x="1712741" y="795338"/>
                  <a:pt x="1704456" y="795338"/>
                </a:cubicBezTo>
                <a:cubicBezTo>
                  <a:pt x="1692029" y="778682"/>
                  <a:pt x="1687886" y="757861"/>
                  <a:pt x="1687886" y="732877"/>
                </a:cubicBezTo>
                <a:cubicBezTo>
                  <a:pt x="1683744" y="732877"/>
                  <a:pt x="1663032" y="732877"/>
                  <a:pt x="1658890" y="732877"/>
                </a:cubicBezTo>
                <a:cubicBezTo>
                  <a:pt x="1654747" y="749533"/>
                  <a:pt x="1642320" y="770354"/>
                  <a:pt x="1629893" y="787010"/>
                </a:cubicBezTo>
                <a:cubicBezTo>
                  <a:pt x="1625751" y="787010"/>
                  <a:pt x="1625751" y="787010"/>
                  <a:pt x="1625751" y="787010"/>
                </a:cubicBezTo>
                <a:cubicBezTo>
                  <a:pt x="1617466" y="782846"/>
                  <a:pt x="1609181" y="782846"/>
                  <a:pt x="1600896" y="778682"/>
                </a:cubicBezTo>
                <a:cubicBezTo>
                  <a:pt x="1596754" y="766190"/>
                  <a:pt x="1596754" y="757861"/>
                  <a:pt x="1596754" y="745369"/>
                </a:cubicBezTo>
                <a:cubicBezTo>
                  <a:pt x="1596754" y="737041"/>
                  <a:pt x="1596754" y="724549"/>
                  <a:pt x="1600896" y="716221"/>
                </a:cubicBezTo>
                <a:cubicBezTo>
                  <a:pt x="1596754" y="712057"/>
                  <a:pt x="1580184" y="707892"/>
                  <a:pt x="1576042" y="703728"/>
                </a:cubicBezTo>
                <a:cubicBezTo>
                  <a:pt x="1567757" y="724549"/>
                  <a:pt x="1551188" y="741205"/>
                  <a:pt x="1534618" y="749533"/>
                </a:cubicBezTo>
                <a:cubicBezTo>
                  <a:pt x="1530476" y="749533"/>
                  <a:pt x="1530476" y="749533"/>
                  <a:pt x="1530476" y="749533"/>
                </a:cubicBezTo>
                <a:cubicBezTo>
                  <a:pt x="1522191" y="745369"/>
                  <a:pt x="1513906" y="741205"/>
                  <a:pt x="1509764" y="737041"/>
                </a:cubicBezTo>
                <a:cubicBezTo>
                  <a:pt x="1509764" y="737041"/>
                  <a:pt x="1509764" y="732877"/>
                  <a:pt x="1509764" y="732877"/>
                </a:cubicBezTo>
                <a:cubicBezTo>
                  <a:pt x="1509764" y="716221"/>
                  <a:pt x="1513906" y="691236"/>
                  <a:pt x="1522191" y="674580"/>
                </a:cubicBezTo>
                <a:cubicBezTo>
                  <a:pt x="1522191" y="674580"/>
                  <a:pt x="1505621" y="657924"/>
                  <a:pt x="1501479" y="657924"/>
                </a:cubicBezTo>
                <a:cubicBezTo>
                  <a:pt x="1489052" y="674580"/>
                  <a:pt x="1468340" y="682908"/>
                  <a:pt x="1447628" y="687072"/>
                </a:cubicBezTo>
                <a:cubicBezTo>
                  <a:pt x="1439343" y="682908"/>
                  <a:pt x="1435201" y="674580"/>
                  <a:pt x="1426916" y="670416"/>
                </a:cubicBezTo>
                <a:cubicBezTo>
                  <a:pt x="1435201" y="649595"/>
                  <a:pt x="1443486" y="628775"/>
                  <a:pt x="1460055" y="616283"/>
                </a:cubicBezTo>
                <a:cubicBezTo>
                  <a:pt x="1455913" y="612119"/>
                  <a:pt x="1443486" y="595463"/>
                  <a:pt x="1443486" y="591298"/>
                </a:cubicBezTo>
                <a:cubicBezTo>
                  <a:pt x="1422774" y="603791"/>
                  <a:pt x="1402062" y="607955"/>
                  <a:pt x="1381350" y="607955"/>
                </a:cubicBezTo>
                <a:cubicBezTo>
                  <a:pt x="1377208" y="603791"/>
                  <a:pt x="1373065" y="591298"/>
                  <a:pt x="1368923" y="587134"/>
                </a:cubicBezTo>
                <a:cubicBezTo>
                  <a:pt x="1368923" y="582970"/>
                  <a:pt x="1368923" y="582970"/>
                  <a:pt x="1368923" y="582970"/>
                </a:cubicBezTo>
                <a:cubicBezTo>
                  <a:pt x="1377208" y="566314"/>
                  <a:pt x="1393777" y="549658"/>
                  <a:pt x="1414489" y="541330"/>
                </a:cubicBezTo>
                <a:cubicBezTo>
                  <a:pt x="1410347" y="537165"/>
                  <a:pt x="1402062" y="516345"/>
                  <a:pt x="1402062" y="516345"/>
                </a:cubicBezTo>
                <a:cubicBezTo>
                  <a:pt x="1381350" y="520509"/>
                  <a:pt x="1360638" y="520509"/>
                  <a:pt x="1339926" y="516345"/>
                </a:cubicBezTo>
                <a:cubicBezTo>
                  <a:pt x="1335784" y="508017"/>
                  <a:pt x="1331641" y="495525"/>
                  <a:pt x="1331641" y="491361"/>
                </a:cubicBezTo>
                <a:cubicBezTo>
                  <a:pt x="1331641" y="487197"/>
                  <a:pt x="1331641" y="487197"/>
                  <a:pt x="1331641" y="487197"/>
                </a:cubicBezTo>
                <a:cubicBezTo>
                  <a:pt x="1344068" y="474704"/>
                  <a:pt x="1364780" y="462212"/>
                  <a:pt x="1385492" y="453884"/>
                </a:cubicBezTo>
                <a:cubicBezTo>
                  <a:pt x="1385492" y="453884"/>
                  <a:pt x="1381350" y="433064"/>
                  <a:pt x="1381350" y="428900"/>
                </a:cubicBezTo>
                <a:cubicBezTo>
                  <a:pt x="1360638" y="428900"/>
                  <a:pt x="1339926" y="424736"/>
                  <a:pt x="1323357" y="412243"/>
                </a:cubicBezTo>
                <a:cubicBezTo>
                  <a:pt x="1319214" y="412243"/>
                  <a:pt x="1319214" y="412243"/>
                  <a:pt x="1319214" y="412243"/>
                </a:cubicBezTo>
                <a:cubicBezTo>
                  <a:pt x="1319214" y="408079"/>
                  <a:pt x="1319214" y="403915"/>
                  <a:pt x="1319214" y="399751"/>
                </a:cubicBezTo>
                <a:cubicBezTo>
                  <a:pt x="1319214" y="391423"/>
                  <a:pt x="1319214" y="387259"/>
                  <a:pt x="1319214" y="383095"/>
                </a:cubicBezTo>
                <a:cubicBezTo>
                  <a:pt x="1323357" y="383095"/>
                  <a:pt x="1323357" y="383095"/>
                  <a:pt x="1323357" y="383095"/>
                </a:cubicBezTo>
                <a:cubicBezTo>
                  <a:pt x="1339926" y="374767"/>
                  <a:pt x="1360638" y="366438"/>
                  <a:pt x="1381350" y="366438"/>
                </a:cubicBezTo>
                <a:cubicBezTo>
                  <a:pt x="1381350" y="362274"/>
                  <a:pt x="1385492" y="345618"/>
                  <a:pt x="1385492" y="341454"/>
                </a:cubicBezTo>
                <a:cubicBezTo>
                  <a:pt x="1364780" y="333126"/>
                  <a:pt x="1344068" y="324798"/>
                  <a:pt x="1331641" y="308141"/>
                </a:cubicBezTo>
                <a:cubicBezTo>
                  <a:pt x="1331641" y="299813"/>
                  <a:pt x="1335784" y="291485"/>
                  <a:pt x="1339926" y="283157"/>
                </a:cubicBezTo>
                <a:cubicBezTo>
                  <a:pt x="1356496" y="274829"/>
                  <a:pt x="1381350" y="274829"/>
                  <a:pt x="1402062" y="283157"/>
                </a:cubicBezTo>
                <a:cubicBezTo>
                  <a:pt x="1402062" y="278993"/>
                  <a:pt x="1410347" y="262337"/>
                  <a:pt x="1410347" y="258173"/>
                </a:cubicBezTo>
                <a:cubicBezTo>
                  <a:pt x="1393777" y="245680"/>
                  <a:pt x="1377208" y="229024"/>
                  <a:pt x="1368923" y="212368"/>
                </a:cubicBezTo>
                <a:cubicBezTo>
                  <a:pt x="1368923" y="204040"/>
                  <a:pt x="1377208" y="195711"/>
                  <a:pt x="1381350" y="187383"/>
                </a:cubicBezTo>
                <a:cubicBezTo>
                  <a:pt x="1402062" y="187383"/>
                  <a:pt x="1422774" y="195711"/>
                  <a:pt x="1443486" y="204040"/>
                </a:cubicBezTo>
                <a:cubicBezTo>
                  <a:pt x="1443486" y="204040"/>
                  <a:pt x="1455913" y="183219"/>
                  <a:pt x="1460055" y="183219"/>
                </a:cubicBezTo>
                <a:cubicBezTo>
                  <a:pt x="1443486" y="166563"/>
                  <a:pt x="1431059" y="145743"/>
                  <a:pt x="1426916" y="129086"/>
                </a:cubicBezTo>
                <a:cubicBezTo>
                  <a:pt x="1426916" y="124922"/>
                  <a:pt x="1426916" y="124922"/>
                  <a:pt x="1426916" y="124922"/>
                </a:cubicBezTo>
                <a:cubicBezTo>
                  <a:pt x="1431059" y="120758"/>
                  <a:pt x="1439343" y="112430"/>
                  <a:pt x="1447628" y="108266"/>
                </a:cubicBezTo>
                <a:cubicBezTo>
                  <a:pt x="1468340" y="112430"/>
                  <a:pt x="1489052" y="124922"/>
                  <a:pt x="1501479" y="137414"/>
                </a:cubicBezTo>
                <a:cubicBezTo>
                  <a:pt x="1505621" y="137414"/>
                  <a:pt x="1518049" y="124922"/>
                  <a:pt x="1522191" y="124922"/>
                </a:cubicBezTo>
                <a:cubicBezTo>
                  <a:pt x="1509764" y="104102"/>
                  <a:pt x="1505621" y="83282"/>
                  <a:pt x="1505621" y="62461"/>
                </a:cubicBezTo>
                <a:cubicBezTo>
                  <a:pt x="1513906" y="58297"/>
                  <a:pt x="1522191" y="49969"/>
                  <a:pt x="1530476" y="49969"/>
                </a:cubicBezTo>
                <a:cubicBezTo>
                  <a:pt x="1547045" y="58297"/>
                  <a:pt x="1563615" y="74953"/>
                  <a:pt x="1576042" y="91610"/>
                </a:cubicBezTo>
                <a:cubicBezTo>
                  <a:pt x="1576042" y="91610"/>
                  <a:pt x="1596754" y="83282"/>
                  <a:pt x="1600896" y="83282"/>
                </a:cubicBezTo>
                <a:cubicBezTo>
                  <a:pt x="1596754" y="70789"/>
                  <a:pt x="1596754" y="62461"/>
                  <a:pt x="1596754" y="49969"/>
                </a:cubicBezTo>
                <a:cubicBezTo>
                  <a:pt x="1596754" y="37477"/>
                  <a:pt x="1596754" y="29149"/>
                  <a:pt x="1600896" y="20820"/>
                </a:cubicBezTo>
                <a:cubicBezTo>
                  <a:pt x="1600896" y="16656"/>
                  <a:pt x="1600896" y="16656"/>
                  <a:pt x="1600896" y="16656"/>
                </a:cubicBezTo>
                <a:cubicBezTo>
                  <a:pt x="1609181" y="16656"/>
                  <a:pt x="1617466" y="12492"/>
                  <a:pt x="1625751" y="12492"/>
                </a:cubicBezTo>
                <a:cubicBezTo>
                  <a:pt x="1629893" y="12492"/>
                  <a:pt x="1629893" y="12492"/>
                  <a:pt x="1629893" y="12492"/>
                </a:cubicBezTo>
                <a:cubicBezTo>
                  <a:pt x="1642320" y="24984"/>
                  <a:pt x="1654747" y="45805"/>
                  <a:pt x="1658890" y="66625"/>
                </a:cubicBezTo>
                <a:cubicBezTo>
                  <a:pt x="1663032" y="66625"/>
                  <a:pt x="1683744" y="62461"/>
                  <a:pt x="1687886" y="62461"/>
                </a:cubicBezTo>
                <a:cubicBezTo>
                  <a:pt x="1687886" y="41641"/>
                  <a:pt x="1692029" y="20820"/>
                  <a:pt x="1704456" y="0"/>
                </a:cubicBezTo>
                <a:close/>
              </a:path>
            </a:pathLst>
          </a:custGeom>
          <a:solidFill>
            <a:schemeClr val="bg1"/>
          </a:solidFill>
          <a:ln>
            <a:noFill/>
          </a:ln>
        </p:spPr>
        <p:txBody>
          <a:bodyPr vert="horz" wrap="square" lIns="68580" tIns="34290" rIns="68580" bIns="34290" numCol="1" anchor="t" anchorCtr="0" compatLnSpc="1">
            <a:prstTxWarp prst="textNoShape">
              <a:avLst/>
            </a:prstTxWarp>
            <a:noAutofit/>
          </a:bodyPr>
          <a:lstStyle/>
          <a:p>
            <a:endParaRPr lang="en-US" sz="1800">
              <a:solidFill>
                <a:schemeClr val="tx1"/>
              </a:solidFill>
            </a:endParaRPr>
          </a:p>
        </p:txBody>
      </p:sp>
    </p:spTree>
    <p:extLst>
      <p:ext uri="{BB962C8B-B14F-4D97-AF65-F5344CB8AC3E}">
        <p14:creationId xmlns:p14="http://schemas.microsoft.com/office/powerpoint/2010/main" val="783630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3B5555C6-768D-4D30-811A-F66CBE74CEF0}"/>
              </a:ext>
            </a:extLst>
          </p:cNvPr>
          <p:cNvSpPr>
            <a:spLocks noGrp="1"/>
          </p:cNvSpPr>
          <p:nvPr>
            <p:ph type="pic" sz="quarter" idx="13"/>
          </p:nvPr>
        </p:nvSpPr>
        <p:spPr>
          <a:xfrm>
            <a:off x="0" y="0"/>
            <a:ext cx="12192000" cy="5043713"/>
          </a:xfrm>
          <a:prstGeom prst="rect">
            <a:avLst/>
          </a:prstGeom>
        </p:spPr>
        <p:txBody>
          <a:bodyPr wrap="square">
            <a:noAutofit/>
          </a:bodyPr>
          <a:lstStyle/>
          <a:p>
            <a:endParaRPr lang="en-US" dirty="0"/>
          </a:p>
        </p:txBody>
      </p:sp>
      <p:sp>
        <p:nvSpPr>
          <p:cNvPr id="24" name="Rectangle 23">
            <a:extLst>
              <a:ext uri="{FF2B5EF4-FFF2-40B4-BE49-F238E27FC236}">
                <a16:creationId xmlns:a16="http://schemas.microsoft.com/office/drawing/2014/main" id="{109702C4-ABB0-4FA9-AC7F-FD0C1056D0BB}"/>
              </a:ext>
            </a:extLst>
          </p:cNvPr>
          <p:cNvSpPr/>
          <p:nvPr userDrawn="1"/>
        </p:nvSpPr>
        <p:spPr>
          <a:xfrm>
            <a:off x="0" y="0"/>
            <a:ext cx="12192000" cy="5043713"/>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b"/>
          <a:lstStyle/>
          <a:p>
            <a:pPr algn="l"/>
            <a:r>
              <a:rPr lang="en-US" dirty="0">
                <a:solidFill>
                  <a:schemeClr val="lt1">
                    <a:alpha val="0"/>
                  </a:schemeClr>
                </a:solidFill>
              </a:rPr>
              <a:t>z</a:t>
            </a:r>
          </a:p>
        </p:txBody>
      </p:sp>
      <p:sp>
        <p:nvSpPr>
          <p:cNvPr id="27" name="Rectangle 26">
            <a:extLst>
              <a:ext uri="{FF2B5EF4-FFF2-40B4-BE49-F238E27FC236}">
                <a16:creationId xmlns:a16="http://schemas.microsoft.com/office/drawing/2014/main" id="{6D468973-885C-4EB1-BD5B-E7545B32CF5C}"/>
              </a:ext>
            </a:extLst>
          </p:cNvPr>
          <p:cNvSpPr/>
          <p:nvPr userDrawn="1"/>
        </p:nvSpPr>
        <p:spPr>
          <a:xfrm>
            <a:off x="0" y="5043714"/>
            <a:ext cx="12192000" cy="1814286"/>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3" name="Text Placeholder 11">
            <a:extLst>
              <a:ext uri="{FF2B5EF4-FFF2-40B4-BE49-F238E27FC236}">
                <a16:creationId xmlns:a16="http://schemas.microsoft.com/office/drawing/2014/main" id="{9D3472EC-3332-4840-B3B3-3F529B60B0CF}"/>
              </a:ext>
            </a:extLst>
          </p:cNvPr>
          <p:cNvSpPr>
            <a:spLocks noGrp="1"/>
          </p:cNvSpPr>
          <p:nvPr>
            <p:ph type="body" sz="quarter" idx="14" hasCustomPrompt="1"/>
          </p:nvPr>
        </p:nvSpPr>
        <p:spPr>
          <a:xfrm>
            <a:off x="296333" y="5297713"/>
            <a:ext cx="9733038" cy="635000"/>
          </a:xfrm>
        </p:spPr>
        <p:txBody>
          <a:bodyPr>
            <a:normAutofit/>
          </a:bodyPr>
          <a:lstStyle>
            <a:lvl1pPr marL="0" indent="0" algn="l">
              <a:buNone/>
              <a:defRPr sz="4400" b="1" cap="all" baseline="0">
                <a:solidFill>
                  <a:schemeClr val="bg1"/>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dirty="0"/>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296333" y="6042779"/>
            <a:ext cx="9733038" cy="465667"/>
          </a:xfrm>
        </p:spPr>
        <p:txBody>
          <a:bodyPr/>
          <a:lstStyle>
            <a:lvl1pPr marL="0" indent="0" algn="l">
              <a:buNone/>
              <a:defRPr sz="2400">
                <a:solidFill>
                  <a:srgbClr val="33333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hidden="1">
            <a:extLst>
              <a:ext uri="{FF2B5EF4-FFF2-40B4-BE49-F238E27FC236}">
                <a16:creationId xmlns:a16="http://schemas.microsoft.com/office/drawing/2014/main" id="{84DDCCAD-79C7-47DD-ADFA-662E6C9F15A6}"/>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1">
                    <a:lumMod val="50000"/>
                  </a:schemeClr>
                </a:solidFill>
              </a:rPr>
              <a:t>© 2019 Rotary International. Internal Use Only. Not For Distribution. Private and Confidential.</a:t>
            </a:r>
          </a:p>
        </p:txBody>
      </p:sp>
      <p:sp>
        <p:nvSpPr>
          <p:cNvPr id="11" name="Slide Number Placeholder 5">
            <a:extLst>
              <a:ext uri="{FF2B5EF4-FFF2-40B4-BE49-F238E27FC236}">
                <a16:creationId xmlns:a16="http://schemas.microsoft.com/office/drawing/2014/main" id="{B404E3BF-B02B-48D6-9216-A767209304BA}"/>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
        <p:nvSpPr>
          <p:cNvPr id="12" name="Freeform: Shape 11">
            <a:extLst>
              <a:ext uri="{FF2B5EF4-FFF2-40B4-BE49-F238E27FC236}">
                <a16:creationId xmlns:a16="http://schemas.microsoft.com/office/drawing/2014/main" id="{643E380A-6D0A-4C52-8CFF-9C577C79E153}"/>
              </a:ext>
            </a:extLst>
          </p:cNvPr>
          <p:cNvSpPr/>
          <p:nvPr userDrawn="1"/>
        </p:nvSpPr>
        <p:spPr>
          <a:xfrm>
            <a:off x="10196211" y="6043056"/>
            <a:ext cx="1789604" cy="677148"/>
          </a:xfrm>
          <a:custGeom>
            <a:avLst/>
            <a:gdLst>
              <a:gd name="connsiteX0" fmla="*/ 2068305 w 2114552"/>
              <a:gd name="connsiteY0" fmla="*/ 749732 h 800100"/>
              <a:gd name="connsiteX1" fmla="*/ 2068305 w 2114552"/>
              <a:gd name="connsiteY1" fmla="*/ 761609 h 800100"/>
              <a:gd name="connsiteX2" fmla="*/ 2076013 w 2114552"/>
              <a:gd name="connsiteY2" fmla="*/ 761609 h 800100"/>
              <a:gd name="connsiteX3" fmla="*/ 2083551 w 2114552"/>
              <a:gd name="connsiteY3" fmla="*/ 759961 h 800100"/>
              <a:gd name="connsiteX4" fmla="*/ 2085563 w 2114552"/>
              <a:gd name="connsiteY4" fmla="*/ 755598 h 800100"/>
              <a:gd name="connsiteX5" fmla="*/ 2084594 w 2114552"/>
              <a:gd name="connsiteY5" fmla="*/ 752471 h 800100"/>
              <a:gd name="connsiteX6" fmla="*/ 2081903 w 2114552"/>
              <a:gd name="connsiteY6" fmla="*/ 750411 h 800100"/>
              <a:gd name="connsiteX7" fmla="*/ 2075528 w 2114552"/>
              <a:gd name="connsiteY7" fmla="*/ 749732 h 800100"/>
              <a:gd name="connsiteX8" fmla="*/ 2061954 w 2114552"/>
              <a:gd name="connsiteY8" fmla="*/ 744400 h 800100"/>
              <a:gd name="connsiteX9" fmla="*/ 2075480 w 2114552"/>
              <a:gd name="connsiteY9" fmla="*/ 744400 h 800100"/>
              <a:gd name="connsiteX10" fmla="*/ 2085514 w 2114552"/>
              <a:gd name="connsiteY10" fmla="*/ 745491 h 800100"/>
              <a:gd name="connsiteX11" fmla="*/ 2090459 w 2114552"/>
              <a:gd name="connsiteY11" fmla="*/ 749296 h 800100"/>
              <a:gd name="connsiteX12" fmla="*/ 2092301 w 2114552"/>
              <a:gd name="connsiteY12" fmla="*/ 755065 h 800100"/>
              <a:gd name="connsiteX13" fmla="*/ 2089223 w 2114552"/>
              <a:gd name="connsiteY13" fmla="*/ 762579 h 800100"/>
              <a:gd name="connsiteX14" fmla="*/ 2081055 w 2114552"/>
              <a:gd name="connsiteY14" fmla="*/ 766166 h 800100"/>
              <a:gd name="connsiteX15" fmla="*/ 2084400 w 2114552"/>
              <a:gd name="connsiteY15" fmla="*/ 768251 h 800100"/>
              <a:gd name="connsiteX16" fmla="*/ 2090217 w 2114552"/>
              <a:gd name="connsiteY16" fmla="*/ 776055 h 800100"/>
              <a:gd name="connsiteX17" fmla="*/ 2095016 w 2114552"/>
              <a:gd name="connsiteY17" fmla="*/ 783763 h 800100"/>
              <a:gd name="connsiteX18" fmla="*/ 2087260 w 2114552"/>
              <a:gd name="connsiteY18" fmla="*/ 783763 h 800100"/>
              <a:gd name="connsiteX19" fmla="*/ 2083769 w 2114552"/>
              <a:gd name="connsiteY19" fmla="*/ 777558 h 800100"/>
              <a:gd name="connsiteX20" fmla="*/ 2077128 w 2114552"/>
              <a:gd name="connsiteY20" fmla="*/ 768396 h 800100"/>
              <a:gd name="connsiteX21" fmla="*/ 2072038 w 2114552"/>
              <a:gd name="connsiteY21" fmla="*/ 767039 h 800100"/>
              <a:gd name="connsiteX22" fmla="*/ 2068305 w 2114552"/>
              <a:gd name="connsiteY22" fmla="*/ 767039 h 800100"/>
              <a:gd name="connsiteX23" fmla="*/ 2068305 w 2114552"/>
              <a:gd name="connsiteY23" fmla="*/ 783763 h 800100"/>
              <a:gd name="connsiteX24" fmla="*/ 2061954 w 2114552"/>
              <a:gd name="connsiteY24" fmla="*/ 783763 h 800100"/>
              <a:gd name="connsiteX25" fmla="*/ 834048 w 2114552"/>
              <a:gd name="connsiteY25" fmla="*/ 741362 h 800100"/>
              <a:gd name="connsiteX26" fmla="*/ 784225 w 2114552"/>
              <a:gd name="connsiteY26" fmla="*/ 766474 h 800100"/>
              <a:gd name="connsiteX27" fmla="*/ 804985 w 2114552"/>
              <a:gd name="connsiteY27" fmla="*/ 787400 h 800100"/>
              <a:gd name="connsiteX28" fmla="*/ 838200 w 2114552"/>
              <a:gd name="connsiteY28" fmla="*/ 745547 h 800100"/>
              <a:gd name="connsiteX29" fmla="*/ 838200 w 2114552"/>
              <a:gd name="connsiteY29" fmla="*/ 741362 h 800100"/>
              <a:gd name="connsiteX30" fmla="*/ 834048 w 2114552"/>
              <a:gd name="connsiteY30" fmla="*/ 741362 h 800100"/>
              <a:gd name="connsiteX31" fmla="*/ 2078001 w 2114552"/>
              <a:gd name="connsiteY31" fmla="*/ 733008 h 800100"/>
              <a:gd name="connsiteX32" fmla="*/ 2062997 w 2114552"/>
              <a:gd name="connsiteY32" fmla="*/ 736959 h 800100"/>
              <a:gd name="connsiteX33" fmla="*/ 2051581 w 2114552"/>
              <a:gd name="connsiteY33" fmla="*/ 748254 h 800100"/>
              <a:gd name="connsiteX34" fmla="*/ 2047460 w 2114552"/>
              <a:gd name="connsiteY34" fmla="*/ 763548 h 800100"/>
              <a:gd name="connsiteX35" fmla="*/ 2051508 w 2114552"/>
              <a:gd name="connsiteY35" fmla="*/ 778697 h 800100"/>
              <a:gd name="connsiteX36" fmla="*/ 2062827 w 2114552"/>
              <a:gd name="connsiteY36" fmla="*/ 789993 h 800100"/>
              <a:gd name="connsiteX37" fmla="*/ 2078001 w 2114552"/>
              <a:gd name="connsiteY37" fmla="*/ 794041 h 800100"/>
              <a:gd name="connsiteX38" fmla="*/ 2093174 w 2114552"/>
              <a:gd name="connsiteY38" fmla="*/ 789993 h 800100"/>
              <a:gd name="connsiteX39" fmla="*/ 2104469 w 2114552"/>
              <a:gd name="connsiteY39" fmla="*/ 778697 h 800100"/>
              <a:gd name="connsiteX40" fmla="*/ 2108493 w 2114552"/>
              <a:gd name="connsiteY40" fmla="*/ 763548 h 800100"/>
              <a:gd name="connsiteX41" fmla="*/ 2104397 w 2114552"/>
              <a:gd name="connsiteY41" fmla="*/ 748254 h 800100"/>
              <a:gd name="connsiteX42" fmla="*/ 2092980 w 2114552"/>
              <a:gd name="connsiteY42" fmla="*/ 736959 h 800100"/>
              <a:gd name="connsiteX43" fmla="*/ 2078001 w 2114552"/>
              <a:gd name="connsiteY43" fmla="*/ 733008 h 800100"/>
              <a:gd name="connsiteX44" fmla="*/ 2078001 w 2114552"/>
              <a:gd name="connsiteY44" fmla="*/ 726948 h 800100"/>
              <a:gd name="connsiteX45" fmla="*/ 2095985 w 2114552"/>
              <a:gd name="connsiteY45" fmla="*/ 731675 h 800100"/>
              <a:gd name="connsiteX46" fmla="*/ 2109656 w 2114552"/>
              <a:gd name="connsiteY46" fmla="*/ 745200 h 800100"/>
              <a:gd name="connsiteX47" fmla="*/ 2114552 w 2114552"/>
              <a:gd name="connsiteY47" fmla="*/ 763548 h 800100"/>
              <a:gd name="connsiteX48" fmla="*/ 2109729 w 2114552"/>
              <a:gd name="connsiteY48" fmla="*/ 781727 h 800100"/>
              <a:gd name="connsiteX49" fmla="*/ 2096204 w 2114552"/>
              <a:gd name="connsiteY49" fmla="*/ 795277 h 800100"/>
              <a:gd name="connsiteX50" fmla="*/ 2078001 w 2114552"/>
              <a:gd name="connsiteY50" fmla="*/ 800100 h 800100"/>
              <a:gd name="connsiteX51" fmla="*/ 2059797 w 2114552"/>
              <a:gd name="connsiteY51" fmla="*/ 795277 h 800100"/>
              <a:gd name="connsiteX52" fmla="*/ 2046248 w 2114552"/>
              <a:gd name="connsiteY52" fmla="*/ 781727 h 800100"/>
              <a:gd name="connsiteX53" fmla="*/ 2041400 w 2114552"/>
              <a:gd name="connsiteY53" fmla="*/ 763548 h 800100"/>
              <a:gd name="connsiteX54" fmla="*/ 2046321 w 2114552"/>
              <a:gd name="connsiteY54" fmla="*/ 745200 h 800100"/>
              <a:gd name="connsiteX55" fmla="*/ 2060016 w 2114552"/>
              <a:gd name="connsiteY55" fmla="*/ 731675 h 800100"/>
              <a:gd name="connsiteX56" fmla="*/ 2078001 w 2114552"/>
              <a:gd name="connsiteY56" fmla="*/ 726948 h 800100"/>
              <a:gd name="connsiteX57" fmla="*/ 1058070 w 2114552"/>
              <a:gd name="connsiteY57" fmla="*/ 692149 h 800100"/>
              <a:gd name="connsiteX58" fmla="*/ 1020763 w 2114552"/>
              <a:gd name="connsiteY58" fmla="*/ 739774 h 800100"/>
              <a:gd name="connsiteX59" fmla="*/ 1058070 w 2114552"/>
              <a:gd name="connsiteY59" fmla="*/ 787399 h 800100"/>
              <a:gd name="connsiteX60" fmla="*/ 1095377 w 2114552"/>
              <a:gd name="connsiteY60" fmla="*/ 739774 h 800100"/>
              <a:gd name="connsiteX61" fmla="*/ 1058070 w 2114552"/>
              <a:gd name="connsiteY61" fmla="*/ 692149 h 800100"/>
              <a:gd name="connsiteX62" fmla="*/ 692151 w 2114552"/>
              <a:gd name="connsiteY62" fmla="*/ 692149 h 800100"/>
              <a:gd name="connsiteX63" fmla="*/ 658813 w 2114552"/>
              <a:gd name="connsiteY63" fmla="*/ 739774 h 800100"/>
              <a:gd name="connsiteX64" fmla="*/ 692151 w 2114552"/>
              <a:gd name="connsiteY64" fmla="*/ 787399 h 800100"/>
              <a:gd name="connsiteX65" fmla="*/ 725489 w 2114552"/>
              <a:gd name="connsiteY65" fmla="*/ 739774 h 800100"/>
              <a:gd name="connsiteX66" fmla="*/ 692151 w 2114552"/>
              <a:gd name="connsiteY66" fmla="*/ 692149 h 800100"/>
              <a:gd name="connsiteX67" fmla="*/ 323056 w 2114552"/>
              <a:gd name="connsiteY67" fmla="*/ 692149 h 800100"/>
              <a:gd name="connsiteX68" fmla="*/ 285749 w 2114552"/>
              <a:gd name="connsiteY68" fmla="*/ 739774 h 800100"/>
              <a:gd name="connsiteX69" fmla="*/ 323056 w 2114552"/>
              <a:gd name="connsiteY69" fmla="*/ 787399 h 800100"/>
              <a:gd name="connsiteX70" fmla="*/ 360363 w 2114552"/>
              <a:gd name="connsiteY70" fmla="*/ 739774 h 800100"/>
              <a:gd name="connsiteX71" fmla="*/ 323056 w 2114552"/>
              <a:gd name="connsiteY71" fmla="*/ 692149 h 800100"/>
              <a:gd name="connsiteX72" fmla="*/ 966943 w 2114552"/>
              <a:gd name="connsiteY72" fmla="*/ 685949 h 800100"/>
              <a:gd name="connsiteX73" fmla="*/ 981464 w 2114552"/>
              <a:gd name="connsiteY73" fmla="*/ 685949 h 800100"/>
              <a:gd name="connsiteX74" fmla="*/ 981464 w 2114552"/>
              <a:gd name="connsiteY74" fmla="*/ 799333 h 800100"/>
              <a:gd name="connsiteX75" fmla="*/ 966943 w 2114552"/>
              <a:gd name="connsiteY75" fmla="*/ 799333 h 800100"/>
              <a:gd name="connsiteX76" fmla="*/ 1136650 w 2114552"/>
              <a:gd name="connsiteY76" fmla="*/ 684212 h 800100"/>
              <a:gd name="connsiteX77" fmla="*/ 1148897 w 2114552"/>
              <a:gd name="connsiteY77" fmla="*/ 684212 h 800100"/>
              <a:gd name="connsiteX78" fmla="*/ 1148897 w 2114552"/>
              <a:gd name="connsiteY78" fmla="*/ 704791 h 800100"/>
              <a:gd name="connsiteX79" fmla="*/ 1185636 w 2114552"/>
              <a:gd name="connsiteY79" fmla="*/ 684212 h 800100"/>
              <a:gd name="connsiteX80" fmla="*/ 1222375 w 2114552"/>
              <a:gd name="connsiteY80" fmla="*/ 725369 h 800100"/>
              <a:gd name="connsiteX81" fmla="*/ 1222375 w 2114552"/>
              <a:gd name="connsiteY81" fmla="*/ 795337 h 800100"/>
              <a:gd name="connsiteX82" fmla="*/ 1210129 w 2114552"/>
              <a:gd name="connsiteY82" fmla="*/ 795337 h 800100"/>
              <a:gd name="connsiteX83" fmla="*/ 1210129 w 2114552"/>
              <a:gd name="connsiteY83" fmla="*/ 729485 h 800100"/>
              <a:gd name="connsiteX84" fmla="*/ 1185636 w 2114552"/>
              <a:gd name="connsiteY84" fmla="*/ 692443 h 800100"/>
              <a:gd name="connsiteX85" fmla="*/ 1152979 w 2114552"/>
              <a:gd name="connsiteY85" fmla="*/ 733601 h 800100"/>
              <a:gd name="connsiteX86" fmla="*/ 1152979 w 2114552"/>
              <a:gd name="connsiteY86" fmla="*/ 795337 h 800100"/>
              <a:gd name="connsiteX87" fmla="*/ 1136650 w 2114552"/>
              <a:gd name="connsiteY87" fmla="*/ 795337 h 800100"/>
              <a:gd name="connsiteX88" fmla="*/ 1136650 w 2114552"/>
              <a:gd name="connsiteY88" fmla="*/ 713022 h 800100"/>
              <a:gd name="connsiteX89" fmla="*/ 1136650 w 2114552"/>
              <a:gd name="connsiteY89" fmla="*/ 684212 h 800100"/>
              <a:gd name="connsiteX90" fmla="*/ 1054894 w 2114552"/>
              <a:gd name="connsiteY90" fmla="*/ 684212 h 800100"/>
              <a:gd name="connsiteX91" fmla="*/ 1106488 w 2114552"/>
              <a:gd name="connsiteY91" fmla="*/ 742156 h 800100"/>
              <a:gd name="connsiteX92" fmla="*/ 1054894 w 2114552"/>
              <a:gd name="connsiteY92" fmla="*/ 800100 h 800100"/>
              <a:gd name="connsiteX93" fmla="*/ 1003300 w 2114552"/>
              <a:gd name="connsiteY93" fmla="*/ 742156 h 800100"/>
              <a:gd name="connsiteX94" fmla="*/ 1054894 w 2114552"/>
              <a:gd name="connsiteY94" fmla="*/ 684212 h 800100"/>
              <a:gd name="connsiteX95" fmla="*/ 812499 w 2114552"/>
              <a:gd name="connsiteY95" fmla="*/ 684212 h 800100"/>
              <a:gd name="connsiteX96" fmla="*/ 854076 w 2114552"/>
              <a:gd name="connsiteY96" fmla="*/ 725601 h 800100"/>
              <a:gd name="connsiteX97" fmla="*/ 854076 w 2114552"/>
              <a:gd name="connsiteY97" fmla="*/ 775267 h 800100"/>
              <a:gd name="connsiteX98" fmla="*/ 854076 w 2114552"/>
              <a:gd name="connsiteY98" fmla="*/ 795961 h 800100"/>
              <a:gd name="connsiteX99" fmla="*/ 841603 w 2114552"/>
              <a:gd name="connsiteY99" fmla="*/ 795961 h 800100"/>
              <a:gd name="connsiteX100" fmla="*/ 841603 w 2114552"/>
              <a:gd name="connsiteY100" fmla="*/ 779406 h 800100"/>
              <a:gd name="connsiteX101" fmla="*/ 837445 w 2114552"/>
              <a:gd name="connsiteY101" fmla="*/ 779406 h 800100"/>
              <a:gd name="connsiteX102" fmla="*/ 804183 w 2114552"/>
              <a:gd name="connsiteY102" fmla="*/ 800100 h 800100"/>
              <a:gd name="connsiteX103" fmla="*/ 766763 w 2114552"/>
              <a:gd name="connsiteY103" fmla="*/ 766989 h 800100"/>
              <a:gd name="connsiteX104" fmla="*/ 837445 w 2114552"/>
              <a:gd name="connsiteY104" fmla="*/ 729739 h 800100"/>
              <a:gd name="connsiteX105" fmla="*/ 837445 w 2114552"/>
              <a:gd name="connsiteY105" fmla="*/ 721462 h 800100"/>
              <a:gd name="connsiteX106" fmla="*/ 812499 w 2114552"/>
              <a:gd name="connsiteY106" fmla="*/ 692490 h 800100"/>
              <a:gd name="connsiteX107" fmla="*/ 779236 w 2114552"/>
              <a:gd name="connsiteY107" fmla="*/ 704906 h 800100"/>
              <a:gd name="connsiteX108" fmla="*/ 779236 w 2114552"/>
              <a:gd name="connsiteY108" fmla="*/ 688351 h 800100"/>
              <a:gd name="connsiteX109" fmla="*/ 812499 w 2114552"/>
              <a:gd name="connsiteY109" fmla="*/ 684212 h 800100"/>
              <a:gd name="connsiteX110" fmla="*/ 527050 w 2114552"/>
              <a:gd name="connsiteY110" fmla="*/ 684212 h 800100"/>
              <a:gd name="connsiteX111" fmla="*/ 539523 w 2114552"/>
              <a:gd name="connsiteY111" fmla="*/ 684212 h 800100"/>
              <a:gd name="connsiteX112" fmla="*/ 539523 w 2114552"/>
              <a:gd name="connsiteY112" fmla="*/ 704791 h 800100"/>
              <a:gd name="connsiteX113" fmla="*/ 576943 w 2114552"/>
              <a:gd name="connsiteY113" fmla="*/ 684212 h 800100"/>
              <a:gd name="connsiteX114" fmla="*/ 614363 w 2114552"/>
              <a:gd name="connsiteY114" fmla="*/ 725369 h 800100"/>
              <a:gd name="connsiteX115" fmla="*/ 614363 w 2114552"/>
              <a:gd name="connsiteY115" fmla="*/ 795337 h 800100"/>
              <a:gd name="connsiteX116" fmla="*/ 601890 w 2114552"/>
              <a:gd name="connsiteY116" fmla="*/ 795337 h 800100"/>
              <a:gd name="connsiteX117" fmla="*/ 601890 w 2114552"/>
              <a:gd name="connsiteY117" fmla="*/ 729485 h 800100"/>
              <a:gd name="connsiteX118" fmla="*/ 576943 w 2114552"/>
              <a:gd name="connsiteY118" fmla="*/ 692443 h 800100"/>
              <a:gd name="connsiteX119" fmla="*/ 543681 w 2114552"/>
              <a:gd name="connsiteY119" fmla="*/ 733601 h 800100"/>
              <a:gd name="connsiteX120" fmla="*/ 543681 w 2114552"/>
              <a:gd name="connsiteY120" fmla="*/ 795337 h 800100"/>
              <a:gd name="connsiteX121" fmla="*/ 527050 w 2114552"/>
              <a:gd name="connsiteY121" fmla="*/ 795337 h 800100"/>
              <a:gd name="connsiteX122" fmla="*/ 527050 w 2114552"/>
              <a:gd name="connsiteY122" fmla="*/ 713022 h 800100"/>
              <a:gd name="connsiteX123" fmla="*/ 527050 w 2114552"/>
              <a:gd name="connsiteY123" fmla="*/ 684212 h 800100"/>
              <a:gd name="connsiteX124" fmla="*/ 406400 w 2114552"/>
              <a:gd name="connsiteY124" fmla="*/ 684212 h 800100"/>
              <a:gd name="connsiteX125" fmla="*/ 418873 w 2114552"/>
              <a:gd name="connsiteY125" fmla="*/ 684212 h 800100"/>
              <a:gd name="connsiteX126" fmla="*/ 418873 w 2114552"/>
              <a:gd name="connsiteY126" fmla="*/ 754573 h 800100"/>
              <a:gd name="connsiteX127" fmla="*/ 443820 w 2114552"/>
              <a:gd name="connsiteY127" fmla="*/ 787683 h 800100"/>
              <a:gd name="connsiteX128" fmla="*/ 477082 w 2114552"/>
              <a:gd name="connsiteY128" fmla="*/ 746295 h 800100"/>
              <a:gd name="connsiteX129" fmla="*/ 477082 w 2114552"/>
              <a:gd name="connsiteY129" fmla="*/ 684212 h 800100"/>
              <a:gd name="connsiteX130" fmla="*/ 493713 w 2114552"/>
              <a:gd name="connsiteY130" fmla="*/ 684212 h 800100"/>
              <a:gd name="connsiteX131" fmla="*/ 493713 w 2114552"/>
              <a:gd name="connsiteY131" fmla="*/ 771128 h 800100"/>
              <a:gd name="connsiteX132" fmla="*/ 493713 w 2114552"/>
              <a:gd name="connsiteY132" fmla="*/ 795961 h 800100"/>
              <a:gd name="connsiteX133" fmla="*/ 481240 w 2114552"/>
              <a:gd name="connsiteY133" fmla="*/ 795961 h 800100"/>
              <a:gd name="connsiteX134" fmla="*/ 481240 w 2114552"/>
              <a:gd name="connsiteY134" fmla="*/ 779406 h 800100"/>
              <a:gd name="connsiteX135" fmla="*/ 443820 w 2114552"/>
              <a:gd name="connsiteY135" fmla="*/ 800100 h 800100"/>
              <a:gd name="connsiteX136" fmla="*/ 406400 w 2114552"/>
              <a:gd name="connsiteY136" fmla="*/ 758711 h 800100"/>
              <a:gd name="connsiteX137" fmla="*/ 406400 w 2114552"/>
              <a:gd name="connsiteY137" fmla="*/ 684212 h 800100"/>
              <a:gd name="connsiteX138" fmla="*/ 325437 w 2114552"/>
              <a:gd name="connsiteY138" fmla="*/ 684212 h 800100"/>
              <a:gd name="connsiteX139" fmla="*/ 377825 w 2114552"/>
              <a:gd name="connsiteY139" fmla="*/ 742156 h 800100"/>
              <a:gd name="connsiteX140" fmla="*/ 325437 w 2114552"/>
              <a:gd name="connsiteY140" fmla="*/ 800100 h 800100"/>
              <a:gd name="connsiteX141" fmla="*/ 273049 w 2114552"/>
              <a:gd name="connsiteY141" fmla="*/ 742156 h 800100"/>
              <a:gd name="connsiteX142" fmla="*/ 325437 w 2114552"/>
              <a:gd name="connsiteY142" fmla="*/ 684212 h 800100"/>
              <a:gd name="connsiteX143" fmla="*/ 1724027 w 2114552"/>
              <a:gd name="connsiteY143" fmla="*/ 666750 h 800100"/>
              <a:gd name="connsiteX144" fmla="*/ 1720852 w 2114552"/>
              <a:gd name="connsiteY144" fmla="*/ 679450 h 800100"/>
              <a:gd name="connsiteX145" fmla="*/ 1716089 w 2114552"/>
              <a:gd name="connsiteY145" fmla="*/ 687388 h 800100"/>
              <a:gd name="connsiteX146" fmla="*/ 1733552 w 2114552"/>
              <a:gd name="connsiteY146" fmla="*/ 687388 h 800100"/>
              <a:gd name="connsiteX147" fmla="*/ 1728789 w 2114552"/>
              <a:gd name="connsiteY147" fmla="*/ 679450 h 800100"/>
              <a:gd name="connsiteX148" fmla="*/ 1728922 w 2114552"/>
              <a:gd name="connsiteY148" fmla="*/ 654050 h 800100"/>
              <a:gd name="connsiteX149" fmla="*/ 1728922 w 2114552"/>
              <a:gd name="connsiteY149" fmla="*/ 658202 h 800100"/>
              <a:gd name="connsiteX150" fmla="*/ 1737124 w 2114552"/>
              <a:gd name="connsiteY150" fmla="*/ 678962 h 800100"/>
              <a:gd name="connsiteX151" fmla="*/ 1749427 w 2114552"/>
              <a:gd name="connsiteY151" fmla="*/ 703873 h 800100"/>
              <a:gd name="connsiteX152" fmla="*/ 1737124 w 2114552"/>
              <a:gd name="connsiteY152" fmla="*/ 703873 h 800100"/>
              <a:gd name="connsiteX153" fmla="*/ 1737124 w 2114552"/>
              <a:gd name="connsiteY153" fmla="*/ 695569 h 800100"/>
              <a:gd name="connsiteX154" fmla="*/ 1712517 w 2114552"/>
              <a:gd name="connsiteY154" fmla="*/ 695569 h 800100"/>
              <a:gd name="connsiteX155" fmla="*/ 1712517 w 2114552"/>
              <a:gd name="connsiteY155" fmla="*/ 708025 h 800100"/>
              <a:gd name="connsiteX156" fmla="*/ 1700214 w 2114552"/>
              <a:gd name="connsiteY156" fmla="*/ 703873 h 800100"/>
              <a:gd name="connsiteX157" fmla="*/ 1712517 w 2114552"/>
              <a:gd name="connsiteY157" fmla="*/ 678962 h 800100"/>
              <a:gd name="connsiteX158" fmla="*/ 1716618 w 2114552"/>
              <a:gd name="connsiteY158" fmla="*/ 658202 h 800100"/>
              <a:gd name="connsiteX159" fmla="*/ 1728922 w 2114552"/>
              <a:gd name="connsiteY159" fmla="*/ 654050 h 800100"/>
              <a:gd name="connsiteX160" fmla="*/ 907733 w 2114552"/>
              <a:gd name="connsiteY160" fmla="*/ 654049 h 800100"/>
              <a:gd name="connsiteX161" fmla="*/ 907733 w 2114552"/>
              <a:gd name="connsiteY161" fmla="*/ 683259 h 800100"/>
              <a:gd name="connsiteX162" fmla="*/ 932498 w 2114552"/>
              <a:gd name="connsiteY162" fmla="*/ 683259 h 800100"/>
              <a:gd name="connsiteX163" fmla="*/ 932498 w 2114552"/>
              <a:gd name="connsiteY163" fmla="*/ 695778 h 800100"/>
              <a:gd name="connsiteX164" fmla="*/ 907733 w 2114552"/>
              <a:gd name="connsiteY164" fmla="*/ 695778 h 800100"/>
              <a:gd name="connsiteX165" fmla="*/ 907733 w 2114552"/>
              <a:gd name="connsiteY165" fmla="*/ 770889 h 800100"/>
              <a:gd name="connsiteX166" fmla="*/ 924243 w 2114552"/>
              <a:gd name="connsiteY166" fmla="*/ 787580 h 800100"/>
              <a:gd name="connsiteX167" fmla="*/ 936626 w 2114552"/>
              <a:gd name="connsiteY167" fmla="*/ 783408 h 800100"/>
              <a:gd name="connsiteX168" fmla="*/ 936626 w 2114552"/>
              <a:gd name="connsiteY168" fmla="*/ 795926 h 800100"/>
              <a:gd name="connsiteX169" fmla="*/ 920116 w 2114552"/>
              <a:gd name="connsiteY169" fmla="*/ 800099 h 800100"/>
              <a:gd name="connsiteX170" fmla="*/ 895351 w 2114552"/>
              <a:gd name="connsiteY170" fmla="*/ 762543 h 800100"/>
              <a:gd name="connsiteX171" fmla="*/ 895351 w 2114552"/>
              <a:gd name="connsiteY171" fmla="*/ 695778 h 800100"/>
              <a:gd name="connsiteX172" fmla="*/ 874713 w 2114552"/>
              <a:gd name="connsiteY172" fmla="*/ 695778 h 800100"/>
              <a:gd name="connsiteX173" fmla="*/ 874713 w 2114552"/>
              <a:gd name="connsiteY173" fmla="*/ 683259 h 800100"/>
              <a:gd name="connsiteX174" fmla="*/ 895351 w 2114552"/>
              <a:gd name="connsiteY174" fmla="*/ 683259 h 800100"/>
              <a:gd name="connsiteX175" fmla="*/ 895351 w 2114552"/>
              <a:gd name="connsiteY175" fmla="*/ 658222 h 800100"/>
              <a:gd name="connsiteX176" fmla="*/ 907733 w 2114552"/>
              <a:gd name="connsiteY176" fmla="*/ 654049 h 800100"/>
              <a:gd name="connsiteX177" fmla="*/ 1658542 w 2114552"/>
              <a:gd name="connsiteY177" fmla="*/ 650875 h 800100"/>
              <a:gd name="connsiteX178" fmla="*/ 1666745 w 2114552"/>
              <a:gd name="connsiteY178" fmla="*/ 650875 h 800100"/>
              <a:gd name="connsiteX179" fmla="*/ 1683149 w 2114552"/>
              <a:gd name="connsiteY179" fmla="*/ 688242 h 800100"/>
              <a:gd name="connsiteX180" fmla="*/ 1687250 w 2114552"/>
              <a:gd name="connsiteY180" fmla="*/ 655027 h 800100"/>
              <a:gd name="connsiteX181" fmla="*/ 1695452 w 2114552"/>
              <a:gd name="connsiteY181" fmla="*/ 655027 h 800100"/>
              <a:gd name="connsiteX182" fmla="*/ 1687250 w 2114552"/>
              <a:gd name="connsiteY182" fmla="*/ 704850 h 800100"/>
              <a:gd name="connsiteX183" fmla="*/ 1679048 w 2114552"/>
              <a:gd name="connsiteY183" fmla="*/ 704850 h 800100"/>
              <a:gd name="connsiteX184" fmla="*/ 1662643 w 2114552"/>
              <a:gd name="connsiteY184" fmla="*/ 671635 h 800100"/>
              <a:gd name="connsiteX185" fmla="*/ 1658542 w 2114552"/>
              <a:gd name="connsiteY185" fmla="*/ 700698 h 800100"/>
              <a:gd name="connsiteX186" fmla="*/ 1646239 w 2114552"/>
              <a:gd name="connsiteY186" fmla="*/ 700698 h 800100"/>
              <a:gd name="connsiteX187" fmla="*/ 1658542 w 2114552"/>
              <a:gd name="connsiteY187" fmla="*/ 650875 h 800100"/>
              <a:gd name="connsiteX188" fmla="*/ 1787526 w 2114552"/>
              <a:gd name="connsiteY188" fmla="*/ 646113 h 800100"/>
              <a:gd name="connsiteX189" fmla="*/ 1787526 w 2114552"/>
              <a:gd name="connsiteY189" fmla="*/ 654504 h 800100"/>
              <a:gd name="connsiteX190" fmla="*/ 1771016 w 2114552"/>
              <a:gd name="connsiteY190" fmla="*/ 658700 h 800100"/>
              <a:gd name="connsiteX191" fmla="*/ 1779271 w 2114552"/>
              <a:gd name="connsiteY191" fmla="*/ 700655 h 800100"/>
              <a:gd name="connsiteX192" fmla="*/ 1771016 w 2114552"/>
              <a:gd name="connsiteY192" fmla="*/ 704851 h 800100"/>
              <a:gd name="connsiteX193" fmla="*/ 1762761 w 2114552"/>
              <a:gd name="connsiteY193" fmla="*/ 662895 h 800100"/>
              <a:gd name="connsiteX194" fmla="*/ 1746251 w 2114552"/>
              <a:gd name="connsiteY194" fmla="*/ 662895 h 800100"/>
              <a:gd name="connsiteX195" fmla="*/ 1746251 w 2114552"/>
              <a:gd name="connsiteY195" fmla="*/ 654504 h 800100"/>
              <a:gd name="connsiteX196" fmla="*/ 1787526 w 2114552"/>
              <a:gd name="connsiteY196" fmla="*/ 646113 h 800100"/>
              <a:gd name="connsiteX197" fmla="*/ 1617029 w 2114552"/>
              <a:gd name="connsiteY197" fmla="*/ 646113 h 800100"/>
              <a:gd name="connsiteX198" fmla="*/ 1617029 w 2114552"/>
              <a:gd name="connsiteY198" fmla="*/ 654051 h 800100"/>
              <a:gd name="connsiteX199" fmla="*/ 1612901 w 2114552"/>
              <a:gd name="connsiteY199" fmla="*/ 658019 h 800100"/>
              <a:gd name="connsiteX200" fmla="*/ 1625284 w 2114552"/>
              <a:gd name="connsiteY200" fmla="*/ 661988 h 800100"/>
              <a:gd name="connsiteX201" fmla="*/ 1633539 w 2114552"/>
              <a:gd name="connsiteY201" fmla="*/ 658019 h 800100"/>
              <a:gd name="connsiteX202" fmla="*/ 1633539 w 2114552"/>
              <a:gd name="connsiteY202" fmla="*/ 654051 h 800100"/>
              <a:gd name="connsiteX203" fmla="*/ 1629412 w 2114552"/>
              <a:gd name="connsiteY203" fmla="*/ 650082 h 800100"/>
              <a:gd name="connsiteX204" fmla="*/ 1617029 w 2114552"/>
              <a:gd name="connsiteY204" fmla="*/ 646113 h 800100"/>
              <a:gd name="connsiteX205" fmla="*/ 966943 w 2114552"/>
              <a:gd name="connsiteY205" fmla="*/ 643885 h 800100"/>
              <a:gd name="connsiteX206" fmla="*/ 981464 w 2114552"/>
              <a:gd name="connsiteY206" fmla="*/ 643885 h 800100"/>
              <a:gd name="connsiteX207" fmla="*/ 981464 w 2114552"/>
              <a:gd name="connsiteY207" fmla="*/ 660066 h 800100"/>
              <a:gd name="connsiteX208" fmla="*/ 966943 w 2114552"/>
              <a:gd name="connsiteY208" fmla="*/ 660066 h 800100"/>
              <a:gd name="connsiteX209" fmla="*/ 1795464 w 2114552"/>
              <a:gd name="connsiteY209" fmla="*/ 641350 h 800100"/>
              <a:gd name="connsiteX210" fmla="*/ 1807711 w 2114552"/>
              <a:gd name="connsiteY210" fmla="*/ 641350 h 800100"/>
              <a:gd name="connsiteX211" fmla="*/ 1824039 w 2114552"/>
              <a:gd name="connsiteY211" fmla="*/ 687917 h 800100"/>
              <a:gd name="connsiteX212" fmla="*/ 1811793 w 2114552"/>
              <a:gd name="connsiteY212" fmla="*/ 692150 h 800100"/>
              <a:gd name="connsiteX213" fmla="*/ 1795464 w 2114552"/>
              <a:gd name="connsiteY213" fmla="*/ 641350 h 800100"/>
              <a:gd name="connsiteX214" fmla="*/ 177800 w 2114552"/>
              <a:gd name="connsiteY214" fmla="*/ 641349 h 800100"/>
              <a:gd name="connsiteX215" fmla="*/ 252413 w 2114552"/>
              <a:gd name="connsiteY215" fmla="*/ 641349 h 800100"/>
              <a:gd name="connsiteX216" fmla="*/ 252413 w 2114552"/>
              <a:gd name="connsiteY216" fmla="*/ 654049 h 800100"/>
              <a:gd name="connsiteX217" fmla="*/ 195262 w 2114552"/>
              <a:gd name="connsiteY217" fmla="*/ 654049 h 800100"/>
              <a:gd name="connsiteX218" fmla="*/ 195262 w 2114552"/>
              <a:gd name="connsiteY218" fmla="*/ 712787 h 800100"/>
              <a:gd name="connsiteX219" fmla="*/ 249238 w 2114552"/>
              <a:gd name="connsiteY219" fmla="*/ 712787 h 800100"/>
              <a:gd name="connsiteX220" fmla="*/ 249238 w 2114552"/>
              <a:gd name="connsiteY220" fmla="*/ 725487 h 800100"/>
              <a:gd name="connsiteX221" fmla="*/ 195262 w 2114552"/>
              <a:gd name="connsiteY221" fmla="*/ 725487 h 800100"/>
              <a:gd name="connsiteX222" fmla="*/ 195262 w 2114552"/>
              <a:gd name="connsiteY222" fmla="*/ 795337 h 800100"/>
              <a:gd name="connsiteX223" fmla="*/ 177800 w 2114552"/>
              <a:gd name="connsiteY223" fmla="*/ 795337 h 800100"/>
              <a:gd name="connsiteX224" fmla="*/ 1612770 w 2114552"/>
              <a:gd name="connsiteY224" fmla="*/ 633413 h 800100"/>
              <a:gd name="connsiteX225" fmla="*/ 1633275 w 2114552"/>
              <a:gd name="connsiteY225" fmla="*/ 641668 h 800100"/>
              <a:gd name="connsiteX226" fmla="*/ 1641477 w 2114552"/>
              <a:gd name="connsiteY226" fmla="*/ 654051 h 800100"/>
              <a:gd name="connsiteX227" fmla="*/ 1641477 w 2114552"/>
              <a:gd name="connsiteY227" fmla="*/ 658178 h 800100"/>
              <a:gd name="connsiteX228" fmla="*/ 1629174 w 2114552"/>
              <a:gd name="connsiteY228" fmla="*/ 670561 h 800100"/>
              <a:gd name="connsiteX229" fmla="*/ 1633275 w 2114552"/>
              <a:gd name="connsiteY229" fmla="*/ 695326 h 800100"/>
              <a:gd name="connsiteX230" fmla="*/ 1620972 w 2114552"/>
              <a:gd name="connsiteY230" fmla="*/ 691198 h 800100"/>
              <a:gd name="connsiteX231" fmla="*/ 1620972 w 2114552"/>
              <a:gd name="connsiteY231" fmla="*/ 670561 h 800100"/>
              <a:gd name="connsiteX232" fmla="*/ 1608668 w 2114552"/>
              <a:gd name="connsiteY232" fmla="*/ 666433 h 800100"/>
              <a:gd name="connsiteX233" fmla="*/ 1604567 w 2114552"/>
              <a:gd name="connsiteY233" fmla="*/ 682943 h 800100"/>
              <a:gd name="connsiteX234" fmla="*/ 1592264 w 2114552"/>
              <a:gd name="connsiteY234" fmla="*/ 678816 h 800100"/>
              <a:gd name="connsiteX235" fmla="*/ 1604567 w 2114552"/>
              <a:gd name="connsiteY235" fmla="*/ 658178 h 800100"/>
              <a:gd name="connsiteX236" fmla="*/ 1604567 w 2114552"/>
              <a:gd name="connsiteY236" fmla="*/ 654051 h 800100"/>
              <a:gd name="connsiteX237" fmla="*/ 1612770 w 2114552"/>
              <a:gd name="connsiteY237" fmla="*/ 633413 h 800100"/>
              <a:gd name="connsiteX238" fmla="*/ 1855109 w 2114552"/>
              <a:gd name="connsiteY238" fmla="*/ 630214 h 800100"/>
              <a:gd name="connsiteX239" fmla="*/ 1844903 w 2114552"/>
              <a:gd name="connsiteY239" fmla="*/ 632818 h 800100"/>
              <a:gd name="connsiteX240" fmla="*/ 1836739 w 2114552"/>
              <a:gd name="connsiteY240" fmla="*/ 645320 h 800100"/>
              <a:gd name="connsiteX241" fmla="*/ 1836739 w 2114552"/>
              <a:gd name="connsiteY241" fmla="*/ 653655 h 800100"/>
              <a:gd name="connsiteX242" fmla="*/ 1840821 w 2114552"/>
              <a:gd name="connsiteY242" fmla="*/ 657822 h 800100"/>
              <a:gd name="connsiteX243" fmla="*/ 1857150 w 2114552"/>
              <a:gd name="connsiteY243" fmla="*/ 661989 h 800100"/>
              <a:gd name="connsiteX244" fmla="*/ 1861232 w 2114552"/>
              <a:gd name="connsiteY244" fmla="*/ 657822 h 800100"/>
              <a:gd name="connsiteX245" fmla="*/ 1865314 w 2114552"/>
              <a:gd name="connsiteY245" fmla="*/ 645320 h 800100"/>
              <a:gd name="connsiteX246" fmla="*/ 1865314 w 2114552"/>
              <a:gd name="connsiteY246" fmla="*/ 636986 h 800100"/>
              <a:gd name="connsiteX247" fmla="*/ 1855109 w 2114552"/>
              <a:gd name="connsiteY247" fmla="*/ 630214 h 800100"/>
              <a:gd name="connsiteX248" fmla="*/ 726110 w 2114552"/>
              <a:gd name="connsiteY248" fmla="*/ 628649 h 800100"/>
              <a:gd name="connsiteX249" fmla="*/ 742951 w 2114552"/>
              <a:gd name="connsiteY249" fmla="*/ 628649 h 800100"/>
              <a:gd name="connsiteX250" fmla="*/ 742951 w 2114552"/>
              <a:gd name="connsiteY250" fmla="*/ 795917 h 800100"/>
              <a:gd name="connsiteX251" fmla="*/ 726110 w 2114552"/>
              <a:gd name="connsiteY251" fmla="*/ 795917 h 800100"/>
              <a:gd name="connsiteX252" fmla="*/ 726110 w 2114552"/>
              <a:gd name="connsiteY252" fmla="*/ 779190 h 800100"/>
              <a:gd name="connsiteX253" fmla="*/ 692427 w 2114552"/>
              <a:gd name="connsiteY253" fmla="*/ 800099 h 800100"/>
              <a:gd name="connsiteX254" fmla="*/ 646113 w 2114552"/>
              <a:gd name="connsiteY254" fmla="*/ 741555 h 800100"/>
              <a:gd name="connsiteX255" fmla="*/ 692427 w 2114552"/>
              <a:gd name="connsiteY255" fmla="*/ 683011 h 800100"/>
              <a:gd name="connsiteX256" fmla="*/ 726110 w 2114552"/>
              <a:gd name="connsiteY256" fmla="*/ 703920 h 800100"/>
              <a:gd name="connsiteX257" fmla="*/ 726110 w 2114552"/>
              <a:gd name="connsiteY257" fmla="*/ 628649 h 800100"/>
              <a:gd name="connsiteX258" fmla="*/ 1857377 w 2114552"/>
              <a:gd name="connsiteY258" fmla="*/ 622131 h 800100"/>
              <a:gd name="connsiteX259" fmla="*/ 1874839 w 2114552"/>
              <a:gd name="connsiteY259" fmla="*/ 633868 h 800100"/>
              <a:gd name="connsiteX260" fmla="*/ 1874839 w 2114552"/>
              <a:gd name="connsiteY260" fmla="*/ 646114 h 800100"/>
              <a:gd name="connsiteX261" fmla="*/ 1874839 w 2114552"/>
              <a:gd name="connsiteY261" fmla="*/ 658360 h 800100"/>
              <a:gd name="connsiteX262" fmla="*/ 1862139 w 2114552"/>
              <a:gd name="connsiteY262" fmla="*/ 666525 h 800100"/>
              <a:gd name="connsiteX263" fmla="*/ 1828272 w 2114552"/>
              <a:gd name="connsiteY263" fmla="*/ 658360 h 800100"/>
              <a:gd name="connsiteX264" fmla="*/ 1824039 w 2114552"/>
              <a:gd name="connsiteY264" fmla="*/ 646114 h 800100"/>
              <a:gd name="connsiteX265" fmla="*/ 1836739 w 2114552"/>
              <a:gd name="connsiteY265" fmla="*/ 625703 h 800100"/>
              <a:gd name="connsiteX266" fmla="*/ 1857377 w 2114552"/>
              <a:gd name="connsiteY266" fmla="*/ 622131 h 800100"/>
              <a:gd name="connsiteX267" fmla="*/ 1571138 w 2114552"/>
              <a:gd name="connsiteY267" fmla="*/ 612775 h 800100"/>
              <a:gd name="connsiteX268" fmla="*/ 1600201 w 2114552"/>
              <a:gd name="connsiteY268" fmla="*/ 629285 h 800100"/>
              <a:gd name="connsiteX269" fmla="*/ 1596049 w 2114552"/>
              <a:gd name="connsiteY269" fmla="*/ 637540 h 800100"/>
              <a:gd name="connsiteX270" fmla="*/ 1575290 w 2114552"/>
              <a:gd name="connsiteY270" fmla="*/ 625158 h 800100"/>
              <a:gd name="connsiteX271" fmla="*/ 1571138 w 2114552"/>
              <a:gd name="connsiteY271" fmla="*/ 633413 h 800100"/>
              <a:gd name="connsiteX272" fmla="*/ 1583593 w 2114552"/>
              <a:gd name="connsiteY272" fmla="*/ 641668 h 800100"/>
              <a:gd name="connsiteX273" fmla="*/ 1579442 w 2114552"/>
              <a:gd name="connsiteY273" fmla="*/ 649923 h 800100"/>
              <a:gd name="connsiteX274" fmla="*/ 1566986 w 2114552"/>
              <a:gd name="connsiteY274" fmla="*/ 641668 h 800100"/>
              <a:gd name="connsiteX275" fmla="*/ 1558682 w 2114552"/>
              <a:gd name="connsiteY275" fmla="*/ 654050 h 800100"/>
              <a:gd name="connsiteX276" fmla="*/ 1579442 w 2114552"/>
              <a:gd name="connsiteY276" fmla="*/ 666433 h 800100"/>
              <a:gd name="connsiteX277" fmla="*/ 1575290 w 2114552"/>
              <a:gd name="connsiteY277" fmla="*/ 674688 h 800100"/>
              <a:gd name="connsiteX278" fmla="*/ 1546226 w 2114552"/>
              <a:gd name="connsiteY278" fmla="*/ 654050 h 800100"/>
              <a:gd name="connsiteX279" fmla="*/ 1571138 w 2114552"/>
              <a:gd name="connsiteY279" fmla="*/ 612775 h 800100"/>
              <a:gd name="connsiteX280" fmla="*/ 1898969 w 2114552"/>
              <a:gd name="connsiteY280" fmla="*/ 579438 h 800100"/>
              <a:gd name="connsiteX281" fmla="*/ 1931989 w 2114552"/>
              <a:gd name="connsiteY281" fmla="*/ 616943 h 800100"/>
              <a:gd name="connsiteX282" fmla="*/ 1923734 w 2114552"/>
              <a:gd name="connsiteY282" fmla="*/ 625277 h 800100"/>
              <a:gd name="connsiteX283" fmla="*/ 1890714 w 2114552"/>
              <a:gd name="connsiteY283" fmla="*/ 612776 h 800100"/>
              <a:gd name="connsiteX284" fmla="*/ 1907224 w 2114552"/>
              <a:gd name="connsiteY284" fmla="*/ 637779 h 800100"/>
              <a:gd name="connsiteX285" fmla="*/ 1898969 w 2114552"/>
              <a:gd name="connsiteY285" fmla="*/ 646113 h 800100"/>
              <a:gd name="connsiteX286" fmla="*/ 1870076 w 2114552"/>
              <a:gd name="connsiteY286" fmla="*/ 604441 h 800100"/>
              <a:gd name="connsiteX287" fmla="*/ 1878331 w 2114552"/>
              <a:gd name="connsiteY287" fmla="*/ 600274 h 800100"/>
              <a:gd name="connsiteX288" fmla="*/ 1911351 w 2114552"/>
              <a:gd name="connsiteY288" fmla="*/ 608608 h 800100"/>
              <a:gd name="connsiteX289" fmla="*/ 1890714 w 2114552"/>
              <a:gd name="connsiteY289" fmla="*/ 587772 h 800100"/>
              <a:gd name="connsiteX290" fmla="*/ 1898969 w 2114552"/>
              <a:gd name="connsiteY290" fmla="*/ 579438 h 800100"/>
              <a:gd name="connsiteX291" fmla="*/ 1534626 w 2114552"/>
              <a:gd name="connsiteY291" fmla="*/ 579438 h 800100"/>
              <a:gd name="connsiteX292" fmla="*/ 1563689 w 2114552"/>
              <a:gd name="connsiteY292" fmla="*/ 604350 h 800100"/>
              <a:gd name="connsiteX293" fmla="*/ 1559537 w 2114552"/>
              <a:gd name="connsiteY293" fmla="*/ 612653 h 800100"/>
              <a:gd name="connsiteX294" fmla="*/ 1547081 w 2114552"/>
              <a:gd name="connsiteY294" fmla="*/ 604350 h 800100"/>
              <a:gd name="connsiteX295" fmla="*/ 1518018 w 2114552"/>
              <a:gd name="connsiteY295" fmla="*/ 633413 h 800100"/>
              <a:gd name="connsiteX296" fmla="*/ 1509714 w 2114552"/>
              <a:gd name="connsiteY296" fmla="*/ 625109 h 800100"/>
              <a:gd name="connsiteX297" fmla="*/ 1538778 w 2114552"/>
              <a:gd name="connsiteY297" fmla="*/ 596046 h 800100"/>
              <a:gd name="connsiteX298" fmla="*/ 1526322 w 2114552"/>
              <a:gd name="connsiteY298" fmla="*/ 583590 h 800100"/>
              <a:gd name="connsiteX299" fmla="*/ 1534626 w 2114552"/>
              <a:gd name="connsiteY299" fmla="*/ 579438 h 800100"/>
              <a:gd name="connsiteX300" fmla="*/ 1924051 w 2114552"/>
              <a:gd name="connsiteY300" fmla="*/ 566738 h 800100"/>
              <a:gd name="connsiteX301" fmla="*/ 1931989 w 2114552"/>
              <a:gd name="connsiteY301" fmla="*/ 579438 h 800100"/>
              <a:gd name="connsiteX302" fmla="*/ 1936751 w 2114552"/>
              <a:gd name="connsiteY302" fmla="*/ 587376 h 800100"/>
              <a:gd name="connsiteX303" fmla="*/ 1944689 w 2114552"/>
              <a:gd name="connsiteY303" fmla="*/ 579438 h 800100"/>
              <a:gd name="connsiteX304" fmla="*/ 1944689 w 2114552"/>
              <a:gd name="connsiteY304" fmla="*/ 574676 h 800100"/>
              <a:gd name="connsiteX305" fmla="*/ 1919742 w 2114552"/>
              <a:gd name="connsiteY305" fmla="*/ 558800 h 800100"/>
              <a:gd name="connsiteX306" fmla="*/ 1970089 w 2114552"/>
              <a:gd name="connsiteY306" fmla="*/ 571103 h 800100"/>
              <a:gd name="connsiteX307" fmla="*/ 1965894 w 2114552"/>
              <a:gd name="connsiteY307" fmla="*/ 579305 h 800100"/>
              <a:gd name="connsiteX308" fmla="*/ 1961698 w 2114552"/>
              <a:gd name="connsiteY308" fmla="*/ 579305 h 800100"/>
              <a:gd name="connsiteX309" fmla="*/ 1953307 w 2114552"/>
              <a:gd name="connsiteY309" fmla="*/ 579305 h 800100"/>
              <a:gd name="connsiteX310" fmla="*/ 1940720 w 2114552"/>
              <a:gd name="connsiteY310" fmla="*/ 595710 h 800100"/>
              <a:gd name="connsiteX311" fmla="*/ 1944916 w 2114552"/>
              <a:gd name="connsiteY311" fmla="*/ 603912 h 800100"/>
              <a:gd name="connsiteX312" fmla="*/ 1940720 w 2114552"/>
              <a:gd name="connsiteY312" fmla="*/ 608013 h 800100"/>
              <a:gd name="connsiteX313" fmla="*/ 1919742 w 2114552"/>
              <a:gd name="connsiteY313" fmla="*/ 579305 h 800100"/>
              <a:gd name="connsiteX314" fmla="*/ 1911351 w 2114552"/>
              <a:gd name="connsiteY314" fmla="*/ 567002 h 800100"/>
              <a:gd name="connsiteX315" fmla="*/ 1500586 w 2114552"/>
              <a:gd name="connsiteY315" fmla="*/ 541338 h 800100"/>
              <a:gd name="connsiteX316" fmla="*/ 1508920 w 2114552"/>
              <a:gd name="connsiteY316" fmla="*/ 549805 h 800100"/>
              <a:gd name="connsiteX317" fmla="*/ 1496419 w 2114552"/>
              <a:gd name="connsiteY317" fmla="*/ 583671 h 800100"/>
              <a:gd name="connsiteX318" fmla="*/ 1521422 w 2114552"/>
              <a:gd name="connsiteY318" fmla="*/ 562505 h 800100"/>
              <a:gd name="connsiteX319" fmla="*/ 1525589 w 2114552"/>
              <a:gd name="connsiteY319" fmla="*/ 570971 h 800100"/>
              <a:gd name="connsiteX320" fmla="*/ 1488084 w 2114552"/>
              <a:gd name="connsiteY320" fmla="*/ 604838 h 800100"/>
              <a:gd name="connsiteX321" fmla="*/ 1479750 w 2114552"/>
              <a:gd name="connsiteY321" fmla="*/ 596371 h 800100"/>
              <a:gd name="connsiteX322" fmla="*/ 1492252 w 2114552"/>
              <a:gd name="connsiteY322" fmla="*/ 562505 h 800100"/>
              <a:gd name="connsiteX323" fmla="*/ 1467249 w 2114552"/>
              <a:gd name="connsiteY323" fmla="*/ 579438 h 800100"/>
              <a:gd name="connsiteX324" fmla="*/ 1458914 w 2114552"/>
              <a:gd name="connsiteY324" fmla="*/ 570971 h 800100"/>
              <a:gd name="connsiteX325" fmla="*/ 1500586 w 2114552"/>
              <a:gd name="connsiteY325" fmla="*/ 541338 h 800100"/>
              <a:gd name="connsiteX326" fmla="*/ 1936752 w 2114552"/>
              <a:gd name="connsiteY326" fmla="*/ 528638 h 800100"/>
              <a:gd name="connsiteX327" fmla="*/ 1973264 w 2114552"/>
              <a:gd name="connsiteY327" fmla="*/ 550863 h 800100"/>
              <a:gd name="connsiteX328" fmla="*/ 1985965 w 2114552"/>
              <a:gd name="connsiteY328" fmla="*/ 528638 h 800100"/>
              <a:gd name="connsiteX329" fmla="*/ 1993902 w 2114552"/>
              <a:gd name="connsiteY329" fmla="*/ 533401 h 800100"/>
              <a:gd name="connsiteX330" fmla="*/ 1978027 w 2114552"/>
              <a:gd name="connsiteY330" fmla="*/ 561976 h 800100"/>
              <a:gd name="connsiteX331" fmla="*/ 1931989 w 2114552"/>
              <a:gd name="connsiteY331" fmla="*/ 538163 h 800100"/>
              <a:gd name="connsiteX332" fmla="*/ 1492829 w 2114552"/>
              <a:gd name="connsiteY332" fmla="*/ 525463 h 800100"/>
              <a:gd name="connsiteX333" fmla="*/ 1497014 w 2114552"/>
              <a:gd name="connsiteY333" fmla="*/ 533798 h 800100"/>
              <a:gd name="connsiteX334" fmla="*/ 1455161 w 2114552"/>
              <a:gd name="connsiteY334" fmla="*/ 558801 h 800100"/>
              <a:gd name="connsiteX335" fmla="*/ 1450976 w 2114552"/>
              <a:gd name="connsiteY335" fmla="*/ 550467 h 800100"/>
              <a:gd name="connsiteX336" fmla="*/ 1492829 w 2114552"/>
              <a:gd name="connsiteY336" fmla="*/ 525463 h 800100"/>
              <a:gd name="connsiteX337" fmla="*/ 1482542 w 2114552"/>
              <a:gd name="connsiteY337" fmla="*/ 485751 h 800100"/>
              <a:gd name="connsiteX338" fmla="*/ 1476320 w 2114552"/>
              <a:gd name="connsiteY338" fmla="*/ 488355 h 800100"/>
              <a:gd name="connsiteX339" fmla="*/ 1430696 w 2114552"/>
              <a:gd name="connsiteY339" fmla="*/ 500857 h 800100"/>
              <a:gd name="connsiteX340" fmla="*/ 1422401 w 2114552"/>
              <a:gd name="connsiteY340" fmla="*/ 517526 h 800100"/>
              <a:gd name="connsiteX341" fmla="*/ 1716883 w 2114552"/>
              <a:gd name="connsiteY341" fmla="*/ 717551 h 800100"/>
              <a:gd name="connsiteX342" fmla="*/ 2011364 w 2114552"/>
              <a:gd name="connsiteY342" fmla="*/ 513358 h 800100"/>
              <a:gd name="connsiteX343" fmla="*/ 2003069 w 2114552"/>
              <a:gd name="connsiteY343" fmla="*/ 500857 h 800100"/>
              <a:gd name="connsiteX344" fmla="*/ 1957445 w 2114552"/>
              <a:gd name="connsiteY344" fmla="*/ 488355 h 800100"/>
              <a:gd name="connsiteX345" fmla="*/ 1951224 w 2114552"/>
              <a:gd name="connsiteY345" fmla="*/ 485751 h 800100"/>
              <a:gd name="connsiteX346" fmla="*/ 1945002 w 2114552"/>
              <a:gd name="connsiteY346" fmla="*/ 492522 h 800100"/>
              <a:gd name="connsiteX347" fmla="*/ 1716883 w 2114552"/>
              <a:gd name="connsiteY347" fmla="*/ 646709 h 800100"/>
              <a:gd name="connsiteX348" fmla="*/ 1488763 w 2114552"/>
              <a:gd name="connsiteY348" fmla="*/ 492522 h 800100"/>
              <a:gd name="connsiteX349" fmla="*/ 1482542 w 2114552"/>
              <a:gd name="connsiteY349" fmla="*/ 485751 h 800100"/>
              <a:gd name="connsiteX350" fmla="*/ 1662749 w 2114552"/>
              <a:gd name="connsiteY350" fmla="*/ 478852 h 800100"/>
              <a:gd name="connsiteX351" fmla="*/ 1551306 w 2114552"/>
              <a:gd name="connsiteY351" fmla="*/ 533313 h 800100"/>
              <a:gd name="connsiteX352" fmla="*/ 1543051 w 2114552"/>
              <a:gd name="connsiteY352" fmla="*/ 537502 h 800100"/>
              <a:gd name="connsiteX353" fmla="*/ 1543051 w 2114552"/>
              <a:gd name="connsiteY353" fmla="*/ 541691 h 800100"/>
              <a:gd name="connsiteX354" fmla="*/ 1547179 w 2114552"/>
              <a:gd name="connsiteY354" fmla="*/ 545880 h 800100"/>
              <a:gd name="connsiteX355" fmla="*/ 1675132 w 2114552"/>
              <a:gd name="connsiteY355" fmla="*/ 621287 h 800100"/>
              <a:gd name="connsiteX356" fmla="*/ 1683387 w 2114552"/>
              <a:gd name="connsiteY356" fmla="*/ 621287 h 800100"/>
              <a:gd name="connsiteX357" fmla="*/ 1687514 w 2114552"/>
              <a:gd name="connsiteY357" fmla="*/ 608719 h 800100"/>
              <a:gd name="connsiteX358" fmla="*/ 1679259 w 2114552"/>
              <a:gd name="connsiteY358" fmla="*/ 487231 h 800100"/>
              <a:gd name="connsiteX359" fmla="*/ 1675132 w 2114552"/>
              <a:gd name="connsiteY359" fmla="*/ 478852 h 800100"/>
              <a:gd name="connsiteX360" fmla="*/ 1662749 w 2114552"/>
              <a:gd name="connsiteY360" fmla="*/ 478852 h 800100"/>
              <a:gd name="connsiteX361" fmla="*/ 1762761 w 2114552"/>
              <a:gd name="connsiteY361" fmla="*/ 474663 h 800100"/>
              <a:gd name="connsiteX362" fmla="*/ 1758634 w 2114552"/>
              <a:gd name="connsiteY362" fmla="*/ 487182 h 800100"/>
              <a:gd name="connsiteX363" fmla="*/ 1746251 w 2114552"/>
              <a:gd name="connsiteY363" fmla="*/ 608194 h 800100"/>
              <a:gd name="connsiteX364" fmla="*/ 1750379 w 2114552"/>
              <a:gd name="connsiteY364" fmla="*/ 620713 h 800100"/>
              <a:gd name="connsiteX365" fmla="*/ 1758634 w 2114552"/>
              <a:gd name="connsiteY365" fmla="*/ 620713 h 800100"/>
              <a:gd name="connsiteX366" fmla="*/ 1886587 w 2114552"/>
              <a:gd name="connsiteY366" fmla="*/ 545602 h 800100"/>
              <a:gd name="connsiteX367" fmla="*/ 1890714 w 2114552"/>
              <a:gd name="connsiteY367" fmla="*/ 537256 h 800100"/>
              <a:gd name="connsiteX368" fmla="*/ 1882459 w 2114552"/>
              <a:gd name="connsiteY368" fmla="*/ 528910 h 800100"/>
              <a:gd name="connsiteX369" fmla="*/ 1775144 w 2114552"/>
              <a:gd name="connsiteY369" fmla="*/ 474663 h 800100"/>
              <a:gd name="connsiteX370" fmla="*/ 1762761 w 2114552"/>
              <a:gd name="connsiteY370" fmla="*/ 474663 h 800100"/>
              <a:gd name="connsiteX371" fmla="*/ 725572 w 2114552"/>
              <a:gd name="connsiteY371" fmla="*/ 428624 h 800100"/>
              <a:gd name="connsiteX372" fmla="*/ 696913 w 2114552"/>
              <a:gd name="connsiteY372" fmla="*/ 457993 h 800100"/>
              <a:gd name="connsiteX373" fmla="*/ 717384 w 2114552"/>
              <a:gd name="connsiteY373" fmla="*/ 487362 h 800100"/>
              <a:gd name="connsiteX374" fmla="*/ 774701 w 2114552"/>
              <a:gd name="connsiteY374" fmla="*/ 478971 h 800100"/>
              <a:gd name="connsiteX375" fmla="*/ 774701 w 2114552"/>
              <a:gd name="connsiteY375" fmla="*/ 428624 h 800100"/>
              <a:gd name="connsiteX376" fmla="*/ 352426 w 2114552"/>
              <a:gd name="connsiteY376" fmla="*/ 346073 h 800100"/>
              <a:gd name="connsiteX377" fmla="*/ 303213 w 2114552"/>
              <a:gd name="connsiteY377" fmla="*/ 412562 h 800100"/>
              <a:gd name="connsiteX378" fmla="*/ 352426 w 2114552"/>
              <a:gd name="connsiteY378" fmla="*/ 487361 h 800100"/>
              <a:gd name="connsiteX379" fmla="*/ 401638 w 2114552"/>
              <a:gd name="connsiteY379" fmla="*/ 412562 h 800100"/>
              <a:gd name="connsiteX380" fmla="*/ 352426 w 2114552"/>
              <a:gd name="connsiteY380" fmla="*/ 346073 h 800100"/>
              <a:gd name="connsiteX381" fmla="*/ 1704770 w 2114552"/>
              <a:gd name="connsiteY381" fmla="*/ 341312 h 800100"/>
              <a:gd name="connsiteX382" fmla="*/ 1704770 w 2114552"/>
              <a:gd name="connsiteY382" fmla="*/ 353885 h 800100"/>
              <a:gd name="connsiteX383" fmla="*/ 1671639 w 2114552"/>
              <a:gd name="connsiteY383" fmla="*/ 399986 h 800100"/>
              <a:gd name="connsiteX384" fmla="*/ 1717193 w 2114552"/>
              <a:gd name="connsiteY384" fmla="*/ 446087 h 800100"/>
              <a:gd name="connsiteX385" fmla="*/ 1766889 w 2114552"/>
              <a:gd name="connsiteY385" fmla="*/ 399986 h 800100"/>
              <a:gd name="connsiteX386" fmla="*/ 1729617 w 2114552"/>
              <a:gd name="connsiteY386" fmla="*/ 353885 h 800100"/>
              <a:gd name="connsiteX387" fmla="*/ 1729617 w 2114552"/>
              <a:gd name="connsiteY387" fmla="*/ 341312 h 800100"/>
              <a:gd name="connsiteX388" fmla="*/ 1704770 w 2114552"/>
              <a:gd name="connsiteY388" fmla="*/ 341312 h 800100"/>
              <a:gd name="connsiteX389" fmla="*/ 1716883 w 2114552"/>
              <a:gd name="connsiteY389" fmla="*/ 328612 h 800100"/>
              <a:gd name="connsiteX390" fmla="*/ 1787527 w 2114552"/>
              <a:gd name="connsiteY390" fmla="*/ 400050 h 800100"/>
              <a:gd name="connsiteX391" fmla="*/ 1716883 w 2114552"/>
              <a:gd name="connsiteY391" fmla="*/ 471488 h 800100"/>
              <a:gd name="connsiteX392" fmla="*/ 1646239 w 2114552"/>
              <a:gd name="connsiteY392" fmla="*/ 400050 h 800100"/>
              <a:gd name="connsiteX393" fmla="*/ 1716883 w 2114552"/>
              <a:gd name="connsiteY393" fmla="*/ 328612 h 800100"/>
              <a:gd name="connsiteX394" fmla="*/ 1716883 w 2114552"/>
              <a:gd name="connsiteY394" fmla="*/ 320675 h 800100"/>
              <a:gd name="connsiteX395" fmla="*/ 1638301 w 2114552"/>
              <a:gd name="connsiteY395" fmla="*/ 400050 h 800100"/>
              <a:gd name="connsiteX396" fmla="*/ 1716883 w 2114552"/>
              <a:gd name="connsiteY396" fmla="*/ 479425 h 800100"/>
              <a:gd name="connsiteX397" fmla="*/ 1795465 w 2114552"/>
              <a:gd name="connsiteY397" fmla="*/ 400050 h 800100"/>
              <a:gd name="connsiteX398" fmla="*/ 1716883 w 2114552"/>
              <a:gd name="connsiteY398" fmla="*/ 320675 h 800100"/>
              <a:gd name="connsiteX399" fmla="*/ 1924004 w 2114552"/>
              <a:gd name="connsiteY399" fmla="*/ 317500 h 800100"/>
              <a:gd name="connsiteX400" fmla="*/ 1911592 w 2114552"/>
              <a:gd name="connsiteY400" fmla="*/ 321667 h 800100"/>
              <a:gd name="connsiteX401" fmla="*/ 1812301 w 2114552"/>
              <a:gd name="connsiteY401" fmla="*/ 388342 h 800100"/>
              <a:gd name="connsiteX402" fmla="*/ 1808164 w 2114552"/>
              <a:gd name="connsiteY402" fmla="*/ 400844 h 800100"/>
              <a:gd name="connsiteX403" fmla="*/ 1812301 w 2114552"/>
              <a:gd name="connsiteY403" fmla="*/ 409178 h 800100"/>
              <a:gd name="connsiteX404" fmla="*/ 1915729 w 2114552"/>
              <a:gd name="connsiteY404" fmla="*/ 480021 h 800100"/>
              <a:gd name="connsiteX405" fmla="*/ 1924004 w 2114552"/>
              <a:gd name="connsiteY405" fmla="*/ 480021 h 800100"/>
              <a:gd name="connsiteX406" fmla="*/ 1928141 w 2114552"/>
              <a:gd name="connsiteY406" fmla="*/ 471686 h 800100"/>
              <a:gd name="connsiteX407" fmla="*/ 1928141 w 2114552"/>
              <a:gd name="connsiteY407" fmla="*/ 325834 h 800100"/>
              <a:gd name="connsiteX408" fmla="*/ 1924004 w 2114552"/>
              <a:gd name="connsiteY408" fmla="*/ 317500 h 800100"/>
              <a:gd name="connsiteX409" fmla="*/ 1509762 w 2114552"/>
              <a:gd name="connsiteY409" fmla="*/ 317500 h 800100"/>
              <a:gd name="connsiteX410" fmla="*/ 1501487 w 2114552"/>
              <a:gd name="connsiteY410" fmla="*/ 325834 h 800100"/>
              <a:gd name="connsiteX411" fmla="*/ 1501487 w 2114552"/>
              <a:gd name="connsiteY411" fmla="*/ 475854 h 800100"/>
              <a:gd name="connsiteX412" fmla="*/ 1509762 w 2114552"/>
              <a:gd name="connsiteY412" fmla="*/ 480021 h 800100"/>
              <a:gd name="connsiteX413" fmla="*/ 1518036 w 2114552"/>
              <a:gd name="connsiteY413" fmla="*/ 480021 h 800100"/>
              <a:gd name="connsiteX414" fmla="*/ 1621464 w 2114552"/>
              <a:gd name="connsiteY414" fmla="*/ 409178 h 800100"/>
              <a:gd name="connsiteX415" fmla="*/ 1625601 w 2114552"/>
              <a:gd name="connsiteY415" fmla="*/ 400844 h 800100"/>
              <a:gd name="connsiteX416" fmla="*/ 1621464 w 2114552"/>
              <a:gd name="connsiteY416" fmla="*/ 388342 h 800100"/>
              <a:gd name="connsiteX417" fmla="*/ 1518036 w 2114552"/>
              <a:gd name="connsiteY417" fmla="*/ 321667 h 800100"/>
              <a:gd name="connsiteX418" fmla="*/ 1509762 w 2114552"/>
              <a:gd name="connsiteY418" fmla="*/ 317500 h 800100"/>
              <a:gd name="connsiteX419" fmla="*/ 1032821 w 2114552"/>
              <a:gd name="connsiteY419" fmla="*/ 304799 h 800100"/>
              <a:gd name="connsiteX420" fmla="*/ 1041062 w 2114552"/>
              <a:gd name="connsiteY420" fmla="*/ 304799 h 800100"/>
              <a:gd name="connsiteX421" fmla="*/ 1074028 w 2114552"/>
              <a:gd name="connsiteY421" fmla="*/ 304799 h 800100"/>
              <a:gd name="connsiteX422" fmla="*/ 1082270 w 2114552"/>
              <a:gd name="connsiteY422" fmla="*/ 308966 h 800100"/>
              <a:gd name="connsiteX423" fmla="*/ 1123477 w 2114552"/>
              <a:gd name="connsiteY423" fmla="*/ 479821 h 800100"/>
              <a:gd name="connsiteX424" fmla="*/ 1127598 w 2114552"/>
              <a:gd name="connsiteY424" fmla="*/ 479821 h 800100"/>
              <a:gd name="connsiteX425" fmla="*/ 1172926 w 2114552"/>
              <a:gd name="connsiteY425" fmla="*/ 308966 h 800100"/>
              <a:gd name="connsiteX426" fmla="*/ 1181168 w 2114552"/>
              <a:gd name="connsiteY426" fmla="*/ 304799 h 800100"/>
              <a:gd name="connsiteX427" fmla="*/ 1214134 w 2114552"/>
              <a:gd name="connsiteY427" fmla="*/ 304799 h 800100"/>
              <a:gd name="connsiteX428" fmla="*/ 1222375 w 2114552"/>
              <a:gd name="connsiteY428" fmla="*/ 304799 h 800100"/>
              <a:gd name="connsiteX429" fmla="*/ 1222375 w 2114552"/>
              <a:gd name="connsiteY429" fmla="*/ 313133 h 800100"/>
              <a:gd name="connsiteX430" fmla="*/ 1218254 w 2114552"/>
              <a:gd name="connsiteY430" fmla="*/ 338137 h 800100"/>
              <a:gd name="connsiteX431" fmla="*/ 1201771 w 2114552"/>
              <a:gd name="connsiteY431" fmla="*/ 388143 h 800100"/>
              <a:gd name="connsiteX432" fmla="*/ 1164685 w 2114552"/>
              <a:gd name="connsiteY432" fmla="*/ 542329 h 800100"/>
              <a:gd name="connsiteX433" fmla="*/ 1098753 w 2114552"/>
              <a:gd name="connsiteY433" fmla="*/ 604837 h 800100"/>
              <a:gd name="connsiteX434" fmla="*/ 1094632 w 2114552"/>
              <a:gd name="connsiteY434" fmla="*/ 604837 h 800100"/>
              <a:gd name="connsiteX435" fmla="*/ 1041062 w 2114552"/>
              <a:gd name="connsiteY435" fmla="*/ 600670 h 800100"/>
              <a:gd name="connsiteX436" fmla="*/ 1032821 w 2114552"/>
              <a:gd name="connsiteY436" fmla="*/ 592335 h 800100"/>
              <a:gd name="connsiteX437" fmla="*/ 1032821 w 2114552"/>
              <a:gd name="connsiteY437" fmla="*/ 567332 h 800100"/>
              <a:gd name="connsiteX438" fmla="*/ 1036942 w 2114552"/>
              <a:gd name="connsiteY438" fmla="*/ 563165 h 800100"/>
              <a:gd name="connsiteX439" fmla="*/ 1041062 w 2114552"/>
              <a:gd name="connsiteY439" fmla="*/ 558998 h 800100"/>
              <a:gd name="connsiteX440" fmla="*/ 1082270 w 2114552"/>
              <a:gd name="connsiteY440" fmla="*/ 563165 h 800100"/>
              <a:gd name="connsiteX441" fmla="*/ 1115236 w 2114552"/>
              <a:gd name="connsiteY441" fmla="*/ 538162 h 800100"/>
              <a:gd name="connsiteX442" fmla="*/ 1119357 w 2114552"/>
              <a:gd name="connsiteY442" fmla="*/ 529828 h 800100"/>
              <a:gd name="connsiteX443" fmla="*/ 1106994 w 2114552"/>
              <a:gd name="connsiteY443" fmla="*/ 529828 h 800100"/>
              <a:gd name="connsiteX444" fmla="*/ 1082270 w 2114552"/>
              <a:gd name="connsiteY444" fmla="*/ 504824 h 800100"/>
              <a:gd name="connsiteX445" fmla="*/ 1032821 w 2114552"/>
              <a:gd name="connsiteY445" fmla="*/ 313133 h 800100"/>
              <a:gd name="connsiteX446" fmla="*/ 1032821 w 2114552"/>
              <a:gd name="connsiteY446" fmla="*/ 304799 h 800100"/>
              <a:gd name="connsiteX447" fmla="*/ 994979 w 2114552"/>
              <a:gd name="connsiteY447" fmla="*/ 300037 h 800100"/>
              <a:gd name="connsiteX448" fmla="*/ 999140 w 2114552"/>
              <a:gd name="connsiteY448" fmla="*/ 304193 h 800100"/>
              <a:gd name="connsiteX449" fmla="*/ 1003300 w 2114552"/>
              <a:gd name="connsiteY449" fmla="*/ 308350 h 800100"/>
              <a:gd name="connsiteX450" fmla="*/ 1003300 w 2114552"/>
              <a:gd name="connsiteY450" fmla="*/ 341601 h 800100"/>
              <a:gd name="connsiteX451" fmla="*/ 994979 w 2114552"/>
              <a:gd name="connsiteY451" fmla="*/ 349913 h 800100"/>
              <a:gd name="connsiteX452" fmla="*/ 932574 w 2114552"/>
              <a:gd name="connsiteY452" fmla="*/ 374852 h 800100"/>
              <a:gd name="connsiteX453" fmla="*/ 932574 w 2114552"/>
              <a:gd name="connsiteY453" fmla="*/ 520324 h 800100"/>
              <a:gd name="connsiteX454" fmla="*/ 924254 w 2114552"/>
              <a:gd name="connsiteY454" fmla="*/ 528637 h 800100"/>
              <a:gd name="connsiteX455" fmla="*/ 890971 w 2114552"/>
              <a:gd name="connsiteY455" fmla="*/ 528637 h 800100"/>
              <a:gd name="connsiteX456" fmla="*/ 882650 w 2114552"/>
              <a:gd name="connsiteY456" fmla="*/ 520324 h 800100"/>
              <a:gd name="connsiteX457" fmla="*/ 882650 w 2114552"/>
              <a:gd name="connsiteY457" fmla="*/ 312506 h 800100"/>
              <a:gd name="connsiteX458" fmla="*/ 890971 w 2114552"/>
              <a:gd name="connsiteY458" fmla="*/ 304193 h 800100"/>
              <a:gd name="connsiteX459" fmla="*/ 924254 w 2114552"/>
              <a:gd name="connsiteY459" fmla="*/ 304193 h 800100"/>
              <a:gd name="connsiteX460" fmla="*/ 932574 w 2114552"/>
              <a:gd name="connsiteY460" fmla="*/ 312506 h 800100"/>
              <a:gd name="connsiteX461" fmla="*/ 932574 w 2114552"/>
              <a:gd name="connsiteY461" fmla="*/ 324975 h 800100"/>
              <a:gd name="connsiteX462" fmla="*/ 994979 w 2114552"/>
              <a:gd name="connsiteY462" fmla="*/ 300037 h 800100"/>
              <a:gd name="connsiteX463" fmla="*/ 750816 w 2114552"/>
              <a:gd name="connsiteY463" fmla="*/ 295274 h 800100"/>
              <a:gd name="connsiteX464" fmla="*/ 825501 w 2114552"/>
              <a:gd name="connsiteY464" fmla="*/ 374649 h 800100"/>
              <a:gd name="connsiteX465" fmla="*/ 825501 w 2114552"/>
              <a:gd name="connsiteY465" fmla="*/ 525044 h 800100"/>
              <a:gd name="connsiteX466" fmla="*/ 825501 w 2114552"/>
              <a:gd name="connsiteY466" fmla="*/ 529221 h 800100"/>
              <a:gd name="connsiteX467" fmla="*/ 817203 w 2114552"/>
              <a:gd name="connsiteY467" fmla="*/ 533399 h 800100"/>
              <a:gd name="connsiteX468" fmla="*/ 784010 w 2114552"/>
              <a:gd name="connsiteY468" fmla="*/ 516688 h 800100"/>
              <a:gd name="connsiteX469" fmla="*/ 709325 w 2114552"/>
              <a:gd name="connsiteY469" fmla="*/ 533399 h 800100"/>
              <a:gd name="connsiteX470" fmla="*/ 642938 w 2114552"/>
              <a:gd name="connsiteY470" fmla="*/ 462379 h 800100"/>
              <a:gd name="connsiteX471" fmla="*/ 717623 w 2114552"/>
              <a:gd name="connsiteY471" fmla="*/ 391360 h 800100"/>
              <a:gd name="connsiteX472" fmla="*/ 775711 w 2114552"/>
              <a:gd name="connsiteY472" fmla="*/ 387182 h 800100"/>
              <a:gd name="connsiteX473" fmla="*/ 775711 w 2114552"/>
              <a:gd name="connsiteY473" fmla="*/ 374649 h 800100"/>
              <a:gd name="connsiteX474" fmla="*/ 746667 w 2114552"/>
              <a:gd name="connsiteY474" fmla="*/ 345406 h 800100"/>
              <a:gd name="connsiteX475" fmla="*/ 667833 w 2114552"/>
              <a:gd name="connsiteY475" fmla="*/ 349583 h 800100"/>
              <a:gd name="connsiteX476" fmla="*/ 663684 w 2114552"/>
              <a:gd name="connsiteY476" fmla="*/ 349583 h 800100"/>
              <a:gd name="connsiteX477" fmla="*/ 659535 w 2114552"/>
              <a:gd name="connsiteY477" fmla="*/ 341228 h 800100"/>
              <a:gd name="connsiteX478" fmla="*/ 659535 w 2114552"/>
              <a:gd name="connsiteY478" fmla="*/ 311985 h 800100"/>
              <a:gd name="connsiteX479" fmla="*/ 667833 w 2114552"/>
              <a:gd name="connsiteY479" fmla="*/ 303629 h 800100"/>
              <a:gd name="connsiteX480" fmla="*/ 750816 w 2114552"/>
              <a:gd name="connsiteY480" fmla="*/ 295274 h 800100"/>
              <a:gd name="connsiteX481" fmla="*/ 354013 w 2114552"/>
              <a:gd name="connsiteY481" fmla="*/ 295273 h 800100"/>
              <a:gd name="connsiteX482" fmla="*/ 455613 w 2114552"/>
              <a:gd name="connsiteY482" fmla="*/ 414336 h 800100"/>
              <a:gd name="connsiteX483" fmla="*/ 354013 w 2114552"/>
              <a:gd name="connsiteY483" fmla="*/ 533399 h 800100"/>
              <a:gd name="connsiteX484" fmla="*/ 252413 w 2114552"/>
              <a:gd name="connsiteY484" fmla="*/ 414336 h 800100"/>
              <a:gd name="connsiteX485" fmla="*/ 354013 w 2114552"/>
              <a:gd name="connsiteY485" fmla="*/ 295273 h 800100"/>
              <a:gd name="connsiteX486" fmla="*/ 53975 w 2114552"/>
              <a:gd name="connsiteY486" fmla="*/ 266699 h 800100"/>
              <a:gd name="connsiteX487" fmla="*/ 53975 w 2114552"/>
              <a:gd name="connsiteY487" fmla="*/ 358774 h 800100"/>
              <a:gd name="connsiteX488" fmla="*/ 107480 w 2114552"/>
              <a:gd name="connsiteY488" fmla="*/ 358774 h 800100"/>
              <a:gd name="connsiteX489" fmla="*/ 165100 w 2114552"/>
              <a:gd name="connsiteY489" fmla="*/ 312737 h 800100"/>
              <a:gd name="connsiteX490" fmla="*/ 111595 w 2114552"/>
              <a:gd name="connsiteY490" fmla="*/ 266699 h 800100"/>
              <a:gd name="connsiteX491" fmla="*/ 91017 w 2114552"/>
              <a:gd name="connsiteY491" fmla="*/ 266699 h 800100"/>
              <a:gd name="connsiteX492" fmla="*/ 53975 w 2114552"/>
              <a:gd name="connsiteY492" fmla="*/ 266699 h 800100"/>
              <a:gd name="connsiteX493" fmla="*/ 546894 w 2114552"/>
              <a:gd name="connsiteY493" fmla="*/ 250824 h 800100"/>
              <a:gd name="connsiteX494" fmla="*/ 551050 w 2114552"/>
              <a:gd name="connsiteY494" fmla="*/ 250824 h 800100"/>
              <a:gd name="connsiteX495" fmla="*/ 555205 w 2114552"/>
              <a:gd name="connsiteY495" fmla="*/ 259135 h 800100"/>
              <a:gd name="connsiteX496" fmla="*/ 555205 w 2114552"/>
              <a:gd name="connsiteY496" fmla="*/ 304846 h 800100"/>
              <a:gd name="connsiteX497" fmla="*/ 609227 w 2114552"/>
              <a:gd name="connsiteY497" fmla="*/ 304846 h 800100"/>
              <a:gd name="connsiteX498" fmla="*/ 617538 w 2114552"/>
              <a:gd name="connsiteY498" fmla="*/ 313157 h 800100"/>
              <a:gd name="connsiteX499" fmla="*/ 617538 w 2114552"/>
              <a:gd name="connsiteY499" fmla="*/ 342245 h 800100"/>
              <a:gd name="connsiteX500" fmla="*/ 609227 w 2114552"/>
              <a:gd name="connsiteY500" fmla="*/ 350556 h 800100"/>
              <a:gd name="connsiteX501" fmla="*/ 555205 w 2114552"/>
              <a:gd name="connsiteY501" fmla="*/ 350556 h 800100"/>
              <a:gd name="connsiteX502" fmla="*/ 555205 w 2114552"/>
              <a:gd name="connsiteY502" fmla="*/ 441978 h 800100"/>
              <a:gd name="connsiteX503" fmla="*/ 580138 w 2114552"/>
              <a:gd name="connsiteY503" fmla="*/ 483533 h 800100"/>
              <a:gd name="connsiteX504" fmla="*/ 609227 w 2114552"/>
              <a:gd name="connsiteY504" fmla="*/ 483533 h 800100"/>
              <a:gd name="connsiteX505" fmla="*/ 617538 w 2114552"/>
              <a:gd name="connsiteY505" fmla="*/ 491844 h 800100"/>
              <a:gd name="connsiteX506" fmla="*/ 617538 w 2114552"/>
              <a:gd name="connsiteY506" fmla="*/ 520932 h 800100"/>
              <a:gd name="connsiteX507" fmla="*/ 609227 w 2114552"/>
              <a:gd name="connsiteY507" fmla="*/ 529244 h 800100"/>
              <a:gd name="connsiteX508" fmla="*/ 571827 w 2114552"/>
              <a:gd name="connsiteY508" fmla="*/ 533399 h 800100"/>
              <a:gd name="connsiteX509" fmla="*/ 505339 w 2114552"/>
              <a:gd name="connsiteY509" fmla="*/ 450289 h 800100"/>
              <a:gd name="connsiteX510" fmla="*/ 505339 w 2114552"/>
              <a:gd name="connsiteY510" fmla="*/ 350556 h 800100"/>
              <a:gd name="connsiteX511" fmla="*/ 484561 w 2114552"/>
              <a:gd name="connsiteY511" fmla="*/ 350556 h 800100"/>
              <a:gd name="connsiteX512" fmla="*/ 476250 w 2114552"/>
              <a:gd name="connsiteY512" fmla="*/ 342245 h 800100"/>
              <a:gd name="connsiteX513" fmla="*/ 476250 w 2114552"/>
              <a:gd name="connsiteY513" fmla="*/ 313157 h 800100"/>
              <a:gd name="connsiteX514" fmla="*/ 484561 w 2114552"/>
              <a:gd name="connsiteY514" fmla="*/ 304846 h 800100"/>
              <a:gd name="connsiteX515" fmla="*/ 505339 w 2114552"/>
              <a:gd name="connsiteY515" fmla="*/ 304846 h 800100"/>
              <a:gd name="connsiteX516" fmla="*/ 505339 w 2114552"/>
              <a:gd name="connsiteY516" fmla="*/ 267446 h 800100"/>
              <a:gd name="connsiteX517" fmla="*/ 509494 w 2114552"/>
              <a:gd name="connsiteY517" fmla="*/ 259135 h 800100"/>
              <a:gd name="connsiteX518" fmla="*/ 546894 w 2114552"/>
              <a:gd name="connsiteY518" fmla="*/ 250824 h 800100"/>
              <a:gd name="connsiteX519" fmla="*/ 103337 w 2114552"/>
              <a:gd name="connsiteY519" fmla="*/ 217487 h 800100"/>
              <a:gd name="connsiteX520" fmla="*/ 111604 w 2114552"/>
              <a:gd name="connsiteY520" fmla="*/ 217487 h 800100"/>
              <a:gd name="connsiteX521" fmla="*/ 219075 w 2114552"/>
              <a:gd name="connsiteY521" fmla="*/ 312906 h 800100"/>
              <a:gd name="connsiteX522" fmla="*/ 165340 w 2114552"/>
              <a:gd name="connsiteY522" fmla="*/ 391731 h 800100"/>
              <a:gd name="connsiteX523" fmla="*/ 219075 w 2114552"/>
              <a:gd name="connsiteY523" fmla="*/ 516191 h 800100"/>
              <a:gd name="connsiteX524" fmla="*/ 219075 w 2114552"/>
              <a:gd name="connsiteY524" fmla="*/ 524488 h 800100"/>
              <a:gd name="connsiteX525" fmla="*/ 210808 w 2114552"/>
              <a:gd name="connsiteY525" fmla="*/ 528637 h 800100"/>
              <a:gd name="connsiteX526" fmla="*/ 173607 w 2114552"/>
              <a:gd name="connsiteY526" fmla="*/ 528637 h 800100"/>
              <a:gd name="connsiteX527" fmla="*/ 165340 w 2114552"/>
              <a:gd name="connsiteY527" fmla="*/ 524488 h 800100"/>
              <a:gd name="connsiteX528" fmla="*/ 111604 w 2114552"/>
              <a:gd name="connsiteY528" fmla="*/ 408326 h 800100"/>
              <a:gd name="connsiteX529" fmla="*/ 53736 w 2114552"/>
              <a:gd name="connsiteY529" fmla="*/ 404177 h 800100"/>
              <a:gd name="connsiteX530" fmla="*/ 53736 w 2114552"/>
              <a:gd name="connsiteY530" fmla="*/ 520340 h 800100"/>
              <a:gd name="connsiteX531" fmla="*/ 45469 w 2114552"/>
              <a:gd name="connsiteY531" fmla="*/ 528637 h 800100"/>
              <a:gd name="connsiteX532" fmla="*/ 8267 w 2114552"/>
              <a:gd name="connsiteY532" fmla="*/ 528637 h 800100"/>
              <a:gd name="connsiteX533" fmla="*/ 0 w 2114552"/>
              <a:gd name="connsiteY533" fmla="*/ 520340 h 800100"/>
              <a:gd name="connsiteX534" fmla="*/ 0 w 2114552"/>
              <a:gd name="connsiteY534" fmla="*/ 229933 h 800100"/>
              <a:gd name="connsiteX535" fmla="*/ 8267 w 2114552"/>
              <a:gd name="connsiteY535" fmla="*/ 221636 h 800100"/>
              <a:gd name="connsiteX536" fmla="*/ 103337 w 2114552"/>
              <a:gd name="connsiteY536" fmla="*/ 217487 h 800100"/>
              <a:gd name="connsiteX537" fmla="*/ 1941299 w 2114552"/>
              <a:gd name="connsiteY537" fmla="*/ 180951 h 800100"/>
              <a:gd name="connsiteX538" fmla="*/ 1936665 w 2114552"/>
              <a:gd name="connsiteY538" fmla="*/ 183555 h 800100"/>
              <a:gd name="connsiteX539" fmla="*/ 1903714 w 2114552"/>
              <a:gd name="connsiteY539" fmla="*/ 221060 h 800100"/>
              <a:gd name="connsiteX540" fmla="*/ 1903714 w 2114552"/>
              <a:gd name="connsiteY540" fmla="*/ 237729 h 800100"/>
              <a:gd name="connsiteX541" fmla="*/ 1957260 w 2114552"/>
              <a:gd name="connsiteY541" fmla="*/ 450256 h 800100"/>
              <a:gd name="connsiteX542" fmla="*/ 1965498 w 2114552"/>
              <a:gd name="connsiteY542" fmla="*/ 462757 h 800100"/>
              <a:gd name="connsiteX543" fmla="*/ 2010806 w 2114552"/>
              <a:gd name="connsiteY543" fmla="*/ 475259 h 800100"/>
              <a:gd name="connsiteX544" fmla="*/ 2023163 w 2114552"/>
              <a:gd name="connsiteY544" fmla="*/ 471092 h 800100"/>
              <a:gd name="connsiteX545" fmla="*/ 1949022 w 2114552"/>
              <a:gd name="connsiteY545" fmla="*/ 187722 h 800100"/>
              <a:gd name="connsiteX546" fmla="*/ 1941299 w 2114552"/>
              <a:gd name="connsiteY546" fmla="*/ 180951 h 800100"/>
              <a:gd name="connsiteX547" fmla="*/ 1491989 w 2114552"/>
              <a:gd name="connsiteY547" fmla="*/ 180951 h 800100"/>
              <a:gd name="connsiteX548" fmla="*/ 1484185 w 2114552"/>
              <a:gd name="connsiteY548" fmla="*/ 187722 h 800100"/>
              <a:gd name="connsiteX549" fmla="*/ 1409272 w 2114552"/>
              <a:gd name="connsiteY549" fmla="*/ 471092 h 800100"/>
              <a:gd name="connsiteX550" fmla="*/ 1421758 w 2114552"/>
              <a:gd name="connsiteY550" fmla="*/ 475259 h 800100"/>
              <a:gd name="connsiteX551" fmla="*/ 1467538 w 2114552"/>
              <a:gd name="connsiteY551" fmla="*/ 462757 h 800100"/>
              <a:gd name="connsiteX552" fmla="*/ 1475862 w 2114552"/>
              <a:gd name="connsiteY552" fmla="*/ 450256 h 800100"/>
              <a:gd name="connsiteX553" fmla="*/ 1529965 w 2114552"/>
              <a:gd name="connsiteY553" fmla="*/ 237729 h 800100"/>
              <a:gd name="connsiteX554" fmla="*/ 1534127 w 2114552"/>
              <a:gd name="connsiteY554" fmla="*/ 221060 h 800100"/>
              <a:gd name="connsiteX555" fmla="*/ 1496671 w 2114552"/>
              <a:gd name="connsiteY555" fmla="*/ 183555 h 800100"/>
              <a:gd name="connsiteX556" fmla="*/ 1491989 w 2114552"/>
              <a:gd name="connsiteY556" fmla="*/ 180951 h 800100"/>
              <a:gd name="connsiteX557" fmla="*/ 1750379 w 2114552"/>
              <a:gd name="connsiteY557" fmla="*/ 174625 h 800100"/>
              <a:gd name="connsiteX558" fmla="*/ 1746251 w 2114552"/>
              <a:gd name="connsiteY558" fmla="*/ 187144 h 800100"/>
              <a:gd name="connsiteX559" fmla="*/ 1754506 w 2114552"/>
              <a:gd name="connsiteY559" fmla="*/ 308156 h 800100"/>
              <a:gd name="connsiteX560" fmla="*/ 1762761 w 2114552"/>
              <a:gd name="connsiteY560" fmla="*/ 320675 h 800100"/>
              <a:gd name="connsiteX561" fmla="*/ 1775144 w 2114552"/>
              <a:gd name="connsiteY561" fmla="*/ 320675 h 800100"/>
              <a:gd name="connsiteX562" fmla="*/ 1882459 w 2114552"/>
              <a:gd name="connsiteY562" fmla="*/ 266428 h 800100"/>
              <a:gd name="connsiteX563" fmla="*/ 1890714 w 2114552"/>
              <a:gd name="connsiteY563" fmla="*/ 258082 h 800100"/>
              <a:gd name="connsiteX564" fmla="*/ 1886587 w 2114552"/>
              <a:gd name="connsiteY564" fmla="*/ 249736 h 800100"/>
              <a:gd name="connsiteX565" fmla="*/ 1758634 w 2114552"/>
              <a:gd name="connsiteY565" fmla="*/ 174625 h 800100"/>
              <a:gd name="connsiteX566" fmla="*/ 1750379 w 2114552"/>
              <a:gd name="connsiteY566" fmla="*/ 174625 h 800100"/>
              <a:gd name="connsiteX567" fmla="*/ 1675132 w 2114552"/>
              <a:gd name="connsiteY567" fmla="*/ 174625 h 800100"/>
              <a:gd name="connsiteX568" fmla="*/ 1547179 w 2114552"/>
              <a:gd name="connsiteY568" fmla="*/ 249736 h 800100"/>
              <a:gd name="connsiteX569" fmla="*/ 1543051 w 2114552"/>
              <a:gd name="connsiteY569" fmla="*/ 258082 h 800100"/>
              <a:gd name="connsiteX570" fmla="*/ 1551306 w 2114552"/>
              <a:gd name="connsiteY570" fmla="*/ 266428 h 800100"/>
              <a:gd name="connsiteX571" fmla="*/ 1658622 w 2114552"/>
              <a:gd name="connsiteY571" fmla="*/ 320675 h 800100"/>
              <a:gd name="connsiteX572" fmla="*/ 1671004 w 2114552"/>
              <a:gd name="connsiteY572" fmla="*/ 320675 h 800100"/>
              <a:gd name="connsiteX573" fmla="*/ 1675132 w 2114552"/>
              <a:gd name="connsiteY573" fmla="*/ 312329 h 800100"/>
              <a:gd name="connsiteX574" fmla="*/ 1687514 w 2114552"/>
              <a:gd name="connsiteY574" fmla="*/ 187144 h 800100"/>
              <a:gd name="connsiteX575" fmla="*/ 1683387 w 2114552"/>
              <a:gd name="connsiteY575" fmla="*/ 174625 h 800100"/>
              <a:gd name="connsiteX576" fmla="*/ 1675132 w 2114552"/>
              <a:gd name="connsiteY576" fmla="*/ 174625 h 800100"/>
              <a:gd name="connsiteX577" fmla="*/ 1579247 w 2114552"/>
              <a:gd name="connsiteY577" fmla="*/ 133350 h 800100"/>
              <a:gd name="connsiteX578" fmla="*/ 1566864 w 2114552"/>
              <a:gd name="connsiteY578" fmla="*/ 142082 h 800100"/>
              <a:gd name="connsiteX579" fmla="*/ 1570992 w 2114552"/>
              <a:gd name="connsiteY579" fmla="*/ 142082 h 800100"/>
              <a:gd name="connsiteX580" fmla="*/ 1575119 w 2114552"/>
              <a:gd name="connsiteY580" fmla="*/ 150813 h 800100"/>
              <a:gd name="connsiteX581" fmla="*/ 1583375 w 2114552"/>
              <a:gd name="connsiteY581" fmla="*/ 146447 h 800100"/>
              <a:gd name="connsiteX582" fmla="*/ 1587502 w 2114552"/>
              <a:gd name="connsiteY582" fmla="*/ 142082 h 800100"/>
              <a:gd name="connsiteX583" fmla="*/ 1579247 w 2114552"/>
              <a:gd name="connsiteY583" fmla="*/ 133350 h 800100"/>
              <a:gd name="connsiteX584" fmla="*/ 1575142 w 2114552"/>
              <a:gd name="connsiteY584" fmla="*/ 124846 h 800100"/>
              <a:gd name="connsiteX585" fmla="*/ 1596120 w 2114552"/>
              <a:gd name="connsiteY585" fmla="*/ 141628 h 800100"/>
              <a:gd name="connsiteX586" fmla="*/ 1596120 w 2114552"/>
              <a:gd name="connsiteY586" fmla="*/ 145823 h 800100"/>
              <a:gd name="connsiteX587" fmla="*/ 1612902 w 2114552"/>
              <a:gd name="connsiteY587" fmla="*/ 162606 h 800100"/>
              <a:gd name="connsiteX588" fmla="*/ 1604511 w 2114552"/>
              <a:gd name="connsiteY588" fmla="*/ 166801 h 800100"/>
              <a:gd name="connsiteX589" fmla="*/ 1587729 w 2114552"/>
              <a:gd name="connsiteY589" fmla="*/ 154215 h 800100"/>
              <a:gd name="connsiteX590" fmla="*/ 1579338 w 2114552"/>
              <a:gd name="connsiteY590" fmla="*/ 158410 h 800100"/>
              <a:gd name="connsiteX591" fmla="*/ 1587729 w 2114552"/>
              <a:gd name="connsiteY591" fmla="*/ 175192 h 800100"/>
              <a:gd name="connsiteX592" fmla="*/ 1579338 w 2114552"/>
              <a:gd name="connsiteY592" fmla="*/ 179388 h 800100"/>
              <a:gd name="connsiteX593" fmla="*/ 1558360 w 2114552"/>
              <a:gd name="connsiteY593" fmla="*/ 141628 h 800100"/>
              <a:gd name="connsiteX594" fmla="*/ 1554164 w 2114552"/>
              <a:gd name="connsiteY594" fmla="*/ 137432 h 800100"/>
              <a:gd name="connsiteX595" fmla="*/ 1575142 w 2114552"/>
              <a:gd name="connsiteY595" fmla="*/ 124846 h 800100"/>
              <a:gd name="connsiteX596" fmla="*/ 1836161 w 2114552"/>
              <a:gd name="connsiteY596" fmla="*/ 117475 h 800100"/>
              <a:gd name="connsiteX597" fmla="*/ 1844532 w 2114552"/>
              <a:gd name="connsiteY597" fmla="*/ 121557 h 800100"/>
              <a:gd name="connsiteX598" fmla="*/ 1848717 w 2114552"/>
              <a:gd name="connsiteY598" fmla="*/ 141968 h 800100"/>
              <a:gd name="connsiteX599" fmla="*/ 1869644 w 2114552"/>
              <a:gd name="connsiteY599" fmla="*/ 133804 h 800100"/>
              <a:gd name="connsiteX600" fmla="*/ 1878014 w 2114552"/>
              <a:gd name="connsiteY600" fmla="*/ 137886 h 800100"/>
              <a:gd name="connsiteX601" fmla="*/ 1848717 w 2114552"/>
              <a:gd name="connsiteY601" fmla="*/ 154214 h 800100"/>
              <a:gd name="connsiteX602" fmla="*/ 1840347 w 2114552"/>
              <a:gd name="connsiteY602" fmla="*/ 174625 h 800100"/>
              <a:gd name="connsiteX603" fmla="*/ 1831976 w 2114552"/>
              <a:gd name="connsiteY603" fmla="*/ 166461 h 800100"/>
              <a:gd name="connsiteX604" fmla="*/ 1840347 w 2114552"/>
              <a:gd name="connsiteY604" fmla="*/ 146050 h 800100"/>
              <a:gd name="connsiteX605" fmla="*/ 1836161 w 2114552"/>
              <a:gd name="connsiteY605" fmla="*/ 117475 h 800100"/>
              <a:gd name="connsiteX606" fmla="*/ 1794829 w 2114552"/>
              <a:gd name="connsiteY606" fmla="*/ 112713 h 800100"/>
              <a:gd name="connsiteX607" fmla="*/ 1790701 w 2114552"/>
              <a:gd name="connsiteY607" fmla="*/ 120651 h 800100"/>
              <a:gd name="connsiteX608" fmla="*/ 1790701 w 2114552"/>
              <a:gd name="connsiteY608" fmla="*/ 124619 h 800100"/>
              <a:gd name="connsiteX609" fmla="*/ 1803084 w 2114552"/>
              <a:gd name="connsiteY609" fmla="*/ 128588 h 800100"/>
              <a:gd name="connsiteX610" fmla="*/ 1811339 w 2114552"/>
              <a:gd name="connsiteY610" fmla="*/ 120651 h 800100"/>
              <a:gd name="connsiteX611" fmla="*/ 1807212 w 2114552"/>
              <a:gd name="connsiteY611" fmla="*/ 116682 h 800100"/>
              <a:gd name="connsiteX612" fmla="*/ 1794829 w 2114552"/>
              <a:gd name="connsiteY612" fmla="*/ 112713 h 800100"/>
              <a:gd name="connsiteX613" fmla="*/ 1637508 w 2114552"/>
              <a:gd name="connsiteY613" fmla="*/ 112117 h 800100"/>
              <a:gd name="connsiteX614" fmla="*/ 1620839 w 2114552"/>
              <a:gd name="connsiteY614" fmla="*/ 124619 h 800100"/>
              <a:gd name="connsiteX615" fmla="*/ 1620839 w 2114552"/>
              <a:gd name="connsiteY615" fmla="*/ 128786 h 800100"/>
              <a:gd name="connsiteX616" fmla="*/ 1637508 w 2114552"/>
              <a:gd name="connsiteY616" fmla="*/ 141288 h 800100"/>
              <a:gd name="connsiteX617" fmla="*/ 1654177 w 2114552"/>
              <a:gd name="connsiteY617" fmla="*/ 124619 h 800100"/>
              <a:gd name="connsiteX618" fmla="*/ 1637508 w 2114552"/>
              <a:gd name="connsiteY618" fmla="*/ 112117 h 800100"/>
              <a:gd name="connsiteX619" fmla="*/ 1741489 w 2114552"/>
              <a:gd name="connsiteY619" fmla="*/ 104775 h 800100"/>
              <a:gd name="connsiteX620" fmla="*/ 1737520 w 2114552"/>
              <a:gd name="connsiteY620" fmla="*/ 117158 h 800100"/>
              <a:gd name="connsiteX621" fmla="*/ 1733551 w 2114552"/>
              <a:gd name="connsiteY621" fmla="*/ 125413 h 800100"/>
              <a:gd name="connsiteX622" fmla="*/ 1749426 w 2114552"/>
              <a:gd name="connsiteY622" fmla="*/ 125413 h 800100"/>
              <a:gd name="connsiteX623" fmla="*/ 1745457 w 2114552"/>
              <a:gd name="connsiteY623" fmla="*/ 117158 h 800100"/>
              <a:gd name="connsiteX624" fmla="*/ 1741489 w 2114552"/>
              <a:gd name="connsiteY624" fmla="*/ 104775 h 800100"/>
              <a:gd name="connsiteX625" fmla="*/ 1633407 w 2114552"/>
              <a:gd name="connsiteY625" fmla="*/ 104165 h 800100"/>
              <a:gd name="connsiteX626" fmla="*/ 1662114 w 2114552"/>
              <a:gd name="connsiteY626" fmla="*/ 124925 h 800100"/>
              <a:gd name="connsiteX627" fmla="*/ 1637508 w 2114552"/>
              <a:gd name="connsiteY627" fmla="*/ 149836 h 800100"/>
              <a:gd name="connsiteX628" fmla="*/ 1612901 w 2114552"/>
              <a:gd name="connsiteY628" fmla="*/ 129076 h 800100"/>
              <a:gd name="connsiteX629" fmla="*/ 1612901 w 2114552"/>
              <a:gd name="connsiteY629" fmla="*/ 124925 h 800100"/>
              <a:gd name="connsiteX630" fmla="*/ 1633407 w 2114552"/>
              <a:gd name="connsiteY630" fmla="*/ 104165 h 800100"/>
              <a:gd name="connsiteX631" fmla="*/ 1787382 w 2114552"/>
              <a:gd name="connsiteY631" fmla="*/ 100013 h 800100"/>
              <a:gd name="connsiteX632" fmla="*/ 1812494 w 2114552"/>
              <a:gd name="connsiteY632" fmla="*/ 108404 h 800100"/>
              <a:gd name="connsiteX633" fmla="*/ 1820864 w 2114552"/>
              <a:gd name="connsiteY633" fmla="*/ 120991 h 800100"/>
              <a:gd name="connsiteX634" fmla="*/ 1808308 w 2114552"/>
              <a:gd name="connsiteY634" fmla="*/ 137773 h 800100"/>
              <a:gd name="connsiteX635" fmla="*/ 1812494 w 2114552"/>
              <a:gd name="connsiteY635" fmla="*/ 158751 h 800100"/>
              <a:gd name="connsiteX636" fmla="*/ 1804123 w 2114552"/>
              <a:gd name="connsiteY636" fmla="*/ 154555 h 800100"/>
              <a:gd name="connsiteX637" fmla="*/ 1799938 w 2114552"/>
              <a:gd name="connsiteY637" fmla="*/ 133578 h 800100"/>
              <a:gd name="connsiteX638" fmla="*/ 1791567 w 2114552"/>
              <a:gd name="connsiteY638" fmla="*/ 133578 h 800100"/>
              <a:gd name="connsiteX639" fmla="*/ 1787382 w 2114552"/>
              <a:gd name="connsiteY639" fmla="*/ 150360 h 800100"/>
              <a:gd name="connsiteX640" fmla="*/ 1774826 w 2114552"/>
              <a:gd name="connsiteY640" fmla="*/ 146164 h 800100"/>
              <a:gd name="connsiteX641" fmla="*/ 1783197 w 2114552"/>
              <a:gd name="connsiteY641" fmla="*/ 120991 h 800100"/>
              <a:gd name="connsiteX642" fmla="*/ 1787382 w 2114552"/>
              <a:gd name="connsiteY642" fmla="*/ 100013 h 800100"/>
              <a:gd name="connsiteX643" fmla="*/ 1737015 w 2114552"/>
              <a:gd name="connsiteY643" fmla="*/ 92075 h 800100"/>
              <a:gd name="connsiteX644" fmla="*/ 1749571 w 2114552"/>
              <a:gd name="connsiteY644" fmla="*/ 92075 h 800100"/>
              <a:gd name="connsiteX645" fmla="*/ 1753757 w 2114552"/>
              <a:gd name="connsiteY645" fmla="*/ 116987 h 800100"/>
              <a:gd name="connsiteX646" fmla="*/ 1762127 w 2114552"/>
              <a:gd name="connsiteY646" fmla="*/ 146050 h 800100"/>
              <a:gd name="connsiteX647" fmla="*/ 1753757 w 2114552"/>
              <a:gd name="connsiteY647" fmla="*/ 141898 h 800100"/>
              <a:gd name="connsiteX648" fmla="*/ 1749571 w 2114552"/>
              <a:gd name="connsiteY648" fmla="*/ 133594 h 800100"/>
              <a:gd name="connsiteX649" fmla="*/ 1728645 w 2114552"/>
              <a:gd name="connsiteY649" fmla="*/ 133594 h 800100"/>
              <a:gd name="connsiteX650" fmla="*/ 1724460 w 2114552"/>
              <a:gd name="connsiteY650" fmla="*/ 141898 h 800100"/>
              <a:gd name="connsiteX651" fmla="*/ 1716089 w 2114552"/>
              <a:gd name="connsiteY651" fmla="*/ 141898 h 800100"/>
              <a:gd name="connsiteX652" fmla="*/ 1728645 w 2114552"/>
              <a:gd name="connsiteY652" fmla="*/ 116987 h 800100"/>
              <a:gd name="connsiteX653" fmla="*/ 1737015 w 2114552"/>
              <a:gd name="connsiteY653" fmla="*/ 92075 h 800100"/>
              <a:gd name="connsiteX654" fmla="*/ 1712914 w 2114552"/>
              <a:gd name="connsiteY654" fmla="*/ 92075 h 800100"/>
              <a:gd name="connsiteX655" fmla="*/ 1712914 w 2114552"/>
              <a:gd name="connsiteY655" fmla="*/ 100277 h 800100"/>
              <a:gd name="connsiteX656" fmla="*/ 1696173 w 2114552"/>
              <a:gd name="connsiteY656" fmla="*/ 100277 h 800100"/>
              <a:gd name="connsiteX657" fmla="*/ 1700358 w 2114552"/>
              <a:gd name="connsiteY657" fmla="*/ 141288 h 800100"/>
              <a:gd name="connsiteX658" fmla="*/ 1687802 w 2114552"/>
              <a:gd name="connsiteY658" fmla="*/ 141288 h 800100"/>
              <a:gd name="connsiteX659" fmla="*/ 1683617 w 2114552"/>
              <a:gd name="connsiteY659" fmla="*/ 100277 h 800100"/>
              <a:gd name="connsiteX660" fmla="*/ 1666876 w 2114552"/>
              <a:gd name="connsiteY660" fmla="*/ 104378 h 800100"/>
              <a:gd name="connsiteX661" fmla="*/ 1666876 w 2114552"/>
              <a:gd name="connsiteY661" fmla="*/ 96176 h 800100"/>
              <a:gd name="connsiteX662" fmla="*/ 1712914 w 2114552"/>
              <a:gd name="connsiteY662" fmla="*/ 92075 h 800100"/>
              <a:gd name="connsiteX663" fmla="*/ 1181630 w 2114552"/>
              <a:gd name="connsiteY663" fmla="*/ 92074 h 800100"/>
              <a:gd name="connsiteX664" fmla="*/ 1147763 w 2114552"/>
              <a:gd name="connsiteY664" fmla="*/ 133349 h 800100"/>
              <a:gd name="connsiteX665" fmla="*/ 1211263 w 2114552"/>
              <a:gd name="connsiteY665" fmla="*/ 133349 h 800100"/>
              <a:gd name="connsiteX666" fmla="*/ 1181630 w 2114552"/>
              <a:gd name="connsiteY666" fmla="*/ 92074 h 800100"/>
              <a:gd name="connsiteX667" fmla="*/ 1716089 w 2114552"/>
              <a:gd name="connsiteY667" fmla="*/ 84138 h 800100"/>
              <a:gd name="connsiteX668" fmla="*/ 1521183 w 2114552"/>
              <a:gd name="connsiteY668" fmla="*/ 150178 h 800100"/>
              <a:gd name="connsiteX669" fmla="*/ 1517036 w 2114552"/>
              <a:gd name="connsiteY669" fmla="*/ 166688 h 800100"/>
              <a:gd name="connsiteX670" fmla="*/ 1550212 w 2114552"/>
              <a:gd name="connsiteY670" fmla="*/ 203836 h 800100"/>
              <a:gd name="connsiteX671" fmla="*/ 1566799 w 2114552"/>
              <a:gd name="connsiteY671" fmla="*/ 203836 h 800100"/>
              <a:gd name="connsiteX672" fmla="*/ 1716089 w 2114552"/>
              <a:gd name="connsiteY672" fmla="*/ 150178 h 800100"/>
              <a:gd name="connsiteX673" fmla="*/ 1865379 w 2114552"/>
              <a:gd name="connsiteY673" fmla="*/ 203836 h 800100"/>
              <a:gd name="connsiteX674" fmla="*/ 1881967 w 2114552"/>
              <a:gd name="connsiteY674" fmla="*/ 203836 h 800100"/>
              <a:gd name="connsiteX675" fmla="*/ 1915142 w 2114552"/>
              <a:gd name="connsiteY675" fmla="*/ 166688 h 800100"/>
              <a:gd name="connsiteX676" fmla="*/ 1910995 w 2114552"/>
              <a:gd name="connsiteY676" fmla="*/ 150178 h 800100"/>
              <a:gd name="connsiteX677" fmla="*/ 1716089 w 2114552"/>
              <a:gd name="connsiteY677" fmla="*/ 84138 h 800100"/>
              <a:gd name="connsiteX678" fmla="*/ 1181894 w 2114552"/>
              <a:gd name="connsiteY678" fmla="*/ 84137 h 800100"/>
              <a:gd name="connsiteX679" fmla="*/ 1227138 w 2114552"/>
              <a:gd name="connsiteY679" fmla="*/ 137942 h 800100"/>
              <a:gd name="connsiteX680" fmla="*/ 1227138 w 2114552"/>
              <a:gd name="connsiteY680" fmla="*/ 146220 h 800100"/>
              <a:gd name="connsiteX681" fmla="*/ 1148989 w 2114552"/>
              <a:gd name="connsiteY681" fmla="*/ 146220 h 800100"/>
              <a:gd name="connsiteX682" fmla="*/ 1186007 w 2114552"/>
              <a:gd name="connsiteY682" fmla="*/ 187608 h 800100"/>
              <a:gd name="connsiteX683" fmla="*/ 1218912 w 2114552"/>
              <a:gd name="connsiteY683" fmla="*/ 179331 h 800100"/>
              <a:gd name="connsiteX684" fmla="*/ 1218912 w 2114552"/>
              <a:gd name="connsiteY684" fmla="*/ 191747 h 800100"/>
              <a:gd name="connsiteX685" fmla="*/ 1186007 w 2114552"/>
              <a:gd name="connsiteY685" fmla="*/ 200025 h 800100"/>
              <a:gd name="connsiteX686" fmla="*/ 1136650 w 2114552"/>
              <a:gd name="connsiteY686" fmla="*/ 142081 h 800100"/>
              <a:gd name="connsiteX687" fmla="*/ 1181894 w 2114552"/>
              <a:gd name="connsiteY687" fmla="*/ 84137 h 800100"/>
              <a:gd name="connsiteX688" fmla="*/ 887413 w 2114552"/>
              <a:gd name="connsiteY688" fmla="*/ 41274 h 800100"/>
              <a:gd name="connsiteX689" fmla="*/ 995363 w 2114552"/>
              <a:gd name="connsiteY689" fmla="*/ 41274 h 800100"/>
              <a:gd name="connsiteX690" fmla="*/ 995363 w 2114552"/>
              <a:gd name="connsiteY690" fmla="*/ 53974 h 800100"/>
              <a:gd name="connsiteX691" fmla="*/ 949326 w 2114552"/>
              <a:gd name="connsiteY691" fmla="*/ 53974 h 800100"/>
              <a:gd name="connsiteX692" fmla="*/ 949326 w 2114552"/>
              <a:gd name="connsiteY692" fmla="*/ 195262 h 800100"/>
              <a:gd name="connsiteX693" fmla="*/ 933451 w 2114552"/>
              <a:gd name="connsiteY693" fmla="*/ 195262 h 800100"/>
              <a:gd name="connsiteX694" fmla="*/ 933451 w 2114552"/>
              <a:gd name="connsiteY694" fmla="*/ 53974 h 800100"/>
              <a:gd name="connsiteX695" fmla="*/ 887413 w 2114552"/>
              <a:gd name="connsiteY695" fmla="*/ 53974 h 800100"/>
              <a:gd name="connsiteX696" fmla="*/ 1020763 w 2114552"/>
              <a:gd name="connsiteY696" fmla="*/ 28574 h 800100"/>
              <a:gd name="connsiteX697" fmla="*/ 1033010 w 2114552"/>
              <a:gd name="connsiteY697" fmla="*/ 28574 h 800100"/>
              <a:gd name="connsiteX698" fmla="*/ 1033010 w 2114552"/>
              <a:gd name="connsiteY698" fmla="*/ 103584 h 800100"/>
              <a:gd name="connsiteX699" fmla="*/ 1069749 w 2114552"/>
              <a:gd name="connsiteY699" fmla="*/ 82748 h 800100"/>
              <a:gd name="connsiteX700" fmla="*/ 1106488 w 2114552"/>
              <a:gd name="connsiteY700" fmla="*/ 128587 h 800100"/>
              <a:gd name="connsiteX701" fmla="*/ 1106488 w 2114552"/>
              <a:gd name="connsiteY701" fmla="*/ 195262 h 800100"/>
              <a:gd name="connsiteX702" fmla="*/ 1090160 w 2114552"/>
              <a:gd name="connsiteY702" fmla="*/ 195262 h 800100"/>
              <a:gd name="connsiteX703" fmla="*/ 1090160 w 2114552"/>
              <a:gd name="connsiteY703" fmla="*/ 128587 h 800100"/>
              <a:gd name="connsiteX704" fmla="*/ 1065667 w 2114552"/>
              <a:gd name="connsiteY704" fmla="*/ 91082 h 800100"/>
              <a:gd name="connsiteX705" fmla="*/ 1033010 w 2114552"/>
              <a:gd name="connsiteY705" fmla="*/ 136921 h 800100"/>
              <a:gd name="connsiteX706" fmla="*/ 1033010 w 2114552"/>
              <a:gd name="connsiteY706" fmla="*/ 195262 h 800100"/>
              <a:gd name="connsiteX707" fmla="*/ 1020763 w 2114552"/>
              <a:gd name="connsiteY707" fmla="*/ 195262 h 800100"/>
              <a:gd name="connsiteX708" fmla="*/ 1704456 w 2114552"/>
              <a:gd name="connsiteY708" fmla="*/ 0 h 800100"/>
              <a:gd name="connsiteX709" fmla="*/ 1729310 w 2114552"/>
              <a:gd name="connsiteY709" fmla="*/ 0 h 800100"/>
              <a:gd name="connsiteX710" fmla="*/ 1745880 w 2114552"/>
              <a:gd name="connsiteY710" fmla="*/ 62461 h 800100"/>
              <a:gd name="connsiteX711" fmla="*/ 1774877 w 2114552"/>
              <a:gd name="connsiteY711" fmla="*/ 66625 h 800100"/>
              <a:gd name="connsiteX712" fmla="*/ 1803873 w 2114552"/>
              <a:gd name="connsiteY712" fmla="*/ 12492 h 800100"/>
              <a:gd name="connsiteX713" fmla="*/ 1808016 w 2114552"/>
              <a:gd name="connsiteY713" fmla="*/ 12492 h 800100"/>
              <a:gd name="connsiteX714" fmla="*/ 1832870 w 2114552"/>
              <a:gd name="connsiteY714" fmla="*/ 16656 h 800100"/>
              <a:gd name="connsiteX715" fmla="*/ 1832870 w 2114552"/>
              <a:gd name="connsiteY715" fmla="*/ 20820 h 800100"/>
              <a:gd name="connsiteX716" fmla="*/ 1837012 w 2114552"/>
              <a:gd name="connsiteY716" fmla="*/ 49969 h 800100"/>
              <a:gd name="connsiteX717" fmla="*/ 1832870 w 2114552"/>
              <a:gd name="connsiteY717" fmla="*/ 83282 h 800100"/>
              <a:gd name="connsiteX718" fmla="*/ 1857724 w 2114552"/>
              <a:gd name="connsiteY718" fmla="*/ 91610 h 800100"/>
              <a:gd name="connsiteX719" fmla="*/ 1903291 w 2114552"/>
              <a:gd name="connsiteY719" fmla="*/ 49969 h 800100"/>
              <a:gd name="connsiteX720" fmla="*/ 1928145 w 2114552"/>
              <a:gd name="connsiteY720" fmla="*/ 62461 h 800100"/>
              <a:gd name="connsiteX721" fmla="*/ 1911575 w 2114552"/>
              <a:gd name="connsiteY721" fmla="*/ 124922 h 800100"/>
              <a:gd name="connsiteX722" fmla="*/ 1932287 w 2114552"/>
              <a:gd name="connsiteY722" fmla="*/ 141579 h 800100"/>
              <a:gd name="connsiteX723" fmla="*/ 1986138 w 2114552"/>
              <a:gd name="connsiteY723" fmla="*/ 108266 h 800100"/>
              <a:gd name="connsiteX724" fmla="*/ 2006850 w 2114552"/>
              <a:gd name="connsiteY724" fmla="*/ 129086 h 800100"/>
              <a:gd name="connsiteX725" fmla="*/ 1973711 w 2114552"/>
              <a:gd name="connsiteY725" fmla="*/ 183219 h 800100"/>
              <a:gd name="connsiteX726" fmla="*/ 1990281 w 2114552"/>
              <a:gd name="connsiteY726" fmla="*/ 204040 h 800100"/>
              <a:gd name="connsiteX727" fmla="*/ 2052416 w 2114552"/>
              <a:gd name="connsiteY727" fmla="*/ 187383 h 800100"/>
              <a:gd name="connsiteX728" fmla="*/ 2052416 w 2114552"/>
              <a:gd name="connsiteY728" fmla="*/ 191547 h 800100"/>
              <a:gd name="connsiteX729" fmla="*/ 2064844 w 2114552"/>
              <a:gd name="connsiteY729" fmla="*/ 212368 h 800100"/>
              <a:gd name="connsiteX730" fmla="*/ 2023420 w 2114552"/>
              <a:gd name="connsiteY730" fmla="*/ 258173 h 800100"/>
              <a:gd name="connsiteX731" fmla="*/ 2031705 w 2114552"/>
              <a:gd name="connsiteY731" fmla="*/ 283157 h 800100"/>
              <a:gd name="connsiteX732" fmla="*/ 2093840 w 2114552"/>
              <a:gd name="connsiteY732" fmla="*/ 283157 h 800100"/>
              <a:gd name="connsiteX733" fmla="*/ 2102125 w 2114552"/>
              <a:gd name="connsiteY733" fmla="*/ 308141 h 800100"/>
              <a:gd name="connsiteX734" fmla="*/ 2102125 w 2114552"/>
              <a:gd name="connsiteY734" fmla="*/ 312306 h 800100"/>
              <a:gd name="connsiteX735" fmla="*/ 2048274 w 2114552"/>
              <a:gd name="connsiteY735" fmla="*/ 341454 h 800100"/>
              <a:gd name="connsiteX736" fmla="*/ 2052416 w 2114552"/>
              <a:gd name="connsiteY736" fmla="*/ 366438 h 800100"/>
              <a:gd name="connsiteX737" fmla="*/ 2110410 w 2114552"/>
              <a:gd name="connsiteY737" fmla="*/ 383095 h 800100"/>
              <a:gd name="connsiteX738" fmla="*/ 2110410 w 2114552"/>
              <a:gd name="connsiteY738" fmla="*/ 387259 h 800100"/>
              <a:gd name="connsiteX739" fmla="*/ 2114552 w 2114552"/>
              <a:gd name="connsiteY739" fmla="*/ 399751 h 800100"/>
              <a:gd name="connsiteX740" fmla="*/ 2110410 w 2114552"/>
              <a:gd name="connsiteY740" fmla="*/ 412243 h 800100"/>
              <a:gd name="connsiteX741" fmla="*/ 2052416 w 2114552"/>
              <a:gd name="connsiteY741" fmla="*/ 428900 h 800100"/>
              <a:gd name="connsiteX742" fmla="*/ 2048274 w 2114552"/>
              <a:gd name="connsiteY742" fmla="*/ 453884 h 800100"/>
              <a:gd name="connsiteX743" fmla="*/ 2102125 w 2114552"/>
              <a:gd name="connsiteY743" fmla="*/ 487197 h 800100"/>
              <a:gd name="connsiteX744" fmla="*/ 2093840 w 2114552"/>
              <a:gd name="connsiteY744" fmla="*/ 512181 h 800100"/>
              <a:gd name="connsiteX745" fmla="*/ 2093840 w 2114552"/>
              <a:gd name="connsiteY745" fmla="*/ 516345 h 800100"/>
              <a:gd name="connsiteX746" fmla="*/ 2031705 w 2114552"/>
              <a:gd name="connsiteY746" fmla="*/ 516345 h 800100"/>
              <a:gd name="connsiteX747" fmla="*/ 2023420 w 2114552"/>
              <a:gd name="connsiteY747" fmla="*/ 537165 h 800100"/>
              <a:gd name="connsiteX748" fmla="*/ 2064844 w 2114552"/>
              <a:gd name="connsiteY748" fmla="*/ 582970 h 800100"/>
              <a:gd name="connsiteX749" fmla="*/ 2064844 w 2114552"/>
              <a:gd name="connsiteY749" fmla="*/ 587134 h 800100"/>
              <a:gd name="connsiteX750" fmla="*/ 2052416 w 2114552"/>
              <a:gd name="connsiteY750" fmla="*/ 607955 h 800100"/>
              <a:gd name="connsiteX751" fmla="*/ 1990281 w 2114552"/>
              <a:gd name="connsiteY751" fmla="*/ 591298 h 800100"/>
              <a:gd name="connsiteX752" fmla="*/ 1973711 w 2114552"/>
              <a:gd name="connsiteY752" fmla="*/ 612119 h 800100"/>
              <a:gd name="connsiteX753" fmla="*/ 2006850 w 2114552"/>
              <a:gd name="connsiteY753" fmla="*/ 666252 h 800100"/>
              <a:gd name="connsiteX754" fmla="*/ 2006850 w 2114552"/>
              <a:gd name="connsiteY754" fmla="*/ 670416 h 800100"/>
              <a:gd name="connsiteX755" fmla="*/ 1986138 w 2114552"/>
              <a:gd name="connsiteY755" fmla="*/ 687072 h 800100"/>
              <a:gd name="connsiteX756" fmla="*/ 1932287 w 2114552"/>
              <a:gd name="connsiteY756" fmla="*/ 657924 h 800100"/>
              <a:gd name="connsiteX757" fmla="*/ 1911575 w 2114552"/>
              <a:gd name="connsiteY757" fmla="*/ 674580 h 800100"/>
              <a:gd name="connsiteX758" fmla="*/ 1928145 w 2114552"/>
              <a:gd name="connsiteY758" fmla="*/ 732877 h 800100"/>
              <a:gd name="connsiteX759" fmla="*/ 1928145 w 2114552"/>
              <a:gd name="connsiteY759" fmla="*/ 737041 h 800100"/>
              <a:gd name="connsiteX760" fmla="*/ 1924002 w 2114552"/>
              <a:gd name="connsiteY760" fmla="*/ 737041 h 800100"/>
              <a:gd name="connsiteX761" fmla="*/ 1903291 w 2114552"/>
              <a:gd name="connsiteY761" fmla="*/ 749533 h 800100"/>
              <a:gd name="connsiteX762" fmla="*/ 1857724 w 2114552"/>
              <a:gd name="connsiteY762" fmla="*/ 703728 h 800100"/>
              <a:gd name="connsiteX763" fmla="*/ 1832870 w 2114552"/>
              <a:gd name="connsiteY763" fmla="*/ 716221 h 800100"/>
              <a:gd name="connsiteX764" fmla="*/ 1837012 w 2114552"/>
              <a:gd name="connsiteY764" fmla="*/ 745369 h 800100"/>
              <a:gd name="connsiteX765" fmla="*/ 1832870 w 2114552"/>
              <a:gd name="connsiteY765" fmla="*/ 778682 h 800100"/>
              <a:gd name="connsiteX766" fmla="*/ 1808016 w 2114552"/>
              <a:gd name="connsiteY766" fmla="*/ 787010 h 800100"/>
              <a:gd name="connsiteX767" fmla="*/ 1803873 w 2114552"/>
              <a:gd name="connsiteY767" fmla="*/ 787010 h 800100"/>
              <a:gd name="connsiteX768" fmla="*/ 1774877 w 2114552"/>
              <a:gd name="connsiteY768" fmla="*/ 732877 h 800100"/>
              <a:gd name="connsiteX769" fmla="*/ 1750022 w 2114552"/>
              <a:gd name="connsiteY769" fmla="*/ 732877 h 800100"/>
              <a:gd name="connsiteX770" fmla="*/ 1733453 w 2114552"/>
              <a:gd name="connsiteY770" fmla="*/ 795338 h 800100"/>
              <a:gd name="connsiteX771" fmla="*/ 1729310 w 2114552"/>
              <a:gd name="connsiteY771" fmla="*/ 795338 h 800100"/>
              <a:gd name="connsiteX772" fmla="*/ 1704456 w 2114552"/>
              <a:gd name="connsiteY772" fmla="*/ 795338 h 800100"/>
              <a:gd name="connsiteX773" fmla="*/ 1687886 w 2114552"/>
              <a:gd name="connsiteY773" fmla="*/ 732877 h 800100"/>
              <a:gd name="connsiteX774" fmla="*/ 1658890 w 2114552"/>
              <a:gd name="connsiteY774" fmla="*/ 732877 h 800100"/>
              <a:gd name="connsiteX775" fmla="*/ 1629893 w 2114552"/>
              <a:gd name="connsiteY775" fmla="*/ 787010 h 800100"/>
              <a:gd name="connsiteX776" fmla="*/ 1625751 w 2114552"/>
              <a:gd name="connsiteY776" fmla="*/ 787010 h 800100"/>
              <a:gd name="connsiteX777" fmla="*/ 1600896 w 2114552"/>
              <a:gd name="connsiteY777" fmla="*/ 778682 h 800100"/>
              <a:gd name="connsiteX778" fmla="*/ 1596754 w 2114552"/>
              <a:gd name="connsiteY778" fmla="*/ 745369 h 800100"/>
              <a:gd name="connsiteX779" fmla="*/ 1600896 w 2114552"/>
              <a:gd name="connsiteY779" fmla="*/ 716221 h 800100"/>
              <a:gd name="connsiteX780" fmla="*/ 1576042 w 2114552"/>
              <a:gd name="connsiteY780" fmla="*/ 703728 h 800100"/>
              <a:gd name="connsiteX781" fmla="*/ 1534618 w 2114552"/>
              <a:gd name="connsiteY781" fmla="*/ 749533 h 800100"/>
              <a:gd name="connsiteX782" fmla="*/ 1530476 w 2114552"/>
              <a:gd name="connsiteY782" fmla="*/ 749533 h 800100"/>
              <a:gd name="connsiteX783" fmla="*/ 1509764 w 2114552"/>
              <a:gd name="connsiteY783" fmla="*/ 737041 h 800100"/>
              <a:gd name="connsiteX784" fmla="*/ 1509764 w 2114552"/>
              <a:gd name="connsiteY784" fmla="*/ 732877 h 800100"/>
              <a:gd name="connsiteX785" fmla="*/ 1522191 w 2114552"/>
              <a:gd name="connsiteY785" fmla="*/ 674580 h 800100"/>
              <a:gd name="connsiteX786" fmla="*/ 1501479 w 2114552"/>
              <a:gd name="connsiteY786" fmla="*/ 657924 h 800100"/>
              <a:gd name="connsiteX787" fmla="*/ 1447628 w 2114552"/>
              <a:gd name="connsiteY787" fmla="*/ 687072 h 800100"/>
              <a:gd name="connsiteX788" fmla="*/ 1426916 w 2114552"/>
              <a:gd name="connsiteY788" fmla="*/ 670416 h 800100"/>
              <a:gd name="connsiteX789" fmla="*/ 1460055 w 2114552"/>
              <a:gd name="connsiteY789" fmla="*/ 616283 h 800100"/>
              <a:gd name="connsiteX790" fmla="*/ 1443486 w 2114552"/>
              <a:gd name="connsiteY790" fmla="*/ 591298 h 800100"/>
              <a:gd name="connsiteX791" fmla="*/ 1381350 w 2114552"/>
              <a:gd name="connsiteY791" fmla="*/ 607955 h 800100"/>
              <a:gd name="connsiteX792" fmla="*/ 1368923 w 2114552"/>
              <a:gd name="connsiteY792" fmla="*/ 587134 h 800100"/>
              <a:gd name="connsiteX793" fmla="*/ 1368923 w 2114552"/>
              <a:gd name="connsiteY793" fmla="*/ 582970 h 800100"/>
              <a:gd name="connsiteX794" fmla="*/ 1414489 w 2114552"/>
              <a:gd name="connsiteY794" fmla="*/ 541330 h 800100"/>
              <a:gd name="connsiteX795" fmla="*/ 1402062 w 2114552"/>
              <a:gd name="connsiteY795" fmla="*/ 516345 h 800100"/>
              <a:gd name="connsiteX796" fmla="*/ 1339926 w 2114552"/>
              <a:gd name="connsiteY796" fmla="*/ 516345 h 800100"/>
              <a:gd name="connsiteX797" fmla="*/ 1331641 w 2114552"/>
              <a:gd name="connsiteY797" fmla="*/ 491361 h 800100"/>
              <a:gd name="connsiteX798" fmla="*/ 1331641 w 2114552"/>
              <a:gd name="connsiteY798" fmla="*/ 487197 h 800100"/>
              <a:gd name="connsiteX799" fmla="*/ 1385492 w 2114552"/>
              <a:gd name="connsiteY799" fmla="*/ 453884 h 800100"/>
              <a:gd name="connsiteX800" fmla="*/ 1381350 w 2114552"/>
              <a:gd name="connsiteY800" fmla="*/ 428900 h 800100"/>
              <a:gd name="connsiteX801" fmla="*/ 1323357 w 2114552"/>
              <a:gd name="connsiteY801" fmla="*/ 412243 h 800100"/>
              <a:gd name="connsiteX802" fmla="*/ 1319214 w 2114552"/>
              <a:gd name="connsiteY802" fmla="*/ 412243 h 800100"/>
              <a:gd name="connsiteX803" fmla="*/ 1319214 w 2114552"/>
              <a:gd name="connsiteY803" fmla="*/ 399751 h 800100"/>
              <a:gd name="connsiteX804" fmla="*/ 1319214 w 2114552"/>
              <a:gd name="connsiteY804" fmla="*/ 383095 h 800100"/>
              <a:gd name="connsiteX805" fmla="*/ 1323357 w 2114552"/>
              <a:gd name="connsiteY805" fmla="*/ 383095 h 800100"/>
              <a:gd name="connsiteX806" fmla="*/ 1381350 w 2114552"/>
              <a:gd name="connsiteY806" fmla="*/ 366438 h 800100"/>
              <a:gd name="connsiteX807" fmla="*/ 1385492 w 2114552"/>
              <a:gd name="connsiteY807" fmla="*/ 341454 h 800100"/>
              <a:gd name="connsiteX808" fmla="*/ 1331641 w 2114552"/>
              <a:gd name="connsiteY808" fmla="*/ 308141 h 800100"/>
              <a:gd name="connsiteX809" fmla="*/ 1339926 w 2114552"/>
              <a:gd name="connsiteY809" fmla="*/ 283157 h 800100"/>
              <a:gd name="connsiteX810" fmla="*/ 1402062 w 2114552"/>
              <a:gd name="connsiteY810" fmla="*/ 283157 h 800100"/>
              <a:gd name="connsiteX811" fmla="*/ 1410347 w 2114552"/>
              <a:gd name="connsiteY811" fmla="*/ 258173 h 800100"/>
              <a:gd name="connsiteX812" fmla="*/ 1368923 w 2114552"/>
              <a:gd name="connsiteY812" fmla="*/ 212368 h 800100"/>
              <a:gd name="connsiteX813" fmla="*/ 1381350 w 2114552"/>
              <a:gd name="connsiteY813" fmla="*/ 187383 h 800100"/>
              <a:gd name="connsiteX814" fmla="*/ 1443486 w 2114552"/>
              <a:gd name="connsiteY814" fmla="*/ 204040 h 800100"/>
              <a:gd name="connsiteX815" fmla="*/ 1460055 w 2114552"/>
              <a:gd name="connsiteY815" fmla="*/ 183219 h 800100"/>
              <a:gd name="connsiteX816" fmla="*/ 1426916 w 2114552"/>
              <a:gd name="connsiteY816" fmla="*/ 129086 h 800100"/>
              <a:gd name="connsiteX817" fmla="*/ 1426916 w 2114552"/>
              <a:gd name="connsiteY817" fmla="*/ 124922 h 800100"/>
              <a:gd name="connsiteX818" fmla="*/ 1447628 w 2114552"/>
              <a:gd name="connsiteY818" fmla="*/ 108266 h 800100"/>
              <a:gd name="connsiteX819" fmla="*/ 1501479 w 2114552"/>
              <a:gd name="connsiteY819" fmla="*/ 137414 h 800100"/>
              <a:gd name="connsiteX820" fmla="*/ 1522191 w 2114552"/>
              <a:gd name="connsiteY820" fmla="*/ 124922 h 800100"/>
              <a:gd name="connsiteX821" fmla="*/ 1505621 w 2114552"/>
              <a:gd name="connsiteY821" fmla="*/ 62461 h 800100"/>
              <a:gd name="connsiteX822" fmla="*/ 1530476 w 2114552"/>
              <a:gd name="connsiteY822" fmla="*/ 49969 h 800100"/>
              <a:gd name="connsiteX823" fmla="*/ 1576042 w 2114552"/>
              <a:gd name="connsiteY823" fmla="*/ 91610 h 800100"/>
              <a:gd name="connsiteX824" fmla="*/ 1600896 w 2114552"/>
              <a:gd name="connsiteY824" fmla="*/ 83282 h 800100"/>
              <a:gd name="connsiteX825" fmla="*/ 1596754 w 2114552"/>
              <a:gd name="connsiteY825" fmla="*/ 49969 h 800100"/>
              <a:gd name="connsiteX826" fmla="*/ 1600896 w 2114552"/>
              <a:gd name="connsiteY826" fmla="*/ 20820 h 800100"/>
              <a:gd name="connsiteX827" fmla="*/ 1600896 w 2114552"/>
              <a:gd name="connsiteY827" fmla="*/ 16656 h 800100"/>
              <a:gd name="connsiteX828" fmla="*/ 1625751 w 2114552"/>
              <a:gd name="connsiteY828" fmla="*/ 12492 h 800100"/>
              <a:gd name="connsiteX829" fmla="*/ 1629893 w 2114552"/>
              <a:gd name="connsiteY829" fmla="*/ 12492 h 800100"/>
              <a:gd name="connsiteX830" fmla="*/ 1658890 w 2114552"/>
              <a:gd name="connsiteY830" fmla="*/ 66625 h 800100"/>
              <a:gd name="connsiteX831" fmla="*/ 1687886 w 2114552"/>
              <a:gd name="connsiteY831" fmla="*/ 62461 h 800100"/>
              <a:gd name="connsiteX832" fmla="*/ 1704456 w 2114552"/>
              <a:gd name="connsiteY832"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2114552" h="800100">
                <a:moveTo>
                  <a:pt x="2068305" y="749732"/>
                </a:moveTo>
                <a:lnTo>
                  <a:pt x="2068305" y="761609"/>
                </a:lnTo>
                <a:lnTo>
                  <a:pt x="2076013" y="761609"/>
                </a:lnTo>
                <a:cubicBezTo>
                  <a:pt x="2079697" y="761609"/>
                  <a:pt x="2082210" y="761060"/>
                  <a:pt x="2083551" y="759961"/>
                </a:cubicBezTo>
                <a:cubicBezTo>
                  <a:pt x="2084892" y="758862"/>
                  <a:pt x="2085563" y="757408"/>
                  <a:pt x="2085563" y="755598"/>
                </a:cubicBezTo>
                <a:cubicBezTo>
                  <a:pt x="2085563" y="754435"/>
                  <a:pt x="2085240" y="753392"/>
                  <a:pt x="2084594" y="752471"/>
                </a:cubicBezTo>
                <a:cubicBezTo>
                  <a:pt x="2083947" y="751550"/>
                  <a:pt x="2083050" y="750863"/>
                  <a:pt x="2081903" y="750411"/>
                </a:cubicBezTo>
                <a:cubicBezTo>
                  <a:pt x="2080756" y="749959"/>
                  <a:pt x="2078631" y="749732"/>
                  <a:pt x="2075528" y="749732"/>
                </a:cubicBezTo>
                <a:close/>
                <a:moveTo>
                  <a:pt x="2061954" y="744400"/>
                </a:moveTo>
                <a:lnTo>
                  <a:pt x="2075480" y="744400"/>
                </a:lnTo>
                <a:cubicBezTo>
                  <a:pt x="2080101" y="744400"/>
                  <a:pt x="2083446" y="744763"/>
                  <a:pt x="2085514" y="745491"/>
                </a:cubicBezTo>
                <a:cubicBezTo>
                  <a:pt x="2087583" y="746218"/>
                  <a:pt x="2089231" y="747486"/>
                  <a:pt x="2090459" y="749296"/>
                </a:cubicBezTo>
                <a:cubicBezTo>
                  <a:pt x="2091687" y="751106"/>
                  <a:pt x="2092301" y="753029"/>
                  <a:pt x="2092301" y="755065"/>
                </a:cubicBezTo>
                <a:cubicBezTo>
                  <a:pt x="2092301" y="757941"/>
                  <a:pt x="2091275" y="760446"/>
                  <a:pt x="2089223" y="762579"/>
                </a:cubicBezTo>
                <a:cubicBezTo>
                  <a:pt x="2087171" y="764712"/>
                  <a:pt x="2084448" y="765907"/>
                  <a:pt x="2081055" y="766166"/>
                </a:cubicBezTo>
                <a:cubicBezTo>
                  <a:pt x="2082444" y="766748"/>
                  <a:pt x="2083559" y="767443"/>
                  <a:pt x="2084400" y="768251"/>
                </a:cubicBezTo>
                <a:cubicBezTo>
                  <a:pt x="2085983" y="769802"/>
                  <a:pt x="2087922" y="772403"/>
                  <a:pt x="2090217" y="776055"/>
                </a:cubicBezTo>
                <a:lnTo>
                  <a:pt x="2095016" y="783763"/>
                </a:lnTo>
                <a:lnTo>
                  <a:pt x="2087260" y="783763"/>
                </a:lnTo>
                <a:lnTo>
                  <a:pt x="2083769" y="777558"/>
                </a:lnTo>
                <a:cubicBezTo>
                  <a:pt x="2081022" y="772678"/>
                  <a:pt x="2078808" y="769624"/>
                  <a:pt x="2077128" y="768396"/>
                </a:cubicBezTo>
                <a:cubicBezTo>
                  <a:pt x="2075965" y="767491"/>
                  <a:pt x="2074268" y="767039"/>
                  <a:pt x="2072038" y="767039"/>
                </a:cubicBezTo>
                <a:lnTo>
                  <a:pt x="2068305" y="767039"/>
                </a:lnTo>
                <a:lnTo>
                  <a:pt x="2068305" y="783763"/>
                </a:lnTo>
                <a:lnTo>
                  <a:pt x="2061954" y="783763"/>
                </a:lnTo>
                <a:close/>
                <a:moveTo>
                  <a:pt x="834048" y="741362"/>
                </a:moveTo>
                <a:cubicBezTo>
                  <a:pt x="813289" y="741362"/>
                  <a:pt x="784225" y="741362"/>
                  <a:pt x="784225" y="766474"/>
                </a:cubicBezTo>
                <a:cubicBezTo>
                  <a:pt x="784225" y="783215"/>
                  <a:pt x="792529" y="787400"/>
                  <a:pt x="804985" y="787400"/>
                </a:cubicBezTo>
                <a:cubicBezTo>
                  <a:pt x="838200" y="787400"/>
                  <a:pt x="838200" y="758103"/>
                  <a:pt x="838200" y="745547"/>
                </a:cubicBezTo>
                <a:lnTo>
                  <a:pt x="838200" y="741362"/>
                </a:lnTo>
                <a:cubicBezTo>
                  <a:pt x="834048" y="741362"/>
                  <a:pt x="834048" y="741362"/>
                  <a:pt x="834048" y="741362"/>
                </a:cubicBezTo>
                <a:close/>
                <a:moveTo>
                  <a:pt x="2078001" y="733008"/>
                </a:moveTo>
                <a:cubicBezTo>
                  <a:pt x="2072862" y="733008"/>
                  <a:pt x="2067861" y="734325"/>
                  <a:pt x="2062997" y="736959"/>
                </a:cubicBezTo>
                <a:cubicBezTo>
                  <a:pt x="2058133" y="739592"/>
                  <a:pt x="2054328" y="743358"/>
                  <a:pt x="2051581" y="748254"/>
                </a:cubicBezTo>
                <a:cubicBezTo>
                  <a:pt x="2048833" y="753150"/>
                  <a:pt x="2047460" y="758248"/>
                  <a:pt x="2047460" y="763548"/>
                </a:cubicBezTo>
                <a:cubicBezTo>
                  <a:pt x="2047460" y="768816"/>
                  <a:pt x="2048809" y="773866"/>
                  <a:pt x="2051508" y="778697"/>
                </a:cubicBezTo>
                <a:cubicBezTo>
                  <a:pt x="2054206" y="783529"/>
                  <a:pt x="2057980" y="787294"/>
                  <a:pt x="2062827" y="789993"/>
                </a:cubicBezTo>
                <a:cubicBezTo>
                  <a:pt x="2067675" y="792691"/>
                  <a:pt x="2072733" y="794041"/>
                  <a:pt x="2078001" y="794041"/>
                </a:cubicBezTo>
                <a:cubicBezTo>
                  <a:pt x="2083269" y="794041"/>
                  <a:pt x="2088326" y="792691"/>
                  <a:pt x="2093174" y="789993"/>
                </a:cubicBezTo>
                <a:cubicBezTo>
                  <a:pt x="2098022" y="787294"/>
                  <a:pt x="2101787" y="783529"/>
                  <a:pt x="2104469" y="778697"/>
                </a:cubicBezTo>
                <a:cubicBezTo>
                  <a:pt x="2107152" y="773866"/>
                  <a:pt x="2108493" y="768816"/>
                  <a:pt x="2108493" y="763548"/>
                </a:cubicBezTo>
                <a:cubicBezTo>
                  <a:pt x="2108493" y="758248"/>
                  <a:pt x="2107127" y="753150"/>
                  <a:pt x="2104397" y="748254"/>
                </a:cubicBezTo>
                <a:cubicBezTo>
                  <a:pt x="2101666" y="743358"/>
                  <a:pt x="2097860" y="739592"/>
                  <a:pt x="2092980" y="736959"/>
                </a:cubicBezTo>
                <a:cubicBezTo>
                  <a:pt x="2088100" y="734325"/>
                  <a:pt x="2083107" y="733008"/>
                  <a:pt x="2078001" y="733008"/>
                </a:cubicBezTo>
                <a:close/>
                <a:moveTo>
                  <a:pt x="2078001" y="726948"/>
                </a:moveTo>
                <a:cubicBezTo>
                  <a:pt x="2084141" y="726948"/>
                  <a:pt x="2090136" y="728524"/>
                  <a:pt x="2095985" y="731675"/>
                </a:cubicBezTo>
                <a:cubicBezTo>
                  <a:pt x="2101835" y="734825"/>
                  <a:pt x="2106392" y="739334"/>
                  <a:pt x="2109656" y="745200"/>
                </a:cubicBezTo>
                <a:cubicBezTo>
                  <a:pt x="2112920" y="751065"/>
                  <a:pt x="2114552" y="757181"/>
                  <a:pt x="2114552" y="763548"/>
                </a:cubicBezTo>
                <a:cubicBezTo>
                  <a:pt x="2114552" y="769850"/>
                  <a:pt x="2112944" y="775910"/>
                  <a:pt x="2109729" y="781727"/>
                </a:cubicBezTo>
                <a:cubicBezTo>
                  <a:pt x="2106513" y="787544"/>
                  <a:pt x="2102005" y="792061"/>
                  <a:pt x="2096204" y="795277"/>
                </a:cubicBezTo>
                <a:cubicBezTo>
                  <a:pt x="2090402" y="798492"/>
                  <a:pt x="2084335" y="800100"/>
                  <a:pt x="2078001" y="800100"/>
                </a:cubicBezTo>
                <a:cubicBezTo>
                  <a:pt x="2071666" y="800100"/>
                  <a:pt x="2065599" y="798492"/>
                  <a:pt x="2059797" y="795277"/>
                </a:cubicBezTo>
                <a:cubicBezTo>
                  <a:pt x="2053996" y="792061"/>
                  <a:pt x="2049480" y="787544"/>
                  <a:pt x="2046248" y="781727"/>
                </a:cubicBezTo>
                <a:cubicBezTo>
                  <a:pt x="2043016" y="775910"/>
                  <a:pt x="2041400" y="769850"/>
                  <a:pt x="2041400" y="763548"/>
                </a:cubicBezTo>
                <a:cubicBezTo>
                  <a:pt x="2041400" y="757181"/>
                  <a:pt x="2043041" y="751065"/>
                  <a:pt x="2046321" y="745200"/>
                </a:cubicBezTo>
                <a:cubicBezTo>
                  <a:pt x="2049601" y="739334"/>
                  <a:pt x="2054166" y="734825"/>
                  <a:pt x="2060016" y="731675"/>
                </a:cubicBezTo>
                <a:cubicBezTo>
                  <a:pt x="2065865" y="728524"/>
                  <a:pt x="2071860" y="726948"/>
                  <a:pt x="2078001" y="726948"/>
                </a:cubicBezTo>
                <a:close/>
                <a:moveTo>
                  <a:pt x="1058070" y="692149"/>
                </a:moveTo>
                <a:cubicBezTo>
                  <a:pt x="1037466" y="692149"/>
                  <a:pt x="1020763" y="713471"/>
                  <a:pt x="1020763" y="739774"/>
                </a:cubicBezTo>
                <a:cubicBezTo>
                  <a:pt x="1020763" y="766077"/>
                  <a:pt x="1037466" y="787399"/>
                  <a:pt x="1058070" y="787399"/>
                </a:cubicBezTo>
                <a:cubicBezTo>
                  <a:pt x="1078674" y="787399"/>
                  <a:pt x="1095377" y="766077"/>
                  <a:pt x="1095377" y="739774"/>
                </a:cubicBezTo>
                <a:cubicBezTo>
                  <a:pt x="1095377" y="713471"/>
                  <a:pt x="1078674" y="692149"/>
                  <a:pt x="1058070" y="692149"/>
                </a:cubicBezTo>
                <a:close/>
                <a:moveTo>
                  <a:pt x="692151" y="692149"/>
                </a:moveTo>
                <a:cubicBezTo>
                  <a:pt x="673739" y="692149"/>
                  <a:pt x="658813" y="713471"/>
                  <a:pt x="658813" y="739774"/>
                </a:cubicBezTo>
                <a:cubicBezTo>
                  <a:pt x="658813" y="766077"/>
                  <a:pt x="673739" y="787399"/>
                  <a:pt x="692151" y="787399"/>
                </a:cubicBezTo>
                <a:cubicBezTo>
                  <a:pt x="710563" y="787399"/>
                  <a:pt x="725489" y="766077"/>
                  <a:pt x="725489" y="739774"/>
                </a:cubicBezTo>
                <a:cubicBezTo>
                  <a:pt x="725489" y="713471"/>
                  <a:pt x="710563" y="692149"/>
                  <a:pt x="692151" y="692149"/>
                </a:cubicBezTo>
                <a:close/>
                <a:moveTo>
                  <a:pt x="323056" y="692149"/>
                </a:moveTo>
                <a:cubicBezTo>
                  <a:pt x="302452" y="692149"/>
                  <a:pt x="285749" y="713471"/>
                  <a:pt x="285749" y="739774"/>
                </a:cubicBezTo>
                <a:cubicBezTo>
                  <a:pt x="285749" y="766077"/>
                  <a:pt x="302452" y="787399"/>
                  <a:pt x="323056" y="787399"/>
                </a:cubicBezTo>
                <a:cubicBezTo>
                  <a:pt x="343660" y="787399"/>
                  <a:pt x="360363" y="766077"/>
                  <a:pt x="360363" y="739774"/>
                </a:cubicBezTo>
                <a:cubicBezTo>
                  <a:pt x="360363" y="713471"/>
                  <a:pt x="343660" y="692149"/>
                  <a:pt x="323056" y="692149"/>
                </a:cubicBezTo>
                <a:close/>
                <a:moveTo>
                  <a:pt x="966943" y="685949"/>
                </a:moveTo>
                <a:lnTo>
                  <a:pt x="981464" y="685949"/>
                </a:lnTo>
                <a:lnTo>
                  <a:pt x="981464" y="799333"/>
                </a:lnTo>
                <a:lnTo>
                  <a:pt x="966943" y="799333"/>
                </a:lnTo>
                <a:close/>
                <a:moveTo>
                  <a:pt x="1136650" y="684212"/>
                </a:moveTo>
                <a:cubicBezTo>
                  <a:pt x="1148897" y="684212"/>
                  <a:pt x="1148897" y="684212"/>
                  <a:pt x="1148897" y="684212"/>
                </a:cubicBezTo>
                <a:cubicBezTo>
                  <a:pt x="1148897" y="704791"/>
                  <a:pt x="1148897" y="704791"/>
                  <a:pt x="1148897" y="704791"/>
                </a:cubicBezTo>
                <a:cubicBezTo>
                  <a:pt x="1157061" y="696559"/>
                  <a:pt x="1165225" y="684212"/>
                  <a:pt x="1185636" y="684212"/>
                </a:cubicBezTo>
                <a:cubicBezTo>
                  <a:pt x="1214211" y="684212"/>
                  <a:pt x="1222375" y="700675"/>
                  <a:pt x="1222375" y="725369"/>
                </a:cubicBezTo>
                <a:cubicBezTo>
                  <a:pt x="1222375" y="795337"/>
                  <a:pt x="1222375" y="795337"/>
                  <a:pt x="1222375" y="795337"/>
                </a:cubicBezTo>
                <a:cubicBezTo>
                  <a:pt x="1210129" y="795337"/>
                  <a:pt x="1210129" y="795337"/>
                  <a:pt x="1210129" y="795337"/>
                </a:cubicBezTo>
                <a:cubicBezTo>
                  <a:pt x="1210129" y="729485"/>
                  <a:pt x="1210129" y="729485"/>
                  <a:pt x="1210129" y="729485"/>
                </a:cubicBezTo>
                <a:cubicBezTo>
                  <a:pt x="1210129" y="708906"/>
                  <a:pt x="1201964" y="692443"/>
                  <a:pt x="1185636" y="692443"/>
                </a:cubicBezTo>
                <a:cubicBezTo>
                  <a:pt x="1161143" y="692443"/>
                  <a:pt x="1152979" y="717138"/>
                  <a:pt x="1152979" y="733601"/>
                </a:cubicBezTo>
                <a:cubicBezTo>
                  <a:pt x="1152979" y="795337"/>
                  <a:pt x="1152979" y="795337"/>
                  <a:pt x="1152979" y="795337"/>
                </a:cubicBezTo>
                <a:cubicBezTo>
                  <a:pt x="1136650" y="795337"/>
                  <a:pt x="1136650" y="795337"/>
                  <a:pt x="1136650" y="795337"/>
                </a:cubicBezTo>
                <a:lnTo>
                  <a:pt x="1136650" y="713022"/>
                </a:lnTo>
                <a:cubicBezTo>
                  <a:pt x="1136650" y="704791"/>
                  <a:pt x="1136650" y="692443"/>
                  <a:pt x="1136650" y="684212"/>
                </a:cubicBezTo>
                <a:close/>
                <a:moveTo>
                  <a:pt x="1054894" y="684212"/>
                </a:moveTo>
                <a:cubicBezTo>
                  <a:pt x="1083389" y="684212"/>
                  <a:pt x="1106488" y="710154"/>
                  <a:pt x="1106488" y="742156"/>
                </a:cubicBezTo>
                <a:cubicBezTo>
                  <a:pt x="1106488" y="774158"/>
                  <a:pt x="1083389" y="800100"/>
                  <a:pt x="1054894" y="800100"/>
                </a:cubicBezTo>
                <a:cubicBezTo>
                  <a:pt x="1026399" y="800100"/>
                  <a:pt x="1003300" y="774158"/>
                  <a:pt x="1003300" y="742156"/>
                </a:cubicBezTo>
                <a:cubicBezTo>
                  <a:pt x="1003300" y="710154"/>
                  <a:pt x="1026399" y="684212"/>
                  <a:pt x="1054894" y="684212"/>
                </a:cubicBezTo>
                <a:close/>
                <a:moveTo>
                  <a:pt x="812499" y="684212"/>
                </a:moveTo>
                <a:cubicBezTo>
                  <a:pt x="841603" y="684212"/>
                  <a:pt x="854076" y="696629"/>
                  <a:pt x="854076" y="725601"/>
                </a:cubicBezTo>
                <a:cubicBezTo>
                  <a:pt x="854076" y="775267"/>
                  <a:pt x="854076" y="775267"/>
                  <a:pt x="854076" y="775267"/>
                </a:cubicBezTo>
                <a:cubicBezTo>
                  <a:pt x="854076" y="783545"/>
                  <a:pt x="854076" y="791822"/>
                  <a:pt x="854076" y="795961"/>
                </a:cubicBezTo>
                <a:cubicBezTo>
                  <a:pt x="841603" y="795961"/>
                  <a:pt x="841603" y="795961"/>
                  <a:pt x="841603" y="795961"/>
                </a:cubicBezTo>
                <a:lnTo>
                  <a:pt x="841603" y="779406"/>
                </a:lnTo>
                <a:cubicBezTo>
                  <a:pt x="837445" y="779406"/>
                  <a:pt x="837445" y="779406"/>
                  <a:pt x="837445" y="779406"/>
                </a:cubicBezTo>
                <a:cubicBezTo>
                  <a:pt x="833287" y="791822"/>
                  <a:pt x="816656" y="800100"/>
                  <a:pt x="804183" y="800100"/>
                </a:cubicBezTo>
                <a:cubicBezTo>
                  <a:pt x="770921" y="800100"/>
                  <a:pt x="766763" y="779406"/>
                  <a:pt x="766763" y="766989"/>
                </a:cubicBezTo>
                <a:cubicBezTo>
                  <a:pt x="766763" y="729739"/>
                  <a:pt x="808341" y="729739"/>
                  <a:pt x="837445" y="729739"/>
                </a:cubicBezTo>
                <a:cubicBezTo>
                  <a:pt x="837445" y="721462"/>
                  <a:pt x="837445" y="721462"/>
                  <a:pt x="837445" y="721462"/>
                </a:cubicBezTo>
                <a:cubicBezTo>
                  <a:pt x="837445" y="704906"/>
                  <a:pt x="833287" y="692490"/>
                  <a:pt x="812499" y="692490"/>
                </a:cubicBezTo>
                <a:cubicBezTo>
                  <a:pt x="800025" y="692490"/>
                  <a:pt x="791710" y="696629"/>
                  <a:pt x="779236" y="704906"/>
                </a:cubicBezTo>
                <a:cubicBezTo>
                  <a:pt x="779236" y="688351"/>
                  <a:pt x="779236" y="688351"/>
                  <a:pt x="779236" y="688351"/>
                </a:cubicBezTo>
                <a:cubicBezTo>
                  <a:pt x="787552" y="684212"/>
                  <a:pt x="804183" y="684212"/>
                  <a:pt x="812499" y="684212"/>
                </a:cubicBezTo>
                <a:close/>
                <a:moveTo>
                  <a:pt x="527050" y="684212"/>
                </a:moveTo>
                <a:cubicBezTo>
                  <a:pt x="539523" y="684212"/>
                  <a:pt x="539523" y="684212"/>
                  <a:pt x="539523" y="684212"/>
                </a:cubicBezTo>
                <a:cubicBezTo>
                  <a:pt x="539523" y="704791"/>
                  <a:pt x="539523" y="704791"/>
                  <a:pt x="539523" y="704791"/>
                </a:cubicBezTo>
                <a:cubicBezTo>
                  <a:pt x="547839" y="696559"/>
                  <a:pt x="556154" y="684212"/>
                  <a:pt x="576943" y="684212"/>
                </a:cubicBezTo>
                <a:cubicBezTo>
                  <a:pt x="606047" y="684212"/>
                  <a:pt x="614363" y="700675"/>
                  <a:pt x="614363" y="725369"/>
                </a:cubicBezTo>
                <a:cubicBezTo>
                  <a:pt x="614363" y="795337"/>
                  <a:pt x="614363" y="795337"/>
                  <a:pt x="614363" y="795337"/>
                </a:cubicBezTo>
                <a:cubicBezTo>
                  <a:pt x="601890" y="795337"/>
                  <a:pt x="601890" y="795337"/>
                  <a:pt x="601890" y="795337"/>
                </a:cubicBezTo>
                <a:cubicBezTo>
                  <a:pt x="601890" y="729485"/>
                  <a:pt x="601890" y="729485"/>
                  <a:pt x="601890" y="729485"/>
                </a:cubicBezTo>
                <a:cubicBezTo>
                  <a:pt x="601890" y="708906"/>
                  <a:pt x="593574" y="692443"/>
                  <a:pt x="576943" y="692443"/>
                </a:cubicBezTo>
                <a:cubicBezTo>
                  <a:pt x="551996" y="692443"/>
                  <a:pt x="543681" y="717138"/>
                  <a:pt x="543681" y="733601"/>
                </a:cubicBezTo>
                <a:cubicBezTo>
                  <a:pt x="543681" y="795337"/>
                  <a:pt x="543681" y="795337"/>
                  <a:pt x="543681" y="795337"/>
                </a:cubicBezTo>
                <a:cubicBezTo>
                  <a:pt x="527050" y="795337"/>
                  <a:pt x="527050" y="795337"/>
                  <a:pt x="527050" y="795337"/>
                </a:cubicBezTo>
                <a:lnTo>
                  <a:pt x="527050" y="713022"/>
                </a:lnTo>
                <a:cubicBezTo>
                  <a:pt x="527050" y="704791"/>
                  <a:pt x="527050" y="692443"/>
                  <a:pt x="527050" y="684212"/>
                </a:cubicBezTo>
                <a:close/>
                <a:moveTo>
                  <a:pt x="406400" y="684212"/>
                </a:moveTo>
                <a:cubicBezTo>
                  <a:pt x="418873" y="684212"/>
                  <a:pt x="418873" y="684212"/>
                  <a:pt x="418873" y="684212"/>
                </a:cubicBezTo>
                <a:cubicBezTo>
                  <a:pt x="418873" y="754573"/>
                  <a:pt x="418873" y="754573"/>
                  <a:pt x="418873" y="754573"/>
                </a:cubicBezTo>
                <a:cubicBezTo>
                  <a:pt x="418873" y="775267"/>
                  <a:pt x="427189" y="787683"/>
                  <a:pt x="443820" y="787683"/>
                </a:cubicBezTo>
                <a:cubicBezTo>
                  <a:pt x="468766" y="787683"/>
                  <a:pt x="477082" y="766989"/>
                  <a:pt x="477082" y="746295"/>
                </a:cubicBezTo>
                <a:cubicBezTo>
                  <a:pt x="477082" y="684212"/>
                  <a:pt x="477082" y="684212"/>
                  <a:pt x="477082" y="684212"/>
                </a:cubicBezTo>
                <a:cubicBezTo>
                  <a:pt x="493713" y="684212"/>
                  <a:pt x="493713" y="684212"/>
                  <a:pt x="493713" y="684212"/>
                </a:cubicBezTo>
                <a:lnTo>
                  <a:pt x="493713" y="771128"/>
                </a:lnTo>
                <a:cubicBezTo>
                  <a:pt x="493713" y="779406"/>
                  <a:pt x="493713" y="787683"/>
                  <a:pt x="493713" y="795961"/>
                </a:cubicBezTo>
                <a:cubicBezTo>
                  <a:pt x="481240" y="795961"/>
                  <a:pt x="481240" y="795961"/>
                  <a:pt x="481240" y="795961"/>
                </a:cubicBezTo>
                <a:cubicBezTo>
                  <a:pt x="481240" y="779406"/>
                  <a:pt x="481240" y="779406"/>
                  <a:pt x="481240" y="779406"/>
                </a:cubicBezTo>
                <a:cubicBezTo>
                  <a:pt x="472924" y="787683"/>
                  <a:pt x="464609" y="800100"/>
                  <a:pt x="443820" y="800100"/>
                </a:cubicBezTo>
                <a:cubicBezTo>
                  <a:pt x="414715" y="800100"/>
                  <a:pt x="406400" y="783545"/>
                  <a:pt x="406400" y="758711"/>
                </a:cubicBezTo>
                <a:cubicBezTo>
                  <a:pt x="406400" y="684212"/>
                  <a:pt x="406400" y="684212"/>
                  <a:pt x="406400" y="684212"/>
                </a:cubicBezTo>
                <a:close/>
                <a:moveTo>
                  <a:pt x="325437" y="684212"/>
                </a:moveTo>
                <a:cubicBezTo>
                  <a:pt x="354370" y="684212"/>
                  <a:pt x="377825" y="710154"/>
                  <a:pt x="377825" y="742156"/>
                </a:cubicBezTo>
                <a:cubicBezTo>
                  <a:pt x="377825" y="774158"/>
                  <a:pt x="354370" y="800100"/>
                  <a:pt x="325437" y="800100"/>
                </a:cubicBezTo>
                <a:cubicBezTo>
                  <a:pt x="296504" y="800100"/>
                  <a:pt x="273049" y="774158"/>
                  <a:pt x="273049" y="742156"/>
                </a:cubicBezTo>
                <a:cubicBezTo>
                  <a:pt x="273049" y="710154"/>
                  <a:pt x="296504" y="684212"/>
                  <a:pt x="325437" y="684212"/>
                </a:cubicBezTo>
                <a:close/>
                <a:moveTo>
                  <a:pt x="1724027" y="666750"/>
                </a:moveTo>
                <a:lnTo>
                  <a:pt x="1720852" y="679450"/>
                </a:lnTo>
                <a:lnTo>
                  <a:pt x="1716089" y="687388"/>
                </a:lnTo>
                <a:lnTo>
                  <a:pt x="1733552" y="687388"/>
                </a:lnTo>
                <a:lnTo>
                  <a:pt x="1728789" y="679450"/>
                </a:lnTo>
                <a:close/>
                <a:moveTo>
                  <a:pt x="1728922" y="654050"/>
                </a:moveTo>
                <a:cubicBezTo>
                  <a:pt x="1728922" y="658202"/>
                  <a:pt x="1728922" y="658202"/>
                  <a:pt x="1728922" y="658202"/>
                </a:cubicBezTo>
                <a:lnTo>
                  <a:pt x="1737124" y="678962"/>
                </a:lnTo>
                <a:cubicBezTo>
                  <a:pt x="1749427" y="703873"/>
                  <a:pt x="1749427" y="703873"/>
                  <a:pt x="1749427" y="703873"/>
                </a:cubicBezTo>
                <a:cubicBezTo>
                  <a:pt x="1745326" y="703873"/>
                  <a:pt x="1741225" y="703873"/>
                  <a:pt x="1737124" y="703873"/>
                </a:cubicBezTo>
                <a:cubicBezTo>
                  <a:pt x="1737124" y="695569"/>
                  <a:pt x="1737124" y="695569"/>
                  <a:pt x="1737124" y="695569"/>
                </a:cubicBezTo>
                <a:cubicBezTo>
                  <a:pt x="1712517" y="695569"/>
                  <a:pt x="1712517" y="695569"/>
                  <a:pt x="1712517" y="695569"/>
                </a:cubicBezTo>
                <a:cubicBezTo>
                  <a:pt x="1712517" y="708025"/>
                  <a:pt x="1712517" y="708025"/>
                  <a:pt x="1712517" y="708025"/>
                </a:cubicBezTo>
                <a:cubicBezTo>
                  <a:pt x="1708416" y="703873"/>
                  <a:pt x="1704315" y="703873"/>
                  <a:pt x="1700214" y="703873"/>
                </a:cubicBezTo>
                <a:cubicBezTo>
                  <a:pt x="1712517" y="678962"/>
                  <a:pt x="1712517" y="678962"/>
                  <a:pt x="1712517" y="678962"/>
                </a:cubicBezTo>
                <a:cubicBezTo>
                  <a:pt x="1716618" y="658202"/>
                  <a:pt x="1716618" y="658202"/>
                  <a:pt x="1716618" y="658202"/>
                </a:cubicBezTo>
                <a:cubicBezTo>
                  <a:pt x="1728922" y="654050"/>
                  <a:pt x="1728922" y="654050"/>
                  <a:pt x="1728922" y="654050"/>
                </a:cubicBezTo>
                <a:close/>
                <a:moveTo>
                  <a:pt x="907733" y="654049"/>
                </a:moveTo>
                <a:cubicBezTo>
                  <a:pt x="907733" y="683259"/>
                  <a:pt x="907733" y="683259"/>
                  <a:pt x="907733" y="683259"/>
                </a:cubicBezTo>
                <a:cubicBezTo>
                  <a:pt x="932498" y="683259"/>
                  <a:pt x="932498" y="683259"/>
                  <a:pt x="932498" y="683259"/>
                </a:cubicBezTo>
                <a:lnTo>
                  <a:pt x="932498" y="695778"/>
                </a:lnTo>
                <a:cubicBezTo>
                  <a:pt x="907733" y="695778"/>
                  <a:pt x="907733" y="695778"/>
                  <a:pt x="907733" y="695778"/>
                </a:cubicBezTo>
                <a:cubicBezTo>
                  <a:pt x="907733" y="770889"/>
                  <a:pt x="907733" y="770889"/>
                  <a:pt x="907733" y="770889"/>
                </a:cubicBezTo>
                <a:cubicBezTo>
                  <a:pt x="907733" y="779235"/>
                  <a:pt x="911861" y="787580"/>
                  <a:pt x="924243" y="787580"/>
                </a:cubicBezTo>
                <a:cubicBezTo>
                  <a:pt x="928371" y="787580"/>
                  <a:pt x="932498" y="787580"/>
                  <a:pt x="936626" y="783408"/>
                </a:cubicBezTo>
                <a:cubicBezTo>
                  <a:pt x="936626" y="795926"/>
                  <a:pt x="936626" y="795926"/>
                  <a:pt x="936626" y="795926"/>
                </a:cubicBezTo>
                <a:cubicBezTo>
                  <a:pt x="932498" y="800099"/>
                  <a:pt x="928371" y="800099"/>
                  <a:pt x="920116" y="800099"/>
                </a:cubicBezTo>
                <a:cubicBezTo>
                  <a:pt x="895351" y="800099"/>
                  <a:pt x="895351" y="783408"/>
                  <a:pt x="895351" y="762543"/>
                </a:cubicBezTo>
                <a:cubicBezTo>
                  <a:pt x="895351" y="695778"/>
                  <a:pt x="895351" y="695778"/>
                  <a:pt x="895351" y="695778"/>
                </a:cubicBezTo>
                <a:cubicBezTo>
                  <a:pt x="874713" y="695778"/>
                  <a:pt x="874713" y="695778"/>
                  <a:pt x="874713" y="695778"/>
                </a:cubicBezTo>
                <a:cubicBezTo>
                  <a:pt x="874713" y="683259"/>
                  <a:pt x="874713" y="683259"/>
                  <a:pt x="874713" y="683259"/>
                </a:cubicBezTo>
                <a:cubicBezTo>
                  <a:pt x="895351" y="683259"/>
                  <a:pt x="895351" y="683259"/>
                  <a:pt x="895351" y="683259"/>
                </a:cubicBezTo>
                <a:cubicBezTo>
                  <a:pt x="895351" y="658222"/>
                  <a:pt x="895351" y="658222"/>
                  <a:pt x="895351" y="658222"/>
                </a:cubicBezTo>
                <a:cubicBezTo>
                  <a:pt x="907733" y="654049"/>
                  <a:pt x="907733" y="654049"/>
                  <a:pt x="907733" y="654049"/>
                </a:cubicBezTo>
                <a:close/>
                <a:moveTo>
                  <a:pt x="1658542" y="650875"/>
                </a:moveTo>
                <a:cubicBezTo>
                  <a:pt x="1662643" y="650875"/>
                  <a:pt x="1662643" y="650875"/>
                  <a:pt x="1666745" y="650875"/>
                </a:cubicBezTo>
                <a:cubicBezTo>
                  <a:pt x="1666745" y="650875"/>
                  <a:pt x="1666745" y="650875"/>
                  <a:pt x="1683149" y="688242"/>
                </a:cubicBezTo>
                <a:cubicBezTo>
                  <a:pt x="1683149" y="688242"/>
                  <a:pt x="1683149" y="688242"/>
                  <a:pt x="1687250" y="655027"/>
                </a:cubicBezTo>
                <a:cubicBezTo>
                  <a:pt x="1687250" y="655027"/>
                  <a:pt x="1691351" y="655027"/>
                  <a:pt x="1695452" y="655027"/>
                </a:cubicBezTo>
                <a:cubicBezTo>
                  <a:pt x="1695452" y="655027"/>
                  <a:pt x="1695452" y="655027"/>
                  <a:pt x="1687250" y="704850"/>
                </a:cubicBezTo>
                <a:cubicBezTo>
                  <a:pt x="1687250" y="704850"/>
                  <a:pt x="1683149" y="704850"/>
                  <a:pt x="1679048" y="704850"/>
                </a:cubicBezTo>
                <a:cubicBezTo>
                  <a:pt x="1679048" y="704850"/>
                  <a:pt x="1679048" y="704850"/>
                  <a:pt x="1662643" y="671635"/>
                </a:cubicBezTo>
                <a:cubicBezTo>
                  <a:pt x="1662643" y="671635"/>
                  <a:pt x="1662643" y="671635"/>
                  <a:pt x="1658542" y="700698"/>
                </a:cubicBezTo>
                <a:cubicBezTo>
                  <a:pt x="1654441" y="700698"/>
                  <a:pt x="1650340" y="700698"/>
                  <a:pt x="1646239" y="700698"/>
                </a:cubicBezTo>
                <a:cubicBezTo>
                  <a:pt x="1646239" y="700698"/>
                  <a:pt x="1646239" y="700698"/>
                  <a:pt x="1658542" y="650875"/>
                </a:cubicBezTo>
                <a:close/>
                <a:moveTo>
                  <a:pt x="1787526" y="646113"/>
                </a:moveTo>
                <a:lnTo>
                  <a:pt x="1787526" y="654504"/>
                </a:lnTo>
                <a:cubicBezTo>
                  <a:pt x="1783399" y="658700"/>
                  <a:pt x="1779271" y="658700"/>
                  <a:pt x="1771016" y="658700"/>
                </a:cubicBezTo>
                <a:cubicBezTo>
                  <a:pt x="1771016" y="658700"/>
                  <a:pt x="1771016" y="658700"/>
                  <a:pt x="1779271" y="700655"/>
                </a:cubicBezTo>
                <a:cubicBezTo>
                  <a:pt x="1779271" y="700655"/>
                  <a:pt x="1779271" y="700655"/>
                  <a:pt x="1771016" y="704851"/>
                </a:cubicBezTo>
                <a:cubicBezTo>
                  <a:pt x="1771016" y="704851"/>
                  <a:pt x="1771016" y="704851"/>
                  <a:pt x="1762761" y="662895"/>
                </a:cubicBezTo>
                <a:cubicBezTo>
                  <a:pt x="1758634" y="662895"/>
                  <a:pt x="1754506" y="662895"/>
                  <a:pt x="1746251" y="662895"/>
                </a:cubicBezTo>
                <a:cubicBezTo>
                  <a:pt x="1746251" y="662895"/>
                  <a:pt x="1746251" y="662895"/>
                  <a:pt x="1746251" y="654504"/>
                </a:cubicBezTo>
                <a:cubicBezTo>
                  <a:pt x="1758634" y="654504"/>
                  <a:pt x="1771016" y="650309"/>
                  <a:pt x="1787526" y="646113"/>
                </a:cubicBezTo>
                <a:close/>
                <a:moveTo>
                  <a:pt x="1617029" y="646113"/>
                </a:moveTo>
                <a:cubicBezTo>
                  <a:pt x="1617029" y="654051"/>
                  <a:pt x="1617029" y="654051"/>
                  <a:pt x="1617029" y="654051"/>
                </a:cubicBezTo>
                <a:cubicBezTo>
                  <a:pt x="1612901" y="658019"/>
                  <a:pt x="1612901" y="658019"/>
                  <a:pt x="1612901" y="658019"/>
                </a:cubicBezTo>
                <a:cubicBezTo>
                  <a:pt x="1625284" y="661988"/>
                  <a:pt x="1625284" y="661988"/>
                  <a:pt x="1625284" y="661988"/>
                </a:cubicBezTo>
                <a:cubicBezTo>
                  <a:pt x="1629412" y="661988"/>
                  <a:pt x="1633539" y="658019"/>
                  <a:pt x="1633539" y="658019"/>
                </a:cubicBezTo>
                <a:cubicBezTo>
                  <a:pt x="1633539" y="658019"/>
                  <a:pt x="1633539" y="654051"/>
                  <a:pt x="1633539" y="654051"/>
                </a:cubicBezTo>
                <a:cubicBezTo>
                  <a:pt x="1633539" y="654051"/>
                  <a:pt x="1633539" y="650082"/>
                  <a:pt x="1629412" y="650082"/>
                </a:cubicBezTo>
                <a:cubicBezTo>
                  <a:pt x="1617029" y="646113"/>
                  <a:pt x="1617029" y="646113"/>
                  <a:pt x="1617029" y="646113"/>
                </a:cubicBezTo>
                <a:close/>
                <a:moveTo>
                  <a:pt x="966943" y="643885"/>
                </a:moveTo>
                <a:lnTo>
                  <a:pt x="981464" y="643885"/>
                </a:lnTo>
                <a:lnTo>
                  <a:pt x="981464" y="660066"/>
                </a:lnTo>
                <a:lnTo>
                  <a:pt x="966943" y="660066"/>
                </a:lnTo>
                <a:close/>
                <a:moveTo>
                  <a:pt x="1795464" y="641350"/>
                </a:moveTo>
                <a:cubicBezTo>
                  <a:pt x="1799546" y="641350"/>
                  <a:pt x="1803628" y="641350"/>
                  <a:pt x="1807711" y="641350"/>
                </a:cubicBezTo>
                <a:cubicBezTo>
                  <a:pt x="1807711" y="641350"/>
                  <a:pt x="1807711" y="641350"/>
                  <a:pt x="1824039" y="687917"/>
                </a:cubicBezTo>
                <a:cubicBezTo>
                  <a:pt x="1819957" y="687917"/>
                  <a:pt x="1815875" y="687917"/>
                  <a:pt x="1811793" y="692150"/>
                </a:cubicBezTo>
                <a:cubicBezTo>
                  <a:pt x="1811793" y="692150"/>
                  <a:pt x="1811793" y="692150"/>
                  <a:pt x="1795464" y="641350"/>
                </a:cubicBezTo>
                <a:close/>
                <a:moveTo>
                  <a:pt x="177800" y="641349"/>
                </a:moveTo>
                <a:lnTo>
                  <a:pt x="252413" y="641349"/>
                </a:lnTo>
                <a:lnTo>
                  <a:pt x="252413" y="654049"/>
                </a:lnTo>
                <a:lnTo>
                  <a:pt x="195262" y="654049"/>
                </a:lnTo>
                <a:lnTo>
                  <a:pt x="195262" y="712787"/>
                </a:lnTo>
                <a:lnTo>
                  <a:pt x="249238" y="712787"/>
                </a:lnTo>
                <a:lnTo>
                  <a:pt x="249238" y="725487"/>
                </a:lnTo>
                <a:lnTo>
                  <a:pt x="195262" y="725487"/>
                </a:lnTo>
                <a:lnTo>
                  <a:pt x="195262" y="795337"/>
                </a:lnTo>
                <a:lnTo>
                  <a:pt x="177800" y="795337"/>
                </a:lnTo>
                <a:close/>
                <a:moveTo>
                  <a:pt x="1612770" y="633413"/>
                </a:moveTo>
                <a:cubicBezTo>
                  <a:pt x="1633275" y="641668"/>
                  <a:pt x="1633275" y="641668"/>
                  <a:pt x="1633275" y="641668"/>
                </a:cubicBezTo>
                <a:cubicBezTo>
                  <a:pt x="1641477" y="645796"/>
                  <a:pt x="1641477" y="649923"/>
                  <a:pt x="1641477" y="654051"/>
                </a:cubicBezTo>
                <a:cubicBezTo>
                  <a:pt x="1641477" y="654051"/>
                  <a:pt x="1641477" y="658178"/>
                  <a:pt x="1641477" y="658178"/>
                </a:cubicBezTo>
                <a:cubicBezTo>
                  <a:pt x="1641477" y="662306"/>
                  <a:pt x="1637376" y="670561"/>
                  <a:pt x="1629174" y="670561"/>
                </a:cubicBezTo>
                <a:cubicBezTo>
                  <a:pt x="1633275" y="695326"/>
                  <a:pt x="1633275" y="695326"/>
                  <a:pt x="1633275" y="695326"/>
                </a:cubicBezTo>
                <a:cubicBezTo>
                  <a:pt x="1629174" y="695326"/>
                  <a:pt x="1625073" y="691198"/>
                  <a:pt x="1620972" y="691198"/>
                </a:cubicBezTo>
                <a:cubicBezTo>
                  <a:pt x="1620972" y="670561"/>
                  <a:pt x="1620972" y="670561"/>
                  <a:pt x="1620972" y="670561"/>
                </a:cubicBezTo>
                <a:cubicBezTo>
                  <a:pt x="1608668" y="666433"/>
                  <a:pt x="1608668" y="666433"/>
                  <a:pt x="1608668" y="666433"/>
                </a:cubicBezTo>
                <a:cubicBezTo>
                  <a:pt x="1604567" y="682943"/>
                  <a:pt x="1604567" y="682943"/>
                  <a:pt x="1604567" y="682943"/>
                </a:cubicBezTo>
                <a:cubicBezTo>
                  <a:pt x="1600466" y="682943"/>
                  <a:pt x="1596365" y="682943"/>
                  <a:pt x="1592264" y="678816"/>
                </a:cubicBezTo>
                <a:cubicBezTo>
                  <a:pt x="1604567" y="658178"/>
                  <a:pt x="1604567" y="658178"/>
                  <a:pt x="1604567" y="658178"/>
                </a:cubicBezTo>
                <a:cubicBezTo>
                  <a:pt x="1604567" y="654051"/>
                  <a:pt x="1604567" y="654051"/>
                  <a:pt x="1604567" y="654051"/>
                </a:cubicBezTo>
                <a:cubicBezTo>
                  <a:pt x="1612770" y="633413"/>
                  <a:pt x="1612770" y="633413"/>
                  <a:pt x="1612770" y="633413"/>
                </a:cubicBezTo>
                <a:close/>
                <a:moveTo>
                  <a:pt x="1855109" y="630214"/>
                </a:moveTo>
                <a:cubicBezTo>
                  <a:pt x="1851027" y="629693"/>
                  <a:pt x="1846945" y="630735"/>
                  <a:pt x="1844903" y="632818"/>
                </a:cubicBezTo>
                <a:cubicBezTo>
                  <a:pt x="1836739" y="636986"/>
                  <a:pt x="1836739" y="641153"/>
                  <a:pt x="1836739" y="645320"/>
                </a:cubicBezTo>
                <a:cubicBezTo>
                  <a:pt x="1836739" y="649487"/>
                  <a:pt x="1836739" y="653655"/>
                  <a:pt x="1836739" y="653655"/>
                </a:cubicBezTo>
                <a:cubicBezTo>
                  <a:pt x="1836739" y="653655"/>
                  <a:pt x="1836739" y="657822"/>
                  <a:pt x="1840821" y="657822"/>
                </a:cubicBezTo>
                <a:cubicBezTo>
                  <a:pt x="1844903" y="661989"/>
                  <a:pt x="1853068" y="661989"/>
                  <a:pt x="1857150" y="661989"/>
                </a:cubicBezTo>
                <a:cubicBezTo>
                  <a:pt x="1861232" y="657822"/>
                  <a:pt x="1861232" y="657822"/>
                  <a:pt x="1861232" y="657822"/>
                </a:cubicBezTo>
                <a:cubicBezTo>
                  <a:pt x="1865314" y="653655"/>
                  <a:pt x="1865314" y="649487"/>
                  <a:pt x="1865314" y="645320"/>
                </a:cubicBezTo>
                <a:cubicBezTo>
                  <a:pt x="1865314" y="645320"/>
                  <a:pt x="1865314" y="641153"/>
                  <a:pt x="1865314" y="636986"/>
                </a:cubicBezTo>
                <a:cubicBezTo>
                  <a:pt x="1863273" y="632818"/>
                  <a:pt x="1859191" y="630735"/>
                  <a:pt x="1855109" y="630214"/>
                </a:cubicBezTo>
                <a:close/>
                <a:moveTo>
                  <a:pt x="726110" y="628649"/>
                </a:moveTo>
                <a:cubicBezTo>
                  <a:pt x="742951" y="628649"/>
                  <a:pt x="742951" y="628649"/>
                  <a:pt x="742951" y="628649"/>
                </a:cubicBezTo>
                <a:lnTo>
                  <a:pt x="742951" y="795917"/>
                </a:lnTo>
                <a:cubicBezTo>
                  <a:pt x="726110" y="795917"/>
                  <a:pt x="726110" y="795917"/>
                  <a:pt x="726110" y="795917"/>
                </a:cubicBezTo>
                <a:cubicBezTo>
                  <a:pt x="726110" y="779190"/>
                  <a:pt x="726110" y="779190"/>
                  <a:pt x="726110" y="779190"/>
                </a:cubicBezTo>
                <a:cubicBezTo>
                  <a:pt x="717689" y="795917"/>
                  <a:pt x="709268" y="800099"/>
                  <a:pt x="692427" y="800099"/>
                </a:cubicBezTo>
                <a:cubicBezTo>
                  <a:pt x="658744" y="800099"/>
                  <a:pt x="646113" y="775009"/>
                  <a:pt x="646113" y="741555"/>
                </a:cubicBezTo>
                <a:cubicBezTo>
                  <a:pt x="646113" y="708101"/>
                  <a:pt x="658744" y="683011"/>
                  <a:pt x="692427" y="683011"/>
                </a:cubicBezTo>
                <a:cubicBezTo>
                  <a:pt x="713479" y="683011"/>
                  <a:pt x="726110" y="695556"/>
                  <a:pt x="726110" y="703920"/>
                </a:cubicBezTo>
                <a:cubicBezTo>
                  <a:pt x="726110" y="628649"/>
                  <a:pt x="726110" y="628649"/>
                  <a:pt x="726110" y="628649"/>
                </a:cubicBezTo>
                <a:close/>
                <a:moveTo>
                  <a:pt x="1857377" y="622131"/>
                </a:moveTo>
                <a:cubicBezTo>
                  <a:pt x="1864256" y="623662"/>
                  <a:pt x="1870606" y="627744"/>
                  <a:pt x="1874839" y="633868"/>
                </a:cubicBezTo>
                <a:cubicBezTo>
                  <a:pt x="1874839" y="637950"/>
                  <a:pt x="1874839" y="642032"/>
                  <a:pt x="1874839" y="646114"/>
                </a:cubicBezTo>
                <a:cubicBezTo>
                  <a:pt x="1874839" y="650196"/>
                  <a:pt x="1874839" y="654278"/>
                  <a:pt x="1874839" y="658360"/>
                </a:cubicBezTo>
                <a:cubicBezTo>
                  <a:pt x="1870606" y="662443"/>
                  <a:pt x="1870606" y="666525"/>
                  <a:pt x="1862139" y="666525"/>
                </a:cubicBezTo>
                <a:cubicBezTo>
                  <a:pt x="1853672" y="674689"/>
                  <a:pt x="1836739" y="670607"/>
                  <a:pt x="1828272" y="658360"/>
                </a:cubicBezTo>
                <a:cubicBezTo>
                  <a:pt x="1828272" y="654278"/>
                  <a:pt x="1824039" y="650196"/>
                  <a:pt x="1824039" y="646114"/>
                </a:cubicBezTo>
                <a:cubicBezTo>
                  <a:pt x="1824039" y="637950"/>
                  <a:pt x="1828272" y="629785"/>
                  <a:pt x="1836739" y="625703"/>
                </a:cubicBezTo>
                <a:cubicBezTo>
                  <a:pt x="1843089" y="621621"/>
                  <a:pt x="1850497" y="620601"/>
                  <a:pt x="1857377" y="622131"/>
                </a:cubicBezTo>
                <a:close/>
                <a:moveTo>
                  <a:pt x="1571138" y="612775"/>
                </a:moveTo>
                <a:cubicBezTo>
                  <a:pt x="1579442" y="616903"/>
                  <a:pt x="1591897" y="625158"/>
                  <a:pt x="1600201" y="629285"/>
                </a:cubicBezTo>
                <a:cubicBezTo>
                  <a:pt x="1600201" y="629285"/>
                  <a:pt x="1600201" y="629285"/>
                  <a:pt x="1596049" y="637540"/>
                </a:cubicBezTo>
                <a:cubicBezTo>
                  <a:pt x="1587745" y="633413"/>
                  <a:pt x="1583593" y="629285"/>
                  <a:pt x="1575290" y="625158"/>
                </a:cubicBezTo>
                <a:lnTo>
                  <a:pt x="1571138" y="633413"/>
                </a:lnTo>
                <a:cubicBezTo>
                  <a:pt x="1575290" y="637540"/>
                  <a:pt x="1579442" y="641668"/>
                  <a:pt x="1583593" y="641668"/>
                </a:cubicBezTo>
                <a:cubicBezTo>
                  <a:pt x="1583593" y="641668"/>
                  <a:pt x="1583593" y="641668"/>
                  <a:pt x="1579442" y="649923"/>
                </a:cubicBezTo>
                <a:cubicBezTo>
                  <a:pt x="1579442" y="649923"/>
                  <a:pt x="1579442" y="649923"/>
                  <a:pt x="1566986" y="641668"/>
                </a:cubicBezTo>
                <a:cubicBezTo>
                  <a:pt x="1566986" y="641668"/>
                  <a:pt x="1566986" y="641668"/>
                  <a:pt x="1558682" y="654050"/>
                </a:cubicBezTo>
                <a:cubicBezTo>
                  <a:pt x="1558682" y="654050"/>
                  <a:pt x="1558682" y="654050"/>
                  <a:pt x="1579442" y="666433"/>
                </a:cubicBezTo>
                <a:cubicBezTo>
                  <a:pt x="1579442" y="666433"/>
                  <a:pt x="1579442" y="666433"/>
                  <a:pt x="1575290" y="674688"/>
                </a:cubicBezTo>
                <a:cubicBezTo>
                  <a:pt x="1562834" y="666433"/>
                  <a:pt x="1554530" y="662305"/>
                  <a:pt x="1546226" y="654050"/>
                </a:cubicBezTo>
                <a:cubicBezTo>
                  <a:pt x="1546226" y="654050"/>
                  <a:pt x="1546226" y="654050"/>
                  <a:pt x="1571138" y="612775"/>
                </a:cubicBezTo>
                <a:close/>
                <a:moveTo>
                  <a:pt x="1898969" y="579438"/>
                </a:moveTo>
                <a:cubicBezTo>
                  <a:pt x="1898969" y="579438"/>
                  <a:pt x="1898969" y="579438"/>
                  <a:pt x="1931989" y="616943"/>
                </a:cubicBezTo>
                <a:cubicBezTo>
                  <a:pt x="1927862" y="621110"/>
                  <a:pt x="1927862" y="621110"/>
                  <a:pt x="1923734" y="625277"/>
                </a:cubicBezTo>
                <a:cubicBezTo>
                  <a:pt x="1923734" y="625277"/>
                  <a:pt x="1923734" y="625277"/>
                  <a:pt x="1890714" y="612776"/>
                </a:cubicBezTo>
                <a:cubicBezTo>
                  <a:pt x="1890714" y="612776"/>
                  <a:pt x="1890714" y="612776"/>
                  <a:pt x="1907224" y="637779"/>
                </a:cubicBezTo>
                <a:cubicBezTo>
                  <a:pt x="1903096" y="641946"/>
                  <a:pt x="1903096" y="641946"/>
                  <a:pt x="1898969" y="646113"/>
                </a:cubicBezTo>
                <a:cubicBezTo>
                  <a:pt x="1898969" y="646113"/>
                  <a:pt x="1898969" y="646113"/>
                  <a:pt x="1870076" y="604441"/>
                </a:cubicBezTo>
                <a:cubicBezTo>
                  <a:pt x="1874204" y="604441"/>
                  <a:pt x="1874204" y="600274"/>
                  <a:pt x="1878331" y="600274"/>
                </a:cubicBezTo>
                <a:cubicBezTo>
                  <a:pt x="1878331" y="600274"/>
                  <a:pt x="1878331" y="600274"/>
                  <a:pt x="1911351" y="608608"/>
                </a:cubicBezTo>
                <a:cubicBezTo>
                  <a:pt x="1911351" y="608608"/>
                  <a:pt x="1911351" y="608608"/>
                  <a:pt x="1890714" y="587772"/>
                </a:cubicBezTo>
                <a:cubicBezTo>
                  <a:pt x="1894841" y="583605"/>
                  <a:pt x="1894841" y="583605"/>
                  <a:pt x="1898969" y="579438"/>
                </a:cubicBezTo>
                <a:close/>
                <a:moveTo>
                  <a:pt x="1534626" y="579438"/>
                </a:moveTo>
                <a:cubicBezTo>
                  <a:pt x="1542930" y="587742"/>
                  <a:pt x="1551233" y="596046"/>
                  <a:pt x="1563689" y="604350"/>
                </a:cubicBezTo>
                <a:cubicBezTo>
                  <a:pt x="1559537" y="612653"/>
                  <a:pt x="1559537" y="612653"/>
                  <a:pt x="1559537" y="612653"/>
                </a:cubicBezTo>
                <a:cubicBezTo>
                  <a:pt x="1555385" y="608501"/>
                  <a:pt x="1551233" y="604350"/>
                  <a:pt x="1547081" y="604350"/>
                </a:cubicBezTo>
                <a:cubicBezTo>
                  <a:pt x="1518018" y="633413"/>
                  <a:pt x="1518018" y="633413"/>
                  <a:pt x="1518018" y="633413"/>
                </a:cubicBezTo>
                <a:cubicBezTo>
                  <a:pt x="1509714" y="625109"/>
                  <a:pt x="1509714" y="625109"/>
                  <a:pt x="1509714" y="625109"/>
                </a:cubicBezTo>
                <a:cubicBezTo>
                  <a:pt x="1538778" y="596046"/>
                  <a:pt x="1538778" y="596046"/>
                  <a:pt x="1538778" y="596046"/>
                </a:cubicBezTo>
                <a:cubicBezTo>
                  <a:pt x="1534626" y="591894"/>
                  <a:pt x="1530474" y="587742"/>
                  <a:pt x="1526322" y="583590"/>
                </a:cubicBezTo>
                <a:cubicBezTo>
                  <a:pt x="1534626" y="579438"/>
                  <a:pt x="1534626" y="579438"/>
                  <a:pt x="1534626" y="579438"/>
                </a:cubicBezTo>
                <a:close/>
                <a:moveTo>
                  <a:pt x="1924051" y="566738"/>
                </a:moveTo>
                <a:lnTo>
                  <a:pt x="1931989" y="579438"/>
                </a:lnTo>
                <a:lnTo>
                  <a:pt x="1936751" y="587376"/>
                </a:lnTo>
                <a:lnTo>
                  <a:pt x="1944689" y="579438"/>
                </a:lnTo>
                <a:lnTo>
                  <a:pt x="1944689" y="574676"/>
                </a:lnTo>
                <a:close/>
                <a:moveTo>
                  <a:pt x="1919742" y="558800"/>
                </a:moveTo>
                <a:cubicBezTo>
                  <a:pt x="1970089" y="571103"/>
                  <a:pt x="1970089" y="571103"/>
                  <a:pt x="1970089" y="571103"/>
                </a:cubicBezTo>
                <a:cubicBezTo>
                  <a:pt x="1970089" y="575204"/>
                  <a:pt x="1965894" y="575204"/>
                  <a:pt x="1965894" y="579305"/>
                </a:cubicBezTo>
                <a:cubicBezTo>
                  <a:pt x="1965894" y="579305"/>
                  <a:pt x="1965894" y="579305"/>
                  <a:pt x="1961698" y="579305"/>
                </a:cubicBezTo>
                <a:cubicBezTo>
                  <a:pt x="1953307" y="579305"/>
                  <a:pt x="1953307" y="579305"/>
                  <a:pt x="1953307" y="579305"/>
                </a:cubicBezTo>
                <a:cubicBezTo>
                  <a:pt x="1940720" y="595710"/>
                  <a:pt x="1940720" y="595710"/>
                  <a:pt x="1940720" y="595710"/>
                </a:cubicBezTo>
                <a:cubicBezTo>
                  <a:pt x="1944916" y="603912"/>
                  <a:pt x="1944916" y="603912"/>
                  <a:pt x="1944916" y="603912"/>
                </a:cubicBezTo>
                <a:cubicBezTo>
                  <a:pt x="1944916" y="603912"/>
                  <a:pt x="1940720" y="608013"/>
                  <a:pt x="1940720" y="608013"/>
                </a:cubicBezTo>
                <a:cubicBezTo>
                  <a:pt x="1919742" y="579305"/>
                  <a:pt x="1919742" y="579305"/>
                  <a:pt x="1919742" y="579305"/>
                </a:cubicBezTo>
                <a:cubicBezTo>
                  <a:pt x="1911351" y="567002"/>
                  <a:pt x="1911351" y="567002"/>
                  <a:pt x="1911351" y="567002"/>
                </a:cubicBezTo>
                <a:close/>
                <a:moveTo>
                  <a:pt x="1500586" y="541338"/>
                </a:moveTo>
                <a:cubicBezTo>
                  <a:pt x="1504753" y="545571"/>
                  <a:pt x="1504753" y="545571"/>
                  <a:pt x="1508920" y="549805"/>
                </a:cubicBezTo>
                <a:cubicBezTo>
                  <a:pt x="1508920" y="549805"/>
                  <a:pt x="1508920" y="549805"/>
                  <a:pt x="1496419" y="583671"/>
                </a:cubicBezTo>
                <a:cubicBezTo>
                  <a:pt x="1496419" y="583671"/>
                  <a:pt x="1496419" y="583671"/>
                  <a:pt x="1521422" y="562505"/>
                </a:cubicBezTo>
                <a:cubicBezTo>
                  <a:pt x="1521422" y="566738"/>
                  <a:pt x="1525589" y="566738"/>
                  <a:pt x="1525589" y="570971"/>
                </a:cubicBezTo>
                <a:cubicBezTo>
                  <a:pt x="1525589" y="570971"/>
                  <a:pt x="1525589" y="570971"/>
                  <a:pt x="1488084" y="604838"/>
                </a:cubicBezTo>
                <a:cubicBezTo>
                  <a:pt x="1483917" y="600605"/>
                  <a:pt x="1483917" y="600605"/>
                  <a:pt x="1479750" y="596371"/>
                </a:cubicBezTo>
                <a:cubicBezTo>
                  <a:pt x="1479750" y="596371"/>
                  <a:pt x="1479750" y="596371"/>
                  <a:pt x="1492252" y="562505"/>
                </a:cubicBezTo>
                <a:cubicBezTo>
                  <a:pt x="1492252" y="562505"/>
                  <a:pt x="1492252" y="562505"/>
                  <a:pt x="1467249" y="579438"/>
                </a:cubicBezTo>
                <a:cubicBezTo>
                  <a:pt x="1463081" y="575205"/>
                  <a:pt x="1463081" y="575205"/>
                  <a:pt x="1458914" y="570971"/>
                </a:cubicBezTo>
                <a:cubicBezTo>
                  <a:pt x="1458914" y="570971"/>
                  <a:pt x="1458914" y="570971"/>
                  <a:pt x="1500586" y="541338"/>
                </a:cubicBezTo>
                <a:close/>
                <a:moveTo>
                  <a:pt x="1936752" y="528638"/>
                </a:moveTo>
                <a:lnTo>
                  <a:pt x="1973264" y="550863"/>
                </a:lnTo>
                <a:lnTo>
                  <a:pt x="1985965" y="528638"/>
                </a:lnTo>
                <a:lnTo>
                  <a:pt x="1993902" y="533401"/>
                </a:lnTo>
                <a:lnTo>
                  <a:pt x="1978027" y="561976"/>
                </a:lnTo>
                <a:lnTo>
                  <a:pt x="1931989" y="538163"/>
                </a:lnTo>
                <a:close/>
                <a:moveTo>
                  <a:pt x="1492829" y="525463"/>
                </a:moveTo>
                <a:cubicBezTo>
                  <a:pt x="1492829" y="529630"/>
                  <a:pt x="1497014" y="529630"/>
                  <a:pt x="1497014" y="533798"/>
                </a:cubicBezTo>
                <a:cubicBezTo>
                  <a:pt x="1497014" y="533798"/>
                  <a:pt x="1497014" y="533798"/>
                  <a:pt x="1455161" y="558801"/>
                </a:cubicBezTo>
                <a:cubicBezTo>
                  <a:pt x="1450976" y="554634"/>
                  <a:pt x="1450976" y="550467"/>
                  <a:pt x="1450976" y="550467"/>
                </a:cubicBezTo>
                <a:cubicBezTo>
                  <a:pt x="1450976" y="550467"/>
                  <a:pt x="1450976" y="550467"/>
                  <a:pt x="1492829" y="525463"/>
                </a:cubicBezTo>
                <a:close/>
                <a:moveTo>
                  <a:pt x="1482542" y="485751"/>
                </a:moveTo>
                <a:cubicBezTo>
                  <a:pt x="1480468" y="485230"/>
                  <a:pt x="1478394" y="486272"/>
                  <a:pt x="1476320" y="488355"/>
                </a:cubicBezTo>
                <a:cubicBezTo>
                  <a:pt x="1430696" y="500857"/>
                  <a:pt x="1430696" y="500857"/>
                  <a:pt x="1430696" y="500857"/>
                </a:cubicBezTo>
                <a:cubicBezTo>
                  <a:pt x="1422401" y="505024"/>
                  <a:pt x="1422401" y="509191"/>
                  <a:pt x="1422401" y="517526"/>
                </a:cubicBezTo>
                <a:cubicBezTo>
                  <a:pt x="1468025" y="634207"/>
                  <a:pt x="1584159" y="717551"/>
                  <a:pt x="1716883" y="717551"/>
                </a:cubicBezTo>
                <a:cubicBezTo>
                  <a:pt x="1849607" y="717551"/>
                  <a:pt x="1965740" y="634207"/>
                  <a:pt x="2011364" y="513358"/>
                </a:cubicBezTo>
                <a:cubicBezTo>
                  <a:pt x="2011364" y="509191"/>
                  <a:pt x="2007217" y="505024"/>
                  <a:pt x="2003069" y="500857"/>
                </a:cubicBezTo>
                <a:cubicBezTo>
                  <a:pt x="1957445" y="488355"/>
                  <a:pt x="1957445" y="488355"/>
                  <a:pt x="1957445" y="488355"/>
                </a:cubicBezTo>
                <a:cubicBezTo>
                  <a:pt x="1955371" y="486272"/>
                  <a:pt x="1953297" y="485230"/>
                  <a:pt x="1951224" y="485751"/>
                </a:cubicBezTo>
                <a:cubicBezTo>
                  <a:pt x="1949150" y="486272"/>
                  <a:pt x="1947076" y="488355"/>
                  <a:pt x="1945002" y="492522"/>
                </a:cubicBezTo>
                <a:cubicBezTo>
                  <a:pt x="1907673" y="584201"/>
                  <a:pt x="1820573" y="646709"/>
                  <a:pt x="1716883" y="646709"/>
                </a:cubicBezTo>
                <a:cubicBezTo>
                  <a:pt x="1613192" y="646709"/>
                  <a:pt x="1526092" y="584201"/>
                  <a:pt x="1488763" y="492522"/>
                </a:cubicBezTo>
                <a:cubicBezTo>
                  <a:pt x="1486689" y="488355"/>
                  <a:pt x="1484616" y="486272"/>
                  <a:pt x="1482542" y="485751"/>
                </a:cubicBezTo>
                <a:close/>
                <a:moveTo>
                  <a:pt x="1662749" y="478852"/>
                </a:moveTo>
                <a:cubicBezTo>
                  <a:pt x="1551306" y="533313"/>
                  <a:pt x="1551306" y="533313"/>
                  <a:pt x="1551306" y="533313"/>
                </a:cubicBezTo>
                <a:cubicBezTo>
                  <a:pt x="1547179" y="533313"/>
                  <a:pt x="1543051" y="533313"/>
                  <a:pt x="1543051" y="537502"/>
                </a:cubicBezTo>
                <a:cubicBezTo>
                  <a:pt x="1543051" y="537502"/>
                  <a:pt x="1543051" y="537502"/>
                  <a:pt x="1543051" y="541691"/>
                </a:cubicBezTo>
                <a:cubicBezTo>
                  <a:pt x="1543051" y="541691"/>
                  <a:pt x="1543051" y="545880"/>
                  <a:pt x="1547179" y="545880"/>
                </a:cubicBezTo>
                <a:cubicBezTo>
                  <a:pt x="1584326" y="587773"/>
                  <a:pt x="1621474" y="608719"/>
                  <a:pt x="1675132" y="621287"/>
                </a:cubicBezTo>
                <a:cubicBezTo>
                  <a:pt x="1679259" y="625476"/>
                  <a:pt x="1683387" y="625476"/>
                  <a:pt x="1683387" y="621287"/>
                </a:cubicBezTo>
                <a:cubicBezTo>
                  <a:pt x="1687514" y="621287"/>
                  <a:pt x="1687514" y="617098"/>
                  <a:pt x="1687514" y="608719"/>
                </a:cubicBezTo>
                <a:cubicBezTo>
                  <a:pt x="1687514" y="608719"/>
                  <a:pt x="1679259" y="487231"/>
                  <a:pt x="1679259" y="487231"/>
                </a:cubicBezTo>
                <a:cubicBezTo>
                  <a:pt x="1679259" y="483042"/>
                  <a:pt x="1675132" y="478852"/>
                  <a:pt x="1675132" y="478852"/>
                </a:cubicBezTo>
                <a:cubicBezTo>
                  <a:pt x="1671004" y="474663"/>
                  <a:pt x="1666877" y="474663"/>
                  <a:pt x="1662749" y="478852"/>
                </a:cubicBezTo>
                <a:close/>
                <a:moveTo>
                  <a:pt x="1762761" y="474663"/>
                </a:moveTo>
                <a:cubicBezTo>
                  <a:pt x="1758634" y="478836"/>
                  <a:pt x="1758634" y="483009"/>
                  <a:pt x="1758634" y="487182"/>
                </a:cubicBezTo>
                <a:cubicBezTo>
                  <a:pt x="1746251" y="608194"/>
                  <a:pt x="1746251" y="608194"/>
                  <a:pt x="1746251" y="608194"/>
                </a:cubicBezTo>
                <a:cubicBezTo>
                  <a:pt x="1746251" y="612367"/>
                  <a:pt x="1746251" y="616540"/>
                  <a:pt x="1750379" y="620713"/>
                </a:cubicBezTo>
                <a:cubicBezTo>
                  <a:pt x="1750379" y="620713"/>
                  <a:pt x="1754506" y="620713"/>
                  <a:pt x="1758634" y="620713"/>
                </a:cubicBezTo>
                <a:cubicBezTo>
                  <a:pt x="1812291" y="608194"/>
                  <a:pt x="1849439" y="587330"/>
                  <a:pt x="1886587" y="545602"/>
                </a:cubicBezTo>
                <a:cubicBezTo>
                  <a:pt x="1890714" y="541429"/>
                  <a:pt x="1890714" y="541429"/>
                  <a:pt x="1890714" y="537256"/>
                </a:cubicBezTo>
                <a:cubicBezTo>
                  <a:pt x="1890714" y="533083"/>
                  <a:pt x="1886587" y="533083"/>
                  <a:pt x="1882459" y="528910"/>
                </a:cubicBezTo>
                <a:cubicBezTo>
                  <a:pt x="1775144" y="474663"/>
                  <a:pt x="1775144" y="474663"/>
                  <a:pt x="1775144" y="474663"/>
                </a:cubicBezTo>
                <a:cubicBezTo>
                  <a:pt x="1771016" y="474663"/>
                  <a:pt x="1766889" y="474663"/>
                  <a:pt x="1762761" y="474663"/>
                </a:cubicBezTo>
                <a:close/>
                <a:moveTo>
                  <a:pt x="725572" y="428624"/>
                </a:moveTo>
                <a:cubicBezTo>
                  <a:pt x="705101" y="432820"/>
                  <a:pt x="696913" y="441211"/>
                  <a:pt x="696913" y="457993"/>
                </a:cubicBezTo>
                <a:cubicBezTo>
                  <a:pt x="696913" y="470580"/>
                  <a:pt x="696913" y="487362"/>
                  <a:pt x="717384" y="487362"/>
                </a:cubicBezTo>
                <a:cubicBezTo>
                  <a:pt x="741948" y="487362"/>
                  <a:pt x="774701" y="478971"/>
                  <a:pt x="774701" y="478971"/>
                </a:cubicBezTo>
                <a:cubicBezTo>
                  <a:pt x="774701" y="428624"/>
                  <a:pt x="774701" y="428624"/>
                  <a:pt x="774701" y="428624"/>
                </a:cubicBezTo>
                <a:close/>
                <a:moveTo>
                  <a:pt x="352426" y="346073"/>
                </a:moveTo>
                <a:cubicBezTo>
                  <a:pt x="315516" y="346073"/>
                  <a:pt x="303213" y="362695"/>
                  <a:pt x="303213" y="412562"/>
                </a:cubicBezTo>
                <a:cubicBezTo>
                  <a:pt x="303213" y="462428"/>
                  <a:pt x="311415" y="487361"/>
                  <a:pt x="352426" y="487361"/>
                </a:cubicBezTo>
                <a:cubicBezTo>
                  <a:pt x="393436" y="487361"/>
                  <a:pt x="401638" y="458272"/>
                  <a:pt x="401638" y="412562"/>
                </a:cubicBezTo>
                <a:cubicBezTo>
                  <a:pt x="401638" y="362695"/>
                  <a:pt x="389335" y="346073"/>
                  <a:pt x="352426" y="346073"/>
                </a:cubicBezTo>
                <a:close/>
                <a:moveTo>
                  <a:pt x="1704770" y="341312"/>
                </a:moveTo>
                <a:cubicBezTo>
                  <a:pt x="1704770" y="341312"/>
                  <a:pt x="1704770" y="353885"/>
                  <a:pt x="1704770" y="353885"/>
                </a:cubicBezTo>
                <a:cubicBezTo>
                  <a:pt x="1684063" y="358076"/>
                  <a:pt x="1671639" y="379031"/>
                  <a:pt x="1671639" y="399986"/>
                </a:cubicBezTo>
                <a:cubicBezTo>
                  <a:pt x="1671639" y="425132"/>
                  <a:pt x="1692346" y="446087"/>
                  <a:pt x="1717193" y="446087"/>
                </a:cubicBezTo>
                <a:cubicBezTo>
                  <a:pt x="1742041" y="446087"/>
                  <a:pt x="1766889" y="425132"/>
                  <a:pt x="1766889" y="399986"/>
                </a:cubicBezTo>
                <a:cubicBezTo>
                  <a:pt x="1766889" y="379031"/>
                  <a:pt x="1750324" y="358076"/>
                  <a:pt x="1729617" y="353885"/>
                </a:cubicBezTo>
                <a:cubicBezTo>
                  <a:pt x="1729617" y="349694"/>
                  <a:pt x="1729617" y="341312"/>
                  <a:pt x="1729617" y="341312"/>
                </a:cubicBezTo>
                <a:cubicBezTo>
                  <a:pt x="1704770" y="341312"/>
                  <a:pt x="1704770" y="341312"/>
                  <a:pt x="1704770" y="341312"/>
                </a:cubicBezTo>
                <a:close/>
                <a:moveTo>
                  <a:pt x="1716883" y="328612"/>
                </a:moveTo>
                <a:cubicBezTo>
                  <a:pt x="1755899" y="328612"/>
                  <a:pt x="1787527" y="360596"/>
                  <a:pt x="1787527" y="400050"/>
                </a:cubicBezTo>
                <a:cubicBezTo>
                  <a:pt x="1787527" y="439504"/>
                  <a:pt x="1755899" y="471488"/>
                  <a:pt x="1716883" y="471488"/>
                </a:cubicBezTo>
                <a:cubicBezTo>
                  <a:pt x="1677867" y="471488"/>
                  <a:pt x="1646239" y="439504"/>
                  <a:pt x="1646239" y="400050"/>
                </a:cubicBezTo>
                <a:cubicBezTo>
                  <a:pt x="1646239" y="360596"/>
                  <a:pt x="1677867" y="328612"/>
                  <a:pt x="1716883" y="328612"/>
                </a:cubicBezTo>
                <a:close/>
                <a:moveTo>
                  <a:pt x="1716883" y="320675"/>
                </a:moveTo>
                <a:cubicBezTo>
                  <a:pt x="1673483" y="320675"/>
                  <a:pt x="1638301" y="356212"/>
                  <a:pt x="1638301" y="400050"/>
                </a:cubicBezTo>
                <a:cubicBezTo>
                  <a:pt x="1638301" y="443888"/>
                  <a:pt x="1673483" y="479425"/>
                  <a:pt x="1716883" y="479425"/>
                </a:cubicBezTo>
                <a:cubicBezTo>
                  <a:pt x="1760283" y="479425"/>
                  <a:pt x="1795465" y="443888"/>
                  <a:pt x="1795465" y="400050"/>
                </a:cubicBezTo>
                <a:cubicBezTo>
                  <a:pt x="1795465" y="356212"/>
                  <a:pt x="1760283" y="320675"/>
                  <a:pt x="1716883" y="320675"/>
                </a:cubicBezTo>
                <a:close/>
                <a:moveTo>
                  <a:pt x="1924004" y="317500"/>
                </a:moveTo>
                <a:cubicBezTo>
                  <a:pt x="1924004" y="317500"/>
                  <a:pt x="1919866" y="317500"/>
                  <a:pt x="1911592" y="321667"/>
                </a:cubicBezTo>
                <a:cubicBezTo>
                  <a:pt x="1812301" y="388342"/>
                  <a:pt x="1812301" y="388342"/>
                  <a:pt x="1812301" y="388342"/>
                </a:cubicBezTo>
                <a:cubicBezTo>
                  <a:pt x="1808164" y="392510"/>
                  <a:pt x="1808164" y="396677"/>
                  <a:pt x="1808164" y="400844"/>
                </a:cubicBezTo>
                <a:cubicBezTo>
                  <a:pt x="1808164" y="400844"/>
                  <a:pt x="1808164" y="405011"/>
                  <a:pt x="1812301" y="409178"/>
                </a:cubicBezTo>
                <a:lnTo>
                  <a:pt x="1915729" y="480021"/>
                </a:lnTo>
                <a:cubicBezTo>
                  <a:pt x="1915729" y="480021"/>
                  <a:pt x="1919866" y="484188"/>
                  <a:pt x="1924004" y="480021"/>
                </a:cubicBezTo>
                <a:cubicBezTo>
                  <a:pt x="1928141" y="480021"/>
                  <a:pt x="1928141" y="480021"/>
                  <a:pt x="1928141" y="471686"/>
                </a:cubicBezTo>
                <a:cubicBezTo>
                  <a:pt x="1944689" y="421680"/>
                  <a:pt x="1944689" y="375841"/>
                  <a:pt x="1928141" y="325834"/>
                </a:cubicBezTo>
                <a:cubicBezTo>
                  <a:pt x="1928141" y="321667"/>
                  <a:pt x="1928141" y="317500"/>
                  <a:pt x="1924004" y="317500"/>
                </a:cubicBezTo>
                <a:close/>
                <a:moveTo>
                  <a:pt x="1509762" y="317500"/>
                </a:moveTo>
                <a:cubicBezTo>
                  <a:pt x="1505625" y="317500"/>
                  <a:pt x="1505625" y="321667"/>
                  <a:pt x="1501487" y="325834"/>
                </a:cubicBezTo>
                <a:cubicBezTo>
                  <a:pt x="1489076" y="375841"/>
                  <a:pt x="1489076" y="421680"/>
                  <a:pt x="1501487" y="475854"/>
                </a:cubicBezTo>
                <a:cubicBezTo>
                  <a:pt x="1505625" y="475854"/>
                  <a:pt x="1505625" y="480021"/>
                  <a:pt x="1509762" y="480021"/>
                </a:cubicBezTo>
                <a:cubicBezTo>
                  <a:pt x="1509762" y="484188"/>
                  <a:pt x="1513899" y="480021"/>
                  <a:pt x="1518036" y="480021"/>
                </a:cubicBezTo>
                <a:cubicBezTo>
                  <a:pt x="1621464" y="409178"/>
                  <a:pt x="1621464" y="409178"/>
                  <a:pt x="1621464" y="409178"/>
                </a:cubicBezTo>
                <a:cubicBezTo>
                  <a:pt x="1625601" y="409178"/>
                  <a:pt x="1625601" y="405011"/>
                  <a:pt x="1625601" y="400844"/>
                </a:cubicBezTo>
                <a:cubicBezTo>
                  <a:pt x="1625601" y="396677"/>
                  <a:pt x="1625601" y="392510"/>
                  <a:pt x="1621464" y="388342"/>
                </a:cubicBezTo>
                <a:lnTo>
                  <a:pt x="1518036" y="321667"/>
                </a:lnTo>
                <a:cubicBezTo>
                  <a:pt x="1518036" y="317500"/>
                  <a:pt x="1513899" y="317500"/>
                  <a:pt x="1509762" y="317500"/>
                </a:cubicBezTo>
                <a:close/>
                <a:moveTo>
                  <a:pt x="1032821" y="304799"/>
                </a:moveTo>
                <a:cubicBezTo>
                  <a:pt x="1032821" y="304799"/>
                  <a:pt x="1036942" y="304799"/>
                  <a:pt x="1041062" y="304799"/>
                </a:cubicBezTo>
                <a:cubicBezTo>
                  <a:pt x="1041062" y="304799"/>
                  <a:pt x="1041062" y="304799"/>
                  <a:pt x="1074028" y="304799"/>
                </a:cubicBezTo>
                <a:cubicBezTo>
                  <a:pt x="1078149" y="304799"/>
                  <a:pt x="1078149" y="304799"/>
                  <a:pt x="1082270" y="308966"/>
                </a:cubicBezTo>
                <a:cubicBezTo>
                  <a:pt x="1082270" y="308966"/>
                  <a:pt x="1082270" y="308966"/>
                  <a:pt x="1123477" y="479821"/>
                </a:cubicBezTo>
                <a:cubicBezTo>
                  <a:pt x="1123477" y="479821"/>
                  <a:pt x="1123477" y="479821"/>
                  <a:pt x="1127598" y="479821"/>
                </a:cubicBezTo>
                <a:cubicBezTo>
                  <a:pt x="1127598" y="479821"/>
                  <a:pt x="1127598" y="479821"/>
                  <a:pt x="1172926" y="308966"/>
                </a:cubicBezTo>
                <a:cubicBezTo>
                  <a:pt x="1172926" y="304799"/>
                  <a:pt x="1177047" y="304799"/>
                  <a:pt x="1181168" y="304799"/>
                </a:cubicBezTo>
                <a:cubicBezTo>
                  <a:pt x="1181168" y="304799"/>
                  <a:pt x="1181168" y="304799"/>
                  <a:pt x="1214134" y="304799"/>
                </a:cubicBezTo>
                <a:cubicBezTo>
                  <a:pt x="1218254" y="304799"/>
                  <a:pt x="1218254" y="304799"/>
                  <a:pt x="1222375" y="304799"/>
                </a:cubicBezTo>
                <a:cubicBezTo>
                  <a:pt x="1222375" y="308966"/>
                  <a:pt x="1222375" y="308966"/>
                  <a:pt x="1222375" y="313133"/>
                </a:cubicBezTo>
                <a:cubicBezTo>
                  <a:pt x="1222375" y="313133"/>
                  <a:pt x="1222375" y="313133"/>
                  <a:pt x="1218254" y="338137"/>
                </a:cubicBezTo>
                <a:cubicBezTo>
                  <a:pt x="1214134" y="350638"/>
                  <a:pt x="1210013" y="367307"/>
                  <a:pt x="1201771" y="388143"/>
                </a:cubicBezTo>
                <a:cubicBezTo>
                  <a:pt x="1193530" y="433982"/>
                  <a:pt x="1177047" y="496490"/>
                  <a:pt x="1164685" y="542329"/>
                </a:cubicBezTo>
                <a:cubicBezTo>
                  <a:pt x="1152322" y="584001"/>
                  <a:pt x="1131719" y="604837"/>
                  <a:pt x="1098753" y="604837"/>
                </a:cubicBezTo>
                <a:cubicBezTo>
                  <a:pt x="1098753" y="604837"/>
                  <a:pt x="1098753" y="604837"/>
                  <a:pt x="1094632" y="604837"/>
                </a:cubicBezTo>
                <a:cubicBezTo>
                  <a:pt x="1078149" y="604837"/>
                  <a:pt x="1053425" y="600670"/>
                  <a:pt x="1041062" y="600670"/>
                </a:cubicBezTo>
                <a:cubicBezTo>
                  <a:pt x="1036942" y="596503"/>
                  <a:pt x="1032821" y="596503"/>
                  <a:pt x="1032821" y="592335"/>
                </a:cubicBezTo>
                <a:cubicBezTo>
                  <a:pt x="1032821" y="592335"/>
                  <a:pt x="1032821" y="592335"/>
                  <a:pt x="1032821" y="567332"/>
                </a:cubicBezTo>
                <a:cubicBezTo>
                  <a:pt x="1032821" y="567332"/>
                  <a:pt x="1032821" y="563165"/>
                  <a:pt x="1036942" y="563165"/>
                </a:cubicBezTo>
                <a:cubicBezTo>
                  <a:pt x="1036942" y="558998"/>
                  <a:pt x="1041062" y="558998"/>
                  <a:pt x="1041062" y="558998"/>
                </a:cubicBezTo>
                <a:cubicBezTo>
                  <a:pt x="1041062" y="558998"/>
                  <a:pt x="1041062" y="558998"/>
                  <a:pt x="1082270" y="563165"/>
                </a:cubicBezTo>
                <a:cubicBezTo>
                  <a:pt x="1106994" y="563165"/>
                  <a:pt x="1111115" y="550663"/>
                  <a:pt x="1115236" y="538162"/>
                </a:cubicBezTo>
                <a:cubicBezTo>
                  <a:pt x="1115236" y="533995"/>
                  <a:pt x="1115236" y="533995"/>
                  <a:pt x="1119357" y="529828"/>
                </a:cubicBezTo>
                <a:cubicBezTo>
                  <a:pt x="1119357" y="529828"/>
                  <a:pt x="1119357" y="529828"/>
                  <a:pt x="1106994" y="529828"/>
                </a:cubicBezTo>
                <a:cubicBezTo>
                  <a:pt x="1090511" y="529828"/>
                  <a:pt x="1082270" y="513159"/>
                  <a:pt x="1082270" y="504824"/>
                </a:cubicBezTo>
                <a:cubicBezTo>
                  <a:pt x="1082270" y="504824"/>
                  <a:pt x="1082270" y="504824"/>
                  <a:pt x="1032821" y="313133"/>
                </a:cubicBezTo>
                <a:cubicBezTo>
                  <a:pt x="1028700" y="308966"/>
                  <a:pt x="1032821" y="308966"/>
                  <a:pt x="1032821" y="304799"/>
                </a:cubicBezTo>
                <a:close/>
                <a:moveTo>
                  <a:pt x="994979" y="300037"/>
                </a:moveTo>
                <a:cubicBezTo>
                  <a:pt x="994979" y="300037"/>
                  <a:pt x="999140" y="300037"/>
                  <a:pt x="999140" y="304193"/>
                </a:cubicBezTo>
                <a:cubicBezTo>
                  <a:pt x="1003300" y="304193"/>
                  <a:pt x="1003300" y="308350"/>
                  <a:pt x="1003300" y="308350"/>
                </a:cubicBezTo>
                <a:cubicBezTo>
                  <a:pt x="1003300" y="308350"/>
                  <a:pt x="1003300" y="308350"/>
                  <a:pt x="1003300" y="341601"/>
                </a:cubicBezTo>
                <a:cubicBezTo>
                  <a:pt x="1003300" y="345757"/>
                  <a:pt x="999140" y="345757"/>
                  <a:pt x="994979" y="349913"/>
                </a:cubicBezTo>
                <a:cubicBezTo>
                  <a:pt x="965857" y="349913"/>
                  <a:pt x="940895" y="370695"/>
                  <a:pt x="932574" y="374852"/>
                </a:cubicBezTo>
                <a:cubicBezTo>
                  <a:pt x="932574" y="374852"/>
                  <a:pt x="932574" y="374852"/>
                  <a:pt x="932574" y="520324"/>
                </a:cubicBezTo>
                <a:cubicBezTo>
                  <a:pt x="932574" y="524481"/>
                  <a:pt x="928414" y="528637"/>
                  <a:pt x="924254" y="528637"/>
                </a:cubicBezTo>
                <a:cubicBezTo>
                  <a:pt x="924254" y="528637"/>
                  <a:pt x="924254" y="528637"/>
                  <a:pt x="890971" y="528637"/>
                </a:cubicBezTo>
                <a:cubicBezTo>
                  <a:pt x="886810" y="528637"/>
                  <a:pt x="882650" y="524481"/>
                  <a:pt x="882650" y="520324"/>
                </a:cubicBezTo>
                <a:cubicBezTo>
                  <a:pt x="882650" y="520324"/>
                  <a:pt x="882650" y="520324"/>
                  <a:pt x="882650" y="312506"/>
                </a:cubicBezTo>
                <a:cubicBezTo>
                  <a:pt x="882650" y="304193"/>
                  <a:pt x="886810" y="304193"/>
                  <a:pt x="890971" y="304193"/>
                </a:cubicBezTo>
                <a:cubicBezTo>
                  <a:pt x="890971" y="304193"/>
                  <a:pt x="890971" y="304193"/>
                  <a:pt x="924254" y="304193"/>
                </a:cubicBezTo>
                <a:cubicBezTo>
                  <a:pt x="928414" y="304193"/>
                  <a:pt x="932574" y="304193"/>
                  <a:pt x="932574" y="312506"/>
                </a:cubicBezTo>
                <a:cubicBezTo>
                  <a:pt x="932574" y="312506"/>
                  <a:pt x="932574" y="312506"/>
                  <a:pt x="932574" y="324975"/>
                </a:cubicBezTo>
                <a:cubicBezTo>
                  <a:pt x="949216" y="316662"/>
                  <a:pt x="970017" y="300037"/>
                  <a:pt x="994979" y="300037"/>
                </a:cubicBezTo>
                <a:close/>
                <a:moveTo>
                  <a:pt x="750816" y="295274"/>
                </a:moveTo>
                <a:cubicBezTo>
                  <a:pt x="800606" y="295274"/>
                  <a:pt x="825501" y="320340"/>
                  <a:pt x="825501" y="374649"/>
                </a:cubicBezTo>
                <a:cubicBezTo>
                  <a:pt x="825501" y="525044"/>
                  <a:pt x="825501" y="525044"/>
                  <a:pt x="825501" y="525044"/>
                </a:cubicBezTo>
                <a:cubicBezTo>
                  <a:pt x="825501" y="525044"/>
                  <a:pt x="825501" y="529221"/>
                  <a:pt x="825501" y="529221"/>
                </a:cubicBezTo>
                <a:cubicBezTo>
                  <a:pt x="821352" y="533399"/>
                  <a:pt x="821352" y="533399"/>
                  <a:pt x="817203" y="533399"/>
                </a:cubicBezTo>
                <a:cubicBezTo>
                  <a:pt x="800606" y="529221"/>
                  <a:pt x="792308" y="525044"/>
                  <a:pt x="784010" y="516688"/>
                </a:cubicBezTo>
                <a:cubicBezTo>
                  <a:pt x="784010" y="516688"/>
                  <a:pt x="742518" y="533399"/>
                  <a:pt x="709325" y="533399"/>
                </a:cubicBezTo>
                <a:cubicBezTo>
                  <a:pt x="667833" y="533399"/>
                  <a:pt x="642938" y="508333"/>
                  <a:pt x="642938" y="462379"/>
                </a:cubicBezTo>
                <a:cubicBezTo>
                  <a:pt x="642938" y="416425"/>
                  <a:pt x="667833" y="395537"/>
                  <a:pt x="717623" y="391360"/>
                </a:cubicBezTo>
                <a:cubicBezTo>
                  <a:pt x="775711" y="387182"/>
                  <a:pt x="775711" y="387182"/>
                  <a:pt x="775711" y="387182"/>
                </a:cubicBezTo>
                <a:cubicBezTo>
                  <a:pt x="775711" y="374649"/>
                  <a:pt x="775711" y="374649"/>
                  <a:pt x="775711" y="374649"/>
                </a:cubicBezTo>
                <a:cubicBezTo>
                  <a:pt x="775711" y="357939"/>
                  <a:pt x="763264" y="345406"/>
                  <a:pt x="746667" y="345406"/>
                </a:cubicBezTo>
                <a:cubicBezTo>
                  <a:pt x="721772" y="345406"/>
                  <a:pt x="688579" y="349583"/>
                  <a:pt x="667833" y="349583"/>
                </a:cubicBezTo>
                <a:cubicBezTo>
                  <a:pt x="667833" y="349583"/>
                  <a:pt x="663684" y="349583"/>
                  <a:pt x="663684" y="349583"/>
                </a:cubicBezTo>
                <a:cubicBezTo>
                  <a:pt x="659535" y="345406"/>
                  <a:pt x="659535" y="345406"/>
                  <a:pt x="659535" y="341228"/>
                </a:cubicBezTo>
                <a:cubicBezTo>
                  <a:pt x="659535" y="311985"/>
                  <a:pt x="659535" y="311985"/>
                  <a:pt x="659535" y="311985"/>
                </a:cubicBezTo>
                <a:cubicBezTo>
                  <a:pt x="659535" y="307807"/>
                  <a:pt x="663684" y="303629"/>
                  <a:pt x="667833" y="303629"/>
                </a:cubicBezTo>
                <a:cubicBezTo>
                  <a:pt x="684430" y="303629"/>
                  <a:pt x="725921" y="295274"/>
                  <a:pt x="750816" y="295274"/>
                </a:cubicBezTo>
                <a:close/>
                <a:moveTo>
                  <a:pt x="354013" y="295273"/>
                </a:moveTo>
                <a:cubicBezTo>
                  <a:pt x="410125" y="295273"/>
                  <a:pt x="455613" y="348579"/>
                  <a:pt x="455613" y="414336"/>
                </a:cubicBezTo>
                <a:cubicBezTo>
                  <a:pt x="455613" y="480093"/>
                  <a:pt x="410125" y="533399"/>
                  <a:pt x="354013" y="533399"/>
                </a:cubicBezTo>
                <a:cubicBezTo>
                  <a:pt x="297901" y="533399"/>
                  <a:pt x="252413" y="480093"/>
                  <a:pt x="252413" y="414336"/>
                </a:cubicBezTo>
                <a:cubicBezTo>
                  <a:pt x="252413" y="348579"/>
                  <a:pt x="297901" y="295273"/>
                  <a:pt x="354013" y="295273"/>
                </a:cubicBezTo>
                <a:close/>
                <a:moveTo>
                  <a:pt x="53975" y="266699"/>
                </a:moveTo>
                <a:cubicBezTo>
                  <a:pt x="53975" y="358774"/>
                  <a:pt x="53975" y="358774"/>
                  <a:pt x="53975" y="358774"/>
                </a:cubicBezTo>
                <a:cubicBezTo>
                  <a:pt x="62207" y="358774"/>
                  <a:pt x="82785" y="358774"/>
                  <a:pt x="107480" y="358774"/>
                </a:cubicBezTo>
                <a:cubicBezTo>
                  <a:pt x="144521" y="358774"/>
                  <a:pt x="165100" y="342033"/>
                  <a:pt x="165100" y="312737"/>
                </a:cubicBezTo>
                <a:cubicBezTo>
                  <a:pt x="165100" y="291810"/>
                  <a:pt x="148637" y="266699"/>
                  <a:pt x="111595" y="266699"/>
                </a:cubicBezTo>
                <a:cubicBezTo>
                  <a:pt x="91017" y="266699"/>
                  <a:pt x="91017" y="266699"/>
                  <a:pt x="91017" y="266699"/>
                </a:cubicBezTo>
                <a:cubicBezTo>
                  <a:pt x="70438" y="266699"/>
                  <a:pt x="62207" y="266699"/>
                  <a:pt x="53975" y="266699"/>
                </a:cubicBezTo>
                <a:close/>
                <a:moveTo>
                  <a:pt x="546894" y="250824"/>
                </a:moveTo>
                <a:cubicBezTo>
                  <a:pt x="546894" y="250824"/>
                  <a:pt x="551050" y="250824"/>
                  <a:pt x="551050" y="250824"/>
                </a:cubicBezTo>
                <a:cubicBezTo>
                  <a:pt x="555205" y="254980"/>
                  <a:pt x="555205" y="254980"/>
                  <a:pt x="555205" y="259135"/>
                </a:cubicBezTo>
                <a:cubicBezTo>
                  <a:pt x="555205" y="304846"/>
                  <a:pt x="555205" y="304846"/>
                  <a:pt x="555205" y="304846"/>
                </a:cubicBezTo>
                <a:cubicBezTo>
                  <a:pt x="609227" y="304846"/>
                  <a:pt x="609227" y="304846"/>
                  <a:pt x="609227" y="304846"/>
                </a:cubicBezTo>
                <a:cubicBezTo>
                  <a:pt x="613383" y="304846"/>
                  <a:pt x="617538" y="304846"/>
                  <a:pt x="617538" y="313157"/>
                </a:cubicBezTo>
                <a:cubicBezTo>
                  <a:pt x="617538" y="342245"/>
                  <a:pt x="617538" y="342245"/>
                  <a:pt x="617538" y="342245"/>
                </a:cubicBezTo>
                <a:cubicBezTo>
                  <a:pt x="617538" y="346401"/>
                  <a:pt x="613383" y="350556"/>
                  <a:pt x="609227" y="350556"/>
                </a:cubicBezTo>
                <a:cubicBezTo>
                  <a:pt x="555205" y="350556"/>
                  <a:pt x="555205" y="350556"/>
                  <a:pt x="555205" y="350556"/>
                </a:cubicBezTo>
                <a:cubicBezTo>
                  <a:pt x="555205" y="441978"/>
                  <a:pt x="555205" y="441978"/>
                  <a:pt x="555205" y="441978"/>
                </a:cubicBezTo>
                <a:cubicBezTo>
                  <a:pt x="555205" y="475222"/>
                  <a:pt x="555205" y="483533"/>
                  <a:pt x="580138" y="483533"/>
                </a:cubicBezTo>
                <a:cubicBezTo>
                  <a:pt x="588449" y="483533"/>
                  <a:pt x="600916" y="483533"/>
                  <a:pt x="609227" y="483533"/>
                </a:cubicBezTo>
                <a:cubicBezTo>
                  <a:pt x="613383" y="483533"/>
                  <a:pt x="617538" y="487688"/>
                  <a:pt x="617538" y="491844"/>
                </a:cubicBezTo>
                <a:cubicBezTo>
                  <a:pt x="617538" y="520932"/>
                  <a:pt x="617538" y="520932"/>
                  <a:pt x="617538" y="520932"/>
                </a:cubicBezTo>
                <a:cubicBezTo>
                  <a:pt x="617538" y="525088"/>
                  <a:pt x="613383" y="529244"/>
                  <a:pt x="609227" y="529244"/>
                </a:cubicBezTo>
                <a:cubicBezTo>
                  <a:pt x="596760" y="529244"/>
                  <a:pt x="584294" y="533399"/>
                  <a:pt x="571827" y="533399"/>
                </a:cubicBezTo>
                <a:cubicBezTo>
                  <a:pt x="521961" y="533399"/>
                  <a:pt x="505339" y="512621"/>
                  <a:pt x="505339" y="450289"/>
                </a:cubicBezTo>
                <a:cubicBezTo>
                  <a:pt x="505339" y="350556"/>
                  <a:pt x="505339" y="350556"/>
                  <a:pt x="505339" y="350556"/>
                </a:cubicBezTo>
                <a:cubicBezTo>
                  <a:pt x="484561" y="350556"/>
                  <a:pt x="484561" y="350556"/>
                  <a:pt x="484561" y="350556"/>
                </a:cubicBezTo>
                <a:cubicBezTo>
                  <a:pt x="480406" y="350556"/>
                  <a:pt x="476250" y="346401"/>
                  <a:pt x="476250" y="342245"/>
                </a:cubicBezTo>
                <a:cubicBezTo>
                  <a:pt x="476250" y="313157"/>
                  <a:pt x="476250" y="313157"/>
                  <a:pt x="476250" y="313157"/>
                </a:cubicBezTo>
                <a:cubicBezTo>
                  <a:pt x="476250" y="304846"/>
                  <a:pt x="480406" y="304846"/>
                  <a:pt x="484561" y="304846"/>
                </a:cubicBezTo>
                <a:cubicBezTo>
                  <a:pt x="505339" y="304846"/>
                  <a:pt x="505339" y="304846"/>
                  <a:pt x="505339" y="304846"/>
                </a:cubicBezTo>
                <a:cubicBezTo>
                  <a:pt x="505339" y="267446"/>
                  <a:pt x="505339" y="267446"/>
                  <a:pt x="505339" y="267446"/>
                </a:cubicBezTo>
                <a:cubicBezTo>
                  <a:pt x="505339" y="263291"/>
                  <a:pt x="505339" y="259135"/>
                  <a:pt x="509494" y="259135"/>
                </a:cubicBezTo>
                <a:cubicBezTo>
                  <a:pt x="546894" y="250824"/>
                  <a:pt x="546894" y="250824"/>
                  <a:pt x="546894" y="250824"/>
                </a:cubicBezTo>
                <a:close/>
                <a:moveTo>
                  <a:pt x="103337" y="217487"/>
                </a:moveTo>
                <a:cubicBezTo>
                  <a:pt x="107471" y="217487"/>
                  <a:pt x="111604" y="217487"/>
                  <a:pt x="111604" y="217487"/>
                </a:cubicBezTo>
                <a:cubicBezTo>
                  <a:pt x="198408" y="217487"/>
                  <a:pt x="219075" y="267271"/>
                  <a:pt x="219075" y="312906"/>
                </a:cubicBezTo>
                <a:cubicBezTo>
                  <a:pt x="219075" y="350244"/>
                  <a:pt x="202541" y="375136"/>
                  <a:pt x="165340" y="391731"/>
                </a:cubicBezTo>
                <a:lnTo>
                  <a:pt x="219075" y="516191"/>
                </a:lnTo>
                <a:cubicBezTo>
                  <a:pt x="219075" y="520340"/>
                  <a:pt x="219075" y="520340"/>
                  <a:pt x="219075" y="524488"/>
                </a:cubicBezTo>
                <a:cubicBezTo>
                  <a:pt x="219075" y="524488"/>
                  <a:pt x="214942" y="528637"/>
                  <a:pt x="210808" y="528637"/>
                </a:cubicBezTo>
                <a:cubicBezTo>
                  <a:pt x="173607" y="528637"/>
                  <a:pt x="173607" y="528637"/>
                  <a:pt x="173607" y="528637"/>
                </a:cubicBezTo>
                <a:cubicBezTo>
                  <a:pt x="169473" y="528637"/>
                  <a:pt x="165340" y="524488"/>
                  <a:pt x="165340" y="524488"/>
                </a:cubicBezTo>
                <a:cubicBezTo>
                  <a:pt x="111604" y="408326"/>
                  <a:pt x="111604" y="408326"/>
                  <a:pt x="111604" y="408326"/>
                </a:cubicBezTo>
                <a:cubicBezTo>
                  <a:pt x="86803" y="408326"/>
                  <a:pt x="66136" y="408326"/>
                  <a:pt x="53736" y="404177"/>
                </a:cubicBezTo>
                <a:cubicBezTo>
                  <a:pt x="53736" y="520340"/>
                  <a:pt x="53736" y="520340"/>
                  <a:pt x="53736" y="520340"/>
                </a:cubicBezTo>
                <a:cubicBezTo>
                  <a:pt x="53736" y="524488"/>
                  <a:pt x="49602" y="528637"/>
                  <a:pt x="45469" y="528637"/>
                </a:cubicBezTo>
                <a:cubicBezTo>
                  <a:pt x="8267" y="528637"/>
                  <a:pt x="8267" y="528637"/>
                  <a:pt x="8267" y="528637"/>
                </a:cubicBezTo>
                <a:cubicBezTo>
                  <a:pt x="4134" y="528637"/>
                  <a:pt x="0" y="524488"/>
                  <a:pt x="0" y="520340"/>
                </a:cubicBezTo>
                <a:cubicBezTo>
                  <a:pt x="0" y="229933"/>
                  <a:pt x="0" y="229933"/>
                  <a:pt x="0" y="229933"/>
                </a:cubicBezTo>
                <a:cubicBezTo>
                  <a:pt x="0" y="225784"/>
                  <a:pt x="4134" y="221636"/>
                  <a:pt x="8267" y="221636"/>
                </a:cubicBezTo>
                <a:cubicBezTo>
                  <a:pt x="53736" y="217487"/>
                  <a:pt x="90937" y="217487"/>
                  <a:pt x="103337" y="217487"/>
                </a:cubicBezTo>
                <a:close/>
                <a:moveTo>
                  <a:pt x="1941299" y="180951"/>
                </a:moveTo>
                <a:cubicBezTo>
                  <a:pt x="1938725" y="180430"/>
                  <a:pt x="1936665" y="181472"/>
                  <a:pt x="1936665" y="183555"/>
                </a:cubicBezTo>
                <a:cubicBezTo>
                  <a:pt x="1903714" y="221060"/>
                  <a:pt x="1903714" y="221060"/>
                  <a:pt x="1903714" y="221060"/>
                </a:cubicBezTo>
                <a:cubicBezTo>
                  <a:pt x="1895476" y="225227"/>
                  <a:pt x="1895476" y="233562"/>
                  <a:pt x="1903714" y="237729"/>
                </a:cubicBezTo>
                <a:cubicBezTo>
                  <a:pt x="1953141" y="291902"/>
                  <a:pt x="1973736" y="362745"/>
                  <a:pt x="1957260" y="450256"/>
                </a:cubicBezTo>
                <a:cubicBezTo>
                  <a:pt x="1957260" y="458590"/>
                  <a:pt x="1961379" y="462757"/>
                  <a:pt x="1965498" y="462757"/>
                </a:cubicBezTo>
                <a:cubicBezTo>
                  <a:pt x="2010806" y="475259"/>
                  <a:pt x="2010806" y="475259"/>
                  <a:pt x="2010806" y="475259"/>
                </a:cubicBezTo>
                <a:cubicBezTo>
                  <a:pt x="2019044" y="479426"/>
                  <a:pt x="2023163" y="475259"/>
                  <a:pt x="2023163" y="471092"/>
                </a:cubicBezTo>
                <a:cubicBezTo>
                  <a:pt x="2047876" y="362745"/>
                  <a:pt x="2014925" y="254398"/>
                  <a:pt x="1949022" y="187722"/>
                </a:cubicBezTo>
                <a:cubicBezTo>
                  <a:pt x="1946963" y="183555"/>
                  <a:pt x="1943873" y="181472"/>
                  <a:pt x="1941299" y="180951"/>
                </a:cubicBezTo>
                <a:close/>
                <a:moveTo>
                  <a:pt x="1491989" y="180951"/>
                </a:moveTo>
                <a:cubicBezTo>
                  <a:pt x="1489388" y="181472"/>
                  <a:pt x="1486266" y="183555"/>
                  <a:pt x="1484185" y="187722"/>
                </a:cubicBezTo>
                <a:cubicBezTo>
                  <a:pt x="1417596" y="254398"/>
                  <a:pt x="1384301" y="362745"/>
                  <a:pt x="1409272" y="471092"/>
                </a:cubicBezTo>
                <a:cubicBezTo>
                  <a:pt x="1409272" y="475259"/>
                  <a:pt x="1413434" y="479426"/>
                  <a:pt x="1421758" y="475259"/>
                </a:cubicBezTo>
                <a:cubicBezTo>
                  <a:pt x="1467538" y="462757"/>
                  <a:pt x="1467538" y="462757"/>
                  <a:pt x="1467538" y="462757"/>
                </a:cubicBezTo>
                <a:cubicBezTo>
                  <a:pt x="1471700" y="462757"/>
                  <a:pt x="1475862" y="458590"/>
                  <a:pt x="1475862" y="450256"/>
                </a:cubicBezTo>
                <a:cubicBezTo>
                  <a:pt x="1459214" y="362745"/>
                  <a:pt x="1480023" y="291902"/>
                  <a:pt x="1529965" y="237729"/>
                </a:cubicBezTo>
                <a:cubicBezTo>
                  <a:pt x="1538289" y="233562"/>
                  <a:pt x="1538289" y="225227"/>
                  <a:pt x="1534127" y="221060"/>
                </a:cubicBezTo>
                <a:cubicBezTo>
                  <a:pt x="1496671" y="183555"/>
                  <a:pt x="1496671" y="183555"/>
                  <a:pt x="1496671" y="183555"/>
                </a:cubicBezTo>
                <a:cubicBezTo>
                  <a:pt x="1496671" y="181472"/>
                  <a:pt x="1494590" y="180430"/>
                  <a:pt x="1491989" y="180951"/>
                </a:cubicBezTo>
                <a:close/>
                <a:moveTo>
                  <a:pt x="1750379" y="174625"/>
                </a:moveTo>
                <a:cubicBezTo>
                  <a:pt x="1746251" y="178798"/>
                  <a:pt x="1746251" y="182971"/>
                  <a:pt x="1746251" y="187144"/>
                </a:cubicBezTo>
                <a:cubicBezTo>
                  <a:pt x="1754506" y="308156"/>
                  <a:pt x="1754506" y="308156"/>
                  <a:pt x="1754506" y="308156"/>
                </a:cubicBezTo>
                <a:cubicBezTo>
                  <a:pt x="1758634" y="312329"/>
                  <a:pt x="1758634" y="316502"/>
                  <a:pt x="1762761" y="320675"/>
                </a:cubicBezTo>
                <a:cubicBezTo>
                  <a:pt x="1766889" y="320675"/>
                  <a:pt x="1771016" y="320675"/>
                  <a:pt x="1775144" y="320675"/>
                </a:cubicBezTo>
                <a:cubicBezTo>
                  <a:pt x="1882459" y="266428"/>
                  <a:pt x="1882459" y="266428"/>
                  <a:pt x="1882459" y="266428"/>
                </a:cubicBezTo>
                <a:cubicBezTo>
                  <a:pt x="1886587" y="262255"/>
                  <a:pt x="1890714" y="262255"/>
                  <a:pt x="1890714" y="258082"/>
                </a:cubicBezTo>
                <a:cubicBezTo>
                  <a:pt x="1890714" y="253909"/>
                  <a:pt x="1890714" y="253909"/>
                  <a:pt x="1886587" y="249736"/>
                </a:cubicBezTo>
                <a:cubicBezTo>
                  <a:pt x="1849439" y="208008"/>
                  <a:pt x="1812291" y="187144"/>
                  <a:pt x="1758634" y="174625"/>
                </a:cubicBezTo>
                <a:cubicBezTo>
                  <a:pt x="1754506" y="174625"/>
                  <a:pt x="1754506" y="174625"/>
                  <a:pt x="1750379" y="174625"/>
                </a:cubicBezTo>
                <a:close/>
                <a:moveTo>
                  <a:pt x="1675132" y="174625"/>
                </a:moveTo>
                <a:cubicBezTo>
                  <a:pt x="1621474" y="187144"/>
                  <a:pt x="1584326" y="212181"/>
                  <a:pt x="1547179" y="249736"/>
                </a:cubicBezTo>
                <a:cubicBezTo>
                  <a:pt x="1543051" y="253909"/>
                  <a:pt x="1543051" y="258082"/>
                  <a:pt x="1543051" y="258082"/>
                </a:cubicBezTo>
                <a:cubicBezTo>
                  <a:pt x="1543051" y="262255"/>
                  <a:pt x="1547179" y="266428"/>
                  <a:pt x="1551306" y="266428"/>
                </a:cubicBezTo>
                <a:cubicBezTo>
                  <a:pt x="1658622" y="320675"/>
                  <a:pt x="1658622" y="320675"/>
                  <a:pt x="1658622" y="320675"/>
                </a:cubicBezTo>
                <a:cubicBezTo>
                  <a:pt x="1662749" y="320675"/>
                  <a:pt x="1666877" y="320675"/>
                  <a:pt x="1671004" y="320675"/>
                </a:cubicBezTo>
                <a:cubicBezTo>
                  <a:pt x="1675132" y="320675"/>
                  <a:pt x="1675132" y="316502"/>
                  <a:pt x="1675132" y="312329"/>
                </a:cubicBezTo>
                <a:cubicBezTo>
                  <a:pt x="1687514" y="187144"/>
                  <a:pt x="1687514" y="187144"/>
                  <a:pt x="1687514" y="187144"/>
                </a:cubicBezTo>
                <a:cubicBezTo>
                  <a:pt x="1687514" y="182971"/>
                  <a:pt x="1683387" y="178798"/>
                  <a:pt x="1683387" y="174625"/>
                </a:cubicBezTo>
                <a:cubicBezTo>
                  <a:pt x="1679259" y="174625"/>
                  <a:pt x="1679259" y="174625"/>
                  <a:pt x="1675132" y="174625"/>
                </a:cubicBezTo>
                <a:close/>
                <a:moveTo>
                  <a:pt x="1579247" y="133350"/>
                </a:moveTo>
                <a:cubicBezTo>
                  <a:pt x="1575119" y="137716"/>
                  <a:pt x="1570992" y="137716"/>
                  <a:pt x="1566864" y="142082"/>
                </a:cubicBezTo>
                <a:cubicBezTo>
                  <a:pt x="1570992" y="142082"/>
                  <a:pt x="1570992" y="142082"/>
                  <a:pt x="1570992" y="142082"/>
                </a:cubicBezTo>
                <a:cubicBezTo>
                  <a:pt x="1575119" y="150813"/>
                  <a:pt x="1575119" y="150813"/>
                  <a:pt x="1575119" y="150813"/>
                </a:cubicBezTo>
                <a:cubicBezTo>
                  <a:pt x="1583375" y="146447"/>
                  <a:pt x="1583375" y="146447"/>
                  <a:pt x="1583375" y="146447"/>
                </a:cubicBezTo>
                <a:cubicBezTo>
                  <a:pt x="1587502" y="146447"/>
                  <a:pt x="1587502" y="146447"/>
                  <a:pt x="1587502" y="142082"/>
                </a:cubicBezTo>
                <a:cubicBezTo>
                  <a:pt x="1587502" y="137716"/>
                  <a:pt x="1583375" y="133350"/>
                  <a:pt x="1579247" y="133350"/>
                </a:cubicBezTo>
                <a:close/>
                <a:moveTo>
                  <a:pt x="1575142" y="124846"/>
                </a:moveTo>
                <a:cubicBezTo>
                  <a:pt x="1587729" y="120650"/>
                  <a:pt x="1600315" y="133237"/>
                  <a:pt x="1596120" y="141628"/>
                </a:cubicBezTo>
                <a:cubicBezTo>
                  <a:pt x="1596120" y="145823"/>
                  <a:pt x="1596120" y="145823"/>
                  <a:pt x="1596120" y="145823"/>
                </a:cubicBezTo>
                <a:cubicBezTo>
                  <a:pt x="1612902" y="162606"/>
                  <a:pt x="1612902" y="162606"/>
                  <a:pt x="1612902" y="162606"/>
                </a:cubicBezTo>
                <a:cubicBezTo>
                  <a:pt x="1608707" y="162606"/>
                  <a:pt x="1608707" y="162606"/>
                  <a:pt x="1604511" y="166801"/>
                </a:cubicBezTo>
                <a:cubicBezTo>
                  <a:pt x="1587729" y="154215"/>
                  <a:pt x="1587729" y="154215"/>
                  <a:pt x="1587729" y="154215"/>
                </a:cubicBezTo>
                <a:cubicBezTo>
                  <a:pt x="1579338" y="158410"/>
                  <a:pt x="1579338" y="158410"/>
                  <a:pt x="1579338" y="158410"/>
                </a:cubicBezTo>
                <a:cubicBezTo>
                  <a:pt x="1587729" y="175192"/>
                  <a:pt x="1587729" y="175192"/>
                  <a:pt x="1587729" y="175192"/>
                </a:cubicBezTo>
                <a:cubicBezTo>
                  <a:pt x="1583533" y="175192"/>
                  <a:pt x="1583533" y="179388"/>
                  <a:pt x="1579338" y="179388"/>
                </a:cubicBezTo>
                <a:lnTo>
                  <a:pt x="1558360" y="141628"/>
                </a:lnTo>
                <a:cubicBezTo>
                  <a:pt x="1554164" y="137432"/>
                  <a:pt x="1554164" y="137432"/>
                  <a:pt x="1554164" y="137432"/>
                </a:cubicBezTo>
                <a:cubicBezTo>
                  <a:pt x="1562555" y="133237"/>
                  <a:pt x="1570946" y="129041"/>
                  <a:pt x="1575142" y="124846"/>
                </a:cubicBezTo>
                <a:close/>
                <a:moveTo>
                  <a:pt x="1836161" y="117475"/>
                </a:moveTo>
                <a:cubicBezTo>
                  <a:pt x="1840347" y="117475"/>
                  <a:pt x="1840347" y="117475"/>
                  <a:pt x="1844532" y="121557"/>
                </a:cubicBezTo>
                <a:cubicBezTo>
                  <a:pt x="1844532" y="121557"/>
                  <a:pt x="1844532" y="121557"/>
                  <a:pt x="1848717" y="141968"/>
                </a:cubicBezTo>
                <a:cubicBezTo>
                  <a:pt x="1848717" y="141968"/>
                  <a:pt x="1848717" y="141968"/>
                  <a:pt x="1869644" y="133804"/>
                </a:cubicBezTo>
                <a:cubicBezTo>
                  <a:pt x="1873829" y="133804"/>
                  <a:pt x="1878014" y="137886"/>
                  <a:pt x="1878014" y="137886"/>
                </a:cubicBezTo>
                <a:cubicBezTo>
                  <a:pt x="1878014" y="137886"/>
                  <a:pt x="1878014" y="137886"/>
                  <a:pt x="1848717" y="154214"/>
                </a:cubicBezTo>
                <a:cubicBezTo>
                  <a:pt x="1848717" y="154214"/>
                  <a:pt x="1848717" y="154214"/>
                  <a:pt x="1840347" y="174625"/>
                </a:cubicBezTo>
                <a:lnTo>
                  <a:pt x="1831976" y="166461"/>
                </a:lnTo>
                <a:cubicBezTo>
                  <a:pt x="1831976" y="166461"/>
                  <a:pt x="1831976" y="166461"/>
                  <a:pt x="1840347" y="146050"/>
                </a:cubicBezTo>
                <a:cubicBezTo>
                  <a:pt x="1840347" y="146050"/>
                  <a:pt x="1840347" y="146050"/>
                  <a:pt x="1836161" y="117475"/>
                </a:cubicBezTo>
                <a:close/>
                <a:moveTo>
                  <a:pt x="1794829" y="112713"/>
                </a:moveTo>
                <a:cubicBezTo>
                  <a:pt x="1790701" y="120651"/>
                  <a:pt x="1790701" y="120651"/>
                  <a:pt x="1790701" y="120651"/>
                </a:cubicBezTo>
                <a:lnTo>
                  <a:pt x="1790701" y="124619"/>
                </a:lnTo>
                <a:cubicBezTo>
                  <a:pt x="1803084" y="128588"/>
                  <a:pt x="1803084" y="128588"/>
                  <a:pt x="1803084" y="128588"/>
                </a:cubicBezTo>
                <a:cubicBezTo>
                  <a:pt x="1807212" y="128588"/>
                  <a:pt x="1811339" y="124619"/>
                  <a:pt x="1811339" y="120651"/>
                </a:cubicBezTo>
                <a:cubicBezTo>
                  <a:pt x="1811339" y="116682"/>
                  <a:pt x="1807212" y="116682"/>
                  <a:pt x="1807212" y="116682"/>
                </a:cubicBezTo>
                <a:cubicBezTo>
                  <a:pt x="1803084" y="112713"/>
                  <a:pt x="1798956" y="112713"/>
                  <a:pt x="1794829" y="112713"/>
                </a:cubicBezTo>
                <a:close/>
                <a:moveTo>
                  <a:pt x="1637508" y="112117"/>
                </a:moveTo>
                <a:cubicBezTo>
                  <a:pt x="1629174" y="112117"/>
                  <a:pt x="1620839" y="116285"/>
                  <a:pt x="1620839" y="124619"/>
                </a:cubicBezTo>
                <a:cubicBezTo>
                  <a:pt x="1620839" y="128786"/>
                  <a:pt x="1620839" y="128786"/>
                  <a:pt x="1620839" y="128786"/>
                </a:cubicBezTo>
                <a:cubicBezTo>
                  <a:pt x="1620839" y="137121"/>
                  <a:pt x="1629174" y="141288"/>
                  <a:pt x="1637508" y="141288"/>
                </a:cubicBezTo>
                <a:cubicBezTo>
                  <a:pt x="1645843" y="141288"/>
                  <a:pt x="1654177" y="132954"/>
                  <a:pt x="1654177" y="124619"/>
                </a:cubicBezTo>
                <a:cubicBezTo>
                  <a:pt x="1654177" y="116285"/>
                  <a:pt x="1645843" y="107950"/>
                  <a:pt x="1637508" y="112117"/>
                </a:cubicBezTo>
                <a:close/>
                <a:moveTo>
                  <a:pt x="1741489" y="104775"/>
                </a:moveTo>
                <a:cubicBezTo>
                  <a:pt x="1737520" y="117158"/>
                  <a:pt x="1737520" y="117158"/>
                  <a:pt x="1737520" y="117158"/>
                </a:cubicBezTo>
                <a:lnTo>
                  <a:pt x="1733551" y="125413"/>
                </a:lnTo>
                <a:cubicBezTo>
                  <a:pt x="1737520" y="125413"/>
                  <a:pt x="1745457" y="125413"/>
                  <a:pt x="1749426" y="125413"/>
                </a:cubicBezTo>
                <a:cubicBezTo>
                  <a:pt x="1745457" y="117158"/>
                  <a:pt x="1745457" y="117158"/>
                  <a:pt x="1745457" y="117158"/>
                </a:cubicBezTo>
                <a:cubicBezTo>
                  <a:pt x="1741489" y="104775"/>
                  <a:pt x="1741489" y="104775"/>
                  <a:pt x="1741489" y="104775"/>
                </a:cubicBezTo>
                <a:close/>
                <a:moveTo>
                  <a:pt x="1633407" y="104165"/>
                </a:moveTo>
                <a:cubicBezTo>
                  <a:pt x="1649811" y="100013"/>
                  <a:pt x="1662114" y="112469"/>
                  <a:pt x="1662114" y="124925"/>
                </a:cubicBezTo>
                <a:cubicBezTo>
                  <a:pt x="1662114" y="141532"/>
                  <a:pt x="1653912" y="149836"/>
                  <a:pt x="1637508" y="149836"/>
                </a:cubicBezTo>
                <a:cubicBezTo>
                  <a:pt x="1625204" y="153988"/>
                  <a:pt x="1612901" y="141532"/>
                  <a:pt x="1612901" y="129076"/>
                </a:cubicBezTo>
                <a:cubicBezTo>
                  <a:pt x="1612901" y="129076"/>
                  <a:pt x="1612901" y="129076"/>
                  <a:pt x="1612901" y="124925"/>
                </a:cubicBezTo>
                <a:cubicBezTo>
                  <a:pt x="1612901" y="112469"/>
                  <a:pt x="1621103" y="104165"/>
                  <a:pt x="1633407" y="104165"/>
                </a:cubicBezTo>
                <a:close/>
                <a:moveTo>
                  <a:pt x="1787382" y="100013"/>
                </a:moveTo>
                <a:cubicBezTo>
                  <a:pt x="1795752" y="100013"/>
                  <a:pt x="1804123" y="104209"/>
                  <a:pt x="1812494" y="108404"/>
                </a:cubicBezTo>
                <a:cubicBezTo>
                  <a:pt x="1816679" y="108404"/>
                  <a:pt x="1820864" y="112600"/>
                  <a:pt x="1820864" y="120991"/>
                </a:cubicBezTo>
                <a:cubicBezTo>
                  <a:pt x="1820864" y="125186"/>
                  <a:pt x="1816679" y="133578"/>
                  <a:pt x="1808308" y="137773"/>
                </a:cubicBezTo>
                <a:cubicBezTo>
                  <a:pt x="1812494" y="158751"/>
                  <a:pt x="1812494" y="158751"/>
                  <a:pt x="1812494" y="158751"/>
                </a:cubicBezTo>
                <a:cubicBezTo>
                  <a:pt x="1808308" y="158751"/>
                  <a:pt x="1808308" y="158751"/>
                  <a:pt x="1804123" y="154555"/>
                </a:cubicBezTo>
                <a:cubicBezTo>
                  <a:pt x="1799938" y="133578"/>
                  <a:pt x="1799938" y="133578"/>
                  <a:pt x="1799938" y="133578"/>
                </a:cubicBezTo>
                <a:cubicBezTo>
                  <a:pt x="1791567" y="133578"/>
                  <a:pt x="1791567" y="133578"/>
                  <a:pt x="1791567" y="133578"/>
                </a:cubicBezTo>
                <a:lnTo>
                  <a:pt x="1787382" y="150360"/>
                </a:lnTo>
                <a:cubicBezTo>
                  <a:pt x="1783197" y="150360"/>
                  <a:pt x="1779011" y="150360"/>
                  <a:pt x="1774826" y="146164"/>
                </a:cubicBezTo>
                <a:cubicBezTo>
                  <a:pt x="1783197" y="120991"/>
                  <a:pt x="1783197" y="120991"/>
                  <a:pt x="1783197" y="120991"/>
                </a:cubicBezTo>
                <a:cubicBezTo>
                  <a:pt x="1787382" y="100013"/>
                  <a:pt x="1787382" y="100013"/>
                  <a:pt x="1787382" y="100013"/>
                </a:cubicBezTo>
                <a:close/>
                <a:moveTo>
                  <a:pt x="1737015" y="92075"/>
                </a:moveTo>
                <a:cubicBezTo>
                  <a:pt x="1749571" y="92075"/>
                  <a:pt x="1749571" y="92075"/>
                  <a:pt x="1749571" y="92075"/>
                </a:cubicBezTo>
                <a:cubicBezTo>
                  <a:pt x="1753757" y="116987"/>
                  <a:pt x="1753757" y="116987"/>
                  <a:pt x="1753757" y="116987"/>
                </a:cubicBezTo>
                <a:cubicBezTo>
                  <a:pt x="1762127" y="146050"/>
                  <a:pt x="1762127" y="146050"/>
                  <a:pt x="1762127" y="146050"/>
                </a:cubicBezTo>
                <a:cubicBezTo>
                  <a:pt x="1757942" y="146050"/>
                  <a:pt x="1757942" y="141898"/>
                  <a:pt x="1753757" y="141898"/>
                </a:cubicBezTo>
                <a:cubicBezTo>
                  <a:pt x="1749571" y="133594"/>
                  <a:pt x="1749571" y="133594"/>
                  <a:pt x="1749571" y="133594"/>
                </a:cubicBezTo>
                <a:cubicBezTo>
                  <a:pt x="1741201" y="133594"/>
                  <a:pt x="1737015" y="133594"/>
                  <a:pt x="1728645" y="133594"/>
                </a:cubicBezTo>
                <a:lnTo>
                  <a:pt x="1724460" y="141898"/>
                </a:lnTo>
                <a:cubicBezTo>
                  <a:pt x="1720274" y="141898"/>
                  <a:pt x="1720274" y="141898"/>
                  <a:pt x="1716089" y="141898"/>
                </a:cubicBezTo>
                <a:cubicBezTo>
                  <a:pt x="1728645" y="116987"/>
                  <a:pt x="1728645" y="116987"/>
                  <a:pt x="1728645" y="116987"/>
                </a:cubicBezTo>
                <a:cubicBezTo>
                  <a:pt x="1737015" y="92075"/>
                  <a:pt x="1737015" y="92075"/>
                  <a:pt x="1737015" y="92075"/>
                </a:cubicBezTo>
                <a:close/>
                <a:moveTo>
                  <a:pt x="1712914" y="92075"/>
                </a:moveTo>
                <a:cubicBezTo>
                  <a:pt x="1712914" y="92075"/>
                  <a:pt x="1712914" y="92075"/>
                  <a:pt x="1712914" y="100277"/>
                </a:cubicBezTo>
                <a:cubicBezTo>
                  <a:pt x="1712914" y="100277"/>
                  <a:pt x="1712914" y="100277"/>
                  <a:pt x="1696173" y="100277"/>
                </a:cubicBezTo>
                <a:cubicBezTo>
                  <a:pt x="1696173" y="100277"/>
                  <a:pt x="1696173" y="100277"/>
                  <a:pt x="1700358" y="141288"/>
                </a:cubicBezTo>
                <a:cubicBezTo>
                  <a:pt x="1700358" y="141288"/>
                  <a:pt x="1700358" y="141288"/>
                  <a:pt x="1687802" y="141288"/>
                </a:cubicBezTo>
                <a:cubicBezTo>
                  <a:pt x="1687802" y="141288"/>
                  <a:pt x="1687802" y="141288"/>
                  <a:pt x="1683617" y="100277"/>
                </a:cubicBezTo>
                <a:lnTo>
                  <a:pt x="1666876" y="104378"/>
                </a:lnTo>
                <a:cubicBezTo>
                  <a:pt x="1666876" y="104378"/>
                  <a:pt x="1666876" y="104378"/>
                  <a:pt x="1666876" y="96176"/>
                </a:cubicBezTo>
                <a:cubicBezTo>
                  <a:pt x="1683617" y="92075"/>
                  <a:pt x="1691988" y="92075"/>
                  <a:pt x="1712914" y="92075"/>
                </a:cubicBezTo>
                <a:close/>
                <a:moveTo>
                  <a:pt x="1181630" y="92074"/>
                </a:moveTo>
                <a:cubicBezTo>
                  <a:pt x="1160463" y="92074"/>
                  <a:pt x="1147763" y="112712"/>
                  <a:pt x="1147763" y="133349"/>
                </a:cubicBezTo>
                <a:lnTo>
                  <a:pt x="1211263" y="133349"/>
                </a:lnTo>
                <a:cubicBezTo>
                  <a:pt x="1211263" y="112712"/>
                  <a:pt x="1202796" y="92074"/>
                  <a:pt x="1181630" y="92074"/>
                </a:cubicBezTo>
                <a:close/>
                <a:moveTo>
                  <a:pt x="1716089" y="84138"/>
                </a:moveTo>
                <a:cubicBezTo>
                  <a:pt x="1641444" y="84138"/>
                  <a:pt x="1575093" y="108903"/>
                  <a:pt x="1521183" y="150178"/>
                </a:cubicBezTo>
                <a:cubicBezTo>
                  <a:pt x="1512889" y="158433"/>
                  <a:pt x="1512889" y="162561"/>
                  <a:pt x="1517036" y="166688"/>
                </a:cubicBezTo>
                <a:cubicBezTo>
                  <a:pt x="1550212" y="203836"/>
                  <a:pt x="1550212" y="203836"/>
                  <a:pt x="1550212" y="203836"/>
                </a:cubicBezTo>
                <a:cubicBezTo>
                  <a:pt x="1554359" y="207963"/>
                  <a:pt x="1558505" y="207963"/>
                  <a:pt x="1566799" y="203836"/>
                </a:cubicBezTo>
                <a:cubicBezTo>
                  <a:pt x="1608269" y="170816"/>
                  <a:pt x="1658032" y="150178"/>
                  <a:pt x="1716089" y="150178"/>
                </a:cubicBezTo>
                <a:cubicBezTo>
                  <a:pt x="1769999" y="150178"/>
                  <a:pt x="1823910" y="170816"/>
                  <a:pt x="1865379" y="203836"/>
                </a:cubicBezTo>
                <a:cubicBezTo>
                  <a:pt x="1873673" y="207963"/>
                  <a:pt x="1877820" y="207963"/>
                  <a:pt x="1881967" y="203836"/>
                </a:cubicBezTo>
                <a:cubicBezTo>
                  <a:pt x="1915142" y="166688"/>
                  <a:pt x="1915142" y="166688"/>
                  <a:pt x="1915142" y="166688"/>
                </a:cubicBezTo>
                <a:cubicBezTo>
                  <a:pt x="1919289" y="162561"/>
                  <a:pt x="1919289" y="158433"/>
                  <a:pt x="1910995" y="150178"/>
                </a:cubicBezTo>
                <a:cubicBezTo>
                  <a:pt x="1857085" y="108903"/>
                  <a:pt x="1790734" y="84138"/>
                  <a:pt x="1716089" y="84138"/>
                </a:cubicBezTo>
                <a:close/>
                <a:moveTo>
                  <a:pt x="1181894" y="84137"/>
                </a:moveTo>
                <a:cubicBezTo>
                  <a:pt x="1214799" y="84137"/>
                  <a:pt x="1227138" y="108970"/>
                  <a:pt x="1227138" y="137942"/>
                </a:cubicBezTo>
                <a:cubicBezTo>
                  <a:pt x="1227138" y="146220"/>
                  <a:pt x="1227138" y="146220"/>
                  <a:pt x="1227138" y="146220"/>
                </a:cubicBezTo>
                <a:cubicBezTo>
                  <a:pt x="1148989" y="146220"/>
                  <a:pt x="1148989" y="146220"/>
                  <a:pt x="1148989" y="146220"/>
                </a:cubicBezTo>
                <a:cubicBezTo>
                  <a:pt x="1148989" y="166914"/>
                  <a:pt x="1161329" y="187608"/>
                  <a:pt x="1186007" y="187608"/>
                </a:cubicBezTo>
                <a:cubicBezTo>
                  <a:pt x="1198346" y="187608"/>
                  <a:pt x="1210686" y="183470"/>
                  <a:pt x="1218912" y="179331"/>
                </a:cubicBezTo>
                <a:lnTo>
                  <a:pt x="1218912" y="191747"/>
                </a:lnTo>
                <a:cubicBezTo>
                  <a:pt x="1210686" y="195886"/>
                  <a:pt x="1194233" y="200025"/>
                  <a:pt x="1186007" y="200025"/>
                </a:cubicBezTo>
                <a:cubicBezTo>
                  <a:pt x="1148989" y="200025"/>
                  <a:pt x="1136650" y="175192"/>
                  <a:pt x="1136650" y="142081"/>
                </a:cubicBezTo>
                <a:cubicBezTo>
                  <a:pt x="1136650" y="104831"/>
                  <a:pt x="1153102" y="84137"/>
                  <a:pt x="1181894" y="84137"/>
                </a:cubicBezTo>
                <a:close/>
                <a:moveTo>
                  <a:pt x="887413" y="41274"/>
                </a:moveTo>
                <a:lnTo>
                  <a:pt x="995363" y="41274"/>
                </a:lnTo>
                <a:lnTo>
                  <a:pt x="995363" y="53974"/>
                </a:lnTo>
                <a:lnTo>
                  <a:pt x="949326" y="53974"/>
                </a:lnTo>
                <a:lnTo>
                  <a:pt x="949326" y="195262"/>
                </a:lnTo>
                <a:lnTo>
                  <a:pt x="933451" y="195262"/>
                </a:lnTo>
                <a:lnTo>
                  <a:pt x="933451" y="53974"/>
                </a:lnTo>
                <a:lnTo>
                  <a:pt x="887413" y="53974"/>
                </a:lnTo>
                <a:close/>
                <a:moveTo>
                  <a:pt x="1020763" y="28574"/>
                </a:moveTo>
                <a:cubicBezTo>
                  <a:pt x="1033010" y="28574"/>
                  <a:pt x="1033010" y="28574"/>
                  <a:pt x="1033010" y="28574"/>
                </a:cubicBezTo>
                <a:cubicBezTo>
                  <a:pt x="1033010" y="103584"/>
                  <a:pt x="1033010" y="103584"/>
                  <a:pt x="1033010" y="103584"/>
                </a:cubicBezTo>
                <a:cubicBezTo>
                  <a:pt x="1041174" y="91082"/>
                  <a:pt x="1053420" y="82748"/>
                  <a:pt x="1069749" y="82748"/>
                </a:cubicBezTo>
                <a:cubicBezTo>
                  <a:pt x="1098324" y="82748"/>
                  <a:pt x="1106488" y="99416"/>
                  <a:pt x="1106488" y="128587"/>
                </a:cubicBezTo>
                <a:cubicBezTo>
                  <a:pt x="1106488" y="195262"/>
                  <a:pt x="1106488" y="195262"/>
                  <a:pt x="1106488" y="195262"/>
                </a:cubicBezTo>
                <a:cubicBezTo>
                  <a:pt x="1090160" y="195262"/>
                  <a:pt x="1090160" y="195262"/>
                  <a:pt x="1090160" y="195262"/>
                </a:cubicBezTo>
                <a:cubicBezTo>
                  <a:pt x="1090160" y="128587"/>
                  <a:pt x="1090160" y="128587"/>
                  <a:pt x="1090160" y="128587"/>
                </a:cubicBezTo>
                <a:cubicBezTo>
                  <a:pt x="1090160" y="107751"/>
                  <a:pt x="1090160" y="91082"/>
                  <a:pt x="1065667" y="91082"/>
                </a:cubicBezTo>
                <a:cubicBezTo>
                  <a:pt x="1041174" y="91082"/>
                  <a:pt x="1033010" y="116085"/>
                  <a:pt x="1033010" y="136921"/>
                </a:cubicBezTo>
                <a:cubicBezTo>
                  <a:pt x="1033010" y="195262"/>
                  <a:pt x="1033010" y="195262"/>
                  <a:pt x="1033010" y="195262"/>
                </a:cubicBezTo>
                <a:cubicBezTo>
                  <a:pt x="1020763" y="195262"/>
                  <a:pt x="1020763" y="195262"/>
                  <a:pt x="1020763" y="195262"/>
                </a:cubicBezTo>
                <a:close/>
                <a:moveTo>
                  <a:pt x="1704456" y="0"/>
                </a:moveTo>
                <a:cubicBezTo>
                  <a:pt x="1712741" y="0"/>
                  <a:pt x="1721026" y="0"/>
                  <a:pt x="1729310" y="0"/>
                </a:cubicBezTo>
                <a:cubicBezTo>
                  <a:pt x="1741737" y="20820"/>
                  <a:pt x="1745880" y="41641"/>
                  <a:pt x="1745880" y="62461"/>
                </a:cubicBezTo>
                <a:cubicBezTo>
                  <a:pt x="1750022" y="62461"/>
                  <a:pt x="1770734" y="66625"/>
                  <a:pt x="1774877" y="66625"/>
                </a:cubicBezTo>
                <a:cubicBezTo>
                  <a:pt x="1779019" y="45805"/>
                  <a:pt x="1791446" y="24984"/>
                  <a:pt x="1803873" y="12492"/>
                </a:cubicBezTo>
                <a:cubicBezTo>
                  <a:pt x="1808016" y="12492"/>
                  <a:pt x="1808016" y="12492"/>
                  <a:pt x="1808016" y="12492"/>
                </a:cubicBezTo>
                <a:cubicBezTo>
                  <a:pt x="1816300" y="12492"/>
                  <a:pt x="1824585" y="16656"/>
                  <a:pt x="1832870" y="16656"/>
                </a:cubicBezTo>
                <a:cubicBezTo>
                  <a:pt x="1832870" y="20820"/>
                  <a:pt x="1832870" y="20820"/>
                  <a:pt x="1832870" y="20820"/>
                </a:cubicBezTo>
                <a:cubicBezTo>
                  <a:pt x="1837012" y="29149"/>
                  <a:pt x="1837012" y="37477"/>
                  <a:pt x="1837012" y="49969"/>
                </a:cubicBezTo>
                <a:cubicBezTo>
                  <a:pt x="1837012" y="62461"/>
                  <a:pt x="1837012" y="70789"/>
                  <a:pt x="1832870" y="83282"/>
                </a:cubicBezTo>
                <a:cubicBezTo>
                  <a:pt x="1837012" y="83282"/>
                  <a:pt x="1853582" y="91610"/>
                  <a:pt x="1857724" y="91610"/>
                </a:cubicBezTo>
                <a:cubicBezTo>
                  <a:pt x="1870151" y="74953"/>
                  <a:pt x="1886721" y="58297"/>
                  <a:pt x="1903291" y="49969"/>
                </a:cubicBezTo>
                <a:cubicBezTo>
                  <a:pt x="1911575" y="49969"/>
                  <a:pt x="1919860" y="58297"/>
                  <a:pt x="1928145" y="62461"/>
                </a:cubicBezTo>
                <a:cubicBezTo>
                  <a:pt x="1928145" y="83282"/>
                  <a:pt x="1919860" y="104102"/>
                  <a:pt x="1911575" y="124922"/>
                </a:cubicBezTo>
                <a:cubicBezTo>
                  <a:pt x="1911575" y="124922"/>
                  <a:pt x="1928145" y="137414"/>
                  <a:pt x="1932287" y="141579"/>
                </a:cubicBezTo>
                <a:cubicBezTo>
                  <a:pt x="1948857" y="124922"/>
                  <a:pt x="1965426" y="112430"/>
                  <a:pt x="1986138" y="108266"/>
                </a:cubicBezTo>
                <a:cubicBezTo>
                  <a:pt x="1994423" y="112430"/>
                  <a:pt x="2002708" y="120758"/>
                  <a:pt x="2006850" y="129086"/>
                </a:cubicBezTo>
                <a:cubicBezTo>
                  <a:pt x="2002708" y="149907"/>
                  <a:pt x="1990281" y="166563"/>
                  <a:pt x="1973711" y="183219"/>
                </a:cubicBezTo>
                <a:cubicBezTo>
                  <a:pt x="1977853" y="187383"/>
                  <a:pt x="1990281" y="204040"/>
                  <a:pt x="1990281" y="204040"/>
                </a:cubicBezTo>
                <a:cubicBezTo>
                  <a:pt x="2010993" y="195711"/>
                  <a:pt x="2031705" y="187383"/>
                  <a:pt x="2052416" y="187383"/>
                </a:cubicBezTo>
                <a:cubicBezTo>
                  <a:pt x="2052416" y="191547"/>
                  <a:pt x="2052416" y="191547"/>
                  <a:pt x="2052416" y="191547"/>
                </a:cubicBezTo>
                <a:cubicBezTo>
                  <a:pt x="2056559" y="195711"/>
                  <a:pt x="2064844" y="204040"/>
                  <a:pt x="2064844" y="212368"/>
                </a:cubicBezTo>
                <a:cubicBezTo>
                  <a:pt x="2056559" y="233188"/>
                  <a:pt x="2039989" y="245680"/>
                  <a:pt x="2023420" y="258173"/>
                </a:cubicBezTo>
                <a:cubicBezTo>
                  <a:pt x="2023420" y="262337"/>
                  <a:pt x="2031705" y="278993"/>
                  <a:pt x="2031705" y="283157"/>
                </a:cubicBezTo>
                <a:cubicBezTo>
                  <a:pt x="2052416" y="278993"/>
                  <a:pt x="2073128" y="278993"/>
                  <a:pt x="2093840" y="283157"/>
                </a:cubicBezTo>
                <a:cubicBezTo>
                  <a:pt x="2097983" y="291485"/>
                  <a:pt x="2102125" y="299813"/>
                  <a:pt x="2102125" y="308141"/>
                </a:cubicBezTo>
                <a:cubicBezTo>
                  <a:pt x="2102125" y="312306"/>
                  <a:pt x="2102125" y="312306"/>
                  <a:pt x="2102125" y="312306"/>
                </a:cubicBezTo>
                <a:cubicBezTo>
                  <a:pt x="2089698" y="324798"/>
                  <a:pt x="2068986" y="337290"/>
                  <a:pt x="2048274" y="341454"/>
                </a:cubicBezTo>
                <a:cubicBezTo>
                  <a:pt x="2048274" y="345618"/>
                  <a:pt x="2052416" y="366438"/>
                  <a:pt x="2052416" y="366438"/>
                </a:cubicBezTo>
                <a:cubicBezTo>
                  <a:pt x="2073128" y="366438"/>
                  <a:pt x="2093840" y="374767"/>
                  <a:pt x="2110410" y="383095"/>
                </a:cubicBezTo>
                <a:cubicBezTo>
                  <a:pt x="2110410" y="387259"/>
                  <a:pt x="2110410" y="387259"/>
                  <a:pt x="2110410" y="387259"/>
                </a:cubicBezTo>
                <a:cubicBezTo>
                  <a:pt x="2114552" y="391423"/>
                  <a:pt x="2114552" y="395587"/>
                  <a:pt x="2114552" y="399751"/>
                </a:cubicBezTo>
                <a:cubicBezTo>
                  <a:pt x="2114552" y="403915"/>
                  <a:pt x="2114552" y="408079"/>
                  <a:pt x="2110410" y="412243"/>
                </a:cubicBezTo>
                <a:cubicBezTo>
                  <a:pt x="2093840" y="424736"/>
                  <a:pt x="2073128" y="428900"/>
                  <a:pt x="2052416" y="428900"/>
                </a:cubicBezTo>
                <a:cubicBezTo>
                  <a:pt x="2048274" y="433064"/>
                  <a:pt x="2048274" y="453884"/>
                  <a:pt x="2048274" y="453884"/>
                </a:cubicBezTo>
                <a:cubicBezTo>
                  <a:pt x="2068986" y="462212"/>
                  <a:pt x="2085556" y="470540"/>
                  <a:pt x="2102125" y="487197"/>
                </a:cubicBezTo>
                <a:cubicBezTo>
                  <a:pt x="2102125" y="495525"/>
                  <a:pt x="2097983" y="508017"/>
                  <a:pt x="2093840" y="512181"/>
                </a:cubicBezTo>
                <a:cubicBezTo>
                  <a:pt x="2093840" y="516345"/>
                  <a:pt x="2093840" y="516345"/>
                  <a:pt x="2093840" y="516345"/>
                </a:cubicBezTo>
                <a:cubicBezTo>
                  <a:pt x="2073128" y="520509"/>
                  <a:pt x="2052416" y="520509"/>
                  <a:pt x="2031705" y="516345"/>
                </a:cubicBezTo>
                <a:cubicBezTo>
                  <a:pt x="2031705" y="516345"/>
                  <a:pt x="2023420" y="537165"/>
                  <a:pt x="2023420" y="537165"/>
                </a:cubicBezTo>
                <a:cubicBezTo>
                  <a:pt x="2039989" y="549658"/>
                  <a:pt x="2056559" y="566314"/>
                  <a:pt x="2064844" y="582970"/>
                </a:cubicBezTo>
                <a:cubicBezTo>
                  <a:pt x="2064844" y="587134"/>
                  <a:pt x="2064844" y="587134"/>
                  <a:pt x="2064844" y="587134"/>
                </a:cubicBezTo>
                <a:cubicBezTo>
                  <a:pt x="2060701" y="591298"/>
                  <a:pt x="2056559" y="599627"/>
                  <a:pt x="2052416" y="607955"/>
                </a:cubicBezTo>
                <a:cubicBezTo>
                  <a:pt x="2031705" y="607955"/>
                  <a:pt x="2010993" y="603791"/>
                  <a:pt x="1990281" y="591298"/>
                </a:cubicBezTo>
                <a:cubicBezTo>
                  <a:pt x="1990281" y="595463"/>
                  <a:pt x="1977853" y="612119"/>
                  <a:pt x="1973711" y="612119"/>
                </a:cubicBezTo>
                <a:cubicBezTo>
                  <a:pt x="1990281" y="628775"/>
                  <a:pt x="2002708" y="649595"/>
                  <a:pt x="2006850" y="666252"/>
                </a:cubicBezTo>
                <a:cubicBezTo>
                  <a:pt x="2006850" y="670416"/>
                  <a:pt x="2006850" y="670416"/>
                  <a:pt x="2006850" y="670416"/>
                </a:cubicBezTo>
                <a:cubicBezTo>
                  <a:pt x="2002708" y="674580"/>
                  <a:pt x="1994423" y="682908"/>
                  <a:pt x="1986138" y="687072"/>
                </a:cubicBezTo>
                <a:cubicBezTo>
                  <a:pt x="1965426" y="682908"/>
                  <a:pt x="1944714" y="670416"/>
                  <a:pt x="1932287" y="657924"/>
                </a:cubicBezTo>
                <a:cubicBezTo>
                  <a:pt x="1928145" y="657924"/>
                  <a:pt x="1911575" y="670416"/>
                  <a:pt x="1911575" y="674580"/>
                </a:cubicBezTo>
                <a:cubicBezTo>
                  <a:pt x="1919860" y="691236"/>
                  <a:pt x="1928145" y="712057"/>
                  <a:pt x="1928145" y="732877"/>
                </a:cubicBezTo>
                <a:cubicBezTo>
                  <a:pt x="1928145" y="732877"/>
                  <a:pt x="1928145" y="737041"/>
                  <a:pt x="1928145" y="737041"/>
                </a:cubicBezTo>
                <a:cubicBezTo>
                  <a:pt x="1924002" y="737041"/>
                  <a:pt x="1924002" y="737041"/>
                  <a:pt x="1924002" y="737041"/>
                </a:cubicBezTo>
                <a:cubicBezTo>
                  <a:pt x="1919860" y="741205"/>
                  <a:pt x="1911575" y="745369"/>
                  <a:pt x="1903291" y="749533"/>
                </a:cubicBezTo>
                <a:cubicBezTo>
                  <a:pt x="1882579" y="737041"/>
                  <a:pt x="1870151" y="724549"/>
                  <a:pt x="1857724" y="703728"/>
                </a:cubicBezTo>
                <a:cubicBezTo>
                  <a:pt x="1853582" y="703728"/>
                  <a:pt x="1837012" y="712057"/>
                  <a:pt x="1832870" y="716221"/>
                </a:cubicBezTo>
                <a:cubicBezTo>
                  <a:pt x="1837012" y="724549"/>
                  <a:pt x="1837012" y="737041"/>
                  <a:pt x="1837012" y="745369"/>
                </a:cubicBezTo>
                <a:cubicBezTo>
                  <a:pt x="1837012" y="757861"/>
                  <a:pt x="1837012" y="766190"/>
                  <a:pt x="1832870" y="778682"/>
                </a:cubicBezTo>
                <a:cubicBezTo>
                  <a:pt x="1824585" y="782846"/>
                  <a:pt x="1816300" y="782846"/>
                  <a:pt x="1808016" y="787010"/>
                </a:cubicBezTo>
                <a:cubicBezTo>
                  <a:pt x="1803873" y="787010"/>
                  <a:pt x="1803873" y="787010"/>
                  <a:pt x="1803873" y="787010"/>
                </a:cubicBezTo>
                <a:cubicBezTo>
                  <a:pt x="1791446" y="770354"/>
                  <a:pt x="1779019" y="749533"/>
                  <a:pt x="1774877" y="732877"/>
                </a:cubicBezTo>
                <a:cubicBezTo>
                  <a:pt x="1770734" y="732877"/>
                  <a:pt x="1750022" y="732877"/>
                  <a:pt x="1750022" y="732877"/>
                </a:cubicBezTo>
                <a:cubicBezTo>
                  <a:pt x="1750022" y="757861"/>
                  <a:pt x="1741737" y="778682"/>
                  <a:pt x="1733453" y="795338"/>
                </a:cubicBezTo>
                <a:cubicBezTo>
                  <a:pt x="1729310" y="795338"/>
                  <a:pt x="1729310" y="795338"/>
                  <a:pt x="1729310" y="795338"/>
                </a:cubicBezTo>
                <a:cubicBezTo>
                  <a:pt x="1725168" y="795338"/>
                  <a:pt x="1712741" y="795338"/>
                  <a:pt x="1704456" y="795338"/>
                </a:cubicBezTo>
                <a:cubicBezTo>
                  <a:pt x="1692029" y="778682"/>
                  <a:pt x="1687886" y="757861"/>
                  <a:pt x="1687886" y="732877"/>
                </a:cubicBezTo>
                <a:cubicBezTo>
                  <a:pt x="1683744" y="732877"/>
                  <a:pt x="1663032" y="732877"/>
                  <a:pt x="1658890" y="732877"/>
                </a:cubicBezTo>
                <a:cubicBezTo>
                  <a:pt x="1654747" y="749533"/>
                  <a:pt x="1642320" y="770354"/>
                  <a:pt x="1629893" y="787010"/>
                </a:cubicBezTo>
                <a:cubicBezTo>
                  <a:pt x="1625751" y="787010"/>
                  <a:pt x="1625751" y="787010"/>
                  <a:pt x="1625751" y="787010"/>
                </a:cubicBezTo>
                <a:cubicBezTo>
                  <a:pt x="1617466" y="782846"/>
                  <a:pt x="1609181" y="782846"/>
                  <a:pt x="1600896" y="778682"/>
                </a:cubicBezTo>
                <a:cubicBezTo>
                  <a:pt x="1596754" y="766190"/>
                  <a:pt x="1596754" y="757861"/>
                  <a:pt x="1596754" y="745369"/>
                </a:cubicBezTo>
                <a:cubicBezTo>
                  <a:pt x="1596754" y="737041"/>
                  <a:pt x="1596754" y="724549"/>
                  <a:pt x="1600896" y="716221"/>
                </a:cubicBezTo>
                <a:cubicBezTo>
                  <a:pt x="1596754" y="712057"/>
                  <a:pt x="1580184" y="707892"/>
                  <a:pt x="1576042" y="703728"/>
                </a:cubicBezTo>
                <a:cubicBezTo>
                  <a:pt x="1567757" y="724549"/>
                  <a:pt x="1551188" y="741205"/>
                  <a:pt x="1534618" y="749533"/>
                </a:cubicBezTo>
                <a:cubicBezTo>
                  <a:pt x="1530476" y="749533"/>
                  <a:pt x="1530476" y="749533"/>
                  <a:pt x="1530476" y="749533"/>
                </a:cubicBezTo>
                <a:cubicBezTo>
                  <a:pt x="1522191" y="745369"/>
                  <a:pt x="1513906" y="741205"/>
                  <a:pt x="1509764" y="737041"/>
                </a:cubicBezTo>
                <a:cubicBezTo>
                  <a:pt x="1509764" y="737041"/>
                  <a:pt x="1509764" y="732877"/>
                  <a:pt x="1509764" y="732877"/>
                </a:cubicBezTo>
                <a:cubicBezTo>
                  <a:pt x="1509764" y="716221"/>
                  <a:pt x="1513906" y="691236"/>
                  <a:pt x="1522191" y="674580"/>
                </a:cubicBezTo>
                <a:cubicBezTo>
                  <a:pt x="1522191" y="674580"/>
                  <a:pt x="1505621" y="657924"/>
                  <a:pt x="1501479" y="657924"/>
                </a:cubicBezTo>
                <a:cubicBezTo>
                  <a:pt x="1489052" y="674580"/>
                  <a:pt x="1468340" y="682908"/>
                  <a:pt x="1447628" y="687072"/>
                </a:cubicBezTo>
                <a:cubicBezTo>
                  <a:pt x="1439343" y="682908"/>
                  <a:pt x="1435201" y="674580"/>
                  <a:pt x="1426916" y="670416"/>
                </a:cubicBezTo>
                <a:cubicBezTo>
                  <a:pt x="1435201" y="649595"/>
                  <a:pt x="1443486" y="628775"/>
                  <a:pt x="1460055" y="616283"/>
                </a:cubicBezTo>
                <a:cubicBezTo>
                  <a:pt x="1455913" y="612119"/>
                  <a:pt x="1443486" y="595463"/>
                  <a:pt x="1443486" y="591298"/>
                </a:cubicBezTo>
                <a:cubicBezTo>
                  <a:pt x="1422774" y="603791"/>
                  <a:pt x="1402062" y="607955"/>
                  <a:pt x="1381350" y="607955"/>
                </a:cubicBezTo>
                <a:cubicBezTo>
                  <a:pt x="1377208" y="603791"/>
                  <a:pt x="1373065" y="591298"/>
                  <a:pt x="1368923" y="587134"/>
                </a:cubicBezTo>
                <a:cubicBezTo>
                  <a:pt x="1368923" y="582970"/>
                  <a:pt x="1368923" y="582970"/>
                  <a:pt x="1368923" y="582970"/>
                </a:cubicBezTo>
                <a:cubicBezTo>
                  <a:pt x="1377208" y="566314"/>
                  <a:pt x="1393777" y="549658"/>
                  <a:pt x="1414489" y="541330"/>
                </a:cubicBezTo>
                <a:cubicBezTo>
                  <a:pt x="1410347" y="537165"/>
                  <a:pt x="1402062" y="516345"/>
                  <a:pt x="1402062" y="516345"/>
                </a:cubicBezTo>
                <a:cubicBezTo>
                  <a:pt x="1381350" y="520509"/>
                  <a:pt x="1360638" y="520509"/>
                  <a:pt x="1339926" y="516345"/>
                </a:cubicBezTo>
                <a:cubicBezTo>
                  <a:pt x="1335784" y="508017"/>
                  <a:pt x="1331641" y="495525"/>
                  <a:pt x="1331641" y="491361"/>
                </a:cubicBezTo>
                <a:cubicBezTo>
                  <a:pt x="1331641" y="487197"/>
                  <a:pt x="1331641" y="487197"/>
                  <a:pt x="1331641" y="487197"/>
                </a:cubicBezTo>
                <a:cubicBezTo>
                  <a:pt x="1344068" y="474704"/>
                  <a:pt x="1364780" y="462212"/>
                  <a:pt x="1385492" y="453884"/>
                </a:cubicBezTo>
                <a:cubicBezTo>
                  <a:pt x="1385492" y="453884"/>
                  <a:pt x="1381350" y="433064"/>
                  <a:pt x="1381350" y="428900"/>
                </a:cubicBezTo>
                <a:cubicBezTo>
                  <a:pt x="1360638" y="428900"/>
                  <a:pt x="1339926" y="424736"/>
                  <a:pt x="1323357" y="412243"/>
                </a:cubicBezTo>
                <a:cubicBezTo>
                  <a:pt x="1319214" y="412243"/>
                  <a:pt x="1319214" y="412243"/>
                  <a:pt x="1319214" y="412243"/>
                </a:cubicBezTo>
                <a:cubicBezTo>
                  <a:pt x="1319214" y="408079"/>
                  <a:pt x="1319214" y="403915"/>
                  <a:pt x="1319214" y="399751"/>
                </a:cubicBezTo>
                <a:cubicBezTo>
                  <a:pt x="1319214" y="391423"/>
                  <a:pt x="1319214" y="387259"/>
                  <a:pt x="1319214" y="383095"/>
                </a:cubicBezTo>
                <a:cubicBezTo>
                  <a:pt x="1323357" y="383095"/>
                  <a:pt x="1323357" y="383095"/>
                  <a:pt x="1323357" y="383095"/>
                </a:cubicBezTo>
                <a:cubicBezTo>
                  <a:pt x="1339926" y="374767"/>
                  <a:pt x="1360638" y="366438"/>
                  <a:pt x="1381350" y="366438"/>
                </a:cubicBezTo>
                <a:cubicBezTo>
                  <a:pt x="1381350" y="362274"/>
                  <a:pt x="1385492" y="345618"/>
                  <a:pt x="1385492" y="341454"/>
                </a:cubicBezTo>
                <a:cubicBezTo>
                  <a:pt x="1364780" y="333126"/>
                  <a:pt x="1344068" y="324798"/>
                  <a:pt x="1331641" y="308141"/>
                </a:cubicBezTo>
                <a:cubicBezTo>
                  <a:pt x="1331641" y="299813"/>
                  <a:pt x="1335784" y="291485"/>
                  <a:pt x="1339926" y="283157"/>
                </a:cubicBezTo>
                <a:cubicBezTo>
                  <a:pt x="1356496" y="274829"/>
                  <a:pt x="1381350" y="274829"/>
                  <a:pt x="1402062" y="283157"/>
                </a:cubicBezTo>
                <a:cubicBezTo>
                  <a:pt x="1402062" y="278993"/>
                  <a:pt x="1410347" y="262337"/>
                  <a:pt x="1410347" y="258173"/>
                </a:cubicBezTo>
                <a:cubicBezTo>
                  <a:pt x="1393777" y="245680"/>
                  <a:pt x="1377208" y="229024"/>
                  <a:pt x="1368923" y="212368"/>
                </a:cubicBezTo>
                <a:cubicBezTo>
                  <a:pt x="1368923" y="204040"/>
                  <a:pt x="1377208" y="195711"/>
                  <a:pt x="1381350" y="187383"/>
                </a:cubicBezTo>
                <a:cubicBezTo>
                  <a:pt x="1402062" y="187383"/>
                  <a:pt x="1422774" y="195711"/>
                  <a:pt x="1443486" y="204040"/>
                </a:cubicBezTo>
                <a:cubicBezTo>
                  <a:pt x="1443486" y="204040"/>
                  <a:pt x="1455913" y="183219"/>
                  <a:pt x="1460055" y="183219"/>
                </a:cubicBezTo>
                <a:cubicBezTo>
                  <a:pt x="1443486" y="166563"/>
                  <a:pt x="1431059" y="145743"/>
                  <a:pt x="1426916" y="129086"/>
                </a:cubicBezTo>
                <a:cubicBezTo>
                  <a:pt x="1426916" y="124922"/>
                  <a:pt x="1426916" y="124922"/>
                  <a:pt x="1426916" y="124922"/>
                </a:cubicBezTo>
                <a:cubicBezTo>
                  <a:pt x="1431059" y="120758"/>
                  <a:pt x="1439343" y="112430"/>
                  <a:pt x="1447628" y="108266"/>
                </a:cubicBezTo>
                <a:cubicBezTo>
                  <a:pt x="1468340" y="112430"/>
                  <a:pt x="1489052" y="124922"/>
                  <a:pt x="1501479" y="137414"/>
                </a:cubicBezTo>
                <a:cubicBezTo>
                  <a:pt x="1505621" y="137414"/>
                  <a:pt x="1518049" y="124922"/>
                  <a:pt x="1522191" y="124922"/>
                </a:cubicBezTo>
                <a:cubicBezTo>
                  <a:pt x="1509764" y="104102"/>
                  <a:pt x="1505621" y="83282"/>
                  <a:pt x="1505621" y="62461"/>
                </a:cubicBezTo>
                <a:cubicBezTo>
                  <a:pt x="1513906" y="58297"/>
                  <a:pt x="1522191" y="49969"/>
                  <a:pt x="1530476" y="49969"/>
                </a:cubicBezTo>
                <a:cubicBezTo>
                  <a:pt x="1547045" y="58297"/>
                  <a:pt x="1563615" y="74953"/>
                  <a:pt x="1576042" y="91610"/>
                </a:cubicBezTo>
                <a:cubicBezTo>
                  <a:pt x="1576042" y="91610"/>
                  <a:pt x="1596754" y="83282"/>
                  <a:pt x="1600896" y="83282"/>
                </a:cubicBezTo>
                <a:cubicBezTo>
                  <a:pt x="1596754" y="70789"/>
                  <a:pt x="1596754" y="62461"/>
                  <a:pt x="1596754" y="49969"/>
                </a:cubicBezTo>
                <a:cubicBezTo>
                  <a:pt x="1596754" y="37477"/>
                  <a:pt x="1596754" y="29149"/>
                  <a:pt x="1600896" y="20820"/>
                </a:cubicBezTo>
                <a:cubicBezTo>
                  <a:pt x="1600896" y="16656"/>
                  <a:pt x="1600896" y="16656"/>
                  <a:pt x="1600896" y="16656"/>
                </a:cubicBezTo>
                <a:cubicBezTo>
                  <a:pt x="1609181" y="16656"/>
                  <a:pt x="1617466" y="12492"/>
                  <a:pt x="1625751" y="12492"/>
                </a:cubicBezTo>
                <a:cubicBezTo>
                  <a:pt x="1629893" y="12492"/>
                  <a:pt x="1629893" y="12492"/>
                  <a:pt x="1629893" y="12492"/>
                </a:cubicBezTo>
                <a:cubicBezTo>
                  <a:pt x="1642320" y="24984"/>
                  <a:pt x="1654747" y="45805"/>
                  <a:pt x="1658890" y="66625"/>
                </a:cubicBezTo>
                <a:cubicBezTo>
                  <a:pt x="1663032" y="66625"/>
                  <a:pt x="1683744" y="62461"/>
                  <a:pt x="1687886" y="62461"/>
                </a:cubicBezTo>
                <a:cubicBezTo>
                  <a:pt x="1687886" y="41641"/>
                  <a:pt x="1692029" y="20820"/>
                  <a:pt x="1704456"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spTree>
    <p:extLst>
      <p:ext uri="{BB962C8B-B14F-4D97-AF65-F5344CB8AC3E}">
        <p14:creationId xmlns:p14="http://schemas.microsoft.com/office/powerpoint/2010/main" val="30776820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6EAAB-7FEE-4F68-883D-EBA6B0F104AC}"/>
              </a:ext>
            </a:extLst>
          </p:cNvPr>
          <p:cNvSpPr/>
          <p:nvPr userDrawn="1"/>
        </p:nvSpPr>
        <p:spPr>
          <a:xfrm>
            <a:off x="0" y="0"/>
            <a:ext cx="12192000" cy="68580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TextBox 3" hidden="1">
            <a:extLst>
              <a:ext uri="{FF2B5EF4-FFF2-40B4-BE49-F238E27FC236}">
                <a16:creationId xmlns:a16="http://schemas.microsoft.com/office/drawing/2014/main" id="{690739EB-94C1-4415-B19F-879B952D09F0}"/>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50000"/>
                  </a:schemeClr>
                </a:solidFill>
              </a:rPr>
              <a:t>© 2019 Rotary International. Internal Use Only. Not For Distribution. Private and Confidential.</a:t>
            </a:r>
          </a:p>
        </p:txBody>
      </p:sp>
    </p:spTree>
    <p:extLst>
      <p:ext uri="{BB962C8B-B14F-4D97-AF65-F5344CB8AC3E}">
        <p14:creationId xmlns:p14="http://schemas.microsoft.com/office/powerpoint/2010/main" val="41844729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AB9660-06D7-4EC1-B41A-0141039CF0E9}"/>
              </a:ext>
            </a:extLst>
          </p:cNvPr>
          <p:cNvSpPr/>
          <p:nvPr userDrawn="1"/>
        </p:nvSpPr>
        <p:spPr>
          <a:xfrm>
            <a:off x="0" y="2"/>
            <a:ext cx="12192000" cy="6857999"/>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6" name="TextBox 5" hidden="1">
            <a:extLst>
              <a:ext uri="{FF2B5EF4-FFF2-40B4-BE49-F238E27FC236}">
                <a16:creationId xmlns:a16="http://schemas.microsoft.com/office/drawing/2014/main" id="{440A6B87-0865-4F2E-BFC1-2085F3020671}"/>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Tree>
    <p:extLst>
      <p:ext uri="{BB962C8B-B14F-4D97-AF65-F5344CB8AC3E}">
        <p14:creationId xmlns:p14="http://schemas.microsoft.com/office/powerpoint/2010/main" val="6523813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6B15CEA-7F4D-4111-91E1-C24BB8942014}"/>
              </a:ext>
            </a:extLst>
          </p:cNvPr>
          <p:cNvSpPr/>
          <p:nvPr userDrawn="1"/>
        </p:nvSpPr>
        <p:spPr>
          <a:xfrm flipV="1">
            <a:off x="0" y="0"/>
            <a:ext cx="12192000" cy="13716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DB110B65-104E-48DA-9FDA-01FF9A48E841}"/>
              </a:ext>
            </a:extLst>
          </p:cNvPr>
          <p:cNvSpPr>
            <a:spLocks noGrp="1"/>
          </p:cNvSpPr>
          <p:nvPr>
            <p:ph type="title"/>
          </p:nvPr>
        </p:nvSpPr>
        <p:spPr>
          <a:xfrm>
            <a:off x="381000" y="3"/>
            <a:ext cx="11506200" cy="1334529"/>
          </a:xfrm>
        </p:spPr>
        <p:txBody>
          <a:bodyPr tIns="0" bIns="91440" anchor="b"/>
          <a:lstStyle>
            <a:lvl1pPr>
              <a:defRPr cap="all" baseline="0">
                <a:solidFill>
                  <a:schemeClr val="bg1"/>
                </a:solidFill>
              </a:defRPr>
            </a:lvl1pPr>
          </a:lstStyle>
          <a:p>
            <a:r>
              <a:rPr lang="en-US" dirty="0"/>
              <a:t>Click to edit Master title style</a:t>
            </a:r>
          </a:p>
        </p:txBody>
      </p:sp>
      <p:sp>
        <p:nvSpPr>
          <p:cNvPr id="10" name="Content Placeholder 2">
            <a:extLst>
              <a:ext uri="{FF2B5EF4-FFF2-40B4-BE49-F238E27FC236}">
                <a16:creationId xmlns:a16="http://schemas.microsoft.com/office/drawing/2014/main" id="{9A633E9E-2A95-4274-8C9E-B12F3C8F05DB}"/>
              </a:ext>
            </a:extLst>
          </p:cNvPr>
          <p:cNvSpPr>
            <a:spLocks noGrp="1"/>
          </p:cNvSpPr>
          <p:nvPr>
            <p:ph idx="1"/>
          </p:nvPr>
        </p:nvSpPr>
        <p:spPr>
          <a:xfrm>
            <a:off x="381001" y="1556951"/>
            <a:ext cx="11506199" cy="4975654"/>
          </a:xfrm>
        </p:spPr>
        <p:txBody>
          <a:bodyPr>
            <a:normAutofit/>
          </a:bodyPr>
          <a:lstStyle>
            <a:lvl1pPr>
              <a:defRPr sz="1800">
                <a:solidFill>
                  <a:srgbClr val="333333"/>
                </a:solidFill>
              </a:defRPr>
            </a:lvl1pPr>
            <a:lvl2pPr marL="342900" indent="-171450">
              <a:defRPr sz="1500">
                <a:solidFill>
                  <a:srgbClr val="333333"/>
                </a:solidFill>
              </a:defRPr>
            </a:lvl2pPr>
            <a:lvl3pPr marL="514350" indent="-171450">
              <a:defRPr sz="1350">
                <a:solidFill>
                  <a:srgbClr val="333333"/>
                </a:solidFill>
              </a:defRPr>
            </a:lvl3pPr>
            <a:lvl4pPr marL="685800" indent="-171450">
              <a:defRPr sz="1200">
                <a:solidFill>
                  <a:srgbClr val="333333"/>
                </a:solidFill>
              </a:defRPr>
            </a:lvl4pPr>
            <a:lvl5pPr marL="857250" indent="-171450">
              <a:defRPr sz="1200">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hidden="1">
            <a:extLst>
              <a:ext uri="{FF2B5EF4-FFF2-40B4-BE49-F238E27FC236}">
                <a16:creationId xmlns:a16="http://schemas.microsoft.com/office/drawing/2014/main" id="{134820A4-D5DF-4EEE-9F8B-8C9C8D423F7B}"/>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Tree>
    <p:extLst>
      <p:ext uri="{BB962C8B-B14F-4D97-AF65-F5344CB8AC3E}">
        <p14:creationId xmlns:p14="http://schemas.microsoft.com/office/powerpoint/2010/main" val="32105673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6B15CEA-7F4D-4111-91E1-C24BB8942014}"/>
              </a:ext>
            </a:extLst>
          </p:cNvPr>
          <p:cNvSpPr/>
          <p:nvPr userDrawn="1"/>
        </p:nvSpPr>
        <p:spPr>
          <a:xfrm flipV="1">
            <a:off x="0" y="0"/>
            <a:ext cx="12192000" cy="13716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DB110B65-104E-48DA-9FDA-01FF9A48E841}"/>
              </a:ext>
            </a:extLst>
          </p:cNvPr>
          <p:cNvSpPr>
            <a:spLocks noGrp="1"/>
          </p:cNvSpPr>
          <p:nvPr>
            <p:ph type="title"/>
          </p:nvPr>
        </p:nvSpPr>
        <p:spPr>
          <a:xfrm>
            <a:off x="381000" y="3"/>
            <a:ext cx="11506200" cy="1301577"/>
          </a:xfrm>
        </p:spPr>
        <p:txBody>
          <a:bodyPr tIns="0" bIns="91440" anchor="b"/>
          <a:lstStyle>
            <a:lvl1pPr>
              <a:defRPr cap="all" baseline="0">
                <a:solidFill>
                  <a:schemeClr val="bg1"/>
                </a:solidFill>
              </a:defRPr>
            </a:lvl1pPr>
          </a:lstStyle>
          <a:p>
            <a:r>
              <a:rPr lang="en-US" dirty="0"/>
              <a:t>Click to edit Master title style</a:t>
            </a:r>
          </a:p>
        </p:txBody>
      </p:sp>
      <p:sp>
        <p:nvSpPr>
          <p:cNvPr id="10" name="Content Placeholder 2">
            <a:extLst>
              <a:ext uri="{FF2B5EF4-FFF2-40B4-BE49-F238E27FC236}">
                <a16:creationId xmlns:a16="http://schemas.microsoft.com/office/drawing/2014/main" id="{9A633E9E-2A95-4274-8C9E-B12F3C8F05DB}"/>
              </a:ext>
            </a:extLst>
          </p:cNvPr>
          <p:cNvSpPr>
            <a:spLocks noGrp="1"/>
          </p:cNvSpPr>
          <p:nvPr>
            <p:ph idx="1"/>
          </p:nvPr>
        </p:nvSpPr>
        <p:spPr>
          <a:xfrm>
            <a:off x="389238" y="2158315"/>
            <a:ext cx="11506199" cy="4415480"/>
          </a:xfrm>
        </p:spPr>
        <p:txBody>
          <a:bodyPr>
            <a:normAutofit/>
          </a:bodyPr>
          <a:lstStyle>
            <a:lvl1pPr>
              <a:defRPr sz="1800">
                <a:solidFill>
                  <a:srgbClr val="333333"/>
                </a:solidFill>
              </a:defRPr>
            </a:lvl1pPr>
            <a:lvl2pPr marL="342900" indent="-171450">
              <a:defRPr sz="1500">
                <a:solidFill>
                  <a:srgbClr val="333333"/>
                </a:solidFill>
              </a:defRPr>
            </a:lvl2pPr>
            <a:lvl3pPr marL="514350" indent="-171450">
              <a:defRPr sz="1350">
                <a:solidFill>
                  <a:srgbClr val="333333"/>
                </a:solidFill>
              </a:defRPr>
            </a:lvl3pPr>
            <a:lvl4pPr marL="685800" indent="-171450">
              <a:defRPr sz="1200">
                <a:solidFill>
                  <a:srgbClr val="333333"/>
                </a:solidFill>
              </a:defRPr>
            </a:lvl4pPr>
            <a:lvl5pPr marL="857250" indent="-171450">
              <a:defRPr sz="1200">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ubtitle 2">
            <a:extLst>
              <a:ext uri="{FF2B5EF4-FFF2-40B4-BE49-F238E27FC236}">
                <a16:creationId xmlns:a16="http://schemas.microsoft.com/office/drawing/2014/main" id="{11B1EC5A-E690-43D2-A0E3-D50BD6A53AFE}"/>
              </a:ext>
            </a:extLst>
          </p:cNvPr>
          <p:cNvSpPr>
            <a:spLocks noGrp="1"/>
          </p:cNvSpPr>
          <p:nvPr>
            <p:ph type="subTitle" idx="13"/>
          </p:nvPr>
        </p:nvSpPr>
        <p:spPr>
          <a:xfrm>
            <a:off x="381001" y="1375720"/>
            <a:ext cx="11506199" cy="749642"/>
          </a:xfrm>
        </p:spPr>
        <p:txBody>
          <a:bodyPr>
            <a:normAutofit/>
          </a:bodyPr>
          <a:lstStyle>
            <a:lvl1pPr marL="0" indent="0" algn="l">
              <a:buNone/>
              <a:defRPr sz="1800" b="1" cap="all" baseline="0">
                <a:solidFill>
                  <a:srgbClr val="333333"/>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7" name="TextBox 6" hidden="1">
            <a:extLst>
              <a:ext uri="{FF2B5EF4-FFF2-40B4-BE49-F238E27FC236}">
                <a16:creationId xmlns:a16="http://schemas.microsoft.com/office/drawing/2014/main" id="{C429B5C5-40F0-413F-82DE-781C809F82A3}"/>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Tree>
    <p:extLst>
      <p:ext uri="{BB962C8B-B14F-4D97-AF65-F5344CB8AC3E}">
        <p14:creationId xmlns:p14="http://schemas.microsoft.com/office/powerpoint/2010/main" val="7013484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A776E0-39A8-48D5-80F8-035E16384242}"/>
              </a:ext>
            </a:extLst>
          </p:cNvPr>
          <p:cNvSpPr/>
          <p:nvPr userDrawn="1"/>
        </p:nvSpPr>
        <p:spPr>
          <a:xfrm>
            <a:off x="0" y="1169774"/>
            <a:ext cx="12192000" cy="5688227"/>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8" name="Title 1">
            <a:extLst>
              <a:ext uri="{FF2B5EF4-FFF2-40B4-BE49-F238E27FC236}">
                <a16:creationId xmlns:a16="http://schemas.microsoft.com/office/drawing/2014/main" id="{C48881AF-761E-4663-9A5E-BC34236BC1FE}"/>
              </a:ext>
            </a:extLst>
          </p:cNvPr>
          <p:cNvSpPr>
            <a:spLocks noGrp="1"/>
          </p:cNvSpPr>
          <p:nvPr>
            <p:ph type="title"/>
          </p:nvPr>
        </p:nvSpPr>
        <p:spPr>
          <a:xfrm>
            <a:off x="381000" y="1"/>
            <a:ext cx="11506200" cy="1046204"/>
          </a:xfrm>
        </p:spPr>
        <p:txBody>
          <a:bodyPr tIns="0" bIns="91440" anchor="b"/>
          <a:lstStyle>
            <a:lvl1pPr>
              <a:defRPr cap="all" baseline="0">
                <a:solidFill>
                  <a:srgbClr val="48595D"/>
                </a:solidFill>
              </a:defRPr>
            </a:lvl1pPr>
          </a:lstStyle>
          <a:p>
            <a:r>
              <a:rPr lang="en-US" dirty="0"/>
              <a:t>Click to edit Master title style</a:t>
            </a:r>
          </a:p>
        </p:txBody>
      </p:sp>
      <p:sp>
        <p:nvSpPr>
          <p:cNvPr id="5" name="TextBox 4" hidden="1">
            <a:extLst>
              <a:ext uri="{FF2B5EF4-FFF2-40B4-BE49-F238E27FC236}">
                <a16:creationId xmlns:a16="http://schemas.microsoft.com/office/drawing/2014/main" id="{31265F87-D1A9-4FC6-9F13-66361C11DF35}"/>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50000"/>
                  </a:schemeClr>
                </a:solidFill>
              </a:rPr>
              <a:t>© 2019 Rotary International. Internal Use Only. Not For Distribution. Private and Confidential.</a:t>
            </a:r>
          </a:p>
        </p:txBody>
      </p:sp>
    </p:spTree>
    <p:extLst>
      <p:ext uri="{BB962C8B-B14F-4D97-AF65-F5344CB8AC3E}">
        <p14:creationId xmlns:p14="http://schemas.microsoft.com/office/powerpoint/2010/main" val="9436513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A776E0-39A8-48D5-80F8-035E16384242}"/>
              </a:ext>
            </a:extLst>
          </p:cNvPr>
          <p:cNvSpPr/>
          <p:nvPr userDrawn="1"/>
        </p:nvSpPr>
        <p:spPr>
          <a:xfrm>
            <a:off x="0" y="-47367"/>
            <a:ext cx="12192000" cy="13716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5" name="Title 1">
            <a:extLst>
              <a:ext uri="{FF2B5EF4-FFF2-40B4-BE49-F238E27FC236}">
                <a16:creationId xmlns:a16="http://schemas.microsoft.com/office/drawing/2014/main" id="{3C0EF89B-F057-4EA3-BC61-71F9D7BF9FC4}"/>
              </a:ext>
            </a:extLst>
          </p:cNvPr>
          <p:cNvSpPr>
            <a:spLocks noGrp="1"/>
          </p:cNvSpPr>
          <p:nvPr>
            <p:ph type="title"/>
          </p:nvPr>
        </p:nvSpPr>
        <p:spPr>
          <a:xfrm>
            <a:off x="381000" y="1"/>
            <a:ext cx="11506200" cy="1276864"/>
          </a:xfrm>
        </p:spPr>
        <p:txBody>
          <a:bodyPr tIns="0" bIns="91440" anchor="b">
            <a:normAutofit/>
          </a:bodyPr>
          <a:lstStyle>
            <a:lvl1pPr>
              <a:defRPr sz="4400" cap="all" baseline="0">
                <a:solidFill>
                  <a:schemeClr val="bg1"/>
                </a:solidFill>
                <a:latin typeface="+mj-lt"/>
              </a:defRPr>
            </a:lvl1pPr>
          </a:lstStyle>
          <a:p>
            <a:r>
              <a:rPr lang="en-US" dirty="0"/>
              <a:t>Click to edit Master title style</a:t>
            </a:r>
          </a:p>
        </p:txBody>
      </p:sp>
      <p:sp>
        <p:nvSpPr>
          <p:cNvPr id="6" name="TextBox 5" hidden="1">
            <a:extLst>
              <a:ext uri="{FF2B5EF4-FFF2-40B4-BE49-F238E27FC236}">
                <a16:creationId xmlns:a16="http://schemas.microsoft.com/office/drawing/2014/main" id="{3F6A0DDC-8464-4003-BDFD-127BB593AA78}"/>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Tree>
    <p:extLst>
      <p:ext uri="{BB962C8B-B14F-4D97-AF65-F5344CB8AC3E}">
        <p14:creationId xmlns:p14="http://schemas.microsoft.com/office/powerpoint/2010/main" val="23832118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FE6C60-BD51-4C06-972B-D598C068A30B}"/>
              </a:ext>
            </a:extLst>
          </p:cNvPr>
          <p:cNvSpPr/>
          <p:nvPr userDrawn="1"/>
        </p:nvSpPr>
        <p:spPr>
          <a:xfrm>
            <a:off x="0" y="0"/>
            <a:ext cx="6096000" cy="68580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Text Placeholder 11">
            <a:extLst>
              <a:ext uri="{FF2B5EF4-FFF2-40B4-BE49-F238E27FC236}">
                <a16:creationId xmlns:a16="http://schemas.microsoft.com/office/drawing/2014/main" id="{E8702E8D-AEBF-49D4-9D69-00802EFEB718}"/>
              </a:ext>
            </a:extLst>
          </p:cNvPr>
          <p:cNvSpPr>
            <a:spLocks noGrp="1"/>
          </p:cNvSpPr>
          <p:nvPr>
            <p:ph type="body" sz="quarter" idx="12"/>
          </p:nvPr>
        </p:nvSpPr>
        <p:spPr>
          <a:xfrm>
            <a:off x="6350000" y="2141538"/>
            <a:ext cx="5537200" cy="3141662"/>
          </a:xfrm>
        </p:spPr>
        <p:txBody>
          <a:bodyPr>
            <a:normAutofit/>
          </a:bodyPr>
          <a:lstStyle>
            <a:lvl1pPr marL="0" indent="0">
              <a:buNone/>
              <a:defRPr sz="1650"/>
            </a:lvl1pPr>
            <a:lvl2pPr marL="171450" indent="-127397">
              <a:lnSpc>
                <a:spcPct val="100000"/>
              </a:lnSpc>
              <a:spcBef>
                <a:spcPts val="900"/>
              </a:spcBef>
              <a:spcAft>
                <a:spcPts val="900"/>
              </a:spcAft>
              <a:defRPr sz="1350"/>
            </a:lvl2pPr>
            <a:lvl3pPr>
              <a:defRPr sz="1350"/>
            </a:lvl3pPr>
            <a:lvl4pPr>
              <a:defRPr sz="1200"/>
            </a:lvl4pPr>
            <a:lvl5pPr>
              <a:defRPr sz="1200"/>
            </a:lvl5pPr>
          </a:lstStyle>
          <a:p>
            <a:pPr lvl="0"/>
            <a:r>
              <a:rPr lang="en-US" dirty="0"/>
              <a:t>Click to edit Master text styles</a:t>
            </a:r>
          </a:p>
          <a:p>
            <a:pPr lvl="1"/>
            <a:r>
              <a:rPr lang="en-US" dirty="0"/>
              <a:t>Second level</a:t>
            </a:r>
          </a:p>
        </p:txBody>
      </p:sp>
      <p:sp>
        <p:nvSpPr>
          <p:cNvPr id="21" name="Text Placeholder 11">
            <a:extLst>
              <a:ext uri="{FF2B5EF4-FFF2-40B4-BE49-F238E27FC236}">
                <a16:creationId xmlns:a16="http://schemas.microsoft.com/office/drawing/2014/main" id="{573E487D-389A-425E-93B1-6E466DB120CE}"/>
              </a:ext>
            </a:extLst>
          </p:cNvPr>
          <p:cNvSpPr>
            <a:spLocks noGrp="1"/>
          </p:cNvSpPr>
          <p:nvPr>
            <p:ph type="body" sz="quarter" idx="14" hasCustomPrompt="1"/>
          </p:nvPr>
        </p:nvSpPr>
        <p:spPr>
          <a:xfrm>
            <a:off x="558800"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3300" b="1" cap="all" baseline="0">
                <a:solidFill>
                  <a:schemeClr val="bg1"/>
                </a:solidFill>
                <a:latin typeface="+mj-lt"/>
              </a:defRPr>
            </a:lvl1pPr>
            <a:lvl2pPr marL="0" indent="0">
              <a:buNone/>
              <a:defRPr sz="1500">
                <a:solidFill>
                  <a:schemeClr val="bg1"/>
                </a:solidFill>
              </a:defRPr>
            </a:lvl2pPr>
            <a:lvl3pPr>
              <a:defRPr sz="1350"/>
            </a:lvl3pPr>
            <a:lvl4pPr>
              <a:defRPr sz="1200"/>
            </a:lvl4pPr>
            <a:lvl5pPr>
              <a:defRPr sz="1200"/>
            </a:lvl5pPr>
          </a:lstStyle>
          <a:p>
            <a:pPr lvl="0"/>
            <a:r>
              <a:rPr lang="en-US" dirty="0"/>
              <a:t>Title</a:t>
            </a:r>
          </a:p>
        </p:txBody>
      </p:sp>
      <p:sp>
        <p:nvSpPr>
          <p:cNvPr id="22" name="Subtitle 2">
            <a:extLst>
              <a:ext uri="{FF2B5EF4-FFF2-40B4-BE49-F238E27FC236}">
                <a16:creationId xmlns:a16="http://schemas.microsoft.com/office/drawing/2014/main" id="{08ACE488-B9EE-4F80-9093-0D25C49D3C1D}"/>
              </a:ext>
            </a:extLst>
          </p:cNvPr>
          <p:cNvSpPr>
            <a:spLocks noGrp="1"/>
          </p:cNvSpPr>
          <p:nvPr>
            <p:ph type="subTitle" idx="1"/>
          </p:nvPr>
        </p:nvSpPr>
        <p:spPr>
          <a:xfrm>
            <a:off x="554568" y="3383632"/>
            <a:ext cx="4986867" cy="1975764"/>
          </a:xfrm>
        </p:spPr>
        <p:txBody>
          <a:bodyPr>
            <a:normAutofit/>
          </a:bodyPr>
          <a:lstStyle>
            <a:lvl1pPr marL="0" indent="0" algn="l">
              <a:buNone/>
              <a:defRPr sz="16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TextBox 5" hidden="1">
            <a:extLst>
              <a:ext uri="{FF2B5EF4-FFF2-40B4-BE49-F238E27FC236}">
                <a16:creationId xmlns:a16="http://schemas.microsoft.com/office/drawing/2014/main" id="{39D2C925-BE4C-4057-86A9-05FBB940D62D}"/>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50000"/>
                  </a:schemeClr>
                </a:solidFill>
              </a:rPr>
              <a:t>© 2019 Rotary International. Internal Use Only. Not For Distribution. Private and Confidential.</a:t>
            </a:r>
          </a:p>
        </p:txBody>
      </p:sp>
    </p:spTree>
    <p:extLst>
      <p:ext uri="{BB962C8B-B14F-4D97-AF65-F5344CB8AC3E}">
        <p14:creationId xmlns:p14="http://schemas.microsoft.com/office/powerpoint/2010/main" val="831538786"/>
      </p:ext>
    </p:extLst>
  </p:cSld>
  <p:clrMapOvr>
    <a:masterClrMapping/>
  </p:clrMapOvr>
  <p:extLst>
    <p:ext uri="{DCECCB84-F9BA-43D5-87BE-67443E8EF086}">
      <p15:sldGuideLst xmlns:p15="http://schemas.microsoft.com/office/powerpoint/2012/main">
        <p15:guide id="1" pos="508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FE6C60-BD51-4C06-972B-D598C068A30B}"/>
              </a:ext>
            </a:extLst>
          </p:cNvPr>
          <p:cNvSpPr/>
          <p:nvPr userDrawn="1"/>
        </p:nvSpPr>
        <p:spPr>
          <a:xfrm>
            <a:off x="6096000" y="0"/>
            <a:ext cx="6096000" cy="68580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Picture Placeholder 2">
            <a:extLst>
              <a:ext uri="{FF2B5EF4-FFF2-40B4-BE49-F238E27FC236}">
                <a16:creationId xmlns:a16="http://schemas.microsoft.com/office/drawing/2014/main" id="{24D0FBAC-275F-4558-B592-D14B0D074268}"/>
              </a:ext>
            </a:extLst>
          </p:cNvPr>
          <p:cNvSpPr>
            <a:spLocks noGrp="1"/>
          </p:cNvSpPr>
          <p:nvPr>
            <p:ph type="pic" sz="quarter" idx="15"/>
          </p:nvPr>
        </p:nvSpPr>
        <p:spPr>
          <a:xfrm>
            <a:off x="6519865" y="398463"/>
            <a:ext cx="5265737" cy="6019800"/>
          </a:xfrm>
        </p:spPr>
        <p:txBody>
          <a:bodyPr/>
          <a:lstStyle/>
          <a:p>
            <a:endParaRPr lang="en-US" dirty="0"/>
          </a:p>
        </p:txBody>
      </p:sp>
      <p:sp>
        <p:nvSpPr>
          <p:cNvPr id="10" name="Text Placeholder 11">
            <a:extLst>
              <a:ext uri="{FF2B5EF4-FFF2-40B4-BE49-F238E27FC236}">
                <a16:creationId xmlns:a16="http://schemas.microsoft.com/office/drawing/2014/main" id="{F4016360-4C79-4F76-A938-3BBB6229913D}"/>
              </a:ext>
            </a:extLst>
          </p:cNvPr>
          <p:cNvSpPr>
            <a:spLocks noGrp="1"/>
          </p:cNvSpPr>
          <p:nvPr>
            <p:ph type="body" sz="quarter" idx="14" hasCustomPrompt="1"/>
          </p:nvPr>
        </p:nvSpPr>
        <p:spPr>
          <a:xfrm>
            <a:off x="558800" y="2141538"/>
            <a:ext cx="4978400" cy="1135062"/>
          </a:xfrm>
          <a:ln w="25400">
            <a:gradFill flip="none" rotWithShape="1">
              <a:gsLst>
                <a:gs pos="100000">
                  <a:srgbClr val="333333"/>
                </a:gs>
                <a:gs pos="97000">
                  <a:schemeClr val="bg1">
                    <a:alpha val="0"/>
                  </a:schemeClr>
                </a:gs>
              </a:gsLst>
              <a:lin ang="5400000" scaled="1"/>
              <a:tileRect/>
            </a:gradFill>
          </a:ln>
        </p:spPr>
        <p:txBody>
          <a:bodyPr anchor="b">
            <a:noAutofit/>
          </a:bodyPr>
          <a:lstStyle>
            <a:lvl1pPr marL="0" indent="0">
              <a:buNone/>
              <a:defRPr sz="3300" b="1" cap="all" baseline="0">
                <a:solidFill>
                  <a:srgbClr val="333333"/>
                </a:solidFill>
                <a:latin typeface="+mj-lt"/>
              </a:defRPr>
            </a:lvl1pPr>
            <a:lvl2pPr marL="0" indent="0">
              <a:buNone/>
              <a:defRPr sz="1500">
                <a:solidFill>
                  <a:schemeClr val="bg1"/>
                </a:solidFill>
              </a:defRPr>
            </a:lvl2pPr>
            <a:lvl3pPr>
              <a:defRPr sz="1350"/>
            </a:lvl3pPr>
            <a:lvl4pPr>
              <a:defRPr sz="1200"/>
            </a:lvl4pPr>
            <a:lvl5pPr>
              <a:defRPr sz="1200"/>
            </a:lvl5pPr>
          </a:lstStyle>
          <a:p>
            <a:pPr lvl="0"/>
            <a:r>
              <a:rPr lang="en-US" dirty="0"/>
              <a:t>Title</a:t>
            </a:r>
          </a:p>
        </p:txBody>
      </p:sp>
      <p:sp>
        <p:nvSpPr>
          <p:cNvPr id="11" name="Subtitle 2">
            <a:extLst>
              <a:ext uri="{FF2B5EF4-FFF2-40B4-BE49-F238E27FC236}">
                <a16:creationId xmlns:a16="http://schemas.microsoft.com/office/drawing/2014/main" id="{E1D181C7-949B-4052-9076-6B318782A374}"/>
              </a:ext>
            </a:extLst>
          </p:cNvPr>
          <p:cNvSpPr>
            <a:spLocks noGrp="1"/>
          </p:cNvSpPr>
          <p:nvPr>
            <p:ph type="subTitle" idx="1"/>
          </p:nvPr>
        </p:nvSpPr>
        <p:spPr>
          <a:xfrm>
            <a:off x="554568" y="3383632"/>
            <a:ext cx="4986867" cy="1975764"/>
          </a:xfrm>
        </p:spPr>
        <p:txBody>
          <a:bodyPr>
            <a:normAutofit/>
          </a:bodyPr>
          <a:lstStyle>
            <a:lvl1pPr marL="0" indent="0" algn="l">
              <a:buNone/>
              <a:defRPr sz="1650">
                <a:solidFill>
                  <a:srgbClr val="333333"/>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TextBox 5" hidden="1">
            <a:extLst>
              <a:ext uri="{FF2B5EF4-FFF2-40B4-BE49-F238E27FC236}">
                <a16:creationId xmlns:a16="http://schemas.microsoft.com/office/drawing/2014/main" id="{3F4EF337-F8F4-4151-B616-10707ECBE95F}"/>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Tree>
    <p:extLst>
      <p:ext uri="{BB962C8B-B14F-4D97-AF65-F5344CB8AC3E}">
        <p14:creationId xmlns:p14="http://schemas.microsoft.com/office/powerpoint/2010/main" val="208481422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722F4C2-6B86-403A-A8D3-B5878DFE215D}"/>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10" name="Freeform: Shape 9">
            <a:extLst>
              <a:ext uri="{FF2B5EF4-FFF2-40B4-BE49-F238E27FC236}">
                <a16:creationId xmlns:a16="http://schemas.microsoft.com/office/drawing/2014/main" id="{BF50ABD3-1E0C-4476-A263-45C0B39B6727}"/>
              </a:ext>
            </a:extLst>
          </p:cNvPr>
          <p:cNvSpPr/>
          <p:nvPr userDrawn="1"/>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205740" rtlCol="0" anchor="b">
            <a:noAutofit/>
          </a:bodyPr>
          <a:lstStyle/>
          <a:p>
            <a:pPr algn="l"/>
            <a:r>
              <a:rPr lang="en-US" sz="1800" dirty="0">
                <a:solidFill>
                  <a:schemeClr val="lt1">
                    <a:alpha val="0"/>
                  </a:schemeClr>
                </a:solidFill>
              </a:rPr>
              <a:t>z</a:t>
            </a:r>
          </a:p>
        </p:txBody>
      </p:sp>
      <p:sp>
        <p:nvSpPr>
          <p:cNvPr id="9" name="Text Placeholder 8">
            <a:extLst>
              <a:ext uri="{FF2B5EF4-FFF2-40B4-BE49-F238E27FC236}">
                <a16:creationId xmlns:a16="http://schemas.microsoft.com/office/drawing/2014/main" id="{58FA3288-E931-4B57-91D2-DD2960072EA8}"/>
              </a:ext>
            </a:extLst>
          </p:cNvPr>
          <p:cNvSpPr>
            <a:spLocks noGrp="1"/>
          </p:cNvSpPr>
          <p:nvPr>
            <p:ph type="body" sz="quarter" idx="16" hasCustomPrompt="1"/>
          </p:nvPr>
        </p:nvSpPr>
        <p:spPr>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539049 w 6096000"/>
              <a:gd name="connsiteY3" fmla="*/ 6858000 h 6858000"/>
              <a:gd name="connsiteX4" fmla="*/ 0 w 6096000"/>
              <a:gd name="connsiteY4" fmla="*/ 6858000 h 6858000"/>
              <a:gd name="connsiteX5" fmla="*/ 0 w 6096000"/>
              <a:gd name="connsiteY5"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858000">
                <a:moveTo>
                  <a:pt x="0" y="0"/>
                </a:moveTo>
                <a:lnTo>
                  <a:pt x="6096000" y="0"/>
                </a:lnTo>
                <a:lnTo>
                  <a:pt x="6096000" y="6858000"/>
                </a:lnTo>
                <a:lnTo>
                  <a:pt x="4539049" y="6858000"/>
                </a:lnTo>
                <a:lnTo>
                  <a:pt x="0" y="6858000"/>
                </a:lnTo>
                <a:lnTo>
                  <a:pt x="0" y="6273113"/>
                </a:lnTo>
                <a:close/>
              </a:path>
            </a:pathLst>
          </a:custGeom>
          <a:solidFill>
            <a:srgbClr val="01B4E7">
              <a:alpha val="38000"/>
            </a:srgbClr>
          </a:solidFill>
        </p:spPr>
        <p:txBody>
          <a:bodyPr wrap="square" anchor="b">
            <a:noAutofit/>
          </a:bodyPr>
          <a:lstStyle>
            <a:lvl1pPr marL="0" indent="0" algn="r">
              <a:buNone/>
              <a:defRPr>
                <a:solidFill>
                  <a:schemeClr val="tx1">
                    <a:alpha val="0"/>
                  </a:schemeClr>
                </a:solidFill>
              </a:defRPr>
            </a:lvl1pPr>
          </a:lstStyle>
          <a:p>
            <a:pPr lvl="0"/>
            <a:r>
              <a:rPr lang="en-US" dirty="0"/>
              <a:t>c</a:t>
            </a:r>
          </a:p>
        </p:txBody>
      </p:sp>
      <p:sp>
        <p:nvSpPr>
          <p:cNvPr id="25" name="Text Placeholder 11">
            <a:extLst>
              <a:ext uri="{FF2B5EF4-FFF2-40B4-BE49-F238E27FC236}">
                <a16:creationId xmlns:a16="http://schemas.microsoft.com/office/drawing/2014/main" id="{C02B76E2-7589-4337-BF82-0C18E133FEF9}"/>
              </a:ext>
            </a:extLst>
          </p:cNvPr>
          <p:cNvSpPr>
            <a:spLocks noGrp="1"/>
          </p:cNvSpPr>
          <p:nvPr>
            <p:ph type="body" sz="quarter" idx="14" hasCustomPrompt="1"/>
          </p:nvPr>
        </p:nvSpPr>
        <p:spPr>
          <a:xfrm>
            <a:off x="558800"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3300" b="1" cap="all" baseline="0">
                <a:solidFill>
                  <a:schemeClr val="bg1"/>
                </a:solidFill>
                <a:latin typeface="+mj-lt"/>
              </a:defRPr>
            </a:lvl1pPr>
            <a:lvl2pPr marL="0" indent="0">
              <a:buNone/>
              <a:defRPr sz="1500">
                <a:solidFill>
                  <a:schemeClr val="bg1"/>
                </a:solidFill>
              </a:defRPr>
            </a:lvl2pPr>
            <a:lvl3pPr>
              <a:defRPr sz="1350"/>
            </a:lvl3pPr>
            <a:lvl4pPr>
              <a:defRPr sz="1200"/>
            </a:lvl4pPr>
            <a:lvl5pPr>
              <a:defRPr sz="1200"/>
            </a:lvl5pPr>
          </a:lstStyle>
          <a:p>
            <a:pPr lvl="0"/>
            <a:r>
              <a:rPr lang="en-US" dirty="0"/>
              <a:t>Title</a:t>
            </a:r>
          </a:p>
        </p:txBody>
      </p:sp>
      <p:sp>
        <p:nvSpPr>
          <p:cNvPr id="26" name="Subtitle 2">
            <a:extLst>
              <a:ext uri="{FF2B5EF4-FFF2-40B4-BE49-F238E27FC236}">
                <a16:creationId xmlns:a16="http://schemas.microsoft.com/office/drawing/2014/main" id="{4E8986D0-5FBE-4E27-A81A-78A0B31033D2}"/>
              </a:ext>
            </a:extLst>
          </p:cNvPr>
          <p:cNvSpPr>
            <a:spLocks noGrp="1"/>
          </p:cNvSpPr>
          <p:nvPr>
            <p:ph type="subTitle" idx="1"/>
          </p:nvPr>
        </p:nvSpPr>
        <p:spPr>
          <a:xfrm>
            <a:off x="554568" y="3383632"/>
            <a:ext cx="4986867" cy="1975764"/>
          </a:xfrm>
        </p:spPr>
        <p:txBody>
          <a:bodyPr>
            <a:normAutofit/>
          </a:bodyPr>
          <a:lstStyle>
            <a:lvl1pPr marL="0" indent="0" algn="l">
              <a:buNone/>
              <a:defRPr sz="16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0211902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AD4D34A-C4B4-4E86-86B7-06FF73876E2C}"/>
              </a:ext>
            </a:extLst>
          </p:cNvPr>
          <p:cNvSpPr>
            <a:spLocks noGrp="1"/>
          </p:cNvSpPr>
          <p:nvPr>
            <p:ph type="pic" sz="quarter" idx="17"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r>
              <a:rPr lang="en-US" dirty="0"/>
              <a:t> </a:t>
            </a:r>
          </a:p>
        </p:txBody>
      </p:sp>
      <p:sp>
        <p:nvSpPr>
          <p:cNvPr id="10" name="Text Placeholder 9">
            <a:extLst>
              <a:ext uri="{FF2B5EF4-FFF2-40B4-BE49-F238E27FC236}">
                <a16:creationId xmlns:a16="http://schemas.microsoft.com/office/drawing/2014/main" id="{C7190B4B-2C55-4D6B-AE33-C261461E66A0}"/>
              </a:ext>
            </a:extLst>
          </p:cNvPr>
          <p:cNvSpPr>
            <a:spLocks noGrp="1"/>
          </p:cNvSpPr>
          <p:nvPr>
            <p:ph type="body" sz="quarter" idx="18" hasCustomPrompt="1"/>
          </p:nvPr>
        </p:nvSpPr>
        <p:spPr>
          <a:xfrm>
            <a:off x="6096000" y="0"/>
            <a:ext cx="6096000" cy="6858000"/>
          </a:xfrm>
          <a:custGeom>
            <a:avLst/>
            <a:gdLst>
              <a:gd name="connsiteX0" fmla="*/ 5850675 w 6096000"/>
              <a:gd name="connsiteY0" fmla="*/ 6677576 h 6858000"/>
              <a:gd name="connsiteX1" fmla="*/ 5856788 w 6096000"/>
              <a:gd name="connsiteY1" fmla="*/ 6677576 h 6858000"/>
              <a:gd name="connsiteX2" fmla="*/ 5862183 w 6096000"/>
              <a:gd name="connsiteY2" fmla="*/ 6678151 h 6858000"/>
              <a:gd name="connsiteX3" fmla="*/ 5864461 w 6096000"/>
              <a:gd name="connsiteY3" fmla="*/ 6679894 h 6858000"/>
              <a:gd name="connsiteX4" fmla="*/ 5865281 w 6096000"/>
              <a:gd name="connsiteY4" fmla="*/ 6682541 h 6858000"/>
              <a:gd name="connsiteX5" fmla="*/ 5863578 w 6096000"/>
              <a:gd name="connsiteY5" fmla="*/ 6686233 h 6858000"/>
              <a:gd name="connsiteX6" fmla="*/ 5857198 w 6096000"/>
              <a:gd name="connsiteY6" fmla="*/ 6687628 h 6858000"/>
              <a:gd name="connsiteX7" fmla="*/ 5850675 w 6096000"/>
              <a:gd name="connsiteY7" fmla="*/ 6687628 h 6858000"/>
              <a:gd name="connsiteX8" fmla="*/ 5845300 w 6096000"/>
              <a:gd name="connsiteY8" fmla="*/ 6673064 h 6858000"/>
              <a:gd name="connsiteX9" fmla="*/ 5845300 w 6096000"/>
              <a:gd name="connsiteY9" fmla="*/ 6706378 h 6858000"/>
              <a:gd name="connsiteX10" fmla="*/ 5850675 w 6096000"/>
              <a:gd name="connsiteY10" fmla="*/ 6706378 h 6858000"/>
              <a:gd name="connsiteX11" fmla="*/ 5850675 w 6096000"/>
              <a:gd name="connsiteY11" fmla="*/ 6692224 h 6858000"/>
              <a:gd name="connsiteX12" fmla="*/ 5853834 w 6096000"/>
              <a:gd name="connsiteY12" fmla="*/ 6692224 h 6858000"/>
              <a:gd name="connsiteX13" fmla="*/ 5858142 w 6096000"/>
              <a:gd name="connsiteY13" fmla="*/ 6693372 h 6858000"/>
              <a:gd name="connsiteX14" fmla="*/ 5863762 w 6096000"/>
              <a:gd name="connsiteY14" fmla="*/ 6701126 h 6858000"/>
              <a:gd name="connsiteX15" fmla="*/ 5866717 w 6096000"/>
              <a:gd name="connsiteY15" fmla="*/ 6706378 h 6858000"/>
              <a:gd name="connsiteX16" fmla="*/ 5873281 w 6096000"/>
              <a:gd name="connsiteY16" fmla="*/ 6706378 h 6858000"/>
              <a:gd name="connsiteX17" fmla="*/ 5869220 w 6096000"/>
              <a:gd name="connsiteY17" fmla="*/ 6699854 h 6858000"/>
              <a:gd name="connsiteX18" fmla="*/ 5864296 w 6096000"/>
              <a:gd name="connsiteY18" fmla="*/ 6693249 h 6858000"/>
              <a:gd name="connsiteX19" fmla="*/ 5861466 w 6096000"/>
              <a:gd name="connsiteY19" fmla="*/ 6691485 h 6858000"/>
              <a:gd name="connsiteX20" fmla="*/ 5868378 w 6096000"/>
              <a:gd name="connsiteY20" fmla="*/ 6688449 h 6858000"/>
              <a:gd name="connsiteX21" fmla="*/ 5870983 w 6096000"/>
              <a:gd name="connsiteY21" fmla="*/ 6682090 h 6858000"/>
              <a:gd name="connsiteX22" fmla="*/ 5869424 w 6096000"/>
              <a:gd name="connsiteY22" fmla="*/ 6677207 h 6858000"/>
              <a:gd name="connsiteX23" fmla="*/ 5865239 w 6096000"/>
              <a:gd name="connsiteY23" fmla="*/ 6673987 h 6858000"/>
              <a:gd name="connsiteX24" fmla="*/ 5856747 w 6096000"/>
              <a:gd name="connsiteY24" fmla="*/ 6673064 h 6858000"/>
              <a:gd name="connsiteX25" fmla="*/ 4806089 w 6096000"/>
              <a:gd name="connsiteY25" fmla="*/ 6670493 h 6858000"/>
              <a:gd name="connsiteX26" fmla="*/ 4809603 w 6096000"/>
              <a:gd name="connsiteY26" fmla="*/ 6670493 h 6858000"/>
              <a:gd name="connsiteX27" fmla="*/ 4809603 w 6096000"/>
              <a:gd name="connsiteY27" fmla="*/ 6674034 h 6858000"/>
              <a:gd name="connsiteX28" fmla="*/ 4781492 w 6096000"/>
              <a:gd name="connsiteY28" fmla="*/ 6709456 h 6858000"/>
              <a:gd name="connsiteX29" fmla="*/ 4763922 w 6096000"/>
              <a:gd name="connsiteY29" fmla="*/ 6691746 h 6858000"/>
              <a:gd name="connsiteX30" fmla="*/ 4806089 w 6096000"/>
              <a:gd name="connsiteY30" fmla="*/ 6670493 h 6858000"/>
              <a:gd name="connsiteX31" fmla="*/ 5858881 w 6096000"/>
              <a:gd name="connsiteY31" fmla="*/ 6663422 h 6858000"/>
              <a:gd name="connsiteX32" fmla="*/ 5871558 w 6096000"/>
              <a:gd name="connsiteY32" fmla="*/ 6666766 h 6858000"/>
              <a:gd name="connsiteX33" fmla="*/ 5881220 w 6096000"/>
              <a:gd name="connsiteY33" fmla="*/ 6676325 h 6858000"/>
              <a:gd name="connsiteX34" fmla="*/ 5884687 w 6096000"/>
              <a:gd name="connsiteY34" fmla="*/ 6689269 h 6858000"/>
              <a:gd name="connsiteX35" fmla="*/ 5881282 w 6096000"/>
              <a:gd name="connsiteY35" fmla="*/ 6702090 h 6858000"/>
              <a:gd name="connsiteX36" fmla="*/ 5871722 w 6096000"/>
              <a:gd name="connsiteY36" fmla="*/ 6711650 h 6858000"/>
              <a:gd name="connsiteX37" fmla="*/ 5858881 w 6096000"/>
              <a:gd name="connsiteY37" fmla="*/ 6715076 h 6858000"/>
              <a:gd name="connsiteX38" fmla="*/ 5846039 w 6096000"/>
              <a:gd name="connsiteY38" fmla="*/ 6711650 h 6858000"/>
              <a:gd name="connsiteX39" fmla="*/ 5836459 w 6096000"/>
              <a:gd name="connsiteY39" fmla="*/ 6702090 h 6858000"/>
              <a:gd name="connsiteX40" fmla="*/ 5833033 w 6096000"/>
              <a:gd name="connsiteY40" fmla="*/ 6689269 h 6858000"/>
              <a:gd name="connsiteX41" fmla="*/ 5836521 w 6096000"/>
              <a:gd name="connsiteY41" fmla="*/ 6676325 h 6858000"/>
              <a:gd name="connsiteX42" fmla="*/ 5846183 w 6096000"/>
              <a:gd name="connsiteY42" fmla="*/ 6666766 h 6858000"/>
              <a:gd name="connsiteX43" fmla="*/ 5858881 w 6096000"/>
              <a:gd name="connsiteY43" fmla="*/ 6663422 h 6858000"/>
              <a:gd name="connsiteX44" fmla="*/ 5858881 w 6096000"/>
              <a:gd name="connsiteY44" fmla="*/ 6658294 h 6858000"/>
              <a:gd name="connsiteX45" fmla="*/ 5843660 w 6096000"/>
              <a:gd name="connsiteY45" fmla="*/ 6662294 h 6858000"/>
              <a:gd name="connsiteX46" fmla="*/ 5832069 w 6096000"/>
              <a:gd name="connsiteY46" fmla="*/ 6673741 h 6858000"/>
              <a:gd name="connsiteX47" fmla="*/ 5827904 w 6096000"/>
              <a:gd name="connsiteY47" fmla="*/ 6689269 h 6858000"/>
              <a:gd name="connsiteX48" fmla="*/ 5832007 w 6096000"/>
              <a:gd name="connsiteY48" fmla="*/ 6704655 h 6858000"/>
              <a:gd name="connsiteX49" fmla="*/ 5843474 w 6096000"/>
              <a:gd name="connsiteY49" fmla="*/ 6716122 h 6858000"/>
              <a:gd name="connsiteX50" fmla="*/ 5858881 w 6096000"/>
              <a:gd name="connsiteY50" fmla="*/ 6720204 h 6858000"/>
              <a:gd name="connsiteX51" fmla="*/ 5874287 w 6096000"/>
              <a:gd name="connsiteY51" fmla="*/ 6716122 h 6858000"/>
              <a:gd name="connsiteX52" fmla="*/ 5885733 w 6096000"/>
              <a:gd name="connsiteY52" fmla="*/ 6704655 h 6858000"/>
              <a:gd name="connsiteX53" fmla="*/ 5889815 w 6096000"/>
              <a:gd name="connsiteY53" fmla="*/ 6689269 h 6858000"/>
              <a:gd name="connsiteX54" fmla="*/ 5885671 w 6096000"/>
              <a:gd name="connsiteY54" fmla="*/ 6673741 h 6858000"/>
              <a:gd name="connsiteX55" fmla="*/ 5874101 w 6096000"/>
              <a:gd name="connsiteY55" fmla="*/ 6662294 h 6858000"/>
              <a:gd name="connsiteX56" fmla="*/ 5858881 w 6096000"/>
              <a:gd name="connsiteY56" fmla="*/ 6658294 h 6858000"/>
              <a:gd name="connsiteX57" fmla="*/ 4995685 w 6096000"/>
              <a:gd name="connsiteY57" fmla="*/ 6628842 h 6858000"/>
              <a:gd name="connsiteX58" fmla="*/ 5027259 w 6096000"/>
              <a:gd name="connsiteY58" fmla="*/ 6669149 h 6858000"/>
              <a:gd name="connsiteX59" fmla="*/ 4995685 w 6096000"/>
              <a:gd name="connsiteY59" fmla="*/ 6709455 h 6858000"/>
              <a:gd name="connsiteX60" fmla="*/ 4964111 w 6096000"/>
              <a:gd name="connsiteY60" fmla="*/ 6669149 h 6858000"/>
              <a:gd name="connsiteX61" fmla="*/ 4995685 w 6096000"/>
              <a:gd name="connsiteY61" fmla="*/ 6628842 h 6858000"/>
              <a:gd name="connsiteX62" fmla="*/ 4685998 w 6096000"/>
              <a:gd name="connsiteY62" fmla="*/ 6628842 h 6858000"/>
              <a:gd name="connsiteX63" fmla="*/ 4714212 w 6096000"/>
              <a:gd name="connsiteY63" fmla="*/ 6669149 h 6858000"/>
              <a:gd name="connsiteX64" fmla="*/ 4685998 w 6096000"/>
              <a:gd name="connsiteY64" fmla="*/ 6709455 h 6858000"/>
              <a:gd name="connsiteX65" fmla="*/ 4657783 w 6096000"/>
              <a:gd name="connsiteY65" fmla="*/ 6669149 h 6858000"/>
              <a:gd name="connsiteX66" fmla="*/ 4685998 w 6096000"/>
              <a:gd name="connsiteY66" fmla="*/ 6628842 h 6858000"/>
              <a:gd name="connsiteX67" fmla="*/ 4373622 w 6096000"/>
              <a:gd name="connsiteY67" fmla="*/ 6628842 h 6858000"/>
              <a:gd name="connsiteX68" fmla="*/ 4405196 w 6096000"/>
              <a:gd name="connsiteY68" fmla="*/ 6669149 h 6858000"/>
              <a:gd name="connsiteX69" fmla="*/ 4373622 w 6096000"/>
              <a:gd name="connsiteY69" fmla="*/ 6709455 h 6858000"/>
              <a:gd name="connsiteX70" fmla="*/ 4342048 w 6096000"/>
              <a:gd name="connsiteY70" fmla="*/ 6669149 h 6858000"/>
              <a:gd name="connsiteX71" fmla="*/ 4373622 w 6096000"/>
              <a:gd name="connsiteY71" fmla="*/ 6628842 h 6858000"/>
              <a:gd name="connsiteX72" fmla="*/ 4918562 w 6096000"/>
              <a:gd name="connsiteY72" fmla="*/ 6623595 h 6858000"/>
              <a:gd name="connsiteX73" fmla="*/ 4918562 w 6096000"/>
              <a:gd name="connsiteY73" fmla="*/ 6719555 h 6858000"/>
              <a:gd name="connsiteX74" fmla="*/ 4930851 w 6096000"/>
              <a:gd name="connsiteY74" fmla="*/ 6719555 h 6858000"/>
              <a:gd name="connsiteX75" fmla="*/ 4930851 w 6096000"/>
              <a:gd name="connsiteY75" fmla="*/ 6623595 h 6858000"/>
              <a:gd name="connsiteX76" fmla="*/ 5062189 w 6096000"/>
              <a:gd name="connsiteY76" fmla="*/ 6622125 h 6858000"/>
              <a:gd name="connsiteX77" fmla="*/ 5062189 w 6096000"/>
              <a:gd name="connsiteY77" fmla="*/ 6646508 h 6858000"/>
              <a:gd name="connsiteX78" fmla="*/ 5062189 w 6096000"/>
              <a:gd name="connsiteY78" fmla="*/ 6716173 h 6858000"/>
              <a:gd name="connsiteX79" fmla="*/ 5076009 w 6096000"/>
              <a:gd name="connsiteY79" fmla="*/ 6716173 h 6858000"/>
              <a:gd name="connsiteX80" fmla="*/ 5076009 w 6096000"/>
              <a:gd name="connsiteY80" fmla="*/ 6663924 h 6858000"/>
              <a:gd name="connsiteX81" fmla="*/ 5103648 w 6096000"/>
              <a:gd name="connsiteY81" fmla="*/ 6629091 h 6858000"/>
              <a:gd name="connsiteX82" fmla="*/ 5124377 w 6096000"/>
              <a:gd name="connsiteY82" fmla="*/ 6660441 h 6858000"/>
              <a:gd name="connsiteX83" fmla="*/ 5124377 w 6096000"/>
              <a:gd name="connsiteY83" fmla="*/ 6716173 h 6858000"/>
              <a:gd name="connsiteX84" fmla="*/ 5134741 w 6096000"/>
              <a:gd name="connsiteY84" fmla="*/ 6716173 h 6858000"/>
              <a:gd name="connsiteX85" fmla="*/ 5134741 w 6096000"/>
              <a:gd name="connsiteY85" fmla="*/ 6656957 h 6858000"/>
              <a:gd name="connsiteX86" fmla="*/ 5103648 w 6096000"/>
              <a:gd name="connsiteY86" fmla="*/ 6622125 h 6858000"/>
              <a:gd name="connsiteX87" fmla="*/ 5072554 w 6096000"/>
              <a:gd name="connsiteY87" fmla="*/ 6639541 h 6858000"/>
              <a:gd name="connsiteX88" fmla="*/ 5072554 w 6096000"/>
              <a:gd name="connsiteY88" fmla="*/ 6622125 h 6858000"/>
              <a:gd name="connsiteX89" fmla="*/ 5062189 w 6096000"/>
              <a:gd name="connsiteY89" fmla="*/ 6622125 h 6858000"/>
              <a:gd name="connsiteX90" fmla="*/ 4992997 w 6096000"/>
              <a:gd name="connsiteY90" fmla="*/ 6622125 h 6858000"/>
              <a:gd name="connsiteX91" fmla="*/ 4949332 w 6096000"/>
              <a:gd name="connsiteY91" fmla="*/ 6671165 h 6858000"/>
              <a:gd name="connsiteX92" fmla="*/ 4992997 w 6096000"/>
              <a:gd name="connsiteY92" fmla="*/ 6720204 h 6858000"/>
              <a:gd name="connsiteX93" fmla="*/ 5036662 w 6096000"/>
              <a:gd name="connsiteY93" fmla="*/ 6671165 h 6858000"/>
              <a:gd name="connsiteX94" fmla="*/ 4992997 w 6096000"/>
              <a:gd name="connsiteY94" fmla="*/ 6622125 h 6858000"/>
              <a:gd name="connsiteX95" fmla="*/ 4787851 w 6096000"/>
              <a:gd name="connsiteY95" fmla="*/ 6622125 h 6858000"/>
              <a:gd name="connsiteX96" fmla="*/ 4759700 w 6096000"/>
              <a:gd name="connsiteY96" fmla="*/ 6625628 h 6858000"/>
              <a:gd name="connsiteX97" fmla="*/ 4759700 w 6096000"/>
              <a:gd name="connsiteY97" fmla="*/ 6639639 h 6858000"/>
              <a:gd name="connsiteX98" fmla="*/ 4787851 w 6096000"/>
              <a:gd name="connsiteY98" fmla="*/ 6629131 h 6858000"/>
              <a:gd name="connsiteX99" fmla="*/ 4808964 w 6096000"/>
              <a:gd name="connsiteY99" fmla="*/ 6653651 h 6858000"/>
              <a:gd name="connsiteX100" fmla="*/ 4808964 w 6096000"/>
              <a:gd name="connsiteY100" fmla="*/ 6660656 h 6858000"/>
              <a:gd name="connsiteX101" fmla="*/ 4749144 w 6096000"/>
              <a:gd name="connsiteY101" fmla="*/ 6692181 h 6858000"/>
              <a:gd name="connsiteX102" fmla="*/ 4780813 w 6096000"/>
              <a:gd name="connsiteY102" fmla="*/ 6720204 h 6858000"/>
              <a:gd name="connsiteX103" fmla="*/ 4808964 w 6096000"/>
              <a:gd name="connsiteY103" fmla="*/ 6702690 h 6858000"/>
              <a:gd name="connsiteX104" fmla="*/ 4812483 w 6096000"/>
              <a:gd name="connsiteY104" fmla="*/ 6702690 h 6858000"/>
              <a:gd name="connsiteX105" fmla="*/ 4812483 w 6096000"/>
              <a:gd name="connsiteY105" fmla="*/ 6716701 h 6858000"/>
              <a:gd name="connsiteX106" fmla="*/ 4823039 w 6096000"/>
              <a:gd name="connsiteY106" fmla="*/ 6716701 h 6858000"/>
              <a:gd name="connsiteX107" fmla="*/ 4823039 w 6096000"/>
              <a:gd name="connsiteY107" fmla="*/ 6699187 h 6858000"/>
              <a:gd name="connsiteX108" fmla="*/ 4823039 w 6096000"/>
              <a:gd name="connsiteY108" fmla="*/ 6657154 h 6858000"/>
              <a:gd name="connsiteX109" fmla="*/ 4787851 w 6096000"/>
              <a:gd name="connsiteY109" fmla="*/ 6622125 h 6858000"/>
              <a:gd name="connsiteX110" fmla="*/ 4546268 w 6096000"/>
              <a:gd name="connsiteY110" fmla="*/ 6622125 h 6858000"/>
              <a:gd name="connsiteX111" fmla="*/ 4546268 w 6096000"/>
              <a:gd name="connsiteY111" fmla="*/ 6646508 h 6858000"/>
              <a:gd name="connsiteX112" fmla="*/ 4546268 w 6096000"/>
              <a:gd name="connsiteY112" fmla="*/ 6716173 h 6858000"/>
              <a:gd name="connsiteX113" fmla="*/ 4560343 w 6096000"/>
              <a:gd name="connsiteY113" fmla="*/ 6716173 h 6858000"/>
              <a:gd name="connsiteX114" fmla="*/ 4560343 w 6096000"/>
              <a:gd name="connsiteY114" fmla="*/ 6663924 h 6858000"/>
              <a:gd name="connsiteX115" fmla="*/ 4588494 w 6096000"/>
              <a:gd name="connsiteY115" fmla="*/ 6629091 h 6858000"/>
              <a:gd name="connsiteX116" fmla="*/ 4609607 w 6096000"/>
              <a:gd name="connsiteY116" fmla="*/ 6660441 h 6858000"/>
              <a:gd name="connsiteX117" fmla="*/ 4609607 w 6096000"/>
              <a:gd name="connsiteY117" fmla="*/ 6716173 h 6858000"/>
              <a:gd name="connsiteX118" fmla="*/ 4620163 w 6096000"/>
              <a:gd name="connsiteY118" fmla="*/ 6716173 h 6858000"/>
              <a:gd name="connsiteX119" fmla="*/ 4620163 w 6096000"/>
              <a:gd name="connsiteY119" fmla="*/ 6656957 h 6858000"/>
              <a:gd name="connsiteX120" fmla="*/ 4588494 w 6096000"/>
              <a:gd name="connsiteY120" fmla="*/ 6622125 h 6858000"/>
              <a:gd name="connsiteX121" fmla="*/ 4556824 w 6096000"/>
              <a:gd name="connsiteY121" fmla="*/ 6639541 h 6858000"/>
              <a:gd name="connsiteX122" fmla="*/ 4556824 w 6096000"/>
              <a:gd name="connsiteY122" fmla="*/ 6622125 h 6858000"/>
              <a:gd name="connsiteX123" fmla="*/ 4546268 w 6096000"/>
              <a:gd name="connsiteY123" fmla="*/ 6622125 h 6858000"/>
              <a:gd name="connsiteX124" fmla="*/ 4444159 w 6096000"/>
              <a:gd name="connsiteY124" fmla="*/ 6622125 h 6858000"/>
              <a:gd name="connsiteX125" fmla="*/ 4444159 w 6096000"/>
              <a:gd name="connsiteY125" fmla="*/ 6685175 h 6858000"/>
              <a:gd name="connsiteX126" fmla="*/ 4475828 w 6096000"/>
              <a:gd name="connsiteY126" fmla="*/ 6720204 h 6858000"/>
              <a:gd name="connsiteX127" fmla="*/ 4507498 w 6096000"/>
              <a:gd name="connsiteY127" fmla="*/ 6702690 h 6858000"/>
              <a:gd name="connsiteX128" fmla="*/ 4507498 w 6096000"/>
              <a:gd name="connsiteY128" fmla="*/ 6716701 h 6858000"/>
              <a:gd name="connsiteX129" fmla="*/ 4518054 w 6096000"/>
              <a:gd name="connsiteY129" fmla="*/ 6716701 h 6858000"/>
              <a:gd name="connsiteX130" fmla="*/ 4518054 w 6096000"/>
              <a:gd name="connsiteY130" fmla="*/ 6695684 h 6858000"/>
              <a:gd name="connsiteX131" fmla="*/ 4518054 w 6096000"/>
              <a:gd name="connsiteY131" fmla="*/ 6622125 h 6858000"/>
              <a:gd name="connsiteX132" fmla="*/ 4503979 w 6096000"/>
              <a:gd name="connsiteY132" fmla="*/ 6622125 h 6858000"/>
              <a:gd name="connsiteX133" fmla="*/ 4503979 w 6096000"/>
              <a:gd name="connsiteY133" fmla="*/ 6674667 h 6858000"/>
              <a:gd name="connsiteX134" fmla="*/ 4475828 w 6096000"/>
              <a:gd name="connsiteY134" fmla="*/ 6709695 h 6858000"/>
              <a:gd name="connsiteX135" fmla="*/ 4454715 w 6096000"/>
              <a:gd name="connsiteY135" fmla="*/ 6681673 h 6858000"/>
              <a:gd name="connsiteX136" fmla="*/ 4454715 w 6096000"/>
              <a:gd name="connsiteY136" fmla="*/ 6622125 h 6858000"/>
              <a:gd name="connsiteX137" fmla="*/ 4444159 w 6096000"/>
              <a:gd name="connsiteY137" fmla="*/ 6622125 h 6858000"/>
              <a:gd name="connsiteX138" fmla="*/ 4375637 w 6096000"/>
              <a:gd name="connsiteY138" fmla="*/ 6622125 h 6858000"/>
              <a:gd name="connsiteX139" fmla="*/ 4331300 w 6096000"/>
              <a:gd name="connsiteY139" fmla="*/ 6671165 h 6858000"/>
              <a:gd name="connsiteX140" fmla="*/ 4375637 w 6096000"/>
              <a:gd name="connsiteY140" fmla="*/ 6720204 h 6858000"/>
              <a:gd name="connsiteX141" fmla="*/ 4419975 w 6096000"/>
              <a:gd name="connsiteY141" fmla="*/ 6671165 h 6858000"/>
              <a:gd name="connsiteX142" fmla="*/ 4375637 w 6096000"/>
              <a:gd name="connsiteY142" fmla="*/ 6622125 h 6858000"/>
              <a:gd name="connsiteX143" fmla="*/ 5559303 w 6096000"/>
              <a:gd name="connsiteY143" fmla="*/ 6607346 h 6858000"/>
              <a:gd name="connsiteX144" fmla="*/ 5563333 w 6096000"/>
              <a:gd name="connsiteY144" fmla="*/ 6618095 h 6858000"/>
              <a:gd name="connsiteX145" fmla="*/ 5567364 w 6096000"/>
              <a:gd name="connsiteY145" fmla="*/ 6624813 h 6858000"/>
              <a:gd name="connsiteX146" fmla="*/ 5552585 w 6096000"/>
              <a:gd name="connsiteY146" fmla="*/ 6624813 h 6858000"/>
              <a:gd name="connsiteX147" fmla="*/ 5556616 w 6096000"/>
              <a:gd name="connsiteY147" fmla="*/ 6618095 h 6858000"/>
              <a:gd name="connsiteX148" fmla="*/ 5563446 w 6096000"/>
              <a:gd name="connsiteY148" fmla="*/ 6596598 h 6858000"/>
              <a:gd name="connsiteX149" fmla="*/ 5553032 w 6096000"/>
              <a:gd name="connsiteY149" fmla="*/ 6600112 h 6858000"/>
              <a:gd name="connsiteX150" fmla="*/ 5549562 w 6096000"/>
              <a:gd name="connsiteY150" fmla="*/ 6617682 h 6858000"/>
              <a:gd name="connsiteX151" fmla="*/ 5539149 w 6096000"/>
              <a:gd name="connsiteY151" fmla="*/ 6638764 h 6858000"/>
              <a:gd name="connsiteX152" fmla="*/ 5549562 w 6096000"/>
              <a:gd name="connsiteY152" fmla="*/ 6642278 h 6858000"/>
              <a:gd name="connsiteX153" fmla="*/ 5549562 w 6096000"/>
              <a:gd name="connsiteY153" fmla="*/ 6631737 h 6858000"/>
              <a:gd name="connsiteX154" fmla="*/ 5570387 w 6096000"/>
              <a:gd name="connsiteY154" fmla="*/ 6631737 h 6858000"/>
              <a:gd name="connsiteX155" fmla="*/ 5570387 w 6096000"/>
              <a:gd name="connsiteY155" fmla="*/ 6638764 h 6858000"/>
              <a:gd name="connsiteX156" fmla="*/ 5580800 w 6096000"/>
              <a:gd name="connsiteY156" fmla="*/ 6638764 h 6858000"/>
              <a:gd name="connsiteX157" fmla="*/ 5570387 w 6096000"/>
              <a:gd name="connsiteY157" fmla="*/ 6617682 h 6858000"/>
              <a:gd name="connsiteX158" fmla="*/ 5563446 w 6096000"/>
              <a:gd name="connsiteY158" fmla="*/ 6600112 h 6858000"/>
              <a:gd name="connsiteX159" fmla="*/ 5563446 w 6096000"/>
              <a:gd name="connsiteY159" fmla="*/ 6596598 h 6858000"/>
              <a:gd name="connsiteX160" fmla="*/ 4868451 w 6096000"/>
              <a:gd name="connsiteY160" fmla="*/ 6596597 h 6858000"/>
              <a:gd name="connsiteX161" fmla="*/ 4857971 w 6096000"/>
              <a:gd name="connsiteY161" fmla="*/ 6600129 h 6858000"/>
              <a:gd name="connsiteX162" fmla="*/ 4857971 w 6096000"/>
              <a:gd name="connsiteY162" fmla="*/ 6621318 h 6858000"/>
              <a:gd name="connsiteX163" fmla="*/ 4840505 w 6096000"/>
              <a:gd name="connsiteY163" fmla="*/ 6621318 h 6858000"/>
              <a:gd name="connsiteX164" fmla="*/ 4840505 w 6096000"/>
              <a:gd name="connsiteY164" fmla="*/ 6631913 h 6858000"/>
              <a:gd name="connsiteX165" fmla="*/ 4857971 w 6096000"/>
              <a:gd name="connsiteY165" fmla="*/ 6631913 h 6858000"/>
              <a:gd name="connsiteX166" fmla="*/ 4857971 w 6096000"/>
              <a:gd name="connsiteY166" fmla="*/ 6688419 h 6858000"/>
              <a:gd name="connsiteX167" fmla="*/ 4878931 w 6096000"/>
              <a:gd name="connsiteY167" fmla="*/ 6720203 h 6858000"/>
              <a:gd name="connsiteX168" fmla="*/ 4892904 w 6096000"/>
              <a:gd name="connsiteY168" fmla="*/ 6716672 h 6858000"/>
              <a:gd name="connsiteX169" fmla="*/ 4892904 w 6096000"/>
              <a:gd name="connsiteY169" fmla="*/ 6706077 h 6858000"/>
              <a:gd name="connsiteX170" fmla="*/ 4882424 w 6096000"/>
              <a:gd name="connsiteY170" fmla="*/ 6709608 h 6858000"/>
              <a:gd name="connsiteX171" fmla="*/ 4868451 w 6096000"/>
              <a:gd name="connsiteY171" fmla="*/ 6695482 h 6858000"/>
              <a:gd name="connsiteX172" fmla="*/ 4868451 w 6096000"/>
              <a:gd name="connsiteY172" fmla="*/ 6631913 h 6858000"/>
              <a:gd name="connsiteX173" fmla="*/ 4889410 w 6096000"/>
              <a:gd name="connsiteY173" fmla="*/ 6631913 h 6858000"/>
              <a:gd name="connsiteX174" fmla="*/ 4889410 w 6096000"/>
              <a:gd name="connsiteY174" fmla="*/ 6621318 h 6858000"/>
              <a:gd name="connsiteX175" fmla="*/ 4868451 w 6096000"/>
              <a:gd name="connsiteY175" fmla="*/ 6621318 h 6858000"/>
              <a:gd name="connsiteX176" fmla="*/ 4868451 w 6096000"/>
              <a:gd name="connsiteY176" fmla="*/ 6596597 h 6858000"/>
              <a:gd name="connsiteX177" fmla="*/ 5503881 w 6096000"/>
              <a:gd name="connsiteY177" fmla="*/ 6593911 h 6858000"/>
              <a:gd name="connsiteX178" fmla="*/ 5493469 w 6096000"/>
              <a:gd name="connsiteY178" fmla="*/ 6636077 h 6858000"/>
              <a:gd name="connsiteX179" fmla="*/ 5503881 w 6096000"/>
              <a:gd name="connsiteY179" fmla="*/ 6636077 h 6858000"/>
              <a:gd name="connsiteX180" fmla="*/ 5507352 w 6096000"/>
              <a:gd name="connsiteY180" fmla="*/ 6611481 h 6858000"/>
              <a:gd name="connsiteX181" fmla="*/ 5521236 w 6096000"/>
              <a:gd name="connsiteY181" fmla="*/ 6639591 h 6858000"/>
              <a:gd name="connsiteX182" fmla="*/ 5528178 w 6096000"/>
              <a:gd name="connsiteY182" fmla="*/ 6639591 h 6858000"/>
              <a:gd name="connsiteX183" fmla="*/ 5535119 w 6096000"/>
              <a:gd name="connsiteY183" fmla="*/ 6597425 h 6858000"/>
              <a:gd name="connsiteX184" fmla="*/ 5528178 w 6096000"/>
              <a:gd name="connsiteY184" fmla="*/ 6597425 h 6858000"/>
              <a:gd name="connsiteX185" fmla="*/ 5524707 w 6096000"/>
              <a:gd name="connsiteY185" fmla="*/ 6625536 h 6858000"/>
              <a:gd name="connsiteX186" fmla="*/ 5510824 w 6096000"/>
              <a:gd name="connsiteY186" fmla="*/ 6593911 h 6858000"/>
              <a:gd name="connsiteX187" fmla="*/ 5503881 w 6096000"/>
              <a:gd name="connsiteY187" fmla="*/ 6593911 h 6858000"/>
              <a:gd name="connsiteX188" fmla="*/ 5613044 w 6096000"/>
              <a:gd name="connsiteY188" fmla="*/ 6589881 h 6858000"/>
              <a:gd name="connsiteX189" fmla="*/ 5578112 w 6096000"/>
              <a:gd name="connsiteY189" fmla="*/ 6596982 h 6858000"/>
              <a:gd name="connsiteX190" fmla="*/ 5578112 w 6096000"/>
              <a:gd name="connsiteY190" fmla="*/ 6604084 h 6858000"/>
              <a:gd name="connsiteX191" fmla="*/ 5592084 w 6096000"/>
              <a:gd name="connsiteY191" fmla="*/ 6604084 h 6858000"/>
              <a:gd name="connsiteX192" fmla="*/ 5599071 w 6096000"/>
              <a:gd name="connsiteY192" fmla="*/ 6639592 h 6858000"/>
              <a:gd name="connsiteX193" fmla="*/ 5606057 w 6096000"/>
              <a:gd name="connsiteY193" fmla="*/ 6636041 h 6858000"/>
              <a:gd name="connsiteX194" fmla="*/ 5599071 w 6096000"/>
              <a:gd name="connsiteY194" fmla="*/ 6600533 h 6858000"/>
              <a:gd name="connsiteX195" fmla="*/ 5613044 w 6096000"/>
              <a:gd name="connsiteY195" fmla="*/ 6596982 h 6858000"/>
              <a:gd name="connsiteX196" fmla="*/ 5468748 w 6096000"/>
              <a:gd name="connsiteY196" fmla="*/ 6589881 h 6858000"/>
              <a:gd name="connsiteX197" fmla="*/ 5479228 w 6096000"/>
              <a:gd name="connsiteY197" fmla="*/ 6593240 h 6858000"/>
              <a:gd name="connsiteX198" fmla="*/ 5482720 w 6096000"/>
              <a:gd name="connsiteY198" fmla="*/ 6596599 h 6858000"/>
              <a:gd name="connsiteX199" fmla="*/ 5482720 w 6096000"/>
              <a:gd name="connsiteY199" fmla="*/ 6599957 h 6858000"/>
              <a:gd name="connsiteX200" fmla="*/ 5475734 w 6096000"/>
              <a:gd name="connsiteY200" fmla="*/ 6603316 h 6858000"/>
              <a:gd name="connsiteX201" fmla="*/ 5465254 w 6096000"/>
              <a:gd name="connsiteY201" fmla="*/ 6599957 h 6858000"/>
              <a:gd name="connsiteX202" fmla="*/ 5468748 w 6096000"/>
              <a:gd name="connsiteY202" fmla="*/ 6596599 h 6858000"/>
              <a:gd name="connsiteX203" fmla="*/ 5468748 w 6096000"/>
              <a:gd name="connsiteY203" fmla="*/ 6589881 h 6858000"/>
              <a:gd name="connsiteX204" fmla="*/ 4918562 w 6096000"/>
              <a:gd name="connsiteY204" fmla="*/ 6587995 h 6858000"/>
              <a:gd name="connsiteX205" fmla="*/ 4918562 w 6096000"/>
              <a:gd name="connsiteY205" fmla="*/ 6601689 h 6858000"/>
              <a:gd name="connsiteX206" fmla="*/ 4930851 w 6096000"/>
              <a:gd name="connsiteY206" fmla="*/ 6601689 h 6858000"/>
              <a:gd name="connsiteX207" fmla="*/ 4930851 w 6096000"/>
              <a:gd name="connsiteY207" fmla="*/ 6587995 h 6858000"/>
              <a:gd name="connsiteX208" fmla="*/ 5619762 w 6096000"/>
              <a:gd name="connsiteY208" fmla="*/ 6585849 h 6858000"/>
              <a:gd name="connsiteX209" fmla="*/ 5633582 w 6096000"/>
              <a:gd name="connsiteY209" fmla="*/ 6628843 h 6858000"/>
              <a:gd name="connsiteX210" fmla="*/ 5643946 w 6096000"/>
              <a:gd name="connsiteY210" fmla="*/ 6625260 h 6858000"/>
              <a:gd name="connsiteX211" fmla="*/ 5630127 w 6096000"/>
              <a:gd name="connsiteY211" fmla="*/ 6585849 h 6858000"/>
              <a:gd name="connsiteX212" fmla="*/ 5619762 w 6096000"/>
              <a:gd name="connsiteY212" fmla="*/ 6585849 h 6858000"/>
              <a:gd name="connsiteX213" fmla="*/ 4250688 w 6096000"/>
              <a:gd name="connsiteY213" fmla="*/ 6585849 h 6858000"/>
              <a:gd name="connsiteX214" fmla="*/ 4250688 w 6096000"/>
              <a:gd name="connsiteY214" fmla="*/ 6716173 h 6858000"/>
              <a:gd name="connsiteX215" fmla="*/ 4265467 w 6096000"/>
              <a:gd name="connsiteY215" fmla="*/ 6716173 h 6858000"/>
              <a:gd name="connsiteX216" fmla="*/ 4265467 w 6096000"/>
              <a:gd name="connsiteY216" fmla="*/ 6657057 h 6858000"/>
              <a:gd name="connsiteX217" fmla="*/ 4311148 w 6096000"/>
              <a:gd name="connsiteY217" fmla="*/ 6657057 h 6858000"/>
              <a:gd name="connsiteX218" fmla="*/ 4311148 w 6096000"/>
              <a:gd name="connsiteY218" fmla="*/ 6646309 h 6858000"/>
              <a:gd name="connsiteX219" fmla="*/ 4265467 w 6096000"/>
              <a:gd name="connsiteY219" fmla="*/ 6646309 h 6858000"/>
              <a:gd name="connsiteX220" fmla="*/ 4265467 w 6096000"/>
              <a:gd name="connsiteY220" fmla="*/ 6596597 h 6858000"/>
              <a:gd name="connsiteX221" fmla="*/ 4313835 w 6096000"/>
              <a:gd name="connsiteY221" fmla="*/ 6596597 h 6858000"/>
              <a:gd name="connsiteX222" fmla="*/ 4313835 w 6096000"/>
              <a:gd name="connsiteY222" fmla="*/ 6585849 h 6858000"/>
              <a:gd name="connsiteX223" fmla="*/ 5465143 w 6096000"/>
              <a:gd name="connsiteY223" fmla="*/ 6579132 h 6858000"/>
              <a:gd name="connsiteX224" fmla="*/ 5458200 w 6096000"/>
              <a:gd name="connsiteY224" fmla="*/ 6596599 h 6858000"/>
              <a:gd name="connsiteX225" fmla="*/ 5458200 w 6096000"/>
              <a:gd name="connsiteY225" fmla="*/ 6600091 h 6858000"/>
              <a:gd name="connsiteX226" fmla="*/ 5447788 w 6096000"/>
              <a:gd name="connsiteY226" fmla="*/ 6617558 h 6858000"/>
              <a:gd name="connsiteX227" fmla="*/ 5458200 w 6096000"/>
              <a:gd name="connsiteY227" fmla="*/ 6621051 h 6858000"/>
              <a:gd name="connsiteX228" fmla="*/ 5461671 w 6096000"/>
              <a:gd name="connsiteY228" fmla="*/ 6607078 h 6858000"/>
              <a:gd name="connsiteX229" fmla="*/ 5472084 w 6096000"/>
              <a:gd name="connsiteY229" fmla="*/ 6610572 h 6858000"/>
              <a:gd name="connsiteX230" fmla="*/ 5472084 w 6096000"/>
              <a:gd name="connsiteY230" fmla="*/ 6628037 h 6858000"/>
              <a:gd name="connsiteX231" fmla="*/ 5482497 w 6096000"/>
              <a:gd name="connsiteY231" fmla="*/ 6631531 h 6858000"/>
              <a:gd name="connsiteX232" fmla="*/ 5479026 w 6096000"/>
              <a:gd name="connsiteY232" fmla="*/ 6610572 h 6858000"/>
              <a:gd name="connsiteX233" fmla="*/ 5489438 w 6096000"/>
              <a:gd name="connsiteY233" fmla="*/ 6600091 h 6858000"/>
              <a:gd name="connsiteX234" fmla="*/ 5489438 w 6096000"/>
              <a:gd name="connsiteY234" fmla="*/ 6596599 h 6858000"/>
              <a:gd name="connsiteX235" fmla="*/ 5482497 w 6096000"/>
              <a:gd name="connsiteY235" fmla="*/ 6586119 h 6858000"/>
              <a:gd name="connsiteX236" fmla="*/ 5465143 w 6096000"/>
              <a:gd name="connsiteY236" fmla="*/ 6579132 h 6858000"/>
              <a:gd name="connsiteX237" fmla="*/ 5670241 w 6096000"/>
              <a:gd name="connsiteY237" fmla="*/ 6576425 h 6858000"/>
              <a:gd name="connsiteX238" fmla="*/ 5678878 w 6096000"/>
              <a:gd name="connsiteY238" fmla="*/ 6582156 h 6858000"/>
              <a:gd name="connsiteX239" fmla="*/ 5678878 w 6096000"/>
              <a:gd name="connsiteY239" fmla="*/ 6589209 h 6858000"/>
              <a:gd name="connsiteX240" fmla="*/ 5675423 w 6096000"/>
              <a:gd name="connsiteY240" fmla="*/ 6599790 h 6858000"/>
              <a:gd name="connsiteX241" fmla="*/ 5671968 w 6096000"/>
              <a:gd name="connsiteY241" fmla="*/ 6603317 h 6858000"/>
              <a:gd name="connsiteX242" fmla="*/ 5658149 w 6096000"/>
              <a:gd name="connsiteY242" fmla="*/ 6599790 h 6858000"/>
              <a:gd name="connsiteX243" fmla="*/ 5654694 w 6096000"/>
              <a:gd name="connsiteY243" fmla="*/ 6596264 h 6858000"/>
              <a:gd name="connsiteX244" fmla="*/ 5654694 w 6096000"/>
              <a:gd name="connsiteY244" fmla="*/ 6589209 h 6858000"/>
              <a:gd name="connsiteX245" fmla="*/ 5661604 w 6096000"/>
              <a:gd name="connsiteY245" fmla="*/ 6578629 h 6858000"/>
              <a:gd name="connsiteX246" fmla="*/ 5670241 w 6096000"/>
              <a:gd name="connsiteY246" fmla="*/ 6576425 h 6858000"/>
              <a:gd name="connsiteX247" fmla="*/ 4714738 w 6096000"/>
              <a:gd name="connsiteY247" fmla="*/ 6575100 h 6858000"/>
              <a:gd name="connsiteX248" fmla="*/ 4714738 w 6096000"/>
              <a:gd name="connsiteY248" fmla="*/ 6638804 h 6858000"/>
              <a:gd name="connsiteX249" fmla="*/ 4686231 w 6096000"/>
              <a:gd name="connsiteY249" fmla="*/ 6621108 h 6858000"/>
              <a:gd name="connsiteX250" fmla="*/ 4647034 w 6096000"/>
              <a:gd name="connsiteY250" fmla="*/ 6670656 h 6858000"/>
              <a:gd name="connsiteX251" fmla="*/ 4686231 w 6096000"/>
              <a:gd name="connsiteY251" fmla="*/ 6720203 h 6858000"/>
              <a:gd name="connsiteX252" fmla="*/ 4714738 w 6096000"/>
              <a:gd name="connsiteY252" fmla="*/ 6702507 h 6858000"/>
              <a:gd name="connsiteX253" fmla="*/ 4714738 w 6096000"/>
              <a:gd name="connsiteY253" fmla="*/ 6716664 h 6858000"/>
              <a:gd name="connsiteX254" fmla="*/ 4728991 w 6096000"/>
              <a:gd name="connsiteY254" fmla="*/ 6716664 h 6858000"/>
              <a:gd name="connsiteX255" fmla="*/ 4728991 w 6096000"/>
              <a:gd name="connsiteY255" fmla="*/ 6575100 h 6858000"/>
              <a:gd name="connsiteX256" fmla="*/ 4714738 w 6096000"/>
              <a:gd name="connsiteY256" fmla="*/ 6575100 h 6858000"/>
              <a:gd name="connsiteX257" fmla="*/ 5672161 w 6096000"/>
              <a:gd name="connsiteY257" fmla="*/ 6569584 h 6858000"/>
              <a:gd name="connsiteX258" fmla="*/ 5654694 w 6096000"/>
              <a:gd name="connsiteY258" fmla="*/ 6572607 h 6858000"/>
              <a:gd name="connsiteX259" fmla="*/ 5643946 w 6096000"/>
              <a:gd name="connsiteY259" fmla="*/ 6589881 h 6858000"/>
              <a:gd name="connsiteX260" fmla="*/ 5647528 w 6096000"/>
              <a:gd name="connsiteY260" fmla="*/ 6600246 h 6858000"/>
              <a:gd name="connsiteX261" fmla="*/ 5676191 w 6096000"/>
              <a:gd name="connsiteY261" fmla="*/ 6607156 h 6858000"/>
              <a:gd name="connsiteX262" fmla="*/ 5686939 w 6096000"/>
              <a:gd name="connsiteY262" fmla="*/ 6600246 h 6858000"/>
              <a:gd name="connsiteX263" fmla="*/ 5686939 w 6096000"/>
              <a:gd name="connsiteY263" fmla="*/ 6589881 h 6858000"/>
              <a:gd name="connsiteX264" fmla="*/ 5686939 w 6096000"/>
              <a:gd name="connsiteY264" fmla="*/ 6579517 h 6858000"/>
              <a:gd name="connsiteX265" fmla="*/ 5672161 w 6096000"/>
              <a:gd name="connsiteY265" fmla="*/ 6569584 h 6858000"/>
              <a:gd name="connsiteX266" fmla="*/ 5429909 w 6096000"/>
              <a:gd name="connsiteY266" fmla="*/ 6561666 h 6858000"/>
              <a:gd name="connsiteX267" fmla="*/ 5408825 w 6096000"/>
              <a:gd name="connsiteY267" fmla="*/ 6596598 h 6858000"/>
              <a:gd name="connsiteX268" fmla="*/ 5433423 w 6096000"/>
              <a:gd name="connsiteY268" fmla="*/ 6614064 h 6858000"/>
              <a:gd name="connsiteX269" fmla="*/ 5436937 w 6096000"/>
              <a:gd name="connsiteY269" fmla="*/ 6607078 h 6858000"/>
              <a:gd name="connsiteX270" fmla="*/ 5419367 w 6096000"/>
              <a:gd name="connsiteY270" fmla="*/ 6596598 h 6858000"/>
              <a:gd name="connsiteX271" fmla="*/ 5426395 w 6096000"/>
              <a:gd name="connsiteY271" fmla="*/ 6586119 h 6858000"/>
              <a:gd name="connsiteX272" fmla="*/ 5436937 w 6096000"/>
              <a:gd name="connsiteY272" fmla="*/ 6593105 h 6858000"/>
              <a:gd name="connsiteX273" fmla="*/ 5440450 w 6096000"/>
              <a:gd name="connsiteY273" fmla="*/ 6586119 h 6858000"/>
              <a:gd name="connsiteX274" fmla="*/ 5429909 w 6096000"/>
              <a:gd name="connsiteY274" fmla="*/ 6579132 h 6858000"/>
              <a:gd name="connsiteX275" fmla="*/ 5433423 w 6096000"/>
              <a:gd name="connsiteY275" fmla="*/ 6572146 h 6858000"/>
              <a:gd name="connsiteX276" fmla="*/ 5450992 w 6096000"/>
              <a:gd name="connsiteY276" fmla="*/ 6582625 h 6858000"/>
              <a:gd name="connsiteX277" fmla="*/ 5454506 w 6096000"/>
              <a:gd name="connsiteY277" fmla="*/ 6575638 h 6858000"/>
              <a:gd name="connsiteX278" fmla="*/ 5429909 w 6096000"/>
              <a:gd name="connsiteY278" fmla="*/ 6561666 h 6858000"/>
              <a:gd name="connsiteX279" fmla="*/ 5707361 w 6096000"/>
              <a:gd name="connsiteY279" fmla="*/ 6533452 h 6858000"/>
              <a:gd name="connsiteX280" fmla="*/ 5700375 w 6096000"/>
              <a:gd name="connsiteY280" fmla="*/ 6540505 h 6858000"/>
              <a:gd name="connsiteX281" fmla="*/ 5717840 w 6096000"/>
              <a:gd name="connsiteY281" fmla="*/ 6558139 h 6858000"/>
              <a:gd name="connsiteX282" fmla="*/ 5689895 w 6096000"/>
              <a:gd name="connsiteY282" fmla="*/ 6551086 h 6858000"/>
              <a:gd name="connsiteX283" fmla="*/ 5682908 w 6096000"/>
              <a:gd name="connsiteY283" fmla="*/ 6554612 h 6858000"/>
              <a:gd name="connsiteX284" fmla="*/ 5707361 w 6096000"/>
              <a:gd name="connsiteY284" fmla="*/ 6589881 h 6858000"/>
              <a:gd name="connsiteX285" fmla="*/ 5714348 w 6096000"/>
              <a:gd name="connsiteY285" fmla="*/ 6582827 h 6858000"/>
              <a:gd name="connsiteX286" fmla="*/ 5700375 w 6096000"/>
              <a:gd name="connsiteY286" fmla="*/ 6561666 h 6858000"/>
              <a:gd name="connsiteX287" fmla="*/ 5728320 w 6096000"/>
              <a:gd name="connsiteY287" fmla="*/ 6572246 h 6858000"/>
              <a:gd name="connsiteX288" fmla="*/ 5735307 w 6096000"/>
              <a:gd name="connsiteY288" fmla="*/ 6565193 h 6858000"/>
              <a:gd name="connsiteX289" fmla="*/ 5707361 w 6096000"/>
              <a:gd name="connsiteY289" fmla="*/ 6533452 h 6858000"/>
              <a:gd name="connsiteX290" fmla="*/ 5399008 w 6096000"/>
              <a:gd name="connsiteY290" fmla="*/ 6533452 h 6858000"/>
              <a:gd name="connsiteX291" fmla="*/ 5391980 w 6096000"/>
              <a:gd name="connsiteY291" fmla="*/ 6536965 h 6858000"/>
              <a:gd name="connsiteX292" fmla="*/ 5402522 w 6096000"/>
              <a:gd name="connsiteY292" fmla="*/ 6547507 h 6858000"/>
              <a:gd name="connsiteX293" fmla="*/ 5377924 w 6096000"/>
              <a:gd name="connsiteY293" fmla="*/ 6572104 h 6858000"/>
              <a:gd name="connsiteX294" fmla="*/ 5384952 w 6096000"/>
              <a:gd name="connsiteY294" fmla="*/ 6579132 h 6858000"/>
              <a:gd name="connsiteX295" fmla="*/ 5409548 w 6096000"/>
              <a:gd name="connsiteY295" fmla="*/ 6554535 h 6858000"/>
              <a:gd name="connsiteX296" fmla="*/ 5420090 w 6096000"/>
              <a:gd name="connsiteY296" fmla="*/ 6561562 h 6858000"/>
              <a:gd name="connsiteX297" fmla="*/ 5423604 w 6096000"/>
              <a:gd name="connsiteY297" fmla="*/ 6554535 h 6858000"/>
              <a:gd name="connsiteX298" fmla="*/ 5399008 w 6096000"/>
              <a:gd name="connsiteY298" fmla="*/ 6533452 h 6858000"/>
              <a:gd name="connsiteX299" fmla="*/ 5728589 w 6096000"/>
              <a:gd name="connsiteY299" fmla="*/ 6522703 h 6858000"/>
              <a:gd name="connsiteX300" fmla="*/ 5746055 w 6096000"/>
              <a:gd name="connsiteY300" fmla="*/ 6529421 h 6858000"/>
              <a:gd name="connsiteX301" fmla="*/ 5746055 w 6096000"/>
              <a:gd name="connsiteY301" fmla="*/ 6533452 h 6858000"/>
              <a:gd name="connsiteX302" fmla="*/ 5739337 w 6096000"/>
              <a:gd name="connsiteY302" fmla="*/ 6540170 h 6858000"/>
              <a:gd name="connsiteX303" fmla="*/ 5735307 w 6096000"/>
              <a:gd name="connsiteY303" fmla="*/ 6533452 h 6858000"/>
              <a:gd name="connsiteX304" fmla="*/ 5724942 w 6096000"/>
              <a:gd name="connsiteY304" fmla="*/ 6515985 h 6858000"/>
              <a:gd name="connsiteX305" fmla="*/ 5717840 w 6096000"/>
              <a:gd name="connsiteY305" fmla="*/ 6522927 h 6858000"/>
              <a:gd name="connsiteX306" fmla="*/ 5724942 w 6096000"/>
              <a:gd name="connsiteY306" fmla="*/ 6533339 h 6858000"/>
              <a:gd name="connsiteX307" fmla="*/ 5742696 w 6096000"/>
              <a:gd name="connsiteY307" fmla="*/ 6557635 h 6858000"/>
              <a:gd name="connsiteX308" fmla="*/ 5746247 w 6096000"/>
              <a:gd name="connsiteY308" fmla="*/ 6554165 h 6858000"/>
              <a:gd name="connsiteX309" fmla="*/ 5742696 w 6096000"/>
              <a:gd name="connsiteY309" fmla="*/ 6547223 h 6858000"/>
              <a:gd name="connsiteX310" fmla="*/ 5753349 w 6096000"/>
              <a:gd name="connsiteY310" fmla="*/ 6533339 h 6858000"/>
              <a:gd name="connsiteX311" fmla="*/ 5760450 w 6096000"/>
              <a:gd name="connsiteY311" fmla="*/ 6533339 h 6858000"/>
              <a:gd name="connsiteX312" fmla="*/ 5764002 w 6096000"/>
              <a:gd name="connsiteY312" fmla="*/ 6533339 h 6858000"/>
              <a:gd name="connsiteX313" fmla="*/ 5767552 w 6096000"/>
              <a:gd name="connsiteY313" fmla="*/ 6526397 h 6858000"/>
              <a:gd name="connsiteX314" fmla="*/ 5724942 w 6096000"/>
              <a:gd name="connsiteY314" fmla="*/ 6515985 h 6858000"/>
              <a:gd name="connsiteX315" fmla="*/ 5370198 w 6096000"/>
              <a:gd name="connsiteY315" fmla="*/ 6501206 h 6858000"/>
              <a:gd name="connsiteX316" fmla="*/ 5334930 w 6096000"/>
              <a:gd name="connsiteY316" fmla="*/ 6526286 h 6858000"/>
              <a:gd name="connsiteX317" fmla="*/ 5341984 w 6096000"/>
              <a:gd name="connsiteY317" fmla="*/ 6533452 h 6858000"/>
              <a:gd name="connsiteX318" fmla="*/ 5363145 w 6096000"/>
              <a:gd name="connsiteY318" fmla="*/ 6519121 h 6858000"/>
              <a:gd name="connsiteX319" fmla="*/ 5352564 w 6096000"/>
              <a:gd name="connsiteY319" fmla="*/ 6547782 h 6858000"/>
              <a:gd name="connsiteX320" fmla="*/ 5359618 w 6096000"/>
              <a:gd name="connsiteY320" fmla="*/ 6554948 h 6858000"/>
              <a:gd name="connsiteX321" fmla="*/ 5391359 w 6096000"/>
              <a:gd name="connsiteY321" fmla="*/ 6526286 h 6858000"/>
              <a:gd name="connsiteX322" fmla="*/ 5387833 w 6096000"/>
              <a:gd name="connsiteY322" fmla="*/ 6519121 h 6858000"/>
              <a:gd name="connsiteX323" fmla="*/ 5366672 w 6096000"/>
              <a:gd name="connsiteY323" fmla="*/ 6537034 h 6858000"/>
              <a:gd name="connsiteX324" fmla="*/ 5377252 w 6096000"/>
              <a:gd name="connsiteY324" fmla="*/ 6508372 h 6858000"/>
              <a:gd name="connsiteX325" fmla="*/ 5370198 w 6096000"/>
              <a:gd name="connsiteY325" fmla="*/ 6501206 h 6858000"/>
              <a:gd name="connsiteX326" fmla="*/ 5739338 w 6096000"/>
              <a:gd name="connsiteY326" fmla="*/ 6490458 h 6858000"/>
              <a:gd name="connsiteX327" fmla="*/ 5735307 w 6096000"/>
              <a:gd name="connsiteY327" fmla="*/ 6498519 h 6858000"/>
              <a:gd name="connsiteX328" fmla="*/ 5774270 w 6096000"/>
              <a:gd name="connsiteY328" fmla="*/ 6518673 h 6858000"/>
              <a:gd name="connsiteX329" fmla="*/ 5787706 w 6096000"/>
              <a:gd name="connsiteY329" fmla="*/ 6494489 h 6858000"/>
              <a:gd name="connsiteX330" fmla="*/ 5780988 w 6096000"/>
              <a:gd name="connsiteY330" fmla="*/ 6490458 h 6858000"/>
              <a:gd name="connsiteX331" fmla="*/ 5770239 w 6096000"/>
              <a:gd name="connsiteY331" fmla="*/ 6509268 h 6858000"/>
              <a:gd name="connsiteX332" fmla="*/ 5363634 w 6096000"/>
              <a:gd name="connsiteY332" fmla="*/ 6487771 h 6858000"/>
              <a:gd name="connsiteX333" fmla="*/ 5328212 w 6096000"/>
              <a:gd name="connsiteY333" fmla="*/ 6508933 h 6858000"/>
              <a:gd name="connsiteX334" fmla="*/ 5331754 w 6096000"/>
              <a:gd name="connsiteY334" fmla="*/ 6515986 h 6858000"/>
              <a:gd name="connsiteX335" fmla="*/ 5367176 w 6096000"/>
              <a:gd name="connsiteY335" fmla="*/ 6494825 h 6858000"/>
              <a:gd name="connsiteX336" fmla="*/ 5363634 w 6096000"/>
              <a:gd name="connsiteY336" fmla="*/ 6487771 h 6858000"/>
              <a:gd name="connsiteX337" fmla="*/ 5354927 w 6096000"/>
              <a:gd name="connsiteY337" fmla="*/ 6454161 h 6858000"/>
              <a:gd name="connsiteX338" fmla="*/ 5360192 w 6096000"/>
              <a:gd name="connsiteY338" fmla="*/ 6459892 h 6858000"/>
              <a:gd name="connsiteX339" fmla="*/ 5553257 w 6096000"/>
              <a:gd name="connsiteY339" fmla="*/ 6590385 h 6858000"/>
              <a:gd name="connsiteX340" fmla="*/ 5746320 w 6096000"/>
              <a:gd name="connsiteY340" fmla="*/ 6459892 h 6858000"/>
              <a:gd name="connsiteX341" fmla="*/ 5751586 w 6096000"/>
              <a:gd name="connsiteY341" fmla="*/ 6454161 h 6858000"/>
              <a:gd name="connsiteX342" fmla="*/ 5756851 w 6096000"/>
              <a:gd name="connsiteY342" fmla="*/ 6456365 h 6858000"/>
              <a:gd name="connsiteX343" fmla="*/ 5795464 w 6096000"/>
              <a:gd name="connsiteY343" fmla="*/ 6466946 h 6858000"/>
              <a:gd name="connsiteX344" fmla="*/ 5802484 w 6096000"/>
              <a:gd name="connsiteY344" fmla="*/ 6477526 h 6858000"/>
              <a:gd name="connsiteX345" fmla="*/ 5553257 w 6096000"/>
              <a:gd name="connsiteY345" fmla="*/ 6650341 h 6858000"/>
              <a:gd name="connsiteX346" fmla="*/ 5304028 w 6096000"/>
              <a:gd name="connsiteY346" fmla="*/ 6481054 h 6858000"/>
              <a:gd name="connsiteX347" fmla="*/ 5311049 w 6096000"/>
              <a:gd name="connsiteY347" fmla="*/ 6466946 h 6858000"/>
              <a:gd name="connsiteX348" fmla="*/ 5349662 w 6096000"/>
              <a:gd name="connsiteY348" fmla="*/ 6456365 h 6858000"/>
              <a:gd name="connsiteX349" fmla="*/ 5354927 w 6096000"/>
              <a:gd name="connsiteY349" fmla="*/ 6454161 h 6858000"/>
              <a:gd name="connsiteX350" fmla="*/ 5507442 w 6096000"/>
              <a:gd name="connsiteY350" fmla="*/ 6448323 h 6858000"/>
              <a:gd name="connsiteX351" fmla="*/ 5517922 w 6096000"/>
              <a:gd name="connsiteY351" fmla="*/ 6448323 h 6858000"/>
              <a:gd name="connsiteX352" fmla="*/ 5521414 w 6096000"/>
              <a:gd name="connsiteY352" fmla="*/ 6455414 h 6858000"/>
              <a:gd name="connsiteX353" fmla="*/ 5528401 w 6096000"/>
              <a:gd name="connsiteY353" fmla="*/ 6558233 h 6858000"/>
              <a:gd name="connsiteX354" fmla="*/ 5524908 w 6096000"/>
              <a:gd name="connsiteY354" fmla="*/ 6568870 h 6858000"/>
              <a:gd name="connsiteX355" fmla="*/ 5517922 w 6096000"/>
              <a:gd name="connsiteY355" fmla="*/ 6568870 h 6858000"/>
              <a:gd name="connsiteX356" fmla="*/ 5409632 w 6096000"/>
              <a:gd name="connsiteY356" fmla="*/ 6505050 h 6858000"/>
              <a:gd name="connsiteX357" fmla="*/ 5406138 w 6096000"/>
              <a:gd name="connsiteY357" fmla="*/ 6501505 h 6858000"/>
              <a:gd name="connsiteX358" fmla="*/ 5406138 w 6096000"/>
              <a:gd name="connsiteY358" fmla="*/ 6497960 h 6858000"/>
              <a:gd name="connsiteX359" fmla="*/ 5413124 w 6096000"/>
              <a:gd name="connsiteY359" fmla="*/ 6494415 h 6858000"/>
              <a:gd name="connsiteX360" fmla="*/ 5507442 w 6096000"/>
              <a:gd name="connsiteY360" fmla="*/ 6448323 h 6858000"/>
              <a:gd name="connsiteX361" fmla="*/ 5592084 w 6096000"/>
              <a:gd name="connsiteY361" fmla="*/ 6444777 h 6858000"/>
              <a:gd name="connsiteX362" fmla="*/ 5602565 w 6096000"/>
              <a:gd name="connsiteY362" fmla="*/ 6444777 h 6858000"/>
              <a:gd name="connsiteX363" fmla="*/ 5693388 w 6096000"/>
              <a:gd name="connsiteY363" fmla="*/ 6490688 h 6858000"/>
              <a:gd name="connsiteX364" fmla="*/ 5700375 w 6096000"/>
              <a:gd name="connsiteY364" fmla="*/ 6497752 h 6858000"/>
              <a:gd name="connsiteX365" fmla="*/ 5696882 w 6096000"/>
              <a:gd name="connsiteY365" fmla="*/ 6504815 h 6858000"/>
              <a:gd name="connsiteX366" fmla="*/ 5588592 w 6096000"/>
              <a:gd name="connsiteY366" fmla="*/ 6568384 h 6858000"/>
              <a:gd name="connsiteX367" fmla="*/ 5581605 w 6096000"/>
              <a:gd name="connsiteY367" fmla="*/ 6568384 h 6858000"/>
              <a:gd name="connsiteX368" fmla="*/ 5578112 w 6096000"/>
              <a:gd name="connsiteY368" fmla="*/ 6557789 h 6858000"/>
              <a:gd name="connsiteX369" fmla="*/ 5588592 w 6096000"/>
              <a:gd name="connsiteY369" fmla="*/ 6455373 h 6858000"/>
              <a:gd name="connsiteX370" fmla="*/ 5592084 w 6096000"/>
              <a:gd name="connsiteY370" fmla="*/ 6444777 h 6858000"/>
              <a:gd name="connsiteX371" fmla="*/ 4714283 w 6096000"/>
              <a:gd name="connsiteY371" fmla="*/ 6405813 h 6858000"/>
              <a:gd name="connsiteX372" fmla="*/ 4755862 w 6096000"/>
              <a:gd name="connsiteY372" fmla="*/ 6405813 h 6858000"/>
              <a:gd name="connsiteX373" fmla="*/ 4755862 w 6096000"/>
              <a:gd name="connsiteY373" fmla="*/ 6448423 h 6858000"/>
              <a:gd name="connsiteX374" fmla="*/ 4707353 w 6096000"/>
              <a:gd name="connsiteY374" fmla="*/ 6455525 h 6858000"/>
              <a:gd name="connsiteX375" fmla="*/ 4690028 w 6096000"/>
              <a:gd name="connsiteY375" fmla="*/ 6430669 h 6858000"/>
              <a:gd name="connsiteX376" fmla="*/ 4714283 w 6096000"/>
              <a:gd name="connsiteY376" fmla="*/ 6405813 h 6858000"/>
              <a:gd name="connsiteX377" fmla="*/ 4398479 w 6096000"/>
              <a:gd name="connsiteY377" fmla="*/ 6335948 h 6858000"/>
              <a:gd name="connsiteX378" fmla="*/ 4440128 w 6096000"/>
              <a:gd name="connsiteY378" fmla="*/ 6392220 h 6858000"/>
              <a:gd name="connsiteX379" fmla="*/ 4398479 w 6096000"/>
              <a:gd name="connsiteY379" fmla="*/ 6455524 h 6858000"/>
              <a:gd name="connsiteX380" fmla="*/ 4356829 w 6096000"/>
              <a:gd name="connsiteY380" fmla="*/ 6392220 h 6858000"/>
              <a:gd name="connsiteX381" fmla="*/ 4398479 w 6096000"/>
              <a:gd name="connsiteY381" fmla="*/ 6335948 h 6858000"/>
              <a:gd name="connsiteX382" fmla="*/ 5543005 w 6096000"/>
              <a:gd name="connsiteY382" fmla="*/ 6331919 h 6858000"/>
              <a:gd name="connsiteX383" fmla="*/ 5564034 w 6096000"/>
              <a:gd name="connsiteY383" fmla="*/ 6331919 h 6858000"/>
              <a:gd name="connsiteX384" fmla="*/ 5564034 w 6096000"/>
              <a:gd name="connsiteY384" fmla="*/ 6342559 h 6858000"/>
              <a:gd name="connsiteX385" fmla="*/ 5595578 w 6096000"/>
              <a:gd name="connsiteY385" fmla="*/ 6381576 h 6858000"/>
              <a:gd name="connsiteX386" fmla="*/ 5553519 w 6096000"/>
              <a:gd name="connsiteY386" fmla="*/ 6420593 h 6858000"/>
              <a:gd name="connsiteX387" fmla="*/ 5514966 w 6096000"/>
              <a:gd name="connsiteY387" fmla="*/ 6381576 h 6858000"/>
              <a:gd name="connsiteX388" fmla="*/ 5543005 w 6096000"/>
              <a:gd name="connsiteY388" fmla="*/ 6342559 h 6858000"/>
              <a:gd name="connsiteX389" fmla="*/ 5543005 w 6096000"/>
              <a:gd name="connsiteY389" fmla="*/ 6331919 h 6858000"/>
              <a:gd name="connsiteX390" fmla="*/ 5553257 w 6096000"/>
              <a:gd name="connsiteY390" fmla="*/ 6321170 h 6858000"/>
              <a:gd name="connsiteX391" fmla="*/ 5493469 w 6096000"/>
              <a:gd name="connsiteY391" fmla="*/ 6381630 h 6858000"/>
              <a:gd name="connsiteX392" fmla="*/ 5553257 w 6096000"/>
              <a:gd name="connsiteY392" fmla="*/ 6442090 h 6858000"/>
              <a:gd name="connsiteX393" fmla="*/ 5613045 w 6096000"/>
              <a:gd name="connsiteY393" fmla="*/ 6381630 h 6858000"/>
              <a:gd name="connsiteX394" fmla="*/ 5553257 w 6096000"/>
              <a:gd name="connsiteY394" fmla="*/ 6321170 h 6858000"/>
              <a:gd name="connsiteX395" fmla="*/ 5553257 w 6096000"/>
              <a:gd name="connsiteY395" fmla="*/ 6314453 h 6858000"/>
              <a:gd name="connsiteX396" fmla="*/ 5619763 w 6096000"/>
              <a:gd name="connsiteY396" fmla="*/ 6381630 h 6858000"/>
              <a:gd name="connsiteX397" fmla="*/ 5553257 w 6096000"/>
              <a:gd name="connsiteY397" fmla="*/ 6448808 h 6858000"/>
              <a:gd name="connsiteX398" fmla="*/ 5486751 w 6096000"/>
              <a:gd name="connsiteY398" fmla="*/ 6381630 h 6858000"/>
              <a:gd name="connsiteX399" fmla="*/ 5553257 w 6096000"/>
              <a:gd name="connsiteY399" fmla="*/ 6314453 h 6858000"/>
              <a:gd name="connsiteX400" fmla="*/ 5728549 w 6096000"/>
              <a:gd name="connsiteY400" fmla="*/ 6311766 h 6858000"/>
              <a:gd name="connsiteX401" fmla="*/ 5732050 w 6096000"/>
              <a:gd name="connsiteY401" fmla="*/ 6318819 h 6858000"/>
              <a:gd name="connsiteX402" fmla="*/ 5732050 w 6096000"/>
              <a:gd name="connsiteY402" fmla="*/ 6442258 h 6858000"/>
              <a:gd name="connsiteX403" fmla="*/ 5728549 w 6096000"/>
              <a:gd name="connsiteY403" fmla="*/ 6449312 h 6858000"/>
              <a:gd name="connsiteX404" fmla="*/ 5721546 w 6096000"/>
              <a:gd name="connsiteY404" fmla="*/ 6449312 h 6858000"/>
              <a:gd name="connsiteX405" fmla="*/ 5634012 w 6096000"/>
              <a:gd name="connsiteY405" fmla="*/ 6389356 h 6858000"/>
              <a:gd name="connsiteX406" fmla="*/ 5630510 w 6096000"/>
              <a:gd name="connsiteY406" fmla="*/ 6382302 h 6858000"/>
              <a:gd name="connsiteX407" fmla="*/ 5634012 w 6096000"/>
              <a:gd name="connsiteY407" fmla="*/ 6371721 h 6858000"/>
              <a:gd name="connsiteX408" fmla="*/ 5718044 w 6096000"/>
              <a:gd name="connsiteY408" fmla="*/ 6315292 h 6858000"/>
              <a:gd name="connsiteX409" fmla="*/ 5728549 w 6096000"/>
              <a:gd name="connsiteY409" fmla="*/ 6311766 h 6858000"/>
              <a:gd name="connsiteX410" fmla="*/ 5377964 w 6096000"/>
              <a:gd name="connsiteY410" fmla="*/ 6311766 h 6858000"/>
              <a:gd name="connsiteX411" fmla="*/ 5384967 w 6096000"/>
              <a:gd name="connsiteY411" fmla="*/ 6315292 h 6858000"/>
              <a:gd name="connsiteX412" fmla="*/ 5472501 w 6096000"/>
              <a:gd name="connsiteY412" fmla="*/ 6371721 h 6858000"/>
              <a:gd name="connsiteX413" fmla="*/ 5476002 w 6096000"/>
              <a:gd name="connsiteY413" fmla="*/ 6382302 h 6858000"/>
              <a:gd name="connsiteX414" fmla="*/ 5472501 w 6096000"/>
              <a:gd name="connsiteY414" fmla="*/ 6389356 h 6858000"/>
              <a:gd name="connsiteX415" fmla="*/ 5384967 w 6096000"/>
              <a:gd name="connsiteY415" fmla="*/ 6449312 h 6858000"/>
              <a:gd name="connsiteX416" fmla="*/ 5377964 w 6096000"/>
              <a:gd name="connsiteY416" fmla="*/ 6449312 h 6858000"/>
              <a:gd name="connsiteX417" fmla="*/ 5370961 w 6096000"/>
              <a:gd name="connsiteY417" fmla="*/ 6445785 h 6858000"/>
              <a:gd name="connsiteX418" fmla="*/ 5370961 w 6096000"/>
              <a:gd name="connsiteY418" fmla="*/ 6318819 h 6858000"/>
              <a:gd name="connsiteX419" fmla="*/ 5377964 w 6096000"/>
              <a:gd name="connsiteY419" fmla="*/ 6311766 h 6858000"/>
              <a:gd name="connsiteX420" fmla="*/ 4974316 w 6096000"/>
              <a:gd name="connsiteY420" fmla="*/ 6301017 h 6858000"/>
              <a:gd name="connsiteX421" fmla="*/ 4974316 w 6096000"/>
              <a:gd name="connsiteY421" fmla="*/ 6308070 h 6858000"/>
              <a:gd name="connsiteX422" fmla="*/ 5016166 w 6096000"/>
              <a:gd name="connsiteY422" fmla="*/ 6470304 h 6858000"/>
              <a:gd name="connsiteX423" fmla="*/ 5037091 w 6096000"/>
              <a:gd name="connsiteY423" fmla="*/ 6491465 h 6858000"/>
              <a:gd name="connsiteX424" fmla="*/ 5047554 w 6096000"/>
              <a:gd name="connsiteY424" fmla="*/ 6491465 h 6858000"/>
              <a:gd name="connsiteX425" fmla="*/ 5044066 w 6096000"/>
              <a:gd name="connsiteY425" fmla="*/ 6498518 h 6858000"/>
              <a:gd name="connsiteX426" fmla="*/ 5016166 w 6096000"/>
              <a:gd name="connsiteY426" fmla="*/ 6519679 h 6858000"/>
              <a:gd name="connsiteX427" fmla="*/ 4981291 w 6096000"/>
              <a:gd name="connsiteY427" fmla="*/ 6516153 h 6858000"/>
              <a:gd name="connsiteX428" fmla="*/ 4977804 w 6096000"/>
              <a:gd name="connsiteY428" fmla="*/ 6519679 h 6858000"/>
              <a:gd name="connsiteX429" fmla="*/ 4974316 w 6096000"/>
              <a:gd name="connsiteY429" fmla="*/ 6523206 h 6858000"/>
              <a:gd name="connsiteX430" fmla="*/ 4974316 w 6096000"/>
              <a:gd name="connsiteY430" fmla="*/ 6544367 h 6858000"/>
              <a:gd name="connsiteX431" fmla="*/ 4981291 w 6096000"/>
              <a:gd name="connsiteY431" fmla="*/ 6551421 h 6858000"/>
              <a:gd name="connsiteX432" fmla="*/ 5026628 w 6096000"/>
              <a:gd name="connsiteY432" fmla="*/ 6554947 h 6858000"/>
              <a:gd name="connsiteX433" fmla="*/ 5030116 w 6096000"/>
              <a:gd name="connsiteY433" fmla="*/ 6554947 h 6858000"/>
              <a:gd name="connsiteX434" fmla="*/ 5085916 w 6096000"/>
              <a:gd name="connsiteY434" fmla="*/ 6502045 h 6858000"/>
              <a:gd name="connsiteX435" fmla="*/ 5117303 w 6096000"/>
              <a:gd name="connsiteY435" fmla="*/ 6371553 h 6858000"/>
              <a:gd name="connsiteX436" fmla="*/ 5131253 w 6096000"/>
              <a:gd name="connsiteY436" fmla="*/ 6329231 h 6858000"/>
              <a:gd name="connsiteX437" fmla="*/ 5134741 w 6096000"/>
              <a:gd name="connsiteY437" fmla="*/ 6308070 h 6858000"/>
              <a:gd name="connsiteX438" fmla="*/ 5134741 w 6096000"/>
              <a:gd name="connsiteY438" fmla="*/ 6301017 h 6858000"/>
              <a:gd name="connsiteX439" fmla="*/ 5127766 w 6096000"/>
              <a:gd name="connsiteY439" fmla="*/ 6301017 h 6858000"/>
              <a:gd name="connsiteX440" fmla="*/ 5099866 w 6096000"/>
              <a:gd name="connsiteY440" fmla="*/ 6301017 h 6858000"/>
              <a:gd name="connsiteX441" fmla="*/ 5092891 w 6096000"/>
              <a:gd name="connsiteY441" fmla="*/ 6304543 h 6858000"/>
              <a:gd name="connsiteX442" fmla="*/ 5054528 w 6096000"/>
              <a:gd name="connsiteY442" fmla="*/ 6449143 h 6858000"/>
              <a:gd name="connsiteX443" fmla="*/ 5051041 w 6096000"/>
              <a:gd name="connsiteY443" fmla="*/ 6449143 h 6858000"/>
              <a:gd name="connsiteX444" fmla="*/ 5016166 w 6096000"/>
              <a:gd name="connsiteY444" fmla="*/ 6304543 h 6858000"/>
              <a:gd name="connsiteX445" fmla="*/ 5009191 w 6096000"/>
              <a:gd name="connsiteY445" fmla="*/ 6301017 h 6858000"/>
              <a:gd name="connsiteX446" fmla="*/ 4981291 w 6096000"/>
              <a:gd name="connsiteY446" fmla="*/ 6301017 h 6858000"/>
              <a:gd name="connsiteX447" fmla="*/ 4974316 w 6096000"/>
              <a:gd name="connsiteY447" fmla="*/ 6301017 h 6858000"/>
              <a:gd name="connsiteX448" fmla="*/ 4942289 w 6096000"/>
              <a:gd name="connsiteY448" fmla="*/ 6296986 h 6858000"/>
              <a:gd name="connsiteX449" fmla="*/ 4889474 w 6096000"/>
              <a:gd name="connsiteY449" fmla="*/ 6318092 h 6858000"/>
              <a:gd name="connsiteX450" fmla="*/ 4889474 w 6096000"/>
              <a:gd name="connsiteY450" fmla="*/ 6307539 h 6858000"/>
              <a:gd name="connsiteX451" fmla="*/ 4882433 w 6096000"/>
              <a:gd name="connsiteY451" fmla="*/ 6300504 h 6858000"/>
              <a:gd name="connsiteX452" fmla="*/ 4854264 w 6096000"/>
              <a:gd name="connsiteY452" fmla="*/ 6300504 h 6858000"/>
              <a:gd name="connsiteX453" fmla="*/ 4847222 w 6096000"/>
              <a:gd name="connsiteY453" fmla="*/ 6307539 h 6858000"/>
              <a:gd name="connsiteX454" fmla="*/ 4847222 w 6096000"/>
              <a:gd name="connsiteY454" fmla="*/ 6483422 h 6858000"/>
              <a:gd name="connsiteX455" fmla="*/ 4854264 w 6096000"/>
              <a:gd name="connsiteY455" fmla="*/ 6490457 h 6858000"/>
              <a:gd name="connsiteX456" fmla="*/ 4882433 w 6096000"/>
              <a:gd name="connsiteY456" fmla="*/ 6490457 h 6858000"/>
              <a:gd name="connsiteX457" fmla="*/ 4889474 w 6096000"/>
              <a:gd name="connsiteY457" fmla="*/ 6483422 h 6858000"/>
              <a:gd name="connsiteX458" fmla="*/ 4889474 w 6096000"/>
              <a:gd name="connsiteY458" fmla="*/ 6360304 h 6858000"/>
              <a:gd name="connsiteX459" fmla="*/ 4942289 w 6096000"/>
              <a:gd name="connsiteY459" fmla="*/ 6339198 h 6858000"/>
              <a:gd name="connsiteX460" fmla="*/ 4949332 w 6096000"/>
              <a:gd name="connsiteY460" fmla="*/ 6332163 h 6858000"/>
              <a:gd name="connsiteX461" fmla="*/ 4949332 w 6096000"/>
              <a:gd name="connsiteY461" fmla="*/ 6304022 h 6858000"/>
              <a:gd name="connsiteX462" fmla="*/ 4945811 w 6096000"/>
              <a:gd name="connsiteY462" fmla="*/ 6300504 h 6858000"/>
              <a:gd name="connsiteX463" fmla="*/ 4942289 w 6096000"/>
              <a:gd name="connsiteY463" fmla="*/ 6296986 h 6858000"/>
              <a:gd name="connsiteX464" fmla="*/ 4735647 w 6096000"/>
              <a:gd name="connsiteY464" fmla="*/ 6292955 h 6858000"/>
              <a:gd name="connsiteX465" fmla="*/ 4665417 w 6096000"/>
              <a:gd name="connsiteY465" fmla="*/ 6300026 h 6858000"/>
              <a:gd name="connsiteX466" fmla="*/ 4658394 w 6096000"/>
              <a:gd name="connsiteY466" fmla="*/ 6307098 h 6858000"/>
              <a:gd name="connsiteX467" fmla="*/ 4658394 w 6096000"/>
              <a:gd name="connsiteY467" fmla="*/ 6331847 h 6858000"/>
              <a:gd name="connsiteX468" fmla="*/ 4661905 w 6096000"/>
              <a:gd name="connsiteY468" fmla="*/ 6338919 h 6858000"/>
              <a:gd name="connsiteX469" fmla="*/ 4665417 w 6096000"/>
              <a:gd name="connsiteY469" fmla="*/ 6338919 h 6858000"/>
              <a:gd name="connsiteX470" fmla="*/ 4732136 w 6096000"/>
              <a:gd name="connsiteY470" fmla="*/ 6335383 h 6858000"/>
              <a:gd name="connsiteX471" fmla="*/ 4756717 w 6096000"/>
              <a:gd name="connsiteY471" fmla="*/ 6360133 h 6858000"/>
              <a:gd name="connsiteX472" fmla="*/ 4756717 w 6096000"/>
              <a:gd name="connsiteY472" fmla="*/ 6370740 h 6858000"/>
              <a:gd name="connsiteX473" fmla="*/ 4707555 w 6096000"/>
              <a:gd name="connsiteY473" fmla="*/ 6374276 h 6858000"/>
              <a:gd name="connsiteX474" fmla="*/ 4644347 w 6096000"/>
              <a:gd name="connsiteY474" fmla="*/ 6434381 h 6858000"/>
              <a:gd name="connsiteX475" fmla="*/ 4700532 w 6096000"/>
              <a:gd name="connsiteY475" fmla="*/ 6494487 h 6858000"/>
              <a:gd name="connsiteX476" fmla="*/ 4763740 w 6096000"/>
              <a:gd name="connsiteY476" fmla="*/ 6480344 h 6858000"/>
              <a:gd name="connsiteX477" fmla="*/ 4791833 w 6096000"/>
              <a:gd name="connsiteY477" fmla="*/ 6494487 h 6858000"/>
              <a:gd name="connsiteX478" fmla="*/ 4798855 w 6096000"/>
              <a:gd name="connsiteY478" fmla="*/ 6490951 h 6858000"/>
              <a:gd name="connsiteX479" fmla="*/ 4798855 w 6096000"/>
              <a:gd name="connsiteY479" fmla="*/ 6487416 h 6858000"/>
              <a:gd name="connsiteX480" fmla="*/ 4798855 w 6096000"/>
              <a:gd name="connsiteY480" fmla="*/ 6360133 h 6858000"/>
              <a:gd name="connsiteX481" fmla="*/ 4735647 w 6096000"/>
              <a:gd name="connsiteY481" fmla="*/ 6292955 h 6858000"/>
              <a:gd name="connsiteX482" fmla="*/ 4399822 w 6096000"/>
              <a:gd name="connsiteY482" fmla="*/ 6292954 h 6858000"/>
              <a:gd name="connsiteX483" fmla="*/ 4313835 w 6096000"/>
              <a:gd name="connsiteY483" fmla="*/ 6393721 h 6858000"/>
              <a:gd name="connsiteX484" fmla="*/ 4399822 w 6096000"/>
              <a:gd name="connsiteY484" fmla="*/ 6494487 h 6858000"/>
              <a:gd name="connsiteX485" fmla="*/ 4485809 w 6096000"/>
              <a:gd name="connsiteY485" fmla="*/ 6393721 h 6858000"/>
              <a:gd name="connsiteX486" fmla="*/ 4399822 w 6096000"/>
              <a:gd name="connsiteY486" fmla="*/ 6292954 h 6858000"/>
              <a:gd name="connsiteX487" fmla="*/ 4145892 w 6096000"/>
              <a:gd name="connsiteY487" fmla="*/ 6268771 h 6858000"/>
              <a:gd name="connsiteX488" fmla="*/ 4177241 w 6096000"/>
              <a:gd name="connsiteY488" fmla="*/ 6268771 h 6858000"/>
              <a:gd name="connsiteX489" fmla="*/ 4194657 w 6096000"/>
              <a:gd name="connsiteY489" fmla="*/ 6268771 h 6858000"/>
              <a:gd name="connsiteX490" fmla="*/ 4239940 w 6096000"/>
              <a:gd name="connsiteY490" fmla="*/ 6307735 h 6858000"/>
              <a:gd name="connsiteX491" fmla="*/ 4191174 w 6096000"/>
              <a:gd name="connsiteY491" fmla="*/ 6346697 h 6858000"/>
              <a:gd name="connsiteX492" fmla="*/ 4145892 w 6096000"/>
              <a:gd name="connsiteY492" fmla="*/ 6346697 h 6858000"/>
              <a:gd name="connsiteX493" fmla="*/ 4145892 w 6096000"/>
              <a:gd name="connsiteY493" fmla="*/ 6268771 h 6858000"/>
              <a:gd name="connsiteX494" fmla="*/ 4563063 w 6096000"/>
              <a:gd name="connsiteY494" fmla="*/ 6255336 h 6858000"/>
              <a:gd name="connsiteX495" fmla="*/ 4531410 w 6096000"/>
              <a:gd name="connsiteY495" fmla="*/ 6262370 h 6858000"/>
              <a:gd name="connsiteX496" fmla="*/ 4527893 w 6096000"/>
              <a:gd name="connsiteY496" fmla="*/ 6269404 h 6858000"/>
              <a:gd name="connsiteX497" fmla="*/ 4527893 w 6096000"/>
              <a:gd name="connsiteY497" fmla="*/ 6301056 h 6858000"/>
              <a:gd name="connsiteX498" fmla="*/ 4510308 w 6096000"/>
              <a:gd name="connsiteY498" fmla="*/ 6301056 h 6858000"/>
              <a:gd name="connsiteX499" fmla="*/ 4503275 w 6096000"/>
              <a:gd name="connsiteY499" fmla="*/ 6308090 h 6858000"/>
              <a:gd name="connsiteX500" fmla="*/ 4503275 w 6096000"/>
              <a:gd name="connsiteY500" fmla="*/ 6332708 h 6858000"/>
              <a:gd name="connsiteX501" fmla="*/ 4510308 w 6096000"/>
              <a:gd name="connsiteY501" fmla="*/ 6339742 h 6858000"/>
              <a:gd name="connsiteX502" fmla="*/ 4527893 w 6096000"/>
              <a:gd name="connsiteY502" fmla="*/ 6339742 h 6858000"/>
              <a:gd name="connsiteX503" fmla="*/ 4527893 w 6096000"/>
              <a:gd name="connsiteY503" fmla="*/ 6424149 h 6858000"/>
              <a:gd name="connsiteX504" fmla="*/ 4584164 w 6096000"/>
              <a:gd name="connsiteY504" fmla="*/ 6494487 h 6858000"/>
              <a:gd name="connsiteX505" fmla="*/ 4615817 w 6096000"/>
              <a:gd name="connsiteY505" fmla="*/ 6490971 h 6858000"/>
              <a:gd name="connsiteX506" fmla="*/ 4622851 w 6096000"/>
              <a:gd name="connsiteY506" fmla="*/ 6483936 h 6858000"/>
              <a:gd name="connsiteX507" fmla="*/ 4622851 w 6096000"/>
              <a:gd name="connsiteY507" fmla="*/ 6459318 h 6858000"/>
              <a:gd name="connsiteX508" fmla="*/ 4615817 w 6096000"/>
              <a:gd name="connsiteY508" fmla="*/ 6452284 h 6858000"/>
              <a:gd name="connsiteX509" fmla="*/ 4591198 w 6096000"/>
              <a:gd name="connsiteY509" fmla="*/ 6452284 h 6858000"/>
              <a:gd name="connsiteX510" fmla="*/ 4570096 w 6096000"/>
              <a:gd name="connsiteY510" fmla="*/ 6417115 h 6858000"/>
              <a:gd name="connsiteX511" fmla="*/ 4570096 w 6096000"/>
              <a:gd name="connsiteY511" fmla="*/ 6339742 h 6858000"/>
              <a:gd name="connsiteX512" fmla="*/ 4615817 w 6096000"/>
              <a:gd name="connsiteY512" fmla="*/ 6339742 h 6858000"/>
              <a:gd name="connsiteX513" fmla="*/ 4622851 w 6096000"/>
              <a:gd name="connsiteY513" fmla="*/ 6332708 h 6858000"/>
              <a:gd name="connsiteX514" fmla="*/ 4622851 w 6096000"/>
              <a:gd name="connsiteY514" fmla="*/ 6308090 h 6858000"/>
              <a:gd name="connsiteX515" fmla="*/ 4615817 w 6096000"/>
              <a:gd name="connsiteY515" fmla="*/ 6301056 h 6858000"/>
              <a:gd name="connsiteX516" fmla="*/ 4570096 w 6096000"/>
              <a:gd name="connsiteY516" fmla="*/ 6301056 h 6858000"/>
              <a:gd name="connsiteX517" fmla="*/ 4570096 w 6096000"/>
              <a:gd name="connsiteY517" fmla="*/ 6262370 h 6858000"/>
              <a:gd name="connsiteX518" fmla="*/ 4566580 w 6096000"/>
              <a:gd name="connsiteY518" fmla="*/ 6255336 h 6858000"/>
              <a:gd name="connsiteX519" fmla="*/ 4563063 w 6096000"/>
              <a:gd name="connsiteY519" fmla="*/ 6255336 h 6858000"/>
              <a:gd name="connsiteX520" fmla="*/ 4187668 w 6096000"/>
              <a:gd name="connsiteY520" fmla="*/ 6227122 h 6858000"/>
              <a:gd name="connsiteX521" fmla="*/ 4107208 w 6096000"/>
              <a:gd name="connsiteY521" fmla="*/ 6230633 h 6858000"/>
              <a:gd name="connsiteX522" fmla="*/ 4100211 w 6096000"/>
              <a:gd name="connsiteY522" fmla="*/ 6237655 h 6858000"/>
              <a:gd name="connsiteX523" fmla="*/ 4100211 w 6096000"/>
              <a:gd name="connsiteY523" fmla="*/ 6483435 h 6858000"/>
              <a:gd name="connsiteX524" fmla="*/ 4107208 w 6096000"/>
              <a:gd name="connsiteY524" fmla="*/ 6490457 h 6858000"/>
              <a:gd name="connsiteX525" fmla="*/ 4138693 w 6096000"/>
              <a:gd name="connsiteY525" fmla="*/ 6490457 h 6858000"/>
              <a:gd name="connsiteX526" fmla="*/ 4145689 w 6096000"/>
              <a:gd name="connsiteY526" fmla="*/ 6483435 h 6858000"/>
              <a:gd name="connsiteX527" fmla="*/ 4145689 w 6096000"/>
              <a:gd name="connsiteY527" fmla="*/ 6385123 h 6858000"/>
              <a:gd name="connsiteX528" fmla="*/ 4194665 w 6096000"/>
              <a:gd name="connsiteY528" fmla="*/ 6388634 h 6858000"/>
              <a:gd name="connsiteX529" fmla="*/ 4240143 w 6096000"/>
              <a:gd name="connsiteY529" fmla="*/ 6486946 h 6858000"/>
              <a:gd name="connsiteX530" fmla="*/ 4247139 w 6096000"/>
              <a:gd name="connsiteY530" fmla="*/ 6490457 h 6858000"/>
              <a:gd name="connsiteX531" fmla="*/ 4278624 w 6096000"/>
              <a:gd name="connsiteY531" fmla="*/ 6490457 h 6858000"/>
              <a:gd name="connsiteX532" fmla="*/ 4285620 w 6096000"/>
              <a:gd name="connsiteY532" fmla="*/ 6486946 h 6858000"/>
              <a:gd name="connsiteX533" fmla="*/ 4285620 w 6096000"/>
              <a:gd name="connsiteY533" fmla="*/ 6479924 h 6858000"/>
              <a:gd name="connsiteX534" fmla="*/ 4240143 w 6096000"/>
              <a:gd name="connsiteY534" fmla="*/ 6374590 h 6858000"/>
              <a:gd name="connsiteX535" fmla="*/ 4285620 w 6096000"/>
              <a:gd name="connsiteY535" fmla="*/ 6307878 h 6858000"/>
              <a:gd name="connsiteX536" fmla="*/ 4194665 w 6096000"/>
              <a:gd name="connsiteY536" fmla="*/ 6227122 h 6858000"/>
              <a:gd name="connsiteX537" fmla="*/ 4187668 w 6096000"/>
              <a:gd name="connsiteY537" fmla="*/ 6227122 h 6858000"/>
              <a:gd name="connsiteX538" fmla="*/ 5743186 w 6096000"/>
              <a:gd name="connsiteY538" fmla="*/ 6196200 h 6858000"/>
              <a:gd name="connsiteX539" fmla="*/ 5749722 w 6096000"/>
              <a:gd name="connsiteY539" fmla="*/ 6201931 h 6858000"/>
              <a:gd name="connsiteX540" fmla="*/ 5812470 w 6096000"/>
              <a:gd name="connsiteY540" fmla="*/ 6441755 h 6858000"/>
              <a:gd name="connsiteX541" fmla="*/ 5802012 w 6096000"/>
              <a:gd name="connsiteY541" fmla="*/ 6445282 h 6858000"/>
              <a:gd name="connsiteX542" fmla="*/ 5763666 w 6096000"/>
              <a:gd name="connsiteY542" fmla="*/ 6434701 h 6858000"/>
              <a:gd name="connsiteX543" fmla="*/ 5756694 w 6096000"/>
              <a:gd name="connsiteY543" fmla="*/ 6424121 h 6858000"/>
              <a:gd name="connsiteX544" fmla="*/ 5711377 w 6096000"/>
              <a:gd name="connsiteY544" fmla="*/ 6244253 h 6858000"/>
              <a:gd name="connsiteX545" fmla="*/ 5711377 w 6096000"/>
              <a:gd name="connsiteY545" fmla="*/ 6230146 h 6858000"/>
              <a:gd name="connsiteX546" fmla="*/ 5739264 w 6096000"/>
              <a:gd name="connsiteY546" fmla="*/ 6198404 h 6858000"/>
              <a:gd name="connsiteX547" fmla="*/ 5743186 w 6096000"/>
              <a:gd name="connsiteY547" fmla="*/ 6196200 h 6858000"/>
              <a:gd name="connsiteX548" fmla="*/ 5362923 w 6096000"/>
              <a:gd name="connsiteY548" fmla="*/ 6196200 h 6858000"/>
              <a:gd name="connsiteX549" fmla="*/ 5366885 w 6096000"/>
              <a:gd name="connsiteY549" fmla="*/ 6198404 h 6858000"/>
              <a:gd name="connsiteX550" fmla="*/ 5398585 w 6096000"/>
              <a:gd name="connsiteY550" fmla="*/ 6230146 h 6858000"/>
              <a:gd name="connsiteX551" fmla="*/ 5395063 w 6096000"/>
              <a:gd name="connsiteY551" fmla="*/ 6244253 h 6858000"/>
              <a:gd name="connsiteX552" fmla="*/ 5349274 w 6096000"/>
              <a:gd name="connsiteY552" fmla="*/ 6424121 h 6858000"/>
              <a:gd name="connsiteX553" fmla="*/ 5342229 w 6096000"/>
              <a:gd name="connsiteY553" fmla="*/ 6434701 h 6858000"/>
              <a:gd name="connsiteX554" fmla="*/ 5303484 w 6096000"/>
              <a:gd name="connsiteY554" fmla="*/ 6445282 h 6858000"/>
              <a:gd name="connsiteX555" fmla="*/ 5292917 w 6096000"/>
              <a:gd name="connsiteY555" fmla="*/ 6441755 h 6858000"/>
              <a:gd name="connsiteX556" fmla="*/ 5356318 w 6096000"/>
              <a:gd name="connsiteY556" fmla="*/ 6201931 h 6858000"/>
              <a:gd name="connsiteX557" fmla="*/ 5362923 w 6096000"/>
              <a:gd name="connsiteY557" fmla="*/ 6196200 h 6858000"/>
              <a:gd name="connsiteX558" fmla="*/ 5581605 w 6096000"/>
              <a:gd name="connsiteY558" fmla="*/ 6190846 h 6858000"/>
              <a:gd name="connsiteX559" fmla="*/ 5588592 w 6096000"/>
              <a:gd name="connsiteY559" fmla="*/ 6190846 h 6858000"/>
              <a:gd name="connsiteX560" fmla="*/ 5696882 w 6096000"/>
              <a:gd name="connsiteY560" fmla="*/ 6254415 h 6858000"/>
              <a:gd name="connsiteX561" fmla="*/ 5700375 w 6096000"/>
              <a:gd name="connsiteY561" fmla="*/ 6261479 h 6858000"/>
              <a:gd name="connsiteX562" fmla="*/ 5693388 w 6096000"/>
              <a:gd name="connsiteY562" fmla="*/ 6268542 h 6858000"/>
              <a:gd name="connsiteX563" fmla="*/ 5602565 w 6096000"/>
              <a:gd name="connsiteY563" fmla="*/ 6314453 h 6858000"/>
              <a:gd name="connsiteX564" fmla="*/ 5592084 w 6096000"/>
              <a:gd name="connsiteY564" fmla="*/ 6314453 h 6858000"/>
              <a:gd name="connsiteX565" fmla="*/ 5585098 w 6096000"/>
              <a:gd name="connsiteY565" fmla="*/ 6303858 h 6858000"/>
              <a:gd name="connsiteX566" fmla="*/ 5578112 w 6096000"/>
              <a:gd name="connsiteY566" fmla="*/ 6201442 h 6858000"/>
              <a:gd name="connsiteX567" fmla="*/ 5581605 w 6096000"/>
              <a:gd name="connsiteY567" fmla="*/ 6190846 h 6858000"/>
              <a:gd name="connsiteX568" fmla="*/ 5517922 w 6096000"/>
              <a:gd name="connsiteY568" fmla="*/ 6190846 h 6858000"/>
              <a:gd name="connsiteX569" fmla="*/ 5524908 w 6096000"/>
              <a:gd name="connsiteY569" fmla="*/ 6190846 h 6858000"/>
              <a:gd name="connsiteX570" fmla="*/ 5528401 w 6096000"/>
              <a:gd name="connsiteY570" fmla="*/ 6201442 h 6858000"/>
              <a:gd name="connsiteX571" fmla="*/ 5517922 w 6096000"/>
              <a:gd name="connsiteY571" fmla="*/ 6307389 h 6858000"/>
              <a:gd name="connsiteX572" fmla="*/ 5514428 w 6096000"/>
              <a:gd name="connsiteY572" fmla="*/ 6314453 h 6858000"/>
              <a:gd name="connsiteX573" fmla="*/ 5503949 w 6096000"/>
              <a:gd name="connsiteY573" fmla="*/ 6314453 h 6858000"/>
              <a:gd name="connsiteX574" fmla="*/ 5413124 w 6096000"/>
              <a:gd name="connsiteY574" fmla="*/ 6268542 h 6858000"/>
              <a:gd name="connsiteX575" fmla="*/ 5406138 w 6096000"/>
              <a:gd name="connsiteY575" fmla="*/ 6261479 h 6858000"/>
              <a:gd name="connsiteX576" fmla="*/ 5409632 w 6096000"/>
              <a:gd name="connsiteY576" fmla="*/ 6254415 h 6858000"/>
              <a:gd name="connsiteX577" fmla="*/ 5517922 w 6096000"/>
              <a:gd name="connsiteY577" fmla="*/ 6190846 h 6858000"/>
              <a:gd name="connsiteX578" fmla="*/ 5436772 w 6096000"/>
              <a:gd name="connsiteY578" fmla="*/ 6155914 h 6858000"/>
              <a:gd name="connsiteX579" fmla="*/ 5443758 w 6096000"/>
              <a:gd name="connsiteY579" fmla="*/ 6163304 h 6858000"/>
              <a:gd name="connsiteX580" fmla="*/ 5440265 w 6096000"/>
              <a:gd name="connsiteY580" fmla="*/ 6166999 h 6858000"/>
              <a:gd name="connsiteX581" fmla="*/ 5433278 w 6096000"/>
              <a:gd name="connsiteY581" fmla="*/ 6170694 h 6858000"/>
              <a:gd name="connsiteX582" fmla="*/ 5429785 w 6096000"/>
              <a:gd name="connsiteY582" fmla="*/ 6163304 h 6858000"/>
              <a:gd name="connsiteX583" fmla="*/ 5426292 w 6096000"/>
              <a:gd name="connsiteY583" fmla="*/ 6163304 h 6858000"/>
              <a:gd name="connsiteX584" fmla="*/ 5436772 w 6096000"/>
              <a:gd name="connsiteY584" fmla="*/ 6155914 h 6858000"/>
              <a:gd name="connsiteX585" fmla="*/ 5433297 w 6096000"/>
              <a:gd name="connsiteY585" fmla="*/ 6148717 h 6858000"/>
              <a:gd name="connsiteX586" fmla="*/ 5415543 w 6096000"/>
              <a:gd name="connsiteY586" fmla="*/ 6159369 h 6858000"/>
              <a:gd name="connsiteX587" fmla="*/ 5419094 w 6096000"/>
              <a:gd name="connsiteY587" fmla="*/ 6162920 h 6858000"/>
              <a:gd name="connsiteX588" fmla="*/ 5436848 w 6096000"/>
              <a:gd name="connsiteY588" fmla="*/ 6194878 h 6858000"/>
              <a:gd name="connsiteX589" fmla="*/ 5443950 w 6096000"/>
              <a:gd name="connsiteY589" fmla="*/ 6191326 h 6858000"/>
              <a:gd name="connsiteX590" fmla="*/ 5436848 w 6096000"/>
              <a:gd name="connsiteY590" fmla="*/ 6177123 h 6858000"/>
              <a:gd name="connsiteX591" fmla="*/ 5443950 w 6096000"/>
              <a:gd name="connsiteY591" fmla="*/ 6173573 h 6858000"/>
              <a:gd name="connsiteX592" fmla="*/ 5458153 w 6096000"/>
              <a:gd name="connsiteY592" fmla="*/ 6184225 h 6858000"/>
              <a:gd name="connsiteX593" fmla="*/ 5465255 w 6096000"/>
              <a:gd name="connsiteY593" fmla="*/ 6180674 h 6858000"/>
              <a:gd name="connsiteX594" fmla="*/ 5451052 w 6096000"/>
              <a:gd name="connsiteY594" fmla="*/ 6166471 h 6858000"/>
              <a:gd name="connsiteX595" fmla="*/ 5451052 w 6096000"/>
              <a:gd name="connsiteY595" fmla="*/ 6162920 h 6858000"/>
              <a:gd name="connsiteX596" fmla="*/ 5433297 w 6096000"/>
              <a:gd name="connsiteY596" fmla="*/ 6148717 h 6858000"/>
              <a:gd name="connsiteX597" fmla="*/ 5654205 w 6096000"/>
              <a:gd name="connsiteY597" fmla="*/ 6142479 h 6858000"/>
              <a:gd name="connsiteX598" fmla="*/ 5657748 w 6096000"/>
              <a:gd name="connsiteY598" fmla="*/ 6166663 h 6858000"/>
              <a:gd name="connsiteX599" fmla="*/ 5650663 w 6096000"/>
              <a:gd name="connsiteY599" fmla="*/ 6183937 h 6858000"/>
              <a:gd name="connsiteX600" fmla="*/ 5657748 w 6096000"/>
              <a:gd name="connsiteY600" fmla="*/ 6190846 h 6858000"/>
              <a:gd name="connsiteX601" fmla="*/ 5664832 w 6096000"/>
              <a:gd name="connsiteY601" fmla="*/ 6173572 h 6858000"/>
              <a:gd name="connsiteX602" fmla="*/ 5689626 w 6096000"/>
              <a:gd name="connsiteY602" fmla="*/ 6159753 h 6858000"/>
              <a:gd name="connsiteX603" fmla="*/ 5682543 w 6096000"/>
              <a:gd name="connsiteY603" fmla="*/ 6156298 h 6858000"/>
              <a:gd name="connsiteX604" fmla="*/ 5664832 w 6096000"/>
              <a:gd name="connsiteY604" fmla="*/ 6163208 h 6858000"/>
              <a:gd name="connsiteX605" fmla="*/ 5661290 w 6096000"/>
              <a:gd name="connsiteY605" fmla="*/ 6145933 h 6858000"/>
              <a:gd name="connsiteX606" fmla="*/ 5654205 w 6096000"/>
              <a:gd name="connsiteY606" fmla="*/ 6142479 h 6858000"/>
              <a:gd name="connsiteX607" fmla="*/ 5619224 w 6096000"/>
              <a:gd name="connsiteY607" fmla="*/ 6138449 h 6858000"/>
              <a:gd name="connsiteX608" fmla="*/ 5629705 w 6096000"/>
              <a:gd name="connsiteY608" fmla="*/ 6141808 h 6858000"/>
              <a:gd name="connsiteX609" fmla="*/ 5633197 w 6096000"/>
              <a:gd name="connsiteY609" fmla="*/ 6145167 h 6858000"/>
              <a:gd name="connsiteX610" fmla="*/ 5626211 w 6096000"/>
              <a:gd name="connsiteY610" fmla="*/ 6151884 h 6858000"/>
              <a:gd name="connsiteX611" fmla="*/ 5615731 w 6096000"/>
              <a:gd name="connsiteY611" fmla="*/ 6148525 h 6858000"/>
              <a:gd name="connsiteX612" fmla="*/ 5615731 w 6096000"/>
              <a:gd name="connsiteY612" fmla="*/ 6145167 h 6858000"/>
              <a:gd name="connsiteX613" fmla="*/ 5619224 w 6096000"/>
              <a:gd name="connsiteY613" fmla="*/ 6138449 h 6858000"/>
              <a:gd name="connsiteX614" fmla="*/ 5486079 w 6096000"/>
              <a:gd name="connsiteY614" fmla="*/ 6137944 h 6858000"/>
              <a:gd name="connsiteX615" fmla="*/ 5500187 w 6096000"/>
              <a:gd name="connsiteY615" fmla="*/ 6148525 h 6858000"/>
              <a:gd name="connsiteX616" fmla="*/ 5486079 w 6096000"/>
              <a:gd name="connsiteY616" fmla="*/ 6162632 h 6858000"/>
              <a:gd name="connsiteX617" fmla="*/ 5471972 w 6096000"/>
              <a:gd name="connsiteY617" fmla="*/ 6152052 h 6858000"/>
              <a:gd name="connsiteX618" fmla="*/ 5471972 w 6096000"/>
              <a:gd name="connsiteY618" fmla="*/ 6148525 h 6858000"/>
              <a:gd name="connsiteX619" fmla="*/ 5486079 w 6096000"/>
              <a:gd name="connsiteY619" fmla="*/ 6137944 h 6858000"/>
              <a:gd name="connsiteX620" fmla="*/ 5574081 w 6096000"/>
              <a:gd name="connsiteY620" fmla="*/ 6131730 h 6858000"/>
              <a:gd name="connsiteX621" fmla="*/ 5577440 w 6096000"/>
              <a:gd name="connsiteY621" fmla="*/ 6142210 h 6858000"/>
              <a:gd name="connsiteX622" fmla="*/ 5580799 w 6096000"/>
              <a:gd name="connsiteY622" fmla="*/ 6149197 h 6858000"/>
              <a:gd name="connsiteX623" fmla="*/ 5567363 w 6096000"/>
              <a:gd name="connsiteY623" fmla="*/ 6149197 h 6858000"/>
              <a:gd name="connsiteX624" fmla="*/ 5570722 w 6096000"/>
              <a:gd name="connsiteY624" fmla="*/ 6142210 h 6858000"/>
              <a:gd name="connsiteX625" fmla="*/ 5574081 w 6096000"/>
              <a:gd name="connsiteY625" fmla="*/ 6131730 h 6858000"/>
              <a:gd name="connsiteX626" fmla="*/ 5482609 w 6096000"/>
              <a:gd name="connsiteY626" fmla="*/ 6131214 h 6858000"/>
              <a:gd name="connsiteX627" fmla="*/ 5465254 w 6096000"/>
              <a:gd name="connsiteY627" fmla="*/ 6148784 h 6858000"/>
              <a:gd name="connsiteX628" fmla="*/ 5465254 w 6096000"/>
              <a:gd name="connsiteY628" fmla="*/ 6152297 h 6858000"/>
              <a:gd name="connsiteX629" fmla="*/ 5486079 w 6096000"/>
              <a:gd name="connsiteY629" fmla="*/ 6169867 h 6858000"/>
              <a:gd name="connsiteX630" fmla="*/ 5506904 w 6096000"/>
              <a:gd name="connsiteY630" fmla="*/ 6148784 h 6858000"/>
              <a:gd name="connsiteX631" fmla="*/ 5482609 w 6096000"/>
              <a:gd name="connsiteY631" fmla="*/ 6131214 h 6858000"/>
              <a:gd name="connsiteX632" fmla="*/ 5612922 w 6096000"/>
              <a:gd name="connsiteY632" fmla="*/ 6127700 h 6858000"/>
              <a:gd name="connsiteX633" fmla="*/ 5609380 w 6096000"/>
              <a:gd name="connsiteY633" fmla="*/ 6145454 h 6858000"/>
              <a:gd name="connsiteX634" fmla="*/ 5602296 w 6096000"/>
              <a:gd name="connsiteY634" fmla="*/ 6166759 h 6858000"/>
              <a:gd name="connsiteX635" fmla="*/ 5612922 w 6096000"/>
              <a:gd name="connsiteY635" fmla="*/ 6170310 h 6858000"/>
              <a:gd name="connsiteX636" fmla="*/ 5616464 w 6096000"/>
              <a:gd name="connsiteY636" fmla="*/ 6156107 h 6858000"/>
              <a:gd name="connsiteX637" fmla="*/ 5623548 w 6096000"/>
              <a:gd name="connsiteY637" fmla="*/ 6156107 h 6858000"/>
              <a:gd name="connsiteX638" fmla="*/ 5627090 w 6096000"/>
              <a:gd name="connsiteY638" fmla="*/ 6173861 h 6858000"/>
              <a:gd name="connsiteX639" fmla="*/ 5634175 w 6096000"/>
              <a:gd name="connsiteY639" fmla="*/ 6177412 h 6858000"/>
              <a:gd name="connsiteX640" fmla="*/ 5630632 w 6096000"/>
              <a:gd name="connsiteY640" fmla="*/ 6159658 h 6858000"/>
              <a:gd name="connsiteX641" fmla="*/ 5641259 w 6096000"/>
              <a:gd name="connsiteY641" fmla="*/ 6145454 h 6858000"/>
              <a:gd name="connsiteX642" fmla="*/ 5634175 w 6096000"/>
              <a:gd name="connsiteY642" fmla="*/ 6134802 h 6858000"/>
              <a:gd name="connsiteX643" fmla="*/ 5612922 w 6096000"/>
              <a:gd name="connsiteY643" fmla="*/ 6127700 h 6858000"/>
              <a:gd name="connsiteX644" fmla="*/ 5570295 w 6096000"/>
              <a:gd name="connsiteY644" fmla="*/ 6120982 h 6858000"/>
              <a:gd name="connsiteX645" fmla="*/ 5563211 w 6096000"/>
              <a:gd name="connsiteY645" fmla="*/ 6142066 h 6858000"/>
              <a:gd name="connsiteX646" fmla="*/ 5552585 w 6096000"/>
              <a:gd name="connsiteY646" fmla="*/ 6163149 h 6858000"/>
              <a:gd name="connsiteX647" fmla="*/ 5559669 w 6096000"/>
              <a:gd name="connsiteY647" fmla="*/ 6163149 h 6858000"/>
              <a:gd name="connsiteX648" fmla="*/ 5563211 w 6096000"/>
              <a:gd name="connsiteY648" fmla="*/ 6156121 h 6858000"/>
              <a:gd name="connsiteX649" fmla="*/ 5580922 w 6096000"/>
              <a:gd name="connsiteY649" fmla="*/ 6156121 h 6858000"/>
              <a:gd name="connsiteX650" fmla="*/ 5584464 w 6096000"/>
              <a:gd name="connsiteY650" fmla="*/ 6163149 h 6858000"/>
              <a:gd name="connsiteX651" fmla="*/ 5591548 w 6096000"/>
              <a:gd name="connsiteY651" fmla="*/ 6166663 h 6858000"/>
              <a:gd name="connsiteX652" fmla="*/ 5584464 w 6096000"/>
              <a:gd name="connsiteY652" fmla="*/ 6142066 h 6858000"/>
              <a:gd name="connsiteX653" fmla="*/ 5580922 w 6096000"/>
              <a:gd name="connsiteY653" fmla="*/ 6120982 h 6858000"/>
              <a:gd name="connsiteX654" fmla="*/ 5570295 w 6096000"/>
              <a:gd name="connsiteY654" fmla="*/ 6120982 h 6858000"/>
              <a:gd name="connsiteX655" fmla="*/ 5549898 w 6096000"/>
              <a:gd name="connsiteY655" fmla="*/ 6120982 h 6858000"/>
              <a:gd name="connsiteX656" fmla="*/ 5510934 w 6096000"/>
              <a:gd name="connsiteY656" fmla="*/ 6124453 h 6858000"/>
              <a:gd name="connsiteX657" fmla="*/ 5510934 w 6096000"/>
              <a:gd name="connsiteY657" fmla="*/ 6131394 h 6858000"/>
              <a:gd name="connsiteX658" fmla="*/ 5525103 w 6096000"/>
              <a:gd name="connsiteY658" fmla="*/ 6127924 h 6858000"/>
              <a:gd name="connsiteX659" fmla="*/ 5528645 w 6096000"/>
              <a:gd name="connsiteY659" fmla="*/ 6162632 h 6858000"/>
              <a:gd name="connsiteX660" fmla="*/ 5539271 w 6096000"/>
              <a:gd name="connsiteY660" fmla="*/ 6162632 h 6858000"/>
              <a:gd name="connsiteX661" fmla="*/ 5535729 w 6096000"/>
              <a:gd name="connsiteY661" fmla="*/ 6127924 h 6858000"/>
              <a:gd name="connsiteX662" fmla="*/ 5549898 w 6096000"/>
              <a:gd name="connsiteY662" fmla="*/ 6127924 h 6858000"/>
              <a:gd name="connsiteX663" fmla="*/ 5549898 w 6096000"/>
              <a:gd name="connsiteY663" fmla="*/ 6120982 h 6858000"/>
              <a:gd name="connsiteX664" fmla="*/ 5100257 w 6096000"/>
              <a:gd name="connsiteY664" fmla="*/ 6120981 h 6858000"/>
              <a:gd name="connsiteX665" fmla="*/ 5125336 w 6096000"/>
              <a:gd name="connsiteY665" fmla="*/ 6155913 h 6858000"/>
              <a:gd name="connsiteX666" fmla="*/ 5071595 w 6096000"/>
              <a:gd name="connsiteY666" fmla="*/ 6155913 h 6858000"/>
              <a:gd name="connsiteX667" fmla="*/ 5100257 w 6096000"/>
              <a:gd name="connsiteY667" fmla="*/ 6120981 h 6858000"/>
              <a:gd name="connsiteX668" fmla="*/ 5552585 w 6096000"/>
              <a:gd name="connsiteY668" fmla="*/ 6114265 h 6858000"/>
              <a:gd name="connsiteX669" fmla="*/ 5717539 w 6096000"/>
              <a:gd name="connsiteY669" fmla="*/ 6170156 h 6858000"/>
              <a:gd name="connsiteX670" fmla="*/ 5721049 w 6096000"/>
              <a:gd name="connsiteY670" fmla="*/ 6184129 h 6858000"/>
              <a:gd name="connsiteX671" fmla="*/ 5692972 w 6096000"/>
              <a:gd name="connsiteY671" fmla="*/ 6215569 h 6858000"/>
              <a:gd name="connsiteX672" fmla="*/ 5678933 w 6096000"/>
              <a:gd name="connsiteY672" fmla="*/ 6215569 h 6858000"/>
              <a:gd name="connsiteX673" fmla="*/ 5552585 w 6096000"/>
              <a:gd name="connsiteY673" fmla="*/ 6170156 h 6858000"/>
              <a:gd name="connsiteX674" fmla="*/ 5426236 w 6096000"/>
              <a:gd name="connsiteY674" fmla="*/ 6215569 h 6858000"/>
              <a:gd name="connsiteX675" fmla="*/ 5412198 w 6096000"/>
              <a:gd name="connsiteY675" fmla="*/ 6215569 h 6858000"/>
              <a:gd name="connsiteX676" fmla="*/ 5384121 w 6096000"/>
              <a:gd name="connsiteY676" fmla="*/ 6184129 h 6858000"/>
              <a:gd name="connsiteX677" fmla="*/ 5387630 w 6096000"/>
              <a:gd name="connsiteY677" fmla="*/ 6170156 h 6858000"/>
              <a:gd name="connsiteX678" fmla="*/ 5552585 w 6096000"/>
              <a:gd name="connsiteY678" fmla="*/ 6114265 h 6858000"/>
              <a:gd name="connsiteX679" fmla="*/ 5100481 w 6096000"/>
              <a:gd name="connsiteY679" fmla="*/ 6114264 h 6858000"/>
              <a:gd name="connsiteX680" fmla="*/ 5062189 w 6096000"/>
              <a:gd name="connsiteY680" fmla="*/ 6163304 h 6858000"/>
              <a:gd name="connsiteX681" fmla="*/ 5103962 w 6096000"/>
              <a:gd name="connsiteY681" fmla="*/ 6212343 h 6858000"/>
              <a:gd name="connsiteX682" fmla="*/ 5131810 w 6096000"/>
              <a:gd name="connsiteY682" fmla="*/ 6205337 h 6858000"/>
              <a:gd name="connsiteX683" fmla="*/ 5131810 w 6096000"/>
              <a:gd name="connsiteY683" fmla="*/ 6194829 h 6858000"/>
              <a:gd name="connsiteX684" fmla="*/ 5103962 w 6096000"/>
              <a:gd name="connsiteY684" fmla="*/ 6201834 h 6858000"/>
              <a:gd name="connsiteX685" fmla="*/ 5072632 w 6096000"/>
              <a:gd name="connsiteY685" fmla="*/ 6166807 h 6858000"/>
              <a:gd name="connsiteX686" fmla="*/ 5138772 w 6096000"/>
              <a:gd name="connsiteY686" fmla="*/ 6166807 h 6858000"/>
              <a:gd name="connsiteX687" fmla="*/ 5138772 w 6096000"/>
              <a:gd name="connsiteY687" fmla="*/ 6159801 h 6858000"/>
              <a:gd name="connsiteX688" fmla="*/ 5100481 w 6096000"/>
              <a:gd name="connsiteY688" fmla="*/ 6114264 h 6858000"/>
              <a:gd name="connsiteX689" fmla="*/ 4851253 w 6096000"/>
              <a:gd name="connsiteY689" fmla="*/ 6077988 h 6858000"/>
              <a:gd name="connsiteX690" fmla="*/ 4851253 w 6096000"/>
              <a:gd name="connsiteY690" fmla="*/ 6088736 h 6858000"/>
              <a:gd name="connsiteX691" fmla="*/ 4890216 w 6096000"/>
              <a:gd name="connsiteY691" fmla="*/ 6088736 h 6858000"/>
              <a:gd name="connsiteX692" fmla="*/ 4890216 w 6096000"/>
              <a:gd name="connsiteY692" fmla="*/ 6208312 h 6858000"/>
              <a:gd name="connsiteX693" fmla="*/ 4903652 w 6096000"/>
              <a:gd name="connsiteY693" fmla="*/ 6208312 h 6858000"/>
              <a:gd name="connsiteX694" fmla="*/ 4903652 w 6096000"/>
              <a:gd name="connsiteY694" fmla="*/ 6088736 h 6858000"/>
              <a:gd name="connsiteX695" fmla="*/ 4942614 w 6096000"/>
              <a:gd name="connsiteY695" fmla="*/ 6088736 h 6858000"/>
              <a:gd name="connsiteX696" fmla="*/ 4942614 w 6096000"/>
              <a:gd name="connsiteY696" fmla="*/ 6077988 h 6858000"/>
              <a:gd name="connsiteX697" fmla="*/ 4964111 w 6096000"/>
              <a:gd name="connsiteY697" fmla="*/ 6067239 h 6858000"/>
              <a:gd name="connsiteX698" fmla="*/ 4964111 w 6096000"/>
              <a:gd name="connsiteY698" fmla="*/ 6208312 h 6858000"/>
              <a:gd name="connsiteX699" fmla="*/ 4974476 w 6096000"/>
              <a:gd name="connsiteY699" fmla="*/ 6208312 h 6858000"/>
              <a:gd name="connsiteX700" fmla="*/ 4974476 w 6096000"/>
              <a:gd name="connsiteY700" fmla="*/ 6158936 h 6858000"/>
              <a:gd name="connsiteX701" fmla="*/ 5002115 w 6096000"/>
              <a:gd name="connsiteY701" fmla="*/ 6120142 h 6858000"/>
              <a:gd name="connsiteX702" fmla="*/ 5022844 w 6096000"/>
              <a:gd name="connsiteY702" fmla="*/ 6151883 h 6858000"/>
              <a:gd name="connsiteX703" fmla="*/ 5022844 w 6096000"/>
              <a:gd name="connsiteY703" fmla="*/ 6208312 h 6858000"/>
              <a:gd name="connsiteX704" fmla="*/ 5036662 w 6096000"/>
              <a:gd name="connsiteY704" fmla="*/ 6208312 h 6858000"/>
              <a:gd name="connsiteX705" fmla="*/ 5036662 w 6096000"/>
              <a:gd name="connsiteY705" fmla="*/ 6151883 h 6858000"/>
              <a:gd name="connsiteX706" fmla="*/ 5005569 w 6096000"/>
              <a:gd name="connsiteY706" fmla="*/ 6113088 h 6858000"/>
              <a:gd name="connsiteX707" fmla="*/ 4974476 w 6096000"/>
              <a:gd name="connsiteY707" fmla="*/ 6130722 h 6858000"/>
              <a:gd name="connsiteX708" fmla="*/ 4974476 w 6096000"/>
              <a:gd name="connsiteY708" fmla="*/ 6067239 h 6858000"/>
              <a:gd name="connsiteX709" fmla="*/ 4964111 w 6096000"/>
              <a:gd name="connsiteY709" fmla="*/ 6067239 h 6858000"/>
              <a:gd name="connsiteX710" fmla="*/ 5542739 w 6096000"/>
              <a:gd name="connsiteY710" fmla="*/ 6043056 h 6858000"/>
              <a:gd name="connsiteX711" fmla="*/ 5528716 w 6096000"/>
              <a:gd name="connsiteY711" fmla="*/ 6095919 h 6858000"/>
              <a:gd name="connsiteX712" fmla="*/ 5504176 w 6096000"/>
              <a:gd name="connsiteY712" fmla="*/ 6099443 h 6858000"/>
              <a:gd name="connsiteX713" fmla="*/ 5479635 w 6096000"/>
              <a:gd name="connsiteY713" fmla="*/ 6053629 h 6858000"/>
              <a:gd name="connsiteX714" fmla="*/ 5476129 w 6096000"/>
              <a:gd name="connsiteY714" fmla="*/ 6053629 h 6858000"/>
              <a:gd name="connsiteX715" fmla="*/ 5455094 w 6096000"/>
              <a:gd name="connsiteY715" fmla="*/ 6057153 h 6858000"/>
              <a:gd name="connsiteX716" fmla="*/ 5455094 w 6096000"/>
              <a:gd name="connsiteY716" fmla="*/ 6060677 h 6858000"/>
              <a:gd name="connsiteX717" fmla="*/ 5451588 w 6096000"/>
              <a:gd name="connsiteY717" fmla="*/ 6085346 h 6858000"/>
              <a:gd name="connsiteX718" fmla="*/ 5455094 w 6096000"/>
              <a:gd name="connsiteY718" fmla="*/ 6113540 h 6858000"/>
              <a:gd name="connsiteX719" fmla="*/ 5434059 w 6096000"/>
              <a:gd name="connsiteY719" fmla="*/ 6120588 h 6858000"/>
              <a:gd name="connsiteX720" fmla="*/ 5395495 w 6096000"/>
              <a:gd name="connsiteY720" fmla="*/ 6085346 h 6858000"/>
              <a:gd name="connsiteX721" fmla="*/ 5374460 w 6096000"/>
              <a:gd name="connsiteY721" fmla="*/ 6095919 h 6858000"/>
              <a:gd name="connsiteX722" fmla="*/ 5388484 w 6096000"/>
              <a:gd name="connsiteY722" fmla="*/ 6148781 h 6858000"/>
              <a:gd name="connsiteX723" fmla="*/ 5370954 w 6096000"/>
              <a:gd name="connsiteY723" fmla="*/ 6159354 h 6858000"/>
              <a:gd name="connsiteX724" fmla="*/ 5325379 w 6096000"/>
              <a:gd name="connsiteY724" fmla="*/ 6134685 h 6858000"/>
              <a:gd name="connsiteX725" fmla="*/ 5307850 w 6096000"/>
              <a:gd name="connsiteY725" fmla="*/ 6148781 h 6858000"/>
              <a:gd name="connsiteX726" fmla="*/ 5307850 w 6096000"/>
              <a:gd name="connsiteY726" fmla="*/ 6152305 h 6858000"/>
              <a:gd name="connsiteX727" fmla="*/ 5335896 w 6096000"/>
              <a:gd name="connsiteY727" fmla="*/ 6198120 h 6858000"/>
              <a:gd name="connsiteX728" fmla="*/ 5321873 w 6096000"/>
              <a:gd name="connsiteY728" fmla="*/ 6215741 h 6858000"/>
              <a:gd name="connsiteX729" fmla="*/ 5269286 w 6096000"/>
              <a:gd name="connsiteY729" fmla="*/ 6201644 h 6858000"/>
              <a:gd name="connsiteX730" fmla="*/ 5258768 w 6096000"/>
              <a:gd name="connsiteY730" fmla="*/ 6222789 h 6858000"/>
              <a:gd name="connsiteX731" fmla="*/ 5293827 w 6096000"/>
              <a:gd name="connsiteY731" fmla="*/ 6261556 h 6858000"/>
              <a:gd name="connsiteX732" fmla="*/ 5286815 w 6096000"/>
              <a:gd name="connsiteY732" fmla="*/ 6282700 h 6858000"/>
              <a:gd name="connsiteX733" fmla="*/ 5234228 w 6096000"/>
              <a:gd name="connsiteY733" fmla="*/ 6282700 h 6858000"/>
              <a:gd name="connsiteX734" fmla="*/ 5227216 w 6096000"/>
              <a:gd name="connsiteY734" fmla="*/ 6303845 h 6858000"/>
              <a:gd name="connsiteX735" fmla="*/ 5272791 w 6096000"/>
              <a:gd name="connsiteY735" fmla="*/ 6332039 h 6858000"/>
              <a:gd name="connsiteX736" fmla="*/ 5269286 w 6096000"/>
              <a:gd name="connsiteY736" fmla="*/ 6353183 h 6858000"/>
              <a:gd name="connsiteX737" fmla="*/ 5220205 w 6096000"/>
              <a:gd name="connsiteY737" fmla="*/ 6367281 h 6858000"/>
              <a:gd name="connsiteX738" fmla="*/ 5216698 w 6096000"/>
              <a:gd name="connsiteY738" fmla="*/ 6367281 h 6858000"/>
              <a:gd name="connsiteX739" fmla="*/ 5216698 w 6096000"/>
              <a:gd name="connsiteY739" fmla="*/ 6381377 h 6858000"/>
              <a:gd name="connsiteX740" fmla="*/ 5216698 w 6096000"/>
              <a:gd name="connsiteY740" fmla="*/ 6391950 h 6858000"/>
              <a:gd name="connsiteX741" fmla="*/ 5220205 w 6096000"/>
              <a:gd name="connsiteY741" fmla="*/ 6391950 h 6858000"/>
              <a:gd name="connsiteX742" fmla="*/ 5269286 w 6096000"/>
              <a:gd name="connsiteY742" fmla="*/ 6406047 h 6858000"/>
              <a:gd name="connsiteX743" fmla="*/ 5272791 w 6096000"/>
              <a:gd name="connsiteY743" fmla="*/ 6427192 h 6858000"/>
              <a:gd name="connsiteX744" fmla="*/ 5227216 w 6096000"/>
              <a:gd name="connsiteY744" fmla="*/ 6455385 h 6858000"/>
              <a:gd name="connsiteX745" fmla="*/ 5227216 w 6096000"/>
              <a:gd name="connsiteY745" fmla="*/ 6458909 h 6858000"/>
              <a:gd name="connsiteX746" fmla="*/ 5234228 w 6096000"/>
              <a:gd name="connsiteY746" fmla="*/ 6480054 h 6858000"/>
              <a:gd name="connsiteX747" fmla="*/ 5286815 w 6096000"/>
              <a:gd name="connsiteY747" fmla="*/ 6480054 h 6858000"/>
              <a:gd name="connsiteX748" fmla="*/ 5297332 w 6096000"/>
              <a:gd name="connsiteY748" fmla="*/ 6501200 h 6858000"/>
              <a:gd name="connsiteX749" fmla="*/ 5258768 w 6096000"/>
              <a:gd name="connsiteY749" fmla="*/ 6536441 h 6858000"/>
              <a:gd name="connsiteX750" fmla="*/ 5258768 w 6096000"/>
              <a:gd name="connsiteY750" fmla="*/ 6539965 h 6858000"/>
              <a:gd name="connsiteX751" fmla="*/ 5269286 w 6096000"/>
              <a:gd name="connsiteY751" fmla="*/ 6557586 h 6858000"/>
              <a:gd name="connsiteX752" fmla="*/ 5321873 w 6096000"/>
              <a:gd name="connsiteY752" fmla="*/ 6543489 h 6858000"/>
              <a:gd name="connsiteX753" fmla="*/ 5335896 w 6096000"/>
              <a:gd name="connsiteY753" fmla="*/ 6564635 h 6858000"/>
              <a:gd name="connsiteX754" fmla="*/ 5307850 w 6096000"/>
              <a:gd name="connsiteY754" fmla="*/ 6610449 h 6858000"/>
              <a:gd name="connsiteX755" fmla="*/ 5325379 w 6096000"/>
              <a:gd name="connsiteY755" fmla="*/ 6624545 h 6858000"/>
              <a:gd name="connsiteX756" fmla="*/ 5370954 w 6096000"/>
              <a:gd name="connsiteY756" fmla="*/ 6599877 h 6858000"/>
              <a:gd name="connsiteX757" fmla="*/ 5388484 w 6096000"/>
              <a:gd name="connsiteY757" fmla="*/ 6613973 h 6858000"/>
              <a:gd name="connsiteX758" fmla="*/ 5377966 w 6096000"/>
              <a:gd name="connsiteY758" fmla="*/ 6663311 h 6858000"/>
              <a:gd name="connsiteX759" fmla="*/ 5377966 w 6096000"/>
              <a:gd name="connsiteY759" fmla="*/ 6666836 h 6858000"/>
              <a:gd name="connsiteX760" fmla="*/ 5395495 w 6096000"/>
              <a:gd name="connsiteY760" fmla="*/ 6677408 h 6858000"/>
              <a:gd name="connsiteX761" fmla="*/ 5399001 w 6096000"/>
              <a:gd name="connsiteY761" fmla="*/ 6677408 h 6858000"/>
              <a:gd name="connsiteX762" fmla="*/ 5434059 w 6096000"/>
              <a:gd name="connsiteY762" fmla="*/ 6638642 h 6858000"/>
              <a:gd name="connsiteX763" fmla="*/ 5455094 w 6096000"/>
              <a:gd name="connsiteY763" fmla="*/ 6649215 h 6858000"/>
              <a:gd name="connsiteX764" fmla="*/ 5451588 w 6096000"/>
              <a:gd name="connsiteY764" fmla="*/ 6673884 h 6858000"/>
              <a:gd name="connsiteX765" fmla="*/ 5455094 w 6096000"/>
              <a:gd name="connsiteY765" fmla="*/ 6702078 h 6858000"/>
              <a:gd name="connsiteX766" fmla="*/ 5476129 w 6096000"/>
              <a:gd name="connsiteY766" fmla="*/ 6709126 h 6858000"/>
              <a:gd name="connsiteX767" fmla="*/ 5479635 w 6096000"/>
              <a:gd name="connsiteY767" fmla="*/ 6709126 h 6858000"/>
              <a:gd name="connsiteX768" fmla="*/ 5504176 w 6096000"/>
              <a:gd name="connsiteY768" fmla="*/ 6663311 h 6858000"/>
              <a:gd name="connsiteX769" fmla="*/ 5528716 w 6096000"/>
              <a:gd name="connsiteY769" fmla="*/ 6663311 h 6858000"/>
              <a:gd name="connsiteX770" fmla="*/ 5542739 w 6096000"/>
              <a:gd name="connsiteY770" fmla="*/ 6716174 h 6858000"/>
              <a:gd name="connsiteX771" fmla="*/ 5563774 w 6096000"/>
              <a:gd name="connsiteY771" fmla="*/ 6716174 h 6858000"/>
              <a:gd name="connsiteX772" fmla="*/ 5567280 w 6096000"/>
              <a:gd name="connsiteY772" fmla="*/ 6716174 h 6858000"/>
              <a:gd name="connsiteX773" fmla="*/ 5581303 w 6096000"/>
              <a:gd name="connsiteY773" fmla="*/ 6663311 h 6858000"/>
              <a:gd name="connsiteX774" fmla="*/ 5602339 w 6096000"/>
              <a:gd name="connsiteY774" fmla="*/ 6663311 h 6858000"/>
              <a:gd name="connsiteX775" fmla="*/ 5626879 w 6096000"/>
              <a:gd name="connsiteY775" fmla="*/ 6709126 h 6858000"/>
              <a:gd name="connsiteX776" fmla="*/ 5630385 w 6096000"/>
              <a:gd name="connsiteY776" fmla="*/ 6709126 h 6858000"/>
              <a:gd name="connsiteX777" fmla="*/ 5651420 w 6096000"/>
              <a:gd name="connsiteY777" fmla="*/ 6702078 h 6858000"/>
              <a:gd name="connsiteX778" fmla="*/ 5654925 w 6096000"/>
              <a:gd name="connsiteY778" fmla="*/ 6673884 h 6858000"/>
              <a:gd name="connsiteX779" fmla="*/ 5651420 w 6096000"/>
              <a:gd name="connsiteY779" fmla="*/ 6649215 h 6858000"/>
              <a:gd name="connsiteX780" fmla="*/ 5672454 w 6096000"/>
              <a:gd name="connsiteY780" fmla="*/ 6638642 h 6858000"/>
              <a:gd name="connsiteX781" fmla="*/ 5711019 w 6096000"/>
              <a:gd name="connsiteY781" fmla="*/ 6677408 h 6858000"/>
              <a:gd name="connsiteX782" fmla="*/ 5728547 w 6096000"/>
              <a:gd name="connsiteY782" fmla="*/ 6666836 h 6858000"/>
              <a:gd name="connsiteX783" fmla="*/ 5732054 w 6096000"/>
              <a:gd name="connsiteY783" fmla="*/ 6666836 h 6858000"/>
              <a:gd name="connsiteX784" fmla="*/ 5732054 w 6096000"/>
              <a:gd name="connsiteY784" fmla="*/ 6663311 h 6858000"/>
              <a:gd name="connsiteX785" fmla="*/ 5718030 w 6096000"/>
              <a:gd name="connsiteY785" fmla="*/ 6613973 h 6858000"/>
              <a:gd name="connsiteX786" fmla="*/ 5735559 w 6096000"/>
              <a:gd name="connsiteY786" fmla="*/ 6599877 h 6858000"/>
              <a:gd name="connsiteX787" fmla="*/ 5781135 w 6096000"/>
              <a:gd name="connsiteY787" fmla="*/ 6624545 h 6858000"/>
              <a:gd name="connsiteX788" fmla="*/ 5798664 w 6096000"/>
              <a:gd name="connsiteY788" fmla="*/ 6610449 h 6858000"/>
              <a:gd name="connsiteX789" fmla="*/ 5798664 w 6096000"/>
              <a:gd name="connsiteY789" fmla="*/ 6606925 h 6858000"/>
              <a:gd name="connsiteX790" fmla="*/ 5770617 w 6096000"/>
              <a:gd name="connsiteY790" fmla="*/ 6561110 h 6858000"/>
              <a:gd name="connsiteX791" fmla="*/ 5784641 w 6096000"/>
              <a:gd name="connsiteY791" fmla="*/ 6543489 h 6858000"/>
              <a:gd name="connsiteX792" fmla="*/ 5837228 w 6096000"/>
              <a:gd name="connsiteY792" fmla="*/ 6557586 h 6858000"/>
              <a:gd name="connsiteX793" fmla="*/ 5847746 w 6096000"/>
              <a:gd name="connsiteY793" fmla="*/ 6539965 h 6858000"/>
              <a:gd name="connsiteX794" fmla="*/ 5847746 w 6096000"/>
              <a:gd name="connsiteY794" fmla="*/ 6536441 h 6858000"/>
              <a:gd name="connsiteX795" fmla="*/ 5812688 w 6096000"/>
              <a:gd name="connsiteY795" fmla="*/ 6497675 h 6858000"/>
              <a:gd name="connsiteX796" fmla="*/ 5819699 w 6096000"/>
              <a:gd name="connsiteY796" fmla="*/ 6480054 h 6858000"/>
              <a:gd name="connsiteX797" fmla="*/ 5872286 w 6096000"/>
              <a:gd name="connsiteY797" fmla="*/ 6480054 h 6858000"/>
              <a:gd name="connsiteX798" fmla="*/ 5872286 w 6096000"/>
              <a:gd name="connsiteY798" fmla="*/ 6476530 h 6858000"/>
              <a:gd name="connsiteX799" fmla="*/ 5879298 w 6096000"/>
              <a:gd name="connsiteY799" fmla="*/ 6455385 h 6858000"/>
              <a:gd name="connsiteX800" fmla="*/ 5833722 w 6096000"/>
              <a:gd name="connsiteY800" fmla="*/ 6427192 h 6858000"/>
              <a:gd name="connsiteX801" fmla="*/ 5837228 w 6096000"/>
              <a:gd name="connsiteY801" fmla="*/ 6406047 h 6858000"/>
              <a:gd name="connsiteX802" fmla="*/ 5886310 w 6096000"/>
              <a:gd name="connsiteY802" fmla="*/ 6391950 h 6858000"/>
              <a:gd name="connsiteX803" fmla="*/ 5889815 w 6096000"/>
              <a:gd name="connsiteY803" fmla="*/ 6381377 h 6858000"/>
              <a:gd name="connsiteX804" fmla="*/ 5886310 w 6096000"/>
              <a:gd name="connsiteY804" fmla="*/ 6370805 h 6858000"/>
              <a:gd name="connsiteX805" fmla="*/ 5886310 w 6096000"/>
              <a:gd name="connsiteY805" fmla="*/ 6367281 h 6858000"/>
              <a:gd name="connsiteX806" fmla="*/ 5837228 w 6096000"/>
              <a:gd name="connsiteY806" fmla="*/ 6353183 h 6858000"/>
              <a:gd name="connsiteX807" fmla="*/ 5833722 w 6096000"/>
              <a:gd name="connsiteY807" fmla="*/ 6332039 h 6858000"/>
              <a:gd name="connsiteX808" fmla="*/ 5879298 w 6096000"/>
              <a:gd name="connsiteY808" fmla="*/ 6307370 h 6858000"/>
              <a:gd name="connsiteX809" fmla="*/ 5879298 w 6096000"/>
              <a:gd name="connsiteY809" fmla="*/ 6303845 h 6858000"/>
              <a:gd name="connsiteX810" fmla="*/ 5872286 w 6096000"/>
              <a:gd name="connsiteY810" fmla="*/ 6282700 h 6858000"/>
              <a:gd name="connsiteX811" fmla="*/ 5819699 w 6096000"/>
              <a:gd name="connsiteY811" fmla="*/ 6282700 h 6858000"/>
              <a:gd name="connsiteX812" fmla="*/ 5812688 w 6096000"/>
              <a:gd name="connsiteY812" fmla="*/ 6261556 h 6858000"/>
              <a:gd name="connsiteX813" fmla="*/ 5847746 w 6096000"/>
              <a:gd name="connsiteY813" fmla="*/ 6222789 h 6858000"/>
              <a:gd name="connsiteX814" fmla="*/ 5837228 w 6096000"/>
              <a:gd name="connsiteY814" fmla="*/ 6205168 h 6858000"/>
              <a:gd name="connsiteX815" fmla="*/ 5837228 w 6096000"/>
              <a:gd name="connsiteY815" fmla="*/ 6201644 h 6858000"/>
              <a:gd name="connsiteX816" fmla="*/ 5784641 w 6096000"/>
              <a:gd name="connsiteY816" fmla="*/ 6215741 h 6858000"/>
              <a:gd name="connsiteX817" fmla="*/ 5770617 w 6096000"/>
              <a:gd name="connsiteY817" fmla="*/ 6198120 h 6858000"/>
              <a:gd name="connsiteX818" fmla="*/ 5798664 w 6096000"/>
              <a:gd name="connsiteY818" fmla="*/ 6152305 h 6858000"/>
              <a:gd name="connsiteX819" fmla="*/ 5781135 w 6096000"/>
              <a:gd name="connsiteY819" fmla="*/ 6134685 h 6858000"/>
              <a:gd name="connsiteX820" fmla="*/ 5735559 w 6096000"/>
              <a:gd name="connsiteY820" fmla="*/ 6162879 h 6858000"/>
              <a:gd name="connsiteX821" fmla="*/ 5718030 w 6096000"/>
              <a:gd name="connsiteY821" fmla="*/ 6148781 h 6858000"/>
              <a:gd name="connsiteX822" fmla="*/ 5732054 w 6096000"/>
              <a:gd name="connsiteY822" fmla="*/ 6095919 h 6858000"/>
              <a:gd name="connsiteX823" fmla="*/ 5711019 w 6096000"/>
              <a:gd name="connsiteY823" fmla="*/ 6085346 h 6858000"/>
              <a:gd name="connsiteX824" fmla="*/ 5672454 w 6096000"/>
              <a:gd name="connsiteY824" fmla="*/ 6120588 h 6858000"/>
              <a:gd name="connsiteX825" fmla="*/ 5651420 w 6096000"/>
              <a:gd name="connsiteY825" fmla="*/ 6113540 h 6858000"/>
              <a:gd name="connsiteX826" fmla="*/ 5654925 w 6096000"/>
              <a:gd name="connsiteY826" fmla="*/ 6085346 h 6858000"/>
              <a:gd name="connsiteX827" fmla="*/ 5651420 w 6096000"/>
              <a:gd name="connsiteY827" fmla="*/ 6060677 h 6858000"/>
              <a:gd name="connsiteX828" fmla="*/ 5651420 w 6096000"/>
              <a:gd name="connsiteY828" fmla="*/ 6057153 h 6858000"/>
              <a:gd name="connsiteX829" fmla="*/ 5630385 w 6096000"/>
              <a:gd name="connsiteY829" fmla="*/ 6053629 h 6858000"/>
              <a:gd name="connsiteX830" fmla="*/ 5626879 w 6096000"/>
              <a:gd name="connsiteY830" fmla="*/ 6053629 h 6858000"/>
              <a:gd name="connsiteX831" fmla="*/ 5602339 w 6096000"/>
              <a:gd name="connsiteY831" fmla="*/ 6099443 h 6858000"/>
              <a:gd name="connsiteX832" fmla="*/ 5577798 w 6096000"/>
              <a:gd name="connsiteY832" fmla="*/ 6095919 h 6858000"/>
              <a:gd name="connsiteX833" fmla="*/ 5563774 w 6096000"/>
              <a:gd name="connsiteY833" fmla="*/ 6043056 h 6858000"/>
              <a:gd name="connsiteX834" fmla="*/ 5542739 w 6096000"/>
              <a:gd name="connsiteY834" fmla="*/ 6043056 h 6858000"/>
              <a:gd name="connsiteX835" fmla="*/ 0 w 6096000"/>
              <a:gd name="connsiteY835" fmla="*/ 0 h 6858000"/>
              <a:gd name="connsiteX836" fmla="*/ 6096000 w 6096000"/>
              <a:gd name="connsiteY836" fmla="*/ 0 h 6858000"/>
              <a:gd name="connsiteX837" fmla="*/ 6096000 w 6096000"/>
              <a:gd name="connsiteY837" fmla="*/ 6858000 h 6858000"/>
              <a:gd name="connsiteX838" fmla="*/ 0 w 6096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6096000" h="6858000">
                <a:moveTo>
                  <a:pt x="5850675" y="6677576"/>
                </a:moveTo>
                <a:lnTo>
                  <a:pt x="5856788" y="6677576"/>
                </a:lnTo>
                <a:cubicBezTo>
                  <a:pt x="5859414" y="6677576"/>
                  <a:pt x="5861212" y="6677768"/>
                  <a:pt x="5862183" y="6678151"/>
                </a:cubicBezTo>
                <a:cubicBezTo>
                  <a:pt x="5863154" y="6678534"/>
                  <a:pt x="5863913" y="6679115"/>
                  <a:pt x="5864461" y="6679894"/>
                </a:cubicBezTo>
                <a:cubicBezTo>
                  <a:pt x="5865008" y="6680674"/>
                  <a:pt x="5865281" y="6681557"/>
                  <a:pt x="5865281" y="6682541"/>
                </a:cubicBezTo>
                <a:cubicBezTo>
                  <a:pt x="5865281" y="6684073"/>
                  <a:pt x="5864713" y="6685303"/>
                  <a:pt x="5863578" y="6686233"/>
                </a:cubicBezTo>
                <a:cubicBezTo>
                  <a:pt x="5862443" y="6687164"/>
                  <a:pt x="5860316" y="6687628"/>
                  <a:pt x="5857198" y="6687628"/>
                </a:cubicBezTo>
                <a:lnTo>
                  <a:pt x="5850675" y="6687628"/>
                </a:lnTo>
                <a:close/>
                <a:moveTo>
                  <a:pt x="5845300" y="6673064"/>
                </a:moveTo>
                <a:lnTo>
                  <a:pt x="5845300" y="6706378"/>
                </a:lnTo>
                <a:lnTo>
                  <a:pt x="5850675" y="6706378"/>
                </a:lnTo>
                <a:lnTo>
                  <a:pt x="5850675" y="6692224"/>
                </a:lnTo>
                <a:lnTo>
                  <a:pt x="5853834" y="6692224"/>
                </a:lnTo>
                <a:cubicBezTo>
                  <a:pt x="5855722" y="6692224"/>
                  <a:pt x="5857158" y="6692606"/>
                  <a:pt x="5858142" y="6693372"/>
                </a:cubicBezTo>
                <a:cubicBezTo>
                  <a:pt x="5859564" y="6694411"/>
                  <a:pt x="5861438" y="6696996"/>
                  <a:pt x="5863762" y="6701126"/>
                </a:cubicBezTo>
                <a:lnTo>
                  <a:pt x="5866717" y="6706378"/>
                </a:lnTo>
                <a:lnTo>
                  <a:pt x="5873281" y="6706378"/>
                </a:lnTo>
                <a:lnTo>
                  <a:pt x="5869220" y="6699854"/>
                </a:lnTo>
                <a:cubicBezTo>
                  <a:pt x="5867277" y="6696763"/>
                  <a:pt x="5865636" y="6694562"/>
                  <a:pt x="5864296" y="6693249"/>
                </a:cubicBezTo>
                <a:cubicBezTo>
                  <a:pt x="5863585" y="6692566"/>
                  <a:pt x="5862641" y="6691977"/>
                  <a:pt x="5861466" y="6691485"/>
                </a:cubicBezTo>
                <a:cubicBezTo>
                  <a:pt x="5864337" y="6691266"/>
                  <a:pt x="5866642" y="6690254"/>
                  <a:pt x="5868378" y="6688449"/>
                </a:cubicBezTo>
                <a:cubicBezTo>
                  <a:pt x="5870115" y="6686644"/>
                  <a:pt x="5870983" y="6684524"/>
                  <a:pt x="5870983" y="6682090"/>
                </a:cubicBezTo>
                <a:cubicBezTo>
                  <a:pt x="5870983" y="6680367"/>
                  <a:pt x="5870464" y="6678739"/>
                  <a:pt x="5869424" y="6677207"/>
                </a:cubicBezTo>
                <a:cubicBezTo>
                  <a:pt x="5868385" y="6675675"/>
                  <a:pt x="5866990" y="6674602"/>
                  <a:pt x="5865239" y="6673987"/>
                </a:cubicBezTo>
                <a:cubicBezTo>
                  <a:pt x="5863489" y="6673371"/>
                  <a:pt x="5860658" y="6673064"/>
                  <a:pt x="5856747" y="6673064"/>
                </a:cubicBezTo>
                <a:close/>
                <a:moveTo>
                  <a:pt x="4806089" y="6670493"/>
                </a:moveTo>
                <a:cubicBezTo>
                  <a:pt x="4806089" y="6670493"/>
                  <a:pt x="4806089" y="6670493"/>
                  <a:pt x="4809603" y="6670493"/>
                </a:cubicBezTo>
                <a:lnTo>
                  <a:pt x="4809603" y="6674034"/>
                </a:lnTo>
                <a:cubicBezTo>
                  <a:pt x="4809603" y="6684661"/>
                  <a:pt x="4809603" y="6709456"/>
                  <a:pt x="4781492" y="6709456"/>
                </a:cubicBezTo>
                <a:cubicBezTo>
                  <a:pt x="4770950" y="6709456"/>
                  <a:pt x="4763922" y="6705914"/>
                  <a:pt x="4763922" y="6691746"/>
                </a:cubicBezTo>
                <a:cubicBezTo>
                  <a:pt x="4763922" y="6670493"/>
                  <a:pt x="4788520" y="6670493"/>
                  <a:pt x="4806089" y="6670493"/>
                </a:cubicBezTo>
                <a:close/>
                <a:moveTo>
                  <a:pt x="5858881" y="6663422"/>
                </a:moveTo>
                <a:cubicBezTo>
                  <a:pt x="5863202" y="6663422"/>
                  <a:pt x="5867428" y="6664537"/>
                  <a:pt x="5871558" y="6666766"/>
                </a:cubicBezTo>
                <a:cubicBezTo>
                  <a:pt x="5875688" y="6668995"/>
                  <a:pt x="5878909" y="6672182"/>
                  <a:pt x="5881220" y="6676325"/>
                </a:cubicBezTo>
                <a:cubicBezTo>
                  <a:pt x="5883531" y="6680469"/>
                  <a:pt x="5884687" y="6684784"/>
                  <a:pt x="5884687" y="6689269"/>
                </a:cubicBezTo>
                <a:cubicBezTo>
                  <a:pt x="5884687" y="6693728"/>
                  <a:pt x="5883552" y="6698002"/>
                  <a:pt x="5881282" y="6702090"/>
                </a:cubicBezTo>
                <a:cubicBezTo>
                  <a:pt x="5879012" y="6706180"/>
                  <a:pt x="5875825" y="6709366"/>
                  <a:pt x="5871722" y="6711650"/>
                </a:cubicBezTo>
                <a:cubicBezTo>
                  <a:pt x="5867619" y="6713934"/>
                  <a:pt x="5863339" y="6715076"/>
                  <a:pt x="5858881" y="6715076"/>
                </a:cubicBezTo>
                <a:cubicBezTo>
                  <a:pt x="5854422" y="6715076"/>
                  <a:pt x="5850142" y="6713934"/>
                  <a:pt x="5846039" y="6711650"/>
                </a:cubicBezTo>
                <a:cubicBezTo>
                  <a:pt x="5841936" y="6709366"/>
                  <a:pt x="5838742" y="6706180"/>
                  <a:pt x="5836459" y="6702090"/>
                </a:cubicBezTo>
                <a:cubicBezTo>
                  <a:pt x="5834175" y="6698002"/>
                  <a:pt x="5833033" y="6693728"/>
                  <a:pt x="5833033" y="6689269"/>
                </a:cubicBezTo>
                <a:cubicBezTo>
                  <a:pt x="5833033" y="6684784"/>
                  <a:pt x="5834195" y="6680469"/>
                  <a:pt x="5836521" y="6676325"/>
                </a:cubicBezTo>
                <a:cubicBezTo>
                  <a:pt x="5838846" y="6672182"/>
                  <a:pt x="5842066" y="6668995"/>
                  <a:pt x="5846183" y="6666766"/>
                </a:cubicBezTo>
                <a:cubicBezTo>
                  <a:pt x="5850299" y="6664537"/>
                  <a:pt x="5854532" y="6663422"/>
                  <a:pt x="5858881" y="6663422"/>
                </a:cubicBezTo>
                <a:close/>
                <a:moveTo>
                  <a:pt x="5858881" y="6658294"/>
                </a:moveTo>
                <a:cubicBezTo>
                  <a:pt x="5853684" y="6658294"/>
                  <a:pt x="5848610" y="6659627"/>
                  <a:pt x="5843660" y="6662294"/>
                </a:cubicBezTo>
                <a:cubicBezTo>
                  <a:pt x="5838709" y="6664960"/>
                  <a:pt x="5834845" y="6668776"/>
                  <a:pt x="5832069" y="6673741"/>
                </a:cubicBezTo>
                <a:cubicBezTo>
                  <a:pt x="5829293" y="6678704"/>
                  <a:pt x="5827904" y="6683881"/>
                  <a:pt x="5827904" y="6689269"/>
                </a:cubicBezTo>
                <a:cubicBezTo>
                  <a:pt x="5827904" y="6694603"/>
                  <a:pt x="5829272" y="6699732"/>
                  <a:pt x="5832007" y="6704655"/>
                </a:cubicBezTo>
                <a:cubicBezTo>
                  <a:pt x="5834743" y="6709578"/>
                  <a:pt x="5838565" y="6713401"/>
                  <a:pt x="5843474" y="6716122"/>
                </a:cubicBezTo>
                <a:cubicBezTo>
                  <a:pt x="5848385" y="6718843"/>
                  <a:pt x="5853519" y="6720204"/>
                  <a:pt x="5858881" y="6720204"/>
                </a:cubicBezTo>
                <a:cubicBezTo>
                  <a:pt x="5864242" y="6720204"/>
                  <a:pt x="5869376" y="6718843"/>
                  <a:pt x="5874287" y="6716122"/>
                </a:cubicBezTo>
                <a:cubicBezTo>
                  <a:pt x="5879196" y="6713401"/>
                  <a:pt x="5883011" y="6709578"/>
                  <a:pt x="5885733" y="6704655"/>
                </a:cubicBezTo>
                <a:cubicBezTo>
                  <a:pt x="5888454" y="6699732"/>
                  <a:pt x="5889815" y="6694603"/>
                  <a:pt x="5889815" y="6689269"/>
                </a:cubicBezTo>
                <a:cubicBezTo>
                  <a:pt x="5889815" y="6683881"/>
                  <a:pt x="5888434" y="6678704"/>
                  <a:pt x="5885671" y="6673741"/>
                </a:cubicBezTo>
                <a:cubicBezTo>
                  <a:pt x="5882909" y="6668776"/>
                  <a:pt x="5879052" y="6664960"/>
                  <a:pt x="5874101" y="6662294"/>
                </a:cubicBezTo>
                <a:cubicBezTo>
                  <a:pt x="5869151" y="6659627"/>
                  <a:pt x="5864077" y="6658294"/>
                  <a:pt x="5858881" y="6658294"/>
                </a:cubicBezTo>
                <a:close/>
                <a:moveTo>
                  <a:pt x="4995685" y="6628842"/>
                </a:moveTo>
                <a:cubicBezTo>
                  <a:pt x="5013123" y="6628842"/>
                  <a:pt x="5027259" y="6646888"/>
                  <a:pt x="5027259" y="6669149"/>
                </a:cubicBezTo>
                <a:cubicBezTo>
                  <a:pt x="5027259" y="6691410"/>
                  <a:pt x="5013123" y="6709455"/>
                  <a:pt x="4995685" y="6709455"/>
                </a:cubicBezTo>
                <a:cubicBezTo>
                  <a:pt x="4978247" y="6709455"/>
                  <a:pt x="4964111" y="6691410"/>
                  <a:pt x="4964111" y="6669149"/>
                </a:cubicBezTo>
                <a:cubicBezTo>
                  <a:pt x="4964111" y="6646888"/>
                  <a:pt x="4978247" y="6628842"/>
                  <a:pt x="4995685" y="6628842"/>
                </a:cubicBezTo>
                <a:close/>
                <a:moveTo>
                  <a:pt x="4685998" y="6628842"/>
                </a:moveTo>
                <a:cubicBezTo>
                  <a:pt x="4701580" y="6628842"/>
                  <a:pt x="4714212" y="6646888"/>
                  <a:pt x="4714212" y="6669149"/>
                </a:cubicBezTo>
                <a:cubicBezTo>
                  <a:pt x="4714212" y="6691410"/>
                  <a:pt x="4701580" y="6709455"/>
                  <a:pt x="4685998" y="6709455"/>
                </a:cubicBezTo>
                <a:cubicBezTo>
                  <a:pt x="4670415" y="6709455"/>
                  <a:pt x="4657783" y="6691410"/>
                  <a:pt x="4657783" y="6669149"/>
                </a:cubicBezTo>
                <a:cubicBezTo>
                  <a:pt x="4657783" y="6646888"/>
                  <a:pt x="4670415" y="6628842"/>
                  <a:pt x="4685998" y="6628842"/>
                </a:cubicBezTo>
                <a:close/>
                <a:moveTo>
                  <a:pt x="4373622" y="6628842"/>
                </a:moveTo>
                <a:cubicBezTo>
                  <a:pt x="4391060" y="6628842"/>
                  <a:pt x="4405196" y="6646888"/>
                  <a:pt x="4405196" y="6669149"/>
                </a:cubicBezTo>
                <a:cubicBezTo>
                  <a:pt x="4405196" y="6691410"/>
                  <a:pt x="4391060" y="6709455"/>
                  <a:pt x="4373622" y="6709455"/>
                </a:cubicBezTo>
                <a:cubicBezTo>
                  <a:pt x="4356185" y="6709455"/>
                  <a:pt x="4342048" y="6691410"/>
                  <a:pt x="4342048" y="6669149"/>
                </a:cubicBezTo>
                <a:cubicBezTo>
                  <a:pt x="4342048" y="6646888"/>
                  <a:pt x="4356185" y="6628842"/>
                  <a:pt x="4373622" y="6628842"/>
                </a:cubicBezTo>
                <a:close/>
                <a:moveTo>
                  <a:pt x="4918562" y="6623595"/>
                </a:moveTo>
                <a:lnTo>
                  <a:pt x="4918562" y="6719555"/>
                </a:lnTo>
                <a:lnTo>
                  <a:pt x="4930851" y="6719555"/>
                </a:lnTo>
                <a:lnTo>
                  <a:pt x="4930851" y="6623595"/>
                </a:lnTo>
                <a:close/>
                <a:moveTo>
                  <a:pt x="5062189" y="6622125"/>
                </a:moveTo>
                <a:cubicBezTo>
                  <a:pt x="5062189" y="6629091"/>
                  <a:pt x="5062189" y="6639541"/>
                  <a:pt x="5062189" y="6646508"/>
                </a:cubicBezTo>
                <a:lnTo>
                  <a:pt x="5062189" y="6716173"/>
                </a:lnTo>
                <a:cubicBezTo>
                  <a:pt x="5062189" y="6716173"/>
                  <a:pt x="5062189" y="6716173"/>
                  <a:pt x="5076009" y="6716173"/>
                </a:cubicBezTo>
                <a:cubicBezTo>
                  <a:pt x="5076009" y="6716173"/>
                  <a:pt x="5076009" y="6716173"/>
                  <a:pt x="5076009" y="6663924"/>
                </a:cubicBezTo>
                <a:cubicBezTo>
                  <a:pt x="5076009" y="6649991"/>
                  <a:pt x="5082918" y="6629091"/>
                  <a:pt x="5103648" y="6629091"/>
                </a:cubicBezTo>
                <a:cubicBezTo>
                  <a:pt x="5117466" y="6629091"/>
                  <a:pt x="5124377" y="6643024"/>
                  <a:pt x="5124377" y="6660441"/>
                </a:cubicBezTo>
                <a:cubicBezTo>
                  <a:pt x="5124377" y="6660441"/>
                  <a:pt x="5124377" y="6660441"/>
                  <a:pt x="5124377" y="6716173"/>
                </a:cubicBezTo>
                <a:cubicBezTo>
                  <a:pt x="5124377" y="6716173"/>
                  <a:pt x="5124377" y="6716173"/>
                  <a:pt x="5134741" y="6716173"/>
                </a:cubicBezTo>
                <a:cubicBezTo>
                  <a:pt x="5134741" y="6716173"/>
                  <a:pt x="5134741" y="6716173"/>
                  <a:pt x="5134741" y="6656957"/>
                </a:cubicBezTo>
                <a:cubicBezTo>
                  <a:pt x="5134741" y="6636058"/>
                  <a:pt x="5127831" y="6622125"/>
                  <a:pt x="5103648" y="6622125"/>
                </a:cubicBezTo>
                <a:cubicBezTo>
                  <a:pt x="5086373" y="6622125"/>
                  <a:pt x="5079464" y="6632574"/>
                  <a:pt x="5072554" y="6639541"/>
                </a:cubicBezTo>
                <a:cubicBezTo>
                  <a:pt x="5072554" y="6639541"/>
                  <a:pt x="5072554" y="6639541"/>
                  <a:pt x="5072554" y="6622125"/>
                </a:cubicBezTo>
                <a:cubicBezTo>
                  <a:pt x="5072554" y="6622125"/>
                  <a:pt x="5072554" y="6622125"/>
                  <a:pt x="5062189" y="6622125"/>
                </a:cubicBezTo>
                <a:close/>
                <a:moveTo>
                  <a:pt x="4992997" y="6622125"/>
                </a:moveTo>
                <a:cubicBezTo>
                  <a:pt x="4968881" y="6622125"/>
                  <a:pt x="4949332" y="6644080"/>
                  <a:pt x="4949332" y="6671165"/>
                </a:cubicBezTo>
                <a:cubicBezTo>
                  <a:pt x="4949332" y="6698249"/>
                  <a:pt x="4968881" y="6720204"/>
                  <a:pt x="4992997" y="6720204"/>
                </a:cubicBezTo>
                <a:cubicBezTo>
                  <a:pt x="5017113" y="6720204"/>
                  <a:pt x="5036662" y="6698249"/>
                  <a:pt x="5036662" y="6671165"/>
                </a:cubicBezTo>
                <a:cubicBezTo>
                  <a:pt x="5036662" y="6644080"/>
                  <a:pt x="5017113" y="6622125"/>
                  <a:pt x="4992997" y="6622125"/>
                </a:cubicBezTo>
                <a:close/>
                <a:moveTo>
                  <a:pt x="4787851" y="6622125"/>
                </a:moveTo>
                <a:cubicBezTo>
                  <a:pt x="4780813" y="6622125"/>
                  <a:pt x="4766738" y="6622125"/>
                  <a:pt x="4759700" y="6625628"/>
                </a:cubicBezTo>
                <a:cubicBezTo>
                  <a:pt x="4759700" y="6625628"/>
                  <a:pt x="4759700" y="6625628"/>
                  <a:pt x="4759700" y="6639639"/>
                </a:cubicBezTo>
                <a:cubicBezTo>
                  <a:pt x="4770257" y="6632634"/>
                  <a:pt x="4777294" y="6629131"/>
                  <a:pt x="4787851" y="6629131"/>
                </a:cubicBezTo>
                <a:cubicBezTo>
                  <a:pt x="4805445" y="6629131"/>
                  <a:pt x="4808964" y="6639639"/>
                  <a:pt x="4808964" y="6653651"/>
                </a:cubicBezTo>
                <a:cubicBezTo>
                  <a:pt x="4808964" y="6653651"/>
                  <a:pt x="4808964" y="6653651"/>
                  <a:pt x="4808964" y="6660656"/>
                </a:cubicBezTo>
                <a:cubicBezTo>
                  <a:pt x="4784332" y="6660656"/>
                  <a:pt x="4749144" y="6660656"/>
                  <a:pt x="4749144" y="6692181"/>
                </a:cubicBezTo>
                <a:cubicBezTo>
                  <a:pt x="4749144" y="6702690"/>
                  <a:pt x="4752663" y="6720204"/>
                  <a:pt x="4780813" y="6720204"/>
                </a:cubicBezTo>
                <a:cubicBezTo>
                  <a:pt x="4791370" y="6720204"/>
                  <a:pt x="4805445" y="6713198"/>
                  <a:pt x="4808964" y="6702690"/>
                </a:cubicBezTo>
                <a:cubicBezTo>
                  <a:pt x="4808964" y="6702690"/>
                  <a:pt x="4808964" y="6702690"/>
                  <a:pt x="4812483" y="6702690"/>
                </a:cubicBezTo>
                <a:lnTo>
                  <a:pt x="4812483" y="6716701"/>
                </a:lnTo>
                <a:cubicBezTo>
                  <a:pt x="4812483" y="6716701"/>
                  <a:pt x="4812483" y="6716701"/>
                  <a:pt x="4823039" y="6716701"/>
                </a:cubicBezTo>
                <a:cubicBezTo>
                  <a:pt x="4823039" y="6713198"/>
                  <a:pt x="4823039" y="6706193"/>
                  <a:pt x="4823039" y="6699187"/>
                </a:cubicBezTo>
                <a:cubicBezTo>
                  <a:pt x="4823039" y="6699187"/>
                  <a:pt x="4823039" y="6699187"/>
                  <a:pt x="4823039" y="6657154"/>
                </a:cubicBezTo>
                <a:cubicBezTo>
                  <a:pt x="4823039" y="6632634"/>
                  <a:pt x="4812483" y="6622125"/>
                  <a:pt x="4787851" y="6622125"/>
                </a:cubicBezTo>
                <a:close/>
                <a:moveTo>
                  <a:pt x="4546268" y="6622125"/>
                </a:moveTo>
                <a:cubicBezTo>
                  <a:pt x="4546268" y="6629091"/>
                  <a:pt x="4546268" y="6639541"/>
                  <a:pt x="4546268" y="6646508"/>
                </a:cubicBezTo>
                <a:lnTo>
                  <a:pt x="4546268" y="6716173"/>
                </a:lnTo>
                <a:cubicBezTo>
                  <a:pt x="4546268" y="6716173"/>
                  <a:pt x="4546268" y="6716173"/>
                  <a:pt x="4560343" y="6716173"/>
                </a:cubicBezTo>
                <a:cubicBezTo>
                  <a:pt x="4560343" y="6716173"/>
                  <a:pt x="4560343" y="6716173"/>
                  <a:pt x="4560343" y="6663924"/>
                </a:cubicBezTo>
                <a:cubicBezTo>
                  <a:pt x="4560343" y="6649991"/>
                  <a:pt x="4567381" y="6629091"/>
                  <a:pt x="4588494" y="6629091"/>
                </a:cubicBezTo>
                <a:cubicBezTo>
                  <a:pt x="4602569" y="6629091"/>
                  <a:pt x="4609607" y="6643024"/>
                  <a:pt x="4609607" y="6660441"/>
                </a:cubicBezTo>
                <a:cubicBezTo>
                  <a:pt x="4609607" y="6660441"/>
                  <a:pt x="4609607" y="6660441"/>
                  <a:pt x="4609607" y="6716173"/>
                </a:cubicBezTo>
                <a:cubicBezTo>
                  <a:pt x="4609607" y="6716173"/>
                  <a:pt x="4609607" y="6716173"/>
                  <a:pt x="4620163" y="6716173"/>
                </a:cubicBezTo>
                <a:cubicBezTo>
                  <a:pt x="4620163" y="6716173"/>
                  <a:pt x="4620163" y="6716173"/>
                  <a:pt x="4620163" y="6656957"/>
                </a:cubicBezTo>
                <a:cubicBezTo>
                  <a:pt x="4620163" y="6636058"/>
                  <a:pt x="4613125" y="6622125"/>
                  <a:pt x="4588494" y="6622125"/>
                </a:cubicBezTo>
                <a:cubicBezTo>
                  <a:pt x="4570900" y="6622125"/>
                  <a:pt x="4563862" y="6632574"/>
                  <a:pt x="4556824" y="6639541"/>
                </a:cubicBezTo>
                <a:cubicBezTo>
                  <a:pt x="4556824" y="6639541"/>
                  <a:pt x="4556824" y="6639541"/>
                  <a:pt x="4556824" y="6622125"/>
                </a:cubicBezTo>
                <a:cubicBezTo>
                  <a:pt x="4556824" y="6622125"/>
                  <a:pt x="4556824" y="6622125"/>
                  <a:pt x="4546268" y="6622125"/>
                </a:cubicBezTo>
                <a:close/>
                <a:moveTo>
                  <a:pt x="4444159" y="6622125"/>
                </a:moveTo>
                <a:cubicBezTo>
                  <a:pt x="4444159" y="6622125"/>
                  <a:pt x="4444159" y="6622125"/>
                  <a:pt x="4444159" y="6685175"/>
                </a:cubicBezTo>
                <a:cubicBezTo>
                  <a:pt x="4444159" y="6706193"/>
                  <a:pt x="4451196" y="6720204"/>
                  <a:pt x="4475828" y="6720204"/>
                </a:cubicBezTo>
                <a:cubicBezTo>
                  <a:pt x="4493422" y="6720204"/>
                  <a:pt x="4500460" y="6709695"/>
                  <a:pt x="4507498" y="6702690"/>
                </a:cubicBezTo>
                <a:cubicBezTo>
                  <a:pt x="4507498" y="6702690"/>
                  <a:pt x="4507498" y="6702690"/>
                  <a:pt x="4507498" y="6716701"/>
                </a:cubicBezTo>
                <a:cubicBezTo>
                  <a:pt x="4507498" y="6716701"/>
                  <a:pt x="4507498" y="6716701"/>
                  <a:pt x="4518054" y="6716701"/>
                </a:cubicBezTo>
                <a:cubicBezTo>
                  <a:pt x="4518054" y="6709695"/>
                  <a:pt x="4518054" y="6702690"/>
                  <a:pt x="4518054" y="6695684"/>
                </a:cubicBezTo>
                <a:lnTo>
                  <a:pt x="4518054" y="6622125"/>
                </a:lnTo>
                <a:cubicBezTo>
                  <a:pt x="4518054" y="6622125"/>
                  <a:pt x="4518054" y="6622125"/>
                  <a:pt x="4503979" y="6622125"/>
                </a:cubicBezTo>
                <a:cubicBezTo>
                  <a:pt x="4503979" y="6622125"/>
                  <a:pt x="4503979" y="6622125"/>
                  <a:pt x="4503979" y="6674667"/>
                </a:cubicBezTo>
                <a:cubicBezTo>
                  <a:pt x="4503979" y="6692181"/>
                  <a:pt x="4496941" y="6709695"/>
                  <a:pt x="4475828" y="6709695"/>
                </a:cubicBezTo>
                <a:cubicBezTo>
                  <a:pt x="4461753" y="6709695"/>
                  <a:pt x="4454715" y="6699187"/>
                  <a:pt x="4454715" y="6681673"/>
                </a:cubicBezTo>
                <a:cubicBezTo>
                  <a:pt x="4454715" y="6681673"/>
                  <a:pt x="4454715" y="6681673"/>
                  <a:pt x="4454715" y="6622125"/>
                </a:cubicBezTo>
                <a:cubicBezTo>
                  <a:pt x="4454715" y="6622125"/>
                  <a:pt x="4454715" y="6622125"/>
                  <a:pt x="4444159" y="6622125"/>
                </a:cubicBezTo>
                <a:close/>
                <a:moveTo>
                  <a:pt x="4375637" y="6622125"/>
                </a:moveTo>
                <a:cubicBezTo>
                  <a:pt x="4351151" y="6622125"/>
                  <a:pt x="4331300" y="6644080"/>
                  <a:pt x="4331300" y="6671165"/>
                </a:cubicBezTo>
                <a:cubicBezTo>
                  <a:pt x="4331300" y="6698249"/>
                  <a:pt x="4351151" y="6720204"/>
                  <a:pt x="4375637" y="6720204"/>
                </a:cubicBezTo>
                <a:cubicBezTo>
                  <a:pt x="4400124" y="6720204"/>
                  <a:pt x="4419975" y="6698249"/>
                  <a:pt x="4419975" y="6671165"/>
                </a:cubicBezTo>
                <a:cubicBezTo>
                  <a:pt x="4419975" y="6644080"/>
                  <a:pt x="4400124" y="6622125"/>
                  <a:pt x="4375637" y="6622125"/>
                </a:cubicBezTo>
                <a:close/>
                <a:moveTo>
                  <a:pt x="5559303" y="6607346"/>
                </a:moveTo>
                <a:lnTo>
                  <a:pt x="5563333" y="6618095"/>
                </a:lnTo>
                <a:lnTo>
                  <a:pt x="5567364" y="6624813"/>
                </a:lnTo>
                <a:lnTo>
                  <a:pt x="5552585" y="6624813"/>
                </a:lnTo>
                <a:lnTo>
                  <a:pt x="5556616" y="6618095"/>
                </a:lnTo>
                <a:close/>
                <a:moveTo>
                  <a:pt x="5563446" y="6596598"/>
                </a:moveTo>
                <a:cubicBezTo>
                  <a:pt x="5563446" y="6596598"/>
                  <a:pt x="5563446" y="6596598"/>
                  <a:pt x="5553032" y="6600112"/>
                </a:cubicBezTo>
                <a:cubicBezTo>
                  <a:pt x="5553032" y="6600112"/>
                  <a:pt x="5553032" y="6600112"/>
                  <a:pt x="5549562" y="6617682"/>
                </a:cubicBezTo>
                <a:cubicBezTo>
                  <a:pt x="5549562" y="6617682"/>
                  <a:pt x="5549562" y="6617682"/>
                  <a:pt x="5539149" y="6638764"/>
                </a:cubicBezTo>
                <a:cubicBezTo>
                  <a:pt x="5542620" y="6638764"/>
                  <a:pt x="5546091" y="6638764"/>
                  <a:pt x="5549562" y="6642278"/>
                </a:cubicBezTo>
                <a:cubicBezTo>
                  <a:pt x="5549562" y="6642278"/>
                  <a:pt x="5549562" y="6642278"/>
                  <a:pt x="5549562" y="6631737"/>
                </a:cubicBezTo>
                <a:cubicBezTo>
                  <a:pt x="5549562" y="6631737"/>
                  <a:pt x="5549562" y="6631737"/>
                  <a:pt x="5570387" y="6631737"/>
                </a:cubicBezTo>
                <a:cubicBezTo>
                  <a:pt x="5570387" y="6631737"/>
                  <a:pt x="5570387" y="6631737"/>
                  <a:pt x="5570387" y="6638764"/>
                </a:cubicBezTo>
                <a:cubicBezTo>
                  <a:pt x="5573858" y="6638764"/>
                  <a:pt x="5577329" y="6638764"/>
                  <a:pt x="5580800" y="6638764"/>
                </a:cubicBezTo>
                <a:cubicBezTo>
                  <a:pt x="5580800" y="6638764"/>
                  <a:pt x="5580800" y="6638764"/>
                  <a:pt x="5570387" y="6617682"/>
                </a:cubicBezTo>
                <a:lnTo>
                  <a:pt x="5563446" y="6600112"/>
                </a:lnTo>
                <a:cubicBezTo>
                  <a:pt x="5563446" y="6600112"/>
                  <a:pt x="5563446" y="6600112"/>
                  <a:pt x="5563446" y="6596598"/>
                </a:cubicBezTo>
                <a:close/>
                <a:moveTo>
                  <a:pt x="4868451" y="6596597"/>
                </a:moveTo>
                <a:cubicBezTo>
                  <a:pt x="4868451" y="6596597"/>
                  <a:pt x="4868451" y="6596597"/>
                  <a:pt x="4857971" y="6600129"/>
                </a:cubicBezTo>
                <a:cubicBezTo>
                  <a:pt x="4857971" y="6600129"/>
                  <a:pt x="4857971" y="6600129"/>
                  <a:pt x="4857971" y="6621318"/>
                </a:cubicBezTo>
                <a:cubicBezTo>
                  <a:pt x="4857971" y="6621318"/>
                  <a:pt x="4857971" y="6621318"/>
                  <a:pt x="4840505" y="6621318"/>
                </a:cubicBezTo>
                <a:cubicBezTo>
                  <a:pt x="4840505" y="6621318"/>
                  <a:pt x="4840505" y="6621318"/>
                  <a:pt x="4840505" y="6631913"/>
                </a:cubicBezTo>
                <a:cubicBezTo>
                  <a:pt x="4840505" y="6631913"/>
                  <a:pt x="4840505" y="6631913"/>
                  <a:pt x="4857971" y="6631913"/>
                </a:cubicBezTo>
                <a:cubicBezTo>
                  <a:pt x="4857971" y="6631913"/>
                  <a:pt x="4857971" y="6631913"/>
                  <a:pt x="4857971" y="6688419"/>
                </a:cubicBezTo>
                <a:cubicBezTo>
                  <a:pt x="4857971" y="6706077"/>
                  <a:pt x="4857971" y="6720203"/>
                  <a:pt x="4878931" y="6720203"/>
                </a:cubicBezTo>
                <a:cubicBezTo>
                  <a:pt x="4885917" y="6720203"/>
                  <a:pt x="4889410" y="6720203"/>
                  <a:pt x="4892904" y="6716672"/>
                </a:cubicBezTo>
                <a:cubicBezTo>
                  <a:pt x="4892904" y="6716672"/>
                  <a:pt x="4892904" y="6716672"/>
                  <a:pt x="4892904" y="6706077"/>
                </a:cubicBezTo>
                <a:cubicBezTo>
                  <a:pt x="4889410" y="6709608"/>
                  <a:pt x="4885917" y="6709608"/>
                  <a:pt x="4882424" y="6709608"/>
                </a:cubicBezTo>
                <a:cubicBezTo>
                  <a:pt x="4871944" y="6709608"/>
                  <a:pt x="4868451" y="6702546"/>
                  <a:pt x="4868451" y="6695482"/>
                </a:cubicBezTo>
                <a:cubicBezTo>
                  <a:pt x="4868451" y="6695482"/>
                  <a:pt x="4868451" y="6695482"/>
                  <a:pt x="4868451" y="6631913"/>
                </a:cubicBezTo>
                <a:cubicBezTo>
                  <a:pt x="4868451" y="6631913"/>
                  <a:pt x="4868451" y="6631913"/>
                  <a:pt x="4889410" y="6631913"/>
                </a:cubicBezTo>
                <a:lnTo>
                  <a:pt x="4889410" y="6621318"/>
                </a:lnTo>
                <a:cubicBezTo>
                  <a:pt x="4889410" y="6621318"/>
                  <a:pt x="4889410" y="6621318"/>
                  <a:pt x="4868451" y="6621318"/>
                </a:cubicBezTo>
                <a:cubicBezTo>
                  <a:pt x="4868451" y="6621318"/>
                  <a:pt x="4868451" y="6621318"/>
                  <a:pt x="4868451" y="6596597"/>
                </a:cubicBezTo>
                <a:close/>
                <a:moveTo>
                  <a:pt x="5503881" y="6593911"/>
                </a:moveTo>
                <a:cubicBezTo>
                  <a:pt x="5493469" y="6636077"/>
                  <a:pt x="5493469" y="6636077"/>
                  <a:pt x="5493469" y="6636077"/>
                </a:cubicBezTo>
                <a:cubicBezTo>
                  <a:pt x="5496940" y="6636077"/>
                  <a:pt x="5500410" y="6636077"/>
                  <a:pt x="5503881" y="6636077"/>
                </a:cubicBezTo>
                <a:cubicBezTo>
                  <a:pt x="5507352" y="6611481"/>
                  <a:pt x="5507352" y="6611481"/>
                  <a:pt x="5507352" y="6611481"/>
                </a:cubicBezTo>
                <a:cubicBezTo>
                  <a:pt x="5521236" y="6639591"/>
                  <a:pt x="5521236" y="6639591"/>
                  <a:pt x="5521236" y="6639591"/>
                </a:cubicBezTo>
                <a:cubicBezTo>
                  <a:pt x="5524707" y="6639591"/>
                  <a:pt x="5528178" y="6639591"/>
                  <a:pt x="5528178" y="6639591"/>
                </a:cubicBezTo>
                <a:cubicBezTo>
                  <a:pt x="5535119" y="6597425"/>
                  <a:pt x="5535119" y="6597425"/>
                  <a:pt x="5535119" y="6597425"/>
                </a:cubicBezTo>
                <a:cubicBezTo>
                  <a:pt x="5531648" y="6597425"/>
                  <a:pt x="5528178" y="6597425"/>
                  <a:pt x="5528178" y="6597425"/>
                </a:cubicBezTo>
                <a:cubicBezTo>
                  <a:pt x="5524707" y="6625536"/>
                  <a:pt x="5524707" y="6625536"/>
                  <a:pt x="5524707" y="6625536"/>
                </a:cubicBezTo>
                <a:cubicBezTo>
                  <a:pt x="5510824" y="6593911"/>
                  <a:pt x="5510824" y="6593911"/>
                  <a:pt x="5510824" y="6593911"/>
                </a:cubicBezTo>
                <a:cubicBezTo>
                  <a:pt x="5507352" y="6593911"/>
                  <a:pt x="5507352" y="6593911"/>
                  <a:pt x="5503881" y="6593911"/>
                </a:cubicBezTo>
                <a:close/>
                <a:moveTo>
                  <a:pt x="5613044" y="6589881"/>
                </a:moveTo>
                <a:cubicBezTo>
                  <a:pt x="5599071" y="6593432"/>
                  <a:pt x="5588592" y="6596982"/>
                  <a:pt x="5578112" y="6596982"/>
                </a:cubicBezTo>
                <a:cubicBezTo>
                  <a:pt x="5578112" y="6604084"/>
                  <a:pt x="5578112" y="6604084"/>
                  <a:pt x="5578112" y="6604084"/>
                </a:cubicBezTo>
                <a:cubicBezTo>
                  <a:pt x="5585098" y="6604084"/>
                  <a:pt x="5588592" y="6604084"/>
                  <a:pt x="5592084" y="6604084"/>
                </a:cubicBezTo>
                <a:cubicBezTo>
                  <a:pt x="5599071" y="6639592"/>
                  <a:pt x="5599071" y="6639592"/>
                  <a:pt x="5599071" y="6639592"/>
                </a:cubicBezTo>
                <a:cubicBezTo>
                  <a:pt x="5606057" y="6636041"/>
                  <a:pt x="5606057" y="6636041"/>
                  <a:pt x="5606057" y="6636041"/>
                </a:cubicBezTo>
                <a:cubicBezTo>
                  <a:pt x="5599071" y="6600533"/>
                  <a:pt x="5599071" y="6600533"/>
                  <a:pt x="5599071" y="6600533"/>
                </a:cubicBezTo>
                <a:cubicBezTo>
                  <a:pt x="5606057" y="6600533"/>
                  <a:pt x="5609551" y="6600533"/>
                  <a:pt x="5613044" y="6596982"/>
                </a:cubicBezTo>
                <a:close/>
                <a:moveTo>
                  <a:pt x="5468748" y="6589881"/>
                </a:moveTo>
                <a:cubicBezTo>
                  <a:pt x="5468748" y="6589881"/>
                  <a:pt x="5468748" y="6589881"/>
                  <a:pt x="5479228" y="6593240"/>
                </a:cubicBezTo>
                <a:cubicBezTo>
                  <a:pt x="5482720" y="6593240"/>
                  <a:pt x="5482720" y="6596599"/>
                  <a:pt x="5482720" y="6596599"/>
                </a:cubicBezTo>
                <a:cubicBezTo>
                  <a:pt x="5482720" y="6596599"/>
                  <a:pt x="5482720" y="6599957"/>
                  <a:pt x="5482720" y="6599957"/>
                </a:cubicBezTo>
                <a:cubicBezTo>
                  <a:pt x="5482720" y="6599957"/>
                  <a:pt x="5479228" y="6603316"/>
                  <a:pt x="5475734" y="6603316"/>
                </a:cubicBezTo>
                <a:cubicBezTo>
                  <a:pt x="5475734" y="6603316"/>
                  <a:pt x="5475734" y="6603316"/>
                  <a:pt x="5465254" y="6599957"/>
                </a:cubicBezTo>
                <a:cubicBezTo>
                  <a:pt x="5465254" y="6599957"/>
                  <a:pt x="5465254" y="6599957"/>
                  <a:pt x="5468748" y="6596599"/>
                </a:cubicBezTo>
                <a:cubicBezTo>
                  <a:pt x="5468748" y="6596599"/>
                  <a:pt x="5468748" y="6596599"/>
                  <a:pt x="5468748" y="6589881"/>
                </a:cubicBezTo>
                <a:close/>
                <a:moveTo>
                  <a:pt x="4918562" y="6587995"/>
                </a:moveTo>
                <a:lnTo>
                  <a:pt x="4918562" y="6601689"/>
                </a:lnTo>
                <a:lnTo>
                  <a:pt x="4930851" y="6601689"/>
                </a:lnTo>
                <a:lnTo>
                  <a:pt x="4930851" y="6587995"/>
                </a:lnTo>
                <a:close/>
                <a:moveTo>
                  <a:pt x="5619762" y="6585849"/>
                </a:moveTo>
                <a:cubicBezTo>
                  <a:pt x="5633582" y="6628843"/>
                  <a:pt x="5633582" y="6628843"/>
                  <a:pt x="5633582" y="6628843"/>
                </a:cubicBezTo>
                <a:cubicBezTo>
                  <a:pt x="5637036" y="6625260"/>
                  <a:pt x="5640491" y="6625260"/>
                  <a:pt x="5643946" y="6625260"/>
                </a:cubicBezTo>
                <a:cubicBezTo>
                  <a:pt x="5630127" y="6585849"/>
                  <a:pt x="5630127" y="6585849"/>
                  <a:pt x="5630127" y="6585849"/>
                </a:cubicBezTo>
                <a:cubicBezTo>
                  <a:pt x="5626671" y="6585849"/>
                  <a:pt x="5623217" y="6585849"/>
                  <a:pt x="5619762" y="6585849"/>
                </a:cubicBezTo>
                <a:close/>
                <a:moveTo>
                  <a:pt x="4250688" y="6585849"/>
                </a:moveTo>
                <a:lnTo>
                  <a:pt x="4250688" y="6716173"/>
                </a:lnTo>
                <a:lnTo>
                  <a:pt x="4265467" y="6716173"/>
                </a:lnTo>
                <a:lnTo>
                  <a:pt x="4265467" y="6657057"/>
                </a:lnTo>
                <a:lnTo>
                  <a:pt x="4311148" y="6657057"/>
                </a:lnTo>
                <a:lnTo>
                  <a:pt x="4311148" y="6646309"/>
                </a:lnTo>
                <a:lnTo>
                  <a:pt x="4265467" y="6646309"/>
                </a:lnTo>
                <a:lnTo>
                  <a:pt x="4265467" y="6596597"/>
                </a:lnTo>
                <a:lnTo>
                  <a:pt x="4313835" y="6596597"/>
                </a:lnTo>
                <a:lnTo>
                  <a:pt x="4313835" y="6585849"/>
                </a:lnTo>
                <a:close/>
                <a:moveTo>
                  <a:pt x="5465143" y="6579132"/>
                </a:moveTo>
                <a:cubicBezTo>
                  <a:pt x="5465143" y="6579132"/>
                  <a:pt x="5465143" y="6579132"/>
                  <a:pt x="5458200" y="6596599"/>
                </a:cubicBezTo>
                <a:cubicBezTo>
                  <a:pt x="5458200" y="6596599"/>
                  <a:pt x="5458200" y="6596599"/>
                  <a:pt x="5458200" y="6600091"/>
                </a:cubicBezTo>
                <a:cubicBezTo>
                  <a:pt x="5458200" y="6600091"/>
                  <a:pt x="5458200" y="6600091"/>
                  <a:pt x="5447788" y="6617558"/>
                </a:cubicBezTo>
                <a:cubicBezTo>
                  <a:pt x="5451259" y="6621051"/>
                  <a:pt x="5454730" y="6621051"/>
                  <a:pt x="5458200" y="6621051"/>
                </a:cubicBezTo>
                <a:cubicBezTo>
                  <a:pt x="5458200" y="6621051"/>
                  <a:pt x="5458200" y="6621051"/>
                  <a:pt x="5461671" y="6607078"/>
                </a:cubicBezTo>
                <a:cubicBezTo>
                  <a:pt x="5461671" y="6607078"/>
                  <a:pt x="5461671" y="6607078"/>
                  <a:pt x="5472084" y="6610572"/>
                </a:cubicBezTo>
                <a:cubicBezTo>
                  <a:pt x="5472084" y="6610572"/>
                  <a:pt x="5472084" y="6610572"/>
                  <a:pt x="5472084" y="6628037"/>
                </a:cubicBezTo>
                <a:cubicBezTo>
                  <a:pt x="5475555" y="6628037"/>
                  <a:pt x="5479026" y="6631531"/>
                  <a:pt x="5482497" y="6631531"/>
                </a:cubicBezTo>
                <a:cubicBezTo>
                  <a:pt x="5482497" y="6631531"/>
                  <a:pt x="5482497" y="6631531"/>
                  <a:pt x="5479026" y="6610572"/>
                </a:cubicBezTo>
                <a:cubicBezTo>
                  <a:pt x="5485968" y="6610572"/>
                  <a:pt x="5489438" y="6603585"/>
                  <a:pt x="5489438" y="6600091"/>
                </a:cubicBezTo>
                <a:cubicBezTo>
                  <a:pt x="5489438" y="6600091"/>
                  <a:pt x="5489438" y="6596599"/>
                  <a:pt x="5489438" y="6596599"/>
                </a:cubicBezTo>
                <a:cubicBezTo>
                  <a:pt x="5489438" y="6593105"/>
                  <a:pt x="5489438" y="6589612"/>
                  <a:pt x="5482497" y="6586119"/>
                </a:cubicBezTo>
                <a:cubicBezTo>
                  <a:pt x="5482497" y="6586119"/>
                  <a:pt x="5482497" y="6586119"/>
                  <a:pt x="5465143" y="6579132"/>
                </a:cubicBezTo>
                <a:close/>
                <a:moveTo>
                  <a:pt x="5670241" y="6576425"/>
                </a:moveTo>
                <a:cubicBezTo>
                  <a:pt x="5673696" y="6576866"/>
                  <a:pt x="5677151" y="6578629"/>
                  <a:pt x="5678878" y="6582156"/>
                </a:cubicBezTo>
                <a:cubicBezTo>
                  <a:pt x="5678878" y="6585683"/>
                  <a:pt x="5678878" y="6589209"/>
                  <a:pt x="5678878" y="6589209"/>
                </a:cubicBezTo>
                <a:cubicBezTo>
                  <a:pt x="5678878" y="6592736"/>
                  <a:pt x="5678878" y="6596264"/>
                  <a:pt x="5675423" y="6599790"/>
                </a:cubicBezTo>
                <a:cubicBezTo>
                  <a:pt x="5675423" y="6599790"/>
                  <a:pt x="5675423" y="6599790"/>
                  <a:pt x="5671968" y="6603317"/>
                </a:cubicBezTo>
                <a:cubicBezTo>
                  <a:pt x="5668514" y="6603317"/>
                  <a:pt x="5661604" y="6603317"/>
                  <a:pt x="5658149" y="6599790"/>
                </a:cubicBezTo>
                <a:cubicBezTo>
                  <a:pt x="5654694" y="6599790"/>
                  <a:pt x="5654694" y="6596264"/>
                  <a:pt x="5654694" y="6596264"/>
                </a:cubicBezTo>
                <a:cubicBezTo>
                  <a:pt x="5654694" y="6596264"/>
                  <a:pt x="5654694" y="6592736"/>
                  <a:pt x="5654694" y="6589209"/>
                </a:cubicBezTo>
                <a:cubicBezTo>
                  <a:pt x="5654694" y="6585683"/>
                  <a:pt x="5654694" y="6582156"/>
                  <a:pt x="5661604" y="6578629"/>
                </a:cubicBezTo>
                <a:cubicBezTo>
                  <a:pt x="5663332" y="6576866"/>
                  <a:pt x="5666786" y="6575984"/>
                  <a:pt x="5670241" y="6576425"/>
                </a:cubicBezTo>
                <a:close/>
                <a:moveTo>
                  <a:pt x="4714738" y="6575100"/>
                </a:moveTo>
                <a:cubicBezTo>
                  <a:pt x="4714738" y="6575100"/>
                  <a:pt x="4714738" y="6575100"/>
                  <a:pt x="4714738" y="6638804"/>
                </a:cubicBezTo>
                <a:cubicBezTo>
                  <a:pt x="4714738" y="6631726"/>
                  <a:pt x="4704048" y="6621108"/>
                  <a:pt x="4686231" y="6621108"/>
                </a:cubicBezTo>
                <a:cubicBezTo>
                  <a:pt x="4657724" y="6621108"/>
                  <a:pt x="4647034" y="6642343"/>
                  <a:pt x="4647034" y="6670656"/>
                </a:cubicBezTo>
                <a:cubicBezTo>
                  <a:pt x="4647034" y="6698969"/>
                  <a:pt x="4657724" y="6720203"/>
                  <a:pt x="4686231" y="6720203"/>
                </a:cubicBezTo>
                <a:cubicBezTo>
                  <a:pt x="4700484" y="6720203"/>
                  <a:pt x="4707611" y="6716664"/>
                  <a:pt x="4714738" y="6702507"/>
                </a:cubicBezTo>
                <a:cubicBezTo>
                  <a:pt x="4714738" y="6702507"/>
                  <a:pt x="4714738" y="6702507"/>
                  <a:pt x="4714738" y="6716664"/>
                </a:cubicBezTo>
                <a:cubicBezTo>
                  <a:pt x="4714738" y="6716664"/>
                  <a:pt x="4714738" y="6716664"/>
                  <a:pt x="4728991" y="6716664"/>
                </a:cubicBezTo>
                <a:lnTo>
                  <a:pt x="4728991" y="6575100"/>
                </a:lnTo>
                <a:cubicBezTo>
                  <a:pt x="4728991" y="6575100"/>
                  <a:pt x="4728991" y="6575100"/>
                  <a:pt x="4714738" y="6575100"/>
                </a:cubicBezTo>
                <a:close/>
                <a:moveTo>
                  <a:pt x="5672161" y="6569584"/>
                </a:moveTo>
                <a:cubicBezTo>
                  <a:pt x="5666338" y="6568289"/>
                  <a:pt x="5660068" y="6569152"/>
                  <a:pt x="5654694" y="6572607"/>
                </a:cubicBezTo>
                <a:cubicBezTo>
                  <a:pt x="5647528" y="6576062"/>
                  <a:pt x="5643946" y="6582972"/>
                  <a:pt x="5643946" y="6589881"/>
                </a:cubicBezTo>
                <a:cubicBezTo>
                  <a:pt x="5643946" y="6593336"/>
                  <a:pt x="5647528" y="6596791"/>
                  <a:pt x="5647528" y="6600246"/>
                </a:cubicBezTo>
                <a:cubicBezTo>
                  <a:pt x="5654694" y="6610611"/>
                  <a:pt x="5669025" y="6614065"/>
                  <a:pt x="5676191" y="6607156"/>
                </a:cubicBezTo>
                <a:cubicBezTo>
                  <a:pt x="5683357" y="6607156"/>
                  <a:pt x="5683357" y="6603701"/>
                  <a:pt x="5686939" y="6600246"/>
                </a:cubicBezTo>
                <a:cubicBezTo>
                  <a:pt x="5686939" y="6596791"/>
                  <a:pt x="5686939" y="6593336"/>
                  <a:pt x="5686939" y="6589881"/>
                </a:cubicBezTo>
                <a:cubicBezTo>
                  <a:pt x="5686939" y="6586427"/>
                  <a:pt x="5686939" y="6582972"/>
                  <a:pt x="5686939" y="6579517"/>
                </a:cubicBezTo>
                <a:cubicBezTo>
                  <a:pt x="5683357" y="6574334"/>
                  <a:pt x="5677982" y="6570880"/>
                  <a:pt x="5672161" y="6569584"/>
                </a:cubicBezTo>
                <a:close/>
                <a:moveTo>
                  <a:pt x="5429909" y="6561666"/>
                </a:moveTo>
                <a:cubicBezTo>
                  <a:pt x="5408825" y="6596598"/>
                  <a:pt x="5408825" y="6596598"/>
                  <a:pt x="5408825" y="6596598"/>
                </a:cubicBezTo>
                <a:cubicBezTo>
                  <a:pt x="5415853" y="6603584"/>
                  <a:pt x="5422881" y="6607078"/>
                  <a:pt x="5433423" y="6614064"/>
                </a:cubicBezTo>
                <a:cubicBezTo>
                  <a:pt x="5436937" y="6607078"/>
                  <a:pt x="5436937" y="6607078"/>
                  <a:pt x="5436937" y="6607078"/>
                </a:cubicBezTo>
                <a:cubicBezTo>
                  <a:pt x="5419367" y="6596598"/>
                  <a:pt x="5419367" y="6596598"/>
                  <a:pt x="5419367" y="6596598"/>
                </a:cubicBezTo>
                <a:cubicBezTo>
                  <a:pt x="5426395" y="6586119"/>
                  <a:pt x="5426395" y="6586119"/>
                  <a:pt x="5426395" y="6586119"/>
                </a:cubicBezTo>
                <a:cubicBezTo>
                  <a:pt x="5436937" y="6593105"/>
                  <a:pt x="5436937" y="6593105"/>
                  <a:pt x="5436937" y="6593105"/>
                </a:cubicBezTo>
                <a:cubicBezTo>
                  <a:pt x="5440450" y="6586119"/>
                  <a:pt x="5440450" y="6586119"/>
                  <a:pt x="5440450" y="6586119"/>
                </a:cubicBezTo>
                <a:cubicBezTo>
                  <a:pt x="5436937" y="6586119"/>
                  <a:pt x="5433423" y="6582625"/>
                  <a:pt x="5429909" y="6579132"/>
                </a:cubicBezTo>
                <a:lnTo>
                  <a:pt x="5433423" y="6572146"/>
                </a:lnTo>
                <a:cubicBezTo>
                  <a:pt x="5440450" y="6575638"/>
                  <a:pt x="5443964" y="6579132"/>
                  <a:pt x="5450992" y="6582625"/>
                </a:cubicBezTo>
                <a:cubicBezTo>
                  <a:pt x="5454506" y="6575638"/>
                  <a:pt x="5454506" y="6575638"/>
                  <a:pt x="5454506" y="6575638"/>
                </a:cubicBezTo>
                <a:cubicBezTo>
                  <a:pt x="5447478" y="6572146"/>
                  <a:pt x="5436937" y="6565159"/>
                  <a:pt x="5429909" y="6561666"/>
                </a:cubicBezTo>
                <a:close/>
                <a:moveTo>
                  <a:pt x="5707361" y="6533452"/>
                </a:moveTo>
                <a:cubicBezTo>
                  <a:pt x="5703868" y="6536978"/>
                  <a:pt x="5703868" y="6536978"/>
                  <a:pt x="5700375" y="6540505"/>
                </a:cubicBezTo>
                <a:cubicBezTo>
                  <a:pt x="5717840" y="6558139"/>
                  <a:pt x="5717840" y="6558139"/>
                  <a:pt x="5717840" y="6558139"/>
                </a:cubicBezTo>
                <a:cubicBezTo>
                  <a:pt x="5689895" y="6551086"/>
                  <a:pt x="5689895" y="6551086"/>
                  <a:pt x="5689895" y="6551086"/>
                </a:cubicBezTo>
                <a:cubicBezTo>
                  <a:pt x="5686402" y="6551086"/>
                  <a:pt x="5686402" y="6554612"/>
                  <a:pt x="5682908" y="6554612"/>
                </a:cubicBezTo>
                <a:cubicBezTo>
                  <a:pt x="5707361" y="6589881"/>
                  <a:pt x="5707361" y="6589881"/>
                  <a:pt x="5707361" y="6589881"/>
                </a:cubicBezTo>
                <a:cubicBezTo>
                  <a:pt x="5710854" y="6586354"/>
                  <a:pt x="5710854" y="6586354"/>
                  <a:pt x="5714348" y="6582827"/>
                </a:cubicBezTo>
                <a:cubicBezTo>
                  <a:pt x="5700375" y="6561666"/>
                  <a:pt x="5700375" y="6561666"/>
                  <a:pt x="5700375" y="6561666"/>
                </a:cubicBezTo>
                <a:cubicBezTo>
                  <a:pt x="5728320" y="6572246"/>
                  <a:pt x="5728320" y="6572246"/>
                  <a:pt x="5728320" y="6572246"/>
                </a:cubicBezTo>
                <a:cubicBezTo>
                  <a:pt x="5731814" y="6568720"/>
                  <a:pt x="5731814" y="6568720"/>
                  <a:pt x="5735307" y="6565193"/>
                </a:cubicBezTo>
                <a:cubicBezTo>
                  <a:pt x="5707361" y="6533452"/>
                  <a:pt x="5707361" y="6533452"/>
                  <a:pt x="5707361" y="6533452"/>
                </a:cubicBezTo>
                <a:close/>
                <a:moveTo>
                  <a:pt x="5399008" y="6533452"/>
                </a:moveTo>
                <a:cubicBezTo>
                  <a:pt x="5399008" y="6533452"/>
                  <a:pt x="5399008" y="6533452"/>
                  <a:pt x="5391980" y="6536965"/>
                </a:cubicBezTo>
                <a:cubicBezTo>
                  <a:pt x="5395494" y="6540479"/>
                  <a:pt x="5399008" y="6543993"/>
                  <a:pt x="5402522" y="6547507"/>
                </a:cubicBezTo>
                <a:cubicBezTo>
                  <a:pt x="5402522" y="6547507"/>
                  <a:pt x="5402522" y="6547507"/>
                  <a:pt x="5377924" y="6572104"/>
                </a:cubicBezTo>
                <a:cubicBezTo>
                  <a:pt x="5377924" y="6572104"/>
                  <a:pt x="5377924" y="6572104"/>
                  <a:pt x="5384952" y="6579132"/>
                </a:cubicBezTo>
                <a:cubicBezTo>
                  <a:pt x="5384952" y="6579132"/>
                  <a:pt x="5384952" y="6579132"/>
                  <a:pt x="5409548" y="6554535"/>
                </a:cubicBezTo>
                <a:cubicBezTo>
                  <a:pt x="5413062" y="6554535"/>
                  <a:pt x="5416576" y="6558048"/>
                  <a:pt x="5420090" y="6561562"/>
                </a:cubicBezTo>
                <a:cubicBezTo>
                  <a:pt x="5420090" y="6561562"/>
                  <a:pt x="5420090" y="6561562"/>
                  <a:pt x="5423604" y="6554535"/>
                </a:cubicBezTo>
                <a:cubicBezTo>
                  <a:pt x="5413062" y="6547507"/>
                  <a:pt x="5406036" y="6540479"/>
                  <a:pt x="5399008" y="6533452"/>
                </a:cubicBezTo>
                <a:close/>
                <a:moveTo>
                  <a:pt x="5728589" y="6522703"/>
                </a:moveTo>
                <a:lnTo>
                  <a:pt x="5746055" y="6529421"/>
                </a:lnTo>
                <a:lnTo>
                  <a:pt x="5746055" y="6533452"/>
                </a:lnTo>
                <a:lnTo>
                  <a:pt x="5739337" y="6540170"/>
                </a:lnTo>
                <a:lnTo>
                  <a:pt x="5735307" y="6533452"/>
                </a:lnTo>
                <a:close/>
                <a:moveTo>
                  <a:pt x="5724942" y="6515985"/>
                </a:moveTo>
                <a:lnTo>
                  <a:pt x="5717840" y="6522927"/>
                </a:lnTo>
                <a:cubicBezTo>
                  <a:pt x="5717840" y="6522927"/>
                  <a:pt x="5717840" y="6522927"/>
                  <a:pt x="5724942" y="6533339"/>
                </a:cubicBezTo>
                <a:cubicBezTo>
                  <a:pt x="5724942" y="6533339"/>
                  <a:pt x="5724942" y="6533339"/>
                  <a:pt x="5742696" y="6557635"/>
                </a:cubicBezTo>
                <a:cubicBezTo>
                  <a:pt x="5742696" y="6557635"/>
                  <a:pt x="5746247" y="6554165"/>
                  <a:pt x="5746247" y="6554165"/>
                </a:cubicBezTo>
                <a:cubicBezTo>
                  <a:pt x="5746247" y="6554165"/>
                  <a:pt x="5746247" y="6554165"/>
                  <a:pt x="5742696" y="6547223"/>
                </a:cubicBezTo>
                <a:cubicBezTo>
                  <a:pt x="5742696" y="6547223"/>
                  <a:pt x="5742696" y="6547223"/>
                  <a:pt x="5753349" y="6533339"/>
                </a:cubicBezTo>
                <a:cubicBezTo>
                  <a:pt x="5753349" y="6533339"/>
                  <a:pt x="5753349" y="6533339"/>
                  <a:pt x="5760450" y="6533339"/>
                </a:cubicBezTo>
                <a:cubicBezTo>
                  <a:pt x="5764002" y="6533339"/>
                  <a:pt x="5764002" y="6533339"/>
                  <a:pt x="5764002" y="6533339"/>
                </a:cubicBezTo>
                <a:cubicBezTo>
                  <a:pt x="5764002" y="6529868"/>
                  <a:pt x="5767552" y="6529868"/>
                  <a:pt x="5767552" y="6526397"/>
                </a:cubicBezTo>
                <a:cubicBezTo>
                  <a:pt x="5767552" y="6526397"/>
                  <a:pt x="5767552" y="6526397"/>
                  <a:pt x="5724942" y="6515985"/>
                </a:cubicBezTo>
                <a:close/>
                <a:moveTo>
                  <a:pt x="5370198" y="6501206"/>
                </a:moveTo>
                <a:cubicBezTo>
                  <a:pt x="5334930" y="6526286"/>
                  <a:pt x="5334930" y="6526286"/>
                  <a:pt x="5334930" y="6526286"/>
                </a:cubicBezTo>
                <a:cubicBezTo>
                  <a:pt x="5338457" y="6529869"/>
                  <a:pt x="5338457" y="6529869"/>
                  <a:pt x="5341984" y="6533452"/>
                </a:cubicBezTo>
                <a:cubicBezTo>
                  <a:pt x="5363145" y="6519121"/>
                  <a:pt x="5363145" y="6519121"/>
                  <a:pt x="5363145" y="6519121"/>
                </a:cubicBezTo>
                <a:cubicBezTo>
                  <a:pt x="5352564" y="6547782"/>
                  <a:pt x="5352564" y="6547782"/>
                  <a:pt x="5352564" y="6547782"/>
                </a:cubicBezTo>
                <a:cubicBezTo>
                  <a:pt x="5356091" y="6551366"/>
                  <a:pt x="5356091" y="6551366"/>
                  <a:pt x="5359618" y="6554948"/>
                </a:cubicBezTo>
                <a:cubicBezTo>
                  <a:pt x="5391359" y="6526286"/>
                  <a:pt x="5391359" y="6526286"/>
                  <a:pt x="5391359" y="6526286"/>
                </a:cubicBezTo>
                <a:cubicBezTo>
                  <a:pt x="5391359" y="6522703"/>
                  <a:pt x="5387833" y="6522703"/>
                  <a:pt x="5387833" y="6519121"/>
                </a:cubicBezTo>
                <a:cubicBezTo>
                  <a:pt x="5366672" y="6537034"/>
                  <a:pt x="5366672" y="6537034"/>
                  <a:pt x="5366672" y="6537034"/>
                </a:cubicBezTo>
                <a:cubicBezTo>
                  <a:pt x="5377252" y="6508372"/>
                  <a:pt x="5377252" y="6508372"/>
                  <a:pt x="5377252" y="6508372"/>
                </a:cubicBezTo>
                <a:cubicBezTo>
                  <a:pt x="5373725" y="6504789"/>
                  <a:pt x="5373725" y="6504789"/>
                  <a:pt x="5370198" y="6501206"/>
                </a:cubicBezTo>
                <a:close/>
                <a:moveTo>
                  <a:pt x="5739338" y="6490458"/>
                </a:moveTo>
                <a:lnTo>
                  <a:pt x="5735307" y="6498519"/>
                </a:lnTo>
                <a:lnTo>
                  <a:pt x="5774270" y="6518673"/>
                </a:lnTo>
                <a:lnTo>
                  <a:pt x="5787706" y="6494489"/>
                </a:lnTo>
                <a:lnTo>
                  <a:pt x="5780988" y="6490458"/>
                </a:lnTo>
                <a:lnTo>
                  <a:pt x="5770239" y="6509268"/>
                </a:lnTo>
                <a:close/>
                <a:moveTo>
                  <a:pt x="5363634" y="6487771"/>
                </a:moveTo>
                <a:cubicBezTo>
                  <a:pt x="5328212" y="6508933"/>
                  <a:pt x="5328212" y="6508933"/>
                  <a:pt x="5328212" y="6508933"/>
                </a:cubicBezTo>
                <a:cubicBezTo>
                  <a:pt x="5328212" y="6508933"/>
                  <a:pt x="5328212" y="6512459"/>
                  <a:pt x="5331754" y="6515986"/>
                </a:cubicBezTo>
                <a:cubicBezTo>
                  <a:pt x="5367176" y="6494825"/>
                  <a:pt x="5367176" y="6494825"/>
                  <a:pt x="5367176" y="6494825"/>
                </a:cubicBezTo>
                <a:cubicBezTo>
                  <a:pt x="5367176" y="6491298"/>
                  <a:pt x="5363634" y="6491298"/>
                  <a:pt x="5363634" y="6487771"/>
                </a:cubicBezTo>
                <a:close/>
                <a:moveTo>
                  <a:pt x="5354927" y="6454161"/>
                </a:moveTo>
                <a:cubicBezTo>
                  <a:pt x="5356683" y="6454602"/>
                  <a:pt x="5358437" y="6456365"/>
                  <a:pt x="5360192" y="6459892"/>
                </a:cubicBezTo>
                <a:cubicBezTo>
                  <a:pt x="5391785" y="6537483"/>
                  <a:pt x="5465500" y="6590385"/>
                  <a:pt x="5553257" y="6590385"/>
                </a:cubicBezTo>
                <a:cubicBezTo>
                  <a:pt x="5641012" y="6590385"/>
                  <a:pt x="5714728" y="6537483"/>
                  <a:pt x="5746320" y="6459892"/>
                </a:cubicBezTo>
                <a:cubicBezTo>
                  <a:pt x="5748075" y="6456365"/>
                  <a:pt x="5749831" y="6454602"/>
                  <a:pt x="5751586" y="6454161"/>
                </a:cubicBezTo>
                <a:cubicBezTo>
                  <a:pt x="5753340" y="6453721"/>
                  <a:pt x="5755096" y="6454602"/>
                  <a:pt x="5756851" y="6456365"/>
                </a:cubicBezTo>
                <a:cubicBezTo>
                  <a:pt x="5756851" y="6456365"/>
                  <a:pt x="5756851" y="6456365"/>
                  <a:pt x="5795464" y="6466946"/>
                </a:cubicBezTo>
                <a:cubicBezTo>
                  <a:pt x="5798974" y="6470473"/>
                  <a:pt x="5802484" y="6473999"/>
                  <a:pt x="5802484" y="6477526"/>
                </a:cubicBezTo>
                <a:cubicBezTo>
                  <a:pt x="5763871" y="6579804"/>
                  <a:pt x="5665585" y="6650341"/>
                  <a:pt x="5553257" y="6650341"/>
                </a:cubicBezTo>
                <a:cubicBezTo>
                  <a:pt x="5440929" y="6650341"/>
                  <a:pt x="5342641" y="6579804"/>
                  <a:pt x="5304028" y="6481054"/>
                </a:cubicBezTo>
                <a:cubicBezTo>
                  <a:pt x="5304028" y="6473999"/>
                  <a:pt x="5304028" y="6470473"/>
                  <a:pt x="5311049" y="6466946"/>
                </a:cubicBezTo>
                <a:cubicBezTo>
                  <a:pt x="5311049" y="6466946"/>
                  <a:pt x="5311049" y="6466946"/>
                  <a:pt x="5349662" y="6456365"/>
                </a:cubicBezTo>
                <a:cubicBezTo>
                  <a:pt x="5351417" y="6454602"/>
                  <a:pt x="5353172" y="6453721"/>
                  <a:pt x="5354927" y="6454161"/>
                </a:cubicBezTo>
                <a:close/>
                <a:moveTo>
                  <a:pt x="5507442" y="6448323"/>
                </a:moveTo>
                <a:cubicBezTo>
                  <a:pt x="5510935" y="6444777"/>
                  <a:pt x="5514428" y="6444777"/>
                  <a:pt x="5517922" y="6448323"/>
                </a:cubicBezTo>
                <a:cubicBezTo>
                  <a:pt x="5517922" y="6448323"/>
                  <a:pt x="5521414" y="6451869"/>
                  <a:pt x="5521414" y="6455414"/>
                </a:cubicBezTo>
                <a:cubicBezTo>
                  <a:pt x="5521414" y="6455414"/>
                  <a:pt x="5528401" y="6558233"/>
                  <a:pt x="5528401" y="6558233"/>
                </a:cubicBezTo>
                <a:cubicBezTo>
                  <a:pt x="5528401" y="6565324"/>
                  <a:pt x="5528401" y="6568870"/>
                  <a:pt x="5524908" y="6568870"/>
                </a:cubicBezTo>
                <a:cubicBezTo>
                  <a:pt x="5524908" y="6572415"/>
                  <a:pt x="5521414" y="6572415"/>
                  <a:pt x="5517922" y="6568870"/>
                </a:cubicBezTo>
                <a:cubicBezTo>
                  <a:pt x="5472509" y="6558233"/>
                  <a:pt x="5441070" y="6540506"/>
                  <a:pt x="5409632" y="6505050"/>
                </a:cubicBezTo>
                <a:cubicBezTo>
                  <a:pt x="5406138" y="6505050"/>
                  <a:pt x="5406138" y="6501505"/>
                  <a:pt x="5406138" y="6501505"/>
                </a:cubicBezTo>
                <a:cubicBezTo>
                  <a:pt x="5406138" y="6497960"/>
                  <a:pt x="5406138" y="6497960"/>
                  <a:pt x="5406138" y="6497960"/>
                </a:cubicBezTo>
                <a:cubicBezTo>
                  <a:pt x="5406138" y="6494415"/>
                  <a:pt x="5409632" y="6494415"/>
                  <a:pt x="5413124" y="6494415"/>
                </a:cubicBezTo>
                <a:cubicBezTo>
                  <a:pt x="5413124" y="6494415"/>
                  <a:pt x="5413124" y="6494415"/>
                  <a:pt x="5507442" y="6448323"/>
                </a:cubicBezTo>
                <a:close/>
                <a:moveTo>
                  <a:pt x="5592084" y="6444777"/>
                </a:moveTo>
                <a:cubicBezTo>
                  <a:pt x="5595578" y="6444777"/>
                  <a:pt x="5599071" y="6444777"/>
                  <a:pt x="5602565" y="6444777"/>
                </a:cubicBezTo>
                <a:cubicBezTo>
                  <a:pt x="5602565" y="6444777"/>
                  <a:pt x="5602565" y="6444777"/>
                  <a:pt x="5693388" y="6490688"/>
                </a:cubicBezTo>
                <a:cubicBezTo>
                  <a:pt x="5696882" y="6494220"/>
                  <a:pt x="5700375" y="6494220"/>
                  <a:pt x="5700375" y="6497752"/>
                </a:cubicBezTo>
                <a:cubicBezTo>
                  <a:pt x="5700375" y="6501283"/>
                  <a:pt x="5700375" y="6501283"/>
                  <a:pt x="5696882" y="6504815"/>
                </a:cubicBezTo>
                <a:cubicBezTo>
                  <a:pt x="5665442" y="6540131"/>
                  <a:pt x="5634003" y="6557789"/>
                  <a:pt x="5588592" y="6568384"/>
                </a:cubicBezTo>
                <a:cubicBezTo>
                  <a:pt x="5585098" y="6568384"/>
                  <a:pt x="5581605" y="6568384"/>
                  <a:pt x="5581605" y="6568384"/>
                </a:cubicBezTo>
                <a:cubicBezTo>
                  <a:pt x="5578112" y="6564852"/>
                  <a:pt x="5578112" y="6561320"/>
                  <a:pt x="5578112" y="6557789"/>
                </a:cubicBezTo>
                <a:cubicBezTo>
                  <a:pt x="5578112" y="6557789"/>
                  <a:pt x="5578112" y="6557789"/>
                  <a:pt x="5588592" y="6455373"/>
                </a:cubicBezTo>
                <a:cubicBezTo>
                  <a:pt x="5588592" y="6451841"/>
                  <a:pt x="5588592" y="6448309"/>
                  <a:pt x="5592084" y="6444777"/>
                </a:cubicBezTo>
                <a:close/>
                <a:moveTo>
                  <a:pt x="4714283" y="6405813"/>
                </a:moveTo>
                <a:lnTo>
                  <a:pt x="4755862" y="6405813"/>
                </a:lnTo>
                <a:cubicBezTo>
                  <a:pt x="4755862" y="6405813"/>
                  <a:pt x="4755862" y="6405813"/>
                  <a:pt x="4755862" y="6448423"/>
                </a:cubicBezTo>
                <a:cubicBezTo>
                  <a:pt x="4755862" y="6448423"/>
                  <a:pt x="4728142" y="6455525"/>
                  <a:pt x="4707353" y="6455525"/>
                </a:cubicBezTo>
                <a:cubicBezTo>
                  <a:pt x="4690028" y="6455525"/>
                  <a:pt x="4690028" y="6441322"/>
                  <a:pt x="4690028" y="6430669"/>
                </a:cubicBezTo>
                <a:cubicBezTo>
                  <a:pt x="4690028" y="6416466"/>
                  <a:pt x="4696958" y="6409364"/>
                  <a:pt x="4714283" y="6405813"/>
                </a:cubicBezTo>
                <a:close/>
                <a:moveTo>
                  <a:pt x="4398479" y="6335948"/>
                </a:moveTo>
                <a:cubicBezTo>
                  <a:pt x="4429716" y="6335948"/>
                  <a:pt x="4440128" y="6350016"/>
                  <a:pt x="4440128" y="6392220"/>
                </a:cubicBezTo>
                <a:cubicBezTo>
                  <a:pt x="4440128" y="6430905"/>
                  <a:pt x="4433187" y="6455524"/>
                  <a:pt x="4398479" y="6455524"/>
                </a:cubicBezTo>
                <a:cubicBezTo>
                  <a:pt x="4363770" y="6455524"/>
                  <a:pt x="4356829" y="6434423"/>
                  <a:pt x="4356829" y="6392220"/>
                </a:cubicBezTo>
                <a:cubicBezTo>
                  <a:pt x="4356829" y="6350016"/>
                  <a:pt x="4367241" y="6335948"/>
                  <a:pt x="4398479" y="6335948"/>
                </a:cubicBezTo>
                <a:close/>
                <a:moveTo>
                  <a:pt x="5543005" y="6331919"/>
                </a:moveTo>
                <a:cubicBezTo>
                  <a:pt x="5543005" y="6331919"/>
                  <a:pt x="5543005" y="6331919"/>
                  <a:pt x="5564034" y="6331919"/>
                </a:cubicBezTo>
                <a:cubicBezTo>
                  <a:pt x="5564034" y="6331919"/>
                  <a:pt x="5564034" y="6339012"/>
                  <a:pt x="5564034" y="6342559"/>
                </a:cubicBezTo>
                <a:cubicBezTo>
                  <a:pt x="5581559" y="6346106"/>
                  <a:pt x="5595578" y="6363841"/>
                  <a:pt x="5595578" y="6381576"/>
                </a:cubicBezTo>
                <a:cubicBezTo>
                  <a:pt x="5595578" y="6402858"/>
                  <a:pt x="5574549" y="6420593"/>
                  <a:pt x="5553519" y="6420593"/>
                </a:cubicBezTo>
                <a:cubicBezTo>
                  <a:pt x="5532490" y="6420593"/>
                  <a:pt x="5514966" y="6402858"/>
                  <a:pt x="5514966" y="6381576"/>
                </a:cubicBezTo>
                <a:cubicBezTo>
                  <a:pt x="5514966" y="6363841"/>
                  <a:pt x="5525480" y="6346106"/>
                  <a:pt x="5543005" y="6342559"/>
                </a:cubicBezTo>
                <a:cubicBezTo>
                  <a:pt x="5543005" y="6342559"/>
                  <a:pt x="5543005" y="6331919"/>
                  <a:pt x="5543005" y="6331919"/>
                </a:cubicBezTo>
                <a:close/>
                <a:moveTo>
                  <a:pt x="5553257" y="6321170"/>
                </a:moveTo>
                <a:cubicBezTo>
                  <a:pt x="5520236" y="6321170"/>
                  <a:pt x="5493469" y="6348239"/>
                  <a:pt x="5493469" y="6381630"/>
                </a:cubicBezTo>
                <a:cubicBezTo>
                  <a:pt x="5493469" y="6415021"/>
                  <a:pt x="5520236" y="6442090"/>
                  <a:pt x="5553257" y="6442090"/>
                </a:cubicBezTo>
                <a:cubicBezTo>
                  <a:pt x="5586277" y="6442090"/>
                  <a:pt x="5613045" y="6415021"/>
                  <a:pt x="5613045" y="6381630"/>
                </a:cubicBezTo>
                <a:cubicBezTo>
                  <a:pt x="5613045" y="6348239"/>
                  <a:pt x="5586277" y="6321170"/>
                  <a:pt x="5553257" y="6321170"/>
                </a:cubicBezTo>
                <a:close/>
                <a:moveTo>
                  <a:pt x="5553257" y="6314453"/>
                </a:moveTo>
                <a:cubicBezTo>
                  <a:pt x="5589987" y="6314453"/>
                  <a:pt x="5619763" y="6344529"/>
                  <a:pt x="5619763" y="6381630"/>
                </a:cubicBezTo>
                <a:cubicBezTo>
                  <a:pt x="5619763" y="6418732"/>
                  <a:pt x="5589987" y="6448808"/>
                  <a:pt x="5553257" y="6448808"/>
                </a:cubicBezTo>
                <a:cubicBezTo>
                  <a:pt x="5516526" y="6448808"/>
                  <a:pt x="5486751" y="6418732"/>
                  <a:pt x="5486751" y="6381630"/>
                </a:cubicBezTo>
                <a:cubicBezTo>
                  <a:pt x="5486751" y="6344529"/>
                  <a:pt x="5516526" y="6314453"/>
                  <a:pt x="5553257" y="6314453"/>
                </a:cubicBezTo>
                <a:close/>
                <a:moveTo>
                  <a:pt x="5728549" y="6311766"/>
                </a:moveTo>
                <a:cubicBezTo>
                  <a:pt x="5732050" y="6311766"/>
                  <a:pt x="5732050" y="6315292"/>
                  <a:pt x="5732050" y="6318819"/>
                </a:cubicBezTo>
                <a:cubicBezTo>
                  <a:pt x="5746055" y="6361141"/>
                  <a:pt x="5746055" y="6399936"/>
                  <a:pt x="5732050" y="6442258"/>
                </a:cubicBezTo>
                <a:cubicBezTo>
                  <a:pt x="5732050" y="6449312"/>
                  <a:pt x="5732050" y="6449312"/>
                  <a:pt x="5728549" y="6449312"/>
                </a:cubicBezTo>
                <a:cubicBezTo>
                  <a:pt x="5725047" y="6452839"/>
                  <a:pt x="5721546" y="6449312"/>
                  <a:pt x="5721546" y="6449312"/>
                </a:cubicBezTo>
                <a:lnTo>
                  <a:pt x="5634012" y="6389356"/>
                </a:lnTo>
                <a:cubicBezTo>
                  <a:pt x="5630510" y="6385829"/>
                  <a:pt x="5630510" y="6382302"/>
                  <a:pt x="5630510" y="6382302"/>
                </a:cubicBezTo>
                <a:cubicBezTo>
                  <a:pt x="5630510" y="6378776"/>
                  <a:pt x="5630510" y="6375249"/>
                  <a:pt x="5634012" y="6371721"/>
                </a:cubicBezTo>
                <a:cubicBezTo>
                  <a:pt x="5634012" y="6371721"/>
                  <a:pt x="5634012" y="6371721"/>
                  <a:pt x="5718044" y="6315292"/>
                </a:cubicBezTo>
                <a:cubicBezTo>
                  <a:pt x="5725047" y="6311766"/>
                  <a:pt x="5728549" y="6311766"/>
                  <a:pt x="5728549" y="6311766"/>
                </a:cubicBezTo>
                <a:close/>
                <a:moveTo>
                  <a:pt x="5377964" y="6311766"/>
                </a:moveTo>
                <a:cubicBezTo>
                  <a:pt x="5381466" y="6311766"/>
                  <a:pt x="5384967" y="6311766"/>
                  <a:pt x="5384967" y="6315292"/>
                </a:cubicBezTo>
                <a:lnTo>
                  <a:pt x="5472501" y="6371721"/>
                </a:lnTo>
                <a:cubicBezTo>
                  <a:pt x="5476002" y="6375249"/>
                  <a:pt x="5476002" y="6378776"/>
                  <a:pt x="5476002" y="6382302"/>
                </a:cubicBezTo>
                <a:cubicBezTo>
                  <a:pt x="5476002" y="6385829"/>
                  <a:pt x="5476002" y="6389356"/>
                  <a:pt x="5472501" y="6389356"/>
                </a:cubicBezTo>
                <a:cubicBezTo>
                  <a:pt x="5472501" y="6389356"/>
                  <a:pt x="5472501" y="6389356"/>
                  <a:pt x="5384967" y="6449312"/>
                </a:cubicBezTo>
                <a:cubicBezTo>
                  <a:pt x="5381466" y="6449312"/>
                  <a:pt x="5377964" y="6452839"/>
                  <a:pt x="5377964" y="6449312"/>
                </a:cubicBezTo>
                <a:cubicBezTo>
                  <a:pt x="5374463" y="6449312"/>
                  <a:pt x="5374463" y="6445785"/>
                  <a:pt x="5370961" y="6445785"/>
                </a:cubicBezTo>
                <a:cubicBezTo>
                  <a:pt x="5360457" y="6399936"/>
                  <a:pt x="5360457" y="6361141"/>
                  <a:pt x="5370961" y="6318819"/>
                </a:cubicBezTo>
                <a:cubicBezTo>
                  <a:pt x="5374463" y="6315292"/>
                  <a:pt x="5374463" y="6311766"/>
                  <a:pt x="5377964" y="6311766"/>
                </a:cubicBezTo>
                <a:close/>
                <a:moveTo>
                  <a:pt x="4974316" y="6301017"/>
                </a:moveTo>
                <a:cubicBezTo>
                  <a:pt x="4974316" y="6304543"/>
                  <a:pt x="4970828" y="6304543"/>
                  <a:pt x="4974316" y="6308070"/>
                </a:cubicBezTo>
                <a:cubicBezTo>
                  <a:pt x="5016166" y="6470304"/>
                  <a:pt x="5016166" y="6470304"/>
                  <a:pt x="5016166" y="6470304"/>
                </a:cubicBezTo>
                <a:cubicBezTo>
                  <a:pt x="5016166" y="6477358"/>
                  <a:pt x="5023141" y="6491465"/>
                  <a:pt x="5037091" y="6491465"/>
                </a:cubicBezTo>
                <a:cubicBezTo>
                  <a:pt x="5047554" y="6491465"/>
                  <a:pt x="5047554" y="6491465"/>
                  <a:pt x="5047554" y="6491465"/>
                </a:cubicBezTo>
                <a:cubicBezTo>
                  <a:pt x="5044066" y="6494992"/>
                  <a:pt x="5044066" y="6494992"/>
                  <a:pt x="5044066" y="6498518"/>
                </a:cubicBezTo>
                <a:cubicBezTo>
                  <a:pt x="5040578" y="6509098"/>
                  <a:pt x="5037091" y="6519679"/>
                  <a:pt x="5016166" y="6519679"/>
                </a:cubicBezTo>
                <a:cubicBezTo>
                  <a:pt x="4981291" y="6516153"/>
                  <a:pt x="4981291" y="6516153"/>
                  <a:pt x="4981291" y="6516153"/>
                </a:cubicBezTo>
                <a:cubicBezTo>
                  <a:pt x="4981291" y="6516153"/>
                  <a:pt x="4977804" y="6516153"/>
                  <a:pt x="4977804" y="6519679"/>
                </a:cubicBezTo>
                <a:cubicBezTo>
                  <a:pt x="4974316" y="6519679"/>
                  <a:pt x="4974316" y="6523206"/>
                  <a:pt x="4974316" y="6523206"/>
                </a:cubicBezTo>
                <a:cubicBezTo>
                  <a:pt x="4974316" y="6544367"/>
                  <a:pt x="4974316" y="6544367"/>
                  <a:pt x="4974316" y="6544367"/>
                </a:cubicBezTo>
                <a:cubicBezTo>
                  <a:pt x="4974316" y="6547894"/>
                  <a:pt x="4977804" y="6547894"/>
                  <a:pt x="4981291" y="6551421"/>
                </a:cubicBezTo>
                <a:cubicBezTo>
                  <a:pt x="4991754" y="6551421"/>
                  <a:pt x="5012678" y="6554947"/>
                  <a:pt x="5026628" y="6554947"/>
                </a:cubicBezTo>
                <a:cubicBezTo>
                  <a:pt x="5030116" y="6554947"/>
                  <a:pt x="5030116" y="6554947"/>
                  <a:pt x="5030116" y="6554947"/>
                </a:cubicBezTo>
                <a:cubicBezTo>
                  <a:pt x="5058016" y="6554947"/>
                  <a:pt x="5075453" y="6537313"/>
                  <a:pt x="5085916" y="6502045"/>
                </a:cubicBezTo>
                <a:cubicBezTo>
                  <a:pt x="5096378" y="6463250"/>
                  <a:pt x="5110329" y="6410348"/>
                  <a:pt x="5117303" y="6371553"/>
                </a:cubicBezTo>
                <a:cubicBezTo>
                  <a:pt x="5124279" y="6353919"/>
                  <a:pt x="5127766" y="6339811"/>
                  <a:pt x="5131253" y="6329231"/>
                </a:cubicBezTo>
                <a:cubicBezTo>
                  <a:pt x="5134741" y="6308070"/>
                  <a:pt x="5134741" y="6308070"/>
                  <a:pt x="5134741" y="6308070"/>
                </a:cubicBezTo>
                <a:cubicBezTo>
                  <a:pt x="5134741" y="6304543"/>
                  <a:pt x="5134741" y="6304543"/>
                  <a:pt x="5134741" y="6301017"/>
                </a:cubicBezTo>
                <a:cubicBezTo>
                  <a:pt x="5131253" y="6301017"/>
                  <a:pt x="5131253" y="6301017"/>
                  <a:pt x="5127766" y="6301017"/>
                </a:cubicBezTo>
                <a:cubicBezTo>
                  <a:pt x="5099866" y="6301017"/>
                  <a:pt x="5099866" y="6301017"/>
                  <a:pt x="5099866" y="6301017"/>
                </a:cubicBezTo>
                <a:cubicBezTo>
                  <a:pt x="5096378" y="6301017"/>
                  <a:pt x="5092891" y="6301017"/>
                  <a:pt x="5092891" y="6304543"/>
                </a:cubicBezTo>
                <a:cubicBezTo>
                  <a:pt x="5054528" y="6449143"/>
                  <a:pt x="5054528" y="6449143"/>
                  <a:pt x="5054528" y="6449143"/>
                </a:cubicBezTo>
                <a:cubicBezTo>
                  <a:pt x="5051041" y="6449143"/>
                  <a:pt x="5051041" y="6449143"/>
                  <a:pt x="5051041" y="6449143"/>
                </a:cubicBezTo>
                <a:cubicBezTo>
                  <a:pt x="5016166" y="6304543"/>
                  <a:pt x="5016166" y="6304543"/>
                  <a:pt x="5016166" y="6304543"/>
                </a:cubicBezTo>
                <a:cubicBezTo>
                  <a:pt x="5012678" y="6301017"/>
                  <a:pt x="5012678" y="6301017"/>
                  <a:pt x="5009191" y="6301017"/>
                </a:cubicBezTo>
                <a:cubicBezTo>
                  <a:pt x="4981291" y="6301017"/>
                  <a:pt x="4981291" y="6301017"/>
                  <a:pt x="4981291" y="6301017"/>
                </a:cubicBezTo>
                <a:cubicBezTo>
                  <a:pt x="4977804" y="6301017"/>
                  <a:pt x="4974316" y="6301017"/>
                  <a:pt x="4974316" y="6301017"/>
                </a:cubicBezTo>
                <a:close/>
                <a:moveTo>
                  <a:pt x="4942289" y="6296986"/>
                </a:moveTo>
                <a:cubicBezTo>
                  <a:pt x="4921163" y="6296986"/>
                  <a:pt x="4903559" y="6311057"/>
                  <a:pt x="4889474" y="6318092"/>
                </a:cubicBezTo>
                <a:cubicBezTo>
                  <a:pt x="4889474" y="6307539"/>
                  <a:pt x="4889474" y="6307539"/>
                  <a:pt x="4889474" y="6307539"/>
                </a:cubicBezTo>
                <a:cubicBezTo>
                  <a:pt x="4889474" y="6300504"/>
                  <a:pt x="4885954" y="6300504"/>
                  <a:pt x="4882433" y="6300504"/>
                </a:cubicBezTo>
                <a:cubicBezTo>
                  <a:pt x="4854264" y="6300504"/>
                  <a:pt x="4854264" y="6300504"/>
                  <a:pt x="4854264" y="6300504"/>
                </a:cubicBezTo>
                <a:cubicBezTo>
                  <a:pt x="4850743" y="6300504"/>
                  <a:pt x="4847222" y="6300504"/>
                  <a:pt x="4847222" y="6307539"/>
                </a:cubicBezTo>
                <a:cubicBezTo>
                  <a:pt x="4847222" y="6483422"/>
                  <a:pt x="4847222" y="6483422"/>
                  <a:pt x="4847222" y="6483422"/>
                </a:cubicBezTo>
                <a:cubicBezTo>
                  <a:pt x="4847222" y="6486940"/>
                  <a:pt x="4850743" y="6490457"/>
                  <a:pt x="4854264" y="6490457"/>
                </a:cubicBezTo>
                <a:cubicBezTo>
                  <a:pt x="4882433" y="6490457"/>
                  <a:pt x="4882433" y="6490457"/>
                  <a:pt x="4882433" y="6490457"/>
                </a:cubicBezTo>
                <a:cubicBezTo>
                  <a:pt x="4885954" y="6490457"/>
                  <a:pt x="4889474" y="6486940"/>
                  <a:pt x="4889474" y="6483422"/>
                </a:cubicBezTo>
                <a:cubicBezTo>
                  <a:pt x="4889474" y="6360304"/>
                  <a:pt x="4889474" y="6360304"/>
                  <a:pt x="4889474" y="6360304"/>
                </a:cubicBezTo>
                <a:cubicBezTo>
                  <a:pt x="4896517" y="6356786"/>
                  <a:pt x="4917643" y="6339198"/>
                  <a:pt x="4942289" y="6339198"/>
                </a:cubicBezTo>
                <a:cubicBezTo>
                  <a:pt x="4945811" y="6335680"/>
                  <a:pt x="4949332" y="6335680"/>
                  <a:pt x="4949332" y="6332163"/>
                </a:cubicBezTo>
                <a:cubicBezTo>
                  <a:pt x="4949332" y="6304022"/>
                  <a:pt x="4949332" y="6304022"/>
                  <a:pt x="4949332" y="6304022"/>
                </a:cubicBezTo>
                <a:cubicBezTo>
                  <a:pt x="4949332" y="6304022"/>
                  <a:pt x="4949332" y="6300504"/>
                  <a:pt x="4945811" y="6300504"/>
                </a:cubicBezTo>
                <a:cubicBezTo>
                  <a:pt x="4945811" y="6296986"/>
                  <a:pt x="4942289" y="6296986"/>
                  <a:pt x="4942289" y="6296986"/>
                </a:cubicBezTo>
                <a:close/>
                <a:moveTo>
                  <a:pt x="4735647" y="6292955"/>
                </a:moveTo>
                <a:cubicBezTo>
                  <a:pt x="4714578" y="6292955"/>
                  <a:pt x="4679463" y="6300026"/>
                  <a:pt x="4665417" y="6300026"/>
                </a:cubicBezTo>
                <a:cubicBezTo>
                  <a:pt x="4661905" y="6300026"/>
                  <a:pt x="4658394" y="6303562"/>
                  <a:pt x="4658394" y="6307098"/>
                </a:cubicBezTo>
                <a:cubicBezTo>
                  <a:pt x="4658394" y="6307098"/>
                  <a:pt x="4658394" y="6307098"/>
                  <a:pt x="4658394" y="6331847"/>
                </a:cubicBezTo>
                <a:cubicBezTo>
                  <a:pt x="4658394" y="6335383"/>
                  <a:pt x="4658394" y="6335383"/>
                  <a:pt x="4661905" y="6338919"/>
                </a:cubicBezTo>
                <a:cubicBezTo>
                  <a:pt x="4661905" y="6338919"/>
                  <a:pt x="4665417" y="6338919"/>
                  <a:pt x="4665417" y="6338919"/>
                </a:cubicBezTo>
                <a:cubicBezTo>
                  <a:pt x="4682974" y="6338919"/>
                  <a:pt x="4711067" y="6335383"/>
                  <a:pt x="4732136" y="6335383"/>
                </a:cubicBezTo>
                <a:cubicBezTo>
                  <a:pt x="4746182" y="6335383"/>
                  <a:pt x="4756717" y="6345990"/>
                  <a:pt x="4756717" y="6360133"/>
                </a:cubicBezTo>
                <a:cubicBezTo>
                  <a:pt x="4756717" y="6360133"/>
                  <a:pt x="4756717" y="6360133"/>
                  <a:pt x="4756717" y="6370740"/>
                </a:cubicBezTo>
                <a:cubicBezTo>
                  <a:pt x="4756717" y="6370740"/>
                  <a:pt x="4756717" y="6370740"/>
                  <a:pt x="4707555" y="6374276"/>
                </a:cubicBezTo>
                <a:cubicBezTo>
                  <a:pt x="4665417" y="6377811"/>
                  <a:pt x="4644347" y="6395489"/>
                  <a:pt x="4644347" y="6434381"/>
                </a:cubicBezTo>
                <a:cubicBezTo>
                  <a:pt x="4644347" y="6473273"/>
                  <a:pt x="4665417" y="6494487"/>
                  <a:pt x="4700532" y="6494487"/>
                </a:cubicBezTo>
                <a:cubicBezTo>
                  <a:pt x="4728625" y="6494487"/>
                  <a:pt x="4763740" y="6480344"/>
                  <a:pt x="4763740" y="6480344"/>
                </a:cubicBezTo>
                <a:cubicBezTo>
                  <a:pt x="4770763" y="6487416"/>
                  <a:pt x="4777786" y="6490951"/>
                  <a:pt x="4791833" y="6494487"/>
                </a:cubicBezTo>
                <a:cubicBezTo>
                  <a:pt x="4795344" y="6494487"/>
                  <a:pt x="4795344" y="6494487"/>
                  <a:pt x="4798855" y="6490951"/>
                </a:cubicBezTo>
                <a:cubicBezTo>
                  <a:pt x="4798855" y="6490951"/>
                  <a:pt x="4798855" y="6487416"/>
                  <a:pt x="4798855" y="6487416"/>
                </a:cubicBezTo>
                <a:cubicBezTo>
                  <a:pt x="4798855" y="6487416"/>
                  <a:pt x="4798855" y="6487416"/>
                  <a:pt x="4798855" y="6360133"/>
                </a:cubicBezTo>
                <a:cubicBezTo>
                  <a:pt x="4798855" y="6314169"/>
                  <a:pt x="4777786" y="6292955"/>
                  <a:pt x="4735647" y="6292955"/>
                </a:cubicBezTo>
                <a:close/>
                <a:moveTo>
                  <a:pt x="4399822" y="6292954"/>
                </a:moveTo>
                <a:cubicBezTo>
                  <a:pt x="4352333" y="6292954"/>
                  <a:pt x="4313835" y="6338069"/>
                  <a:pt x="4313835" y="6393721"/>
                </a:cubicBezTo>
                <a:cubicBezTo>
                  <a:pt x="4313835" y="6449373"/>
                  <a:pt x="4352333" y="6494487"/>
                  <a:pt x="4399822" y="6494487"/>
                </a:cubicBezTo>
                <a:cubicBezTo>
                  <a:pt x="4447311" y="6494487"/>
                  <a:pt x="4485809" y="6449373"/>
                  <a:pt x="4485809" y="6393721"/>
                </a:cubicBezTo>
                <a:cubicBezTo>
                  <a:pt x="4485809" y="6338069"/>
                  <a:pt x="4447311" y="6292954"/>
                  <a:pt x="4399822" y="6292954"/>
                </a:cubicBezTo>
                <a:close/>
                <a:moveTo>
                  <a:pt x="4145892" y="6268771"/>
                </a:moveTo>
                <a:cubicBezTo>
                  <a:pt x="4152859" y="6268771"/>
                  <a:pt x="4159825" y="6268771"/>
                  <a:pt x="4177241" y="6268771"/>
                </a:cubicBezTo>
                <a:cubicBezTo>
                  <a:pt x="4177241" y="6268771"/>
                  <a:pt x="4177241" y="6268771"/>
                  <a:pt x="4194657" y="6268771"/>
                </a:cubicBezTo>
                <a:cubicBezTo>
                  <a:pt x="4226007" y="6268771"/>
                  <a:pt x="4239940" y="6290024"/>
                  <a:pt x="4239940" y="6307735"/>
                </a:cubicBezTo>
                <a:cubicBezTo>
                  <a:pt x="4239940" y="6332529"/>
                  <a:pt x="4222523" y="6346697"/>
                  <a:pt x="4191174" y="6346697"/>
                </a:cubicBezTo>
                <a:cubicBezTo>
                  <a:pt x="4170274" y="6346697"/>
                  <a:pt x="4152859" y="6346697"/>
                  <a:pt x="4145892" y="6346697"/>
                </a:cubicBezTo>
                <a:cubicBezTo>
                  <a:pt x="4145892" y="6346697"/>
                  <a:pt x="4145892" y="6346697"/>
                  <a:pt x="4145892" y="6268771"/>
                </a:cubicBezTo>
                <a:close/>
                <a:moveTo>
                  <a:pt x="4563063" y="6255336"/>
                </a:moveTo>
                <a:cubicBezTo>
                  <a:pt x="4563063" y="6255336"/>
                  <a:pt x="4563063" y="6255336"/>
                  <a:pt x="4531410" y="6262370"/>
                </a:cubicBezTo>
                <a:cubicBezTo>
                  <a:pt x="4527893" y="6262370"/>
                  <a:pt x="4527893" y="6265887"/>
                  <a:pt x="4527893" y="6269404"/>
                </a:cubicBezTo>
                <a:cubicBezTo>
                  <a:pt x="4527893" y="6269404"/>
                  <a:pt x="4527893" y="6269404"/>
                  <a:pt x="4527893" y="6301056"/>
                </a:cubicBezTo>
                <a:cubicBezTo>
                  <a:pt x="4527893" y="6301056"/>
                  <a:pt x="4527893" y="6301056"/>
                  <a:pt x="4510308" y="6301056"/>
                </a:cubicBezTo>
                <a:cubicBezTo>
                  <a:pt x="4506792" y="6301056"/>
                  <a:pt x="4503275" y="6301056"/>
                  <a:pt x="4503275" y="6308090"/>
                </a:cubicBezTo>
                <a:cubicBezTo>
                  <a:pt x="4503275" y="6308090"/>
                  <a:pt x="4503275" y="6308090"/>
                  <a:pt x="4503275" y="6332708"/>
                </a:cubicBezTo>
                <a:cubicBezTo>
                  <a:pt x="4503275" y="6336226"/>
                  <a:pt x="4506792" y="6339742"/>
                  <a:pt x="4510308" y="6339742"/>
                </a:cubicBezTo>
                <a:cubicBezTo>
                  <a:pt x="4510308" y="6339742"/>
                  <a:pt x="4510308" y="6339742"/>
                  <a:pt x="4527893" y="6339742"/>
                </a:cubicBezTo>
                <a:cubicBezTo>
                  <a:pt x="4527893" y="6339742"/>
                  <a:pt x="4527893" y="6339742"/>
                  <a:pt x="4527893" y="6424149"/>
                </a:cubicBezTo>
                <a:cubicBezTo>
                  <a:pt x="4527893" y="6476902"/>
                  <a:pt x="4541961" y="6494487"/>
                  <a:pt x="4584164" y="6494487"/>
                </a:cubicBezTo>
                <a:cubicBezTo>
                  <a:pt x="4594715" y="6494487"/>
                  <a:pt x="4605266" y="6490971"/>
                  <a:pt x="4615817" y="6490971"/>
                </a:cubicBezTo>
                <a:cubicBezTo>
                  <a:pt x="4619334" y="6490971"/>
                  <a:pt x="4622851" y="6487454"/>
                  <a:pt x="4622851" y="6483936"/>
                </a:cubicBezTo>
                <a:cubicBezTo>
                  <a:pt x="4622851" y="6483936"/>
                  <a:pt x="4622851" y="6483936"/>
                  <a:pt x="4622851" y="6459318"/>
                </a:cubicBezTo>
                <a:cubicBezTo>
                  <a:pt x="4622851" y="6455801"/>
                  <a:pt x="4619334" y="6452284"/>
                  <a:pt x="4615817" y="6452284"/>
                </a:cubicBezTo>
                <a:cubicBezTo>
                  <a:pt x="4608783" y="6452284"/>
                  <a:pt x="4598232" y="6452284"/>
                  <a:pt x="4591198" y="6452284"/>
                </a:cubicBezTo>
                <a:cubicBezTo>
                  <a:pt x="4570096" y="6452284"/>
                  <a:pt x="4570096" y="6445250"/>
                  <a:pt x="4570096" y="6417115"/>
                </a:cubicBezTo>
                <a:cubicBezTo>
                  <a:pt x="4570096" y="6417115"/>
                  <a:pt x="4570096" y="6417115"/>
                  <a:pt x="4570096" y="6339742"/>
                </a:cubicBezTo>
                <a:cubicBezTo>
                  <a:pt x="4570096" y="6339742"/>
                  <a:pt x="4570096" y="6339742"/>
                  <a:pt x="4615817" y="6339742"/>
                </a:cubicBezTo>
                <a:cubicBezTo>
                  <a:pt x="4619334" y="6339742"/>
                  <a:pt x="4622851" y="6336226"/>
                  <a:pt x="4622851" y="6332708"/>
                </a:cubicBezTo>
                <a:cubicBezTo>
                  <a:pt x="4622851" y="6332708"/>
                  <a:pt x="4622851" y="6332708"/>
                  <a:pt x="4622851" y="6308090"/>
                </a:cubicBezTo>
                <a:cubicBezTo>
                  <a:pt x="4622851" y="6301056"/>
                  <a:pt x="4619334" y="6301056"/>
                  <a:pt x="4615817" y="6301056"/>
                </a:cubicBezTo>
                <a:cubicBezTo>
                  <a:pt x="4615817" y="6301056"/>
                  <a:pt x="4615817" y="6301056"/>
                  <a:pt x="4570096" y="6301056"/>
                </a:cubicBezTo>
                <a:cubicBezTo>
                  <a:pt x="4570096" y="6301056"/>
                  <a:pt x="4570096" y="6301056"/>
                  <a:pt x="4570096" y="6262370"/>
                </a:cubicBezTo>
                <a:cubicBezTo>
                  <a:pt x="4570096" y="6258853"/>
                  <a:pt x="4570096" y="6258853"/>
                  <a:pt x="4566580" y="6255336"/>
                </a:cubicBezTo>
                <a:cubicBezTo>
                  <a:pt x="4566580" y="6255336"/>
                  <a:pt x="4563063" y="6255336"/>
                  <a:pt x="4563063" y="6255336"/>
                </a:cubicBezTo>
                <a:close/>
                <a:moveTo>
                  <a:pt x="4187668" y="6227122"/>
                </a:moveTo>
                <a:cubicBezTo>
                  <a:pt x="4177174" y="6227122"/>
                  <a:pt x="4145689" y="6227122"/>
                  <a:pt x="4107208" y="6230633"/>
                </a:cubicBezTo>
                <a:cubicBezTo>
                  <a:pt x="4103710" y="6230633"/>
                  <a:pt x="4100211" y="6234144"/>
                  <a:pt x="4100211" y="6237655"/>
                </a:cubicBezTo>
                <a:cubicBezTo>
                  <a:pt x="4100211" y="6237655"/>
                  <a:pt x="4100211" y="6237655"/>
                  <a:pt x="4100211" y="6483435"/>
                </a:cubicBezTo>
                <a:cubicBezTo>
                  <a:pt x="4100211" y="6486946"/>
                  <a:pt x="4103710" y="6490457"/>
                  <a:pt x="4107208" y="6490457"/>
                </a:cubicBezTo>
                <a:cubicBezTo>
                  <a:pt x="4107208" y="6490457"/>
                  <a:pt x="4107208" y="6490457"/>
                  <a:pt x="4138693" y="6490457"/>
                </a:cubicBezTo>
                <a:cubicBezTo>
                  <a:pt x="4142191" y="6490457"/>
                  <a:pt x="4145689" y="6486946"/>
                  <a:pt x="4145689" y="6483435"/>
                </a:cubicBezTo>
                <a:cubicBezTo>
                  <a:pt x="4145689" y="6483435"/>
                  <a:pt x="4145689" y="6483435"/>
                  <a:pt x="4145689" y="6385123"/>
                </a:cubicBezTo>
                <a:cubicBezTo>
                  <a:pt x="4156184" y="6388634"/>
                  <a:pt x="4173675" y="6388634"/>
                  <a:pt x="4194665" y="6388634"/>
                </a:cubicBezTo>
                <a:cubicBezTo>
                  <a:pt x="4194665" y="6388634"/>
                  <a:pt x="4194665" y="6388634"/>
                  <a:pt x="4240143" y="6486946"/>
                </a:cubicBezTo>
                <a:cubicBezTo>
                  <a:pt x="4240143" y="6486946"/>
                  <a:pt x="4243641" y="6490457"/>
                  <a:pt x="4247139" y="6490457"/>
                </a:cubicBezTo>
                <a:cubicBezTo>
                  <a:pt x="4247139" y="6490457"/>
                  <a:pt x="4247139" y="6490457"/>
                  <a:pt x="4278624" y="6490457"/>
                </a:cubicBezTo>
                <a:cubicBezTo>
                  <a:pt x="4282122" y="6490457"/>
                  <a:pt x="4285620" y="6486946"/>
                  <a:pt x="4285620" y="6486946"/>
                </a:cubicBezTo>
                <a:cubicBezTo>
                  <a:pt x="4285620" y="6483435"/>
                  <a:pt x="4285620" y="6483435"/>
                  <a:pt x="4285620" y="6479924"/>
                </a:cubicBezTo>
                <a:lnTo>
                  <a:pt x="4240143" y="6374590"/>
                </a:lnTo>
                <a:cubicBezTo>
                  <a:pt x="4271627" y="6360545"/>
                  <a:pt x="4285620" y="6339478"/>
                  <a:pt x="4285620" y="6307878"/>
                </a:cubicBezTo>
                <a:cubicBezTo>
                  <a:pt x="4285620" y="6269255"/>
                  <a:pt x="4268129" y="6227122"/>
                  <a:pt x="4194665" y="6227122"/>
                </a:cubicBezTo>
                <a:cubicBezTo>
                  <a:pt x="4194665" y="6227122"/>
                  <a:pt x="4191167" y="6227122"/>
                  <a:pt x="4187668" y="6227122"/>
                </a:cubicBezTo>
                <a:close/>
                <a:moveTo>
                  <a:pt x="5743186" y="6196200"/>
                </a:moveTo>
                <a:cubicBezTo>
                  <a:pt x="5745365" y="6196641"/>
                  <a:pt x="5747980" y="6198404"/>
                  <a:pt x="5749722" y="6201931"/>
                </a:cubicBezTo>
                <a:cubicBezTo>
                  <a:pt x="5805498" y="6258361"/>
                  <a:pt x="5833385" y="6350058"/>
                  <a:pt x="5812470" y="6441755"/>
                </a:cubicBezTo>
                <a:cubicBezTo>
                  <a:pt x="5812470" y="6445282"/>
                  <a:pt x="5808984" y="6448808"/>
                  <a:pt x="5802012" y="6445282"/>
                </a:cubicBezTo>
                <a:cubicBezTo>
                  <a:pt x="5802012" y="6445282"/>
                  <a:pt x="5802012" y="6445282"/>
                  <a:pt x="5763666" y="6434701"/>
                </a:cubicBezTo>
                <a:cubicBezTo>
                  <a:pt x="5760180" y="6434701"/>
                  <a:pt x="5756694" y="6431174"/>
                  <a:pt x="5756694" y="6424121"/>
                </a:cubicBezTo>
                <a:cubicBezTo>
                  <a:pt x="5770638" y="6350058"/>
                  <a:pt x="5753208" y="6290101"/>
                  <a:pt x="5711377" y="6244253"/>
                </a:cubicBezTo>
                <a:cubicBezTo>
                  <a:pt x="5704405" y="6240727"/>
                  <a:pt x="5704405" y="6233672"/>
                  <a:pt x="5711377" y="6230146"/>
                </a:cubicBezTo>
                <a:cubicBezTo>
                  <a:pt x="5711377" y="6230146"/>
                  <a:pt x="5711377" y="6230146"/>
                  <a:pt x="5739264" y="6198404"/>
                </a:cubicBezTo>
                <a:cubicBezTo>
                  <a:pt x="5739264" y="6196641"/>
                  <a:pt x="5741008" y="6195759"/>
                  <a:pt x="5743186" y="6196200"/>
                </a:cubicBezTo>
                <a:close/>
                <a:moveTo>
                  <a:pt x="5362923" y="6196200"/>
                </a:moveTo>
                <a:cubicBezTo>
                  <a:pt x="5365124" y="6195759"/>
                  <a:pt x="5366885" y="6196641"/>
                  <a:pt x="5366885" y="6198404"/>
                </a:cubicBezTo>
                <a:cubicBezTo>
                  <a:pt x="5366885" y="6198404"/>
                  <a:pt x="5366885" y="6198404"/>
                  <a:pt x="5398585" y="6230146"/>
                </a:cubicBezTo>
                <a:cubicBezTo>
                  <a:pt x="5402108" y="6233672"/>
                  <a:pt x="5402108" y="6240727"/>
                  <a:pt x="5395063" y="6244253"/>
                </a:cubicBezTo>
                <a:cubicBezTo>
                  <a:pt x="5352796" y="6290101"/>
                  <a:pt x="5335184" y="6350058"/>
                  <a:pt x="5349274" y="6424121"/>
                </a:cubicBezTo>
                <a:cubicBezTo>
                  <a:pt x="5349274" y="6431174"/>
                  <a:pt x="5345752" y="6434701"/>
                  <a:pt x="5342229" y="6434701"/>
                </a:cubicBezTo>
                <a:cubicBezTo>
                  <a:pt x="5342229" y="6434701"/>
                  <a:pt x="5342229" y="6434701"/>
                  <a:pt x="5303484" y="6445282"/>
                </a:cubicBezTo>
                <a:cubicBezTo>
                  <a:pt x="5296439" y="6448808"/>
                  <a:pt x="5292917" y="6445282"/>
                  <a:pt x="5292917" y="6441755"/>
                </a:cubicBezTo>
                <a:cubicBezTo>
                  <a:pt x="5271783" y="6350058"/>
                  <a:pt x="5299962" y="6258361"/>
                  <a:pt x="5356318" y="6201931"/>
                </a:cubicBezTo>
                <a:cubicBezTo>
                  <a:pt x="5358079" y="6198404"/>
                  <a:pt x="5360721" y="6196641"/>
                  <a:pt x="5362923" y="6196200"/>
                </a:cubicBezTo>
                <a:close/>
                <a:moveTo>
                  <a:pt x="5581605" y="6190846"/>
                </a:moveTo>
                <a:cubicBezTo>
                  <a:pt x="5585098" y="6190846"/>
                  <a:pt x="5585098" y="6190846"/>
                  <a:pt x="5588592" y="6190846"/>
                </a:cubicBezTo>
                <a:cubicBezTo>
                  <a:pt x="5634003" y="6201442"/>
                  <a:pt x="5665442" y="6219099"/>
                  <a:pt x="5696882" y="6254415"/>
                </a:cubicBezTo>
                <a:cubicBezTo>
                  <a:pt x="5700375" y="6257947"/>
                  <a:pt x="5700375" y="6257947"/>
                  <a:pt x="5700375" y="6261479"/>
                </a:cubicBezTo>
                <a:cubicBezTo>
                  <a:pt x="5700375" y="6265010"/>
                  <a:pt x="5696882" y="6265010"/>
                  <a:pt x="5693388" y="6268542"/>
                </a:cubicBezTo>
                <a:cubicBezTo>
                  <a:pt x="5693388" y="6268542"/>
                  <a:pt x="5693388" y="6268542"/>
                  <a:pt x="5602565" y="6314453"/>
                </a:cubicBezTo>
                <a:cubicBezTo>
                  <a:pt x="5599071" y="6314453"/>
                  <a:pt x="5595578" y="6314453"/>
                  <a:pt x="5592084" y="6314453"/>
                </a:cubicBezTo>
                <a:cubicBezTo>
                  <a:pt x="5588592" y="6310921"/>
                  <a:pt x="5588592" y="6307389"/>
                  <a:pt x="5585098" y="6303858"/>
                </a:cubicBezTo>
                <a:cubicBezTo>
                  <a:pt x="5585098" y="6303858"/>
                  <a:pt x="5585098" y="6303858"/>
                  <a:pt x="5578112" y="6201442"/>
                </a:cubicBezTo>
                <a:cubicBezTo>
                  <a:pt x="5578112" y="6197910"/>
                  <a:pt x="5578112" y="6194378"/>
                  <a:pt x="5581605" y="6190846"/>
                </a:cubicBezTo>
                <a:close/>
                <a:moveTo>
                  <a:pt x="5517922" y="6190846"/>
                </a:moveTo>
                <a:cubicBezTo>
                  <a:pt x="5521414" y="6190846"/>
                  <a:pt x="5521414" y="6190846"/>
                  <a:pt x="5524908" y="6190846"/>
                </a:cubicBezTo>
                <a:cubicBezTo>
                  <a:pt x="5524908" y="6194378"/>
                  <a:pt x="5528401" y="6197910"/>
                  <a:pt x="5528401" y="6201442"/>
                </a:cubicBezTo>
                <a:cubicBezTo>
                  <a:pt x="5528401" y="6201442"/>
                  <a:pt x="5528401" y="6201442"/>
                  <a:pt x="5517922" y="6307389"/>
                </a:cubicBezTo>
                <a:cubicBezTo>
                  <a:pt x="5517922" y="6310921"/>
                  <a:pt x="5517922" y="6314453"/>
                  <a:pt x="5514428" y="6314453"/>
                </a:cubicBezTo>
                <a:cubicBezTo>
                  <a:pt x="5510935" y="6314453"/>
                  <a:pt x="5507442" y="6314453"/>
                  <a:pt x="5503949" y="6314453"/>
                </a:cubicBezTo>
                <a:cubicBezTo>
                  <a:pt x="5503949" y="6314453"/>
                  <a:pt x="5503949" y="6314453"/>
                  <a:pt x="5413124" y="6268542"/>
                </a:cubicBezTo>
                <a:cubicBezTo>
                  <a:pt x="5409632" y="6268542"/>
                  <a:pt x="5406138" y="6265010"/>
                  <a:pt x="5406138" y="6261479"/>
                </a:cubicBezTo>
                <a:cubicBezTo>
                  <a:pt x="5406138" y="6261479"/>
                  <a:pt x="5406138" y="6257947"/>
                  <a:pt x="5409632" y="6254415"/>
                </a:cubicBezTo>
                <a:cubicBezTo>
                  <a:pt x="5441070" y="6222631"/>
                  <a:pt x="5472509" y="6201442"/>
                  <a:pt x="5517922" y="6190846"/>
                </a:cubicBezTo>
                <a:close/>
                <a:moveTo>
                  <a:pt x="5436772" y="6155914"/>
                </a:moveTo>
                <a:cubicBezTo>
                  <a:pt x="5440265" y="6155914"/>
                  <a:pt x="5443758" y="6159609"/>
                  <a:pt x="5443758" y="6163304"/>
                </a:cubicBezTo>
                <a:cubicBezTo>
                  <a:pt x="5443758" y="6166999"/>
                  <a:pt x="5443758" y="6166999"/>
                  <a:pt x="5440265" y="6166999"/>
                </a:cubicBezTo>
                <a:cubicBezTo>
                  <a:pt x="5440265" y="6166999"/>
                  <a:pt x="5440265" y="6166999"/>
                  <a:pt x="5433278" y="6170694"/>
                </a:cubicBezTo>
                <a:cubicBezTo>
                  <a:pt x="5433278" y="6170694"/>
                  <a:pt x="5433278" y="6170694"/>
                  <a:pt x="5429785" y="6163304"/>
                </a:cubicBezTo>
                <a:cubicBezTo>
                  <a:pt x="5429785" y="6163304"/>
                  <a:pt x="5429785" y="6163304"/>
                  <a:pt x="5426292" y="6163304"/>
                </a:cubicBezTo>
                <a:cubicBezTo>
                  <a:pt x="5429785" y="6159609"/>
                  <a:pt x="5433278" y="6159609"/>
                  <a:pt x="5436772" y="6155914"/>
                </a:cubicBezTo>
                <a:close/>
                <a:moveTo>
                  <a:pt x="5433297" y="6148717"/>
                </a:moveTo>
                <a:cubicBezTo>
                  <a:pt x="5429746" y="6152267"/>
                  <a:pt x="5422645" y="6155819"/>
                  <a:pt x="5415543" y="6159369"/>
                </a:cubicBezTo>
                <a:cubicBezTo>
                  <a:pt x="5415543" y="6159369"/>
                  <a:pt x="5415543" y="6159369"/>
                  <a:pt x="5419094" y="6162920"/>
                </a:cubicBezTo>
                <a:lnTo>
                  <a:pt x="5436848" y="6194878"/>
                </a:lnTo>
                <a:cubicBezTo>
                  <a:pt x="5440399" y="6194878"/>
                  <a:pt x="5440399" y="6191326"/>
                  <a:pt x="5443950" y="6191326"/>
                </a:cubicBezTo>
                <a:cubicBezTo>
                  <a:pt x="5443950" y="6191326"/>
                  <a:pt x="5443950" y="6191326"/>
                  <a:pt x="5436848" y="6177123"/>
                </a:cubicBezTo>
                <a:cubicBezTo>
                  <a:pt x="5436848" y="6177123"/>
                  <a:pt x="5436848" y="6177123"/>
                  <a:pt x="5443950" y="6173573"/>
                </a:cubicBezTo>
                <a:cubicBezTo>
                  <a:pt x="5443950" y="6173573"/>
                  <a:pt x="5443950" y="6173573"/>
                  <a:pt x="5458153" y="6184225"/>
                </a:cubicBezTo>
                <a:cubicBezTo>
                  <a:pt x="5461704" y="6180674"/>
                  <a:pt x="5461704" y="6180674"/>
                  <a:pt x="5465255" y="6180674"/>
                </a:cubicBezTo>
                <a:cubicBezTo>
                  <a:pt x="5465255" y="6180674"/>
                  <a:pt x="5465255" y="6180674"/>
                  <a:pt x="5451052" y="6166471"/>
                </a:cubicBezTo>
                <a:cubicBezTo>
                  <a:pt x="5451052" y="6166471"/>
                  <a:pt x="5451052" y="6166471"/>
                  <a:pt x="5451052" y="6162920"/>
                </a:cubicBezTo>
                <a:cubicBezTo>
                  <a:pt x="5454602" y="6155819"/>
                  <a:pt x="5443950" y="6145166"/>
                  <a:pt x="5433297" y="6148717"/>
                </a:cubicBezTo>
                <a:close/>
                <a:moveTo>
                  <a:pt x="5654205" y="6142479"/>
                </a:moveTo>
                <a:cubicBezTo>
                  <a:pt x="5657748" y="6166663"/>
                  <a:pt x="5657748" y="6166663"/>
                  <a:pt x="5657748" y="6166663"/>
                </a:cubicBezTo>
                <a:cubicBezTo>
                  <a:pt x="5650663" y="6183937"/>
                  <a:pt x="5650663" y="6183937"/>
                  <a:pt x="5650663" y="6183937"/>
                </a:cubicBezTo>
                <a:lnTo>
                  <a:pt x="5657748" y="6190846"/>
                </a:lnTo>
                <a:cubicBezTo>
                  <a:pt x="5664832" y="6173572"/>
                  <a:pt x="5664832" y="6173572"/>
                  <a:pt x="5664832" y="6173572"/>
                </a:cubicBezTo>
                <a:cubicBezTo>
                  <a:pt x="5689626" y="6159753"/>
                  <a:pt x="5689626" y="6159753"/>
                  <a:pt x="5689626" y="6159753"/>
                </a:cubicBezTo>
                <a:cubicBezTo>
                  <a:pt x="5689626" y="6159753"/>
                  <a:pt x="5686084" y="6156298"/>
                  <a:pt x="5682543" y="6156298"/>
                </a:cubicBezTo>
                <a:cubicBezTo>
                  <a:pt x="5664832" y="6163208"/>
                  <a:pt x="5664832" y="6163208"/>
                  <a:pt x="5664832" y="6163208"/>
                </a:cubicBezTo>
                <a:cubicBezTo>
                  <a:pt x="5661290" y="6145933"/>
                  <a:pt x="5661290" y="6145933"/>
                  <a:pt x="5661290" y="6145933"/>
                </a:cubicBezTo>
                <a:cubicBezTo>
                  <a:pt x="5657748" y="6142479"/>
                  <a:pt x="5657748" y="6142479"/>
                  <a:pt x="5654205" y="6142479"/>
                </a:cubicBezTo>
                <a:close/>
                <a:moveTo>
                  <a:pt x="5619224" y="6138449"/>
                </a:moveTo>
                <a:cubicBezTo>
                  <a:pt x="5622717" y="6138449"/>
                  <a:pt x="5626211" y="6138449"/>
                  <a:pt x="5629705" y="6141808"/>
                </a:cubicBezTo>
                <a:cubicBezTo>
                  <a:pt x="5629705" y="6141808"/>
                  <a:pt x="5633197" y="6141808"/>
                  <a:pt x="5633197" y="6145167"/>
                </a:cubicBezTo>
                <a:cubicBezTo>
                  <a:pt x="5633197" y="6148525"/>
                  <a:pt x="5629705" y="6151884"/>
                  <a:pt x="5626211" y="6151884"/>
                </a:cubicBezTo>
                <a:cubicBezTo>
                  <a:pt x="5626211" y="6151884"/>
                  <a:pt x="5626211" y="6151884"/>
                  <a:pt x="5615731" y="6148525"/>
                </a:cubicBezTo>
                <a:lnTo>
                  <a:pt x="5615731" y="6145167"/>
                </a:lnTo>
                <a:cubicBezTo>
                  <a:pt x="5615731" y="6145167"/>
                  <a:pt x="5615731" y="6145167"/>
                  <a:pt x="5619224" y="6138449"/>
                </a:cubicBezTo>
                <a:close/>
                <a:moveTo>
                  <a:pt x="5486079" y="6137944"/>
                </a:moveTo>
                <a:cubicBezTo>
                  <a:pt x="5493134" y="6134417"/>
                  <a:pt x="5500187" y="6141472"/>
                  <a:pt x="5500187" y="6148525"/>
                </a:cubicBezTo>
                <a:cubicBezTo>
                  <a:pt x="5500187" y="6155579"/>
                  <a:pt x="5493134" y="6162632"/>
                  <a:pt x="5486079" y="6162632"/>
                </a:cubicBezTo>
                <a:cubicBezTo>
                  <a:pt x="5479026" y="6162632"/>
                  <a:pt x="5471972" y="6159106"/>
                  <a:pt x="5471972" y="6152052"/>
                </a:cubicBezTo>
                <a:cubicBezTo>
                  <a:pt x="5471972" y="6152052"/>
                  <a:pt x="5471972" y="6152052"/>
                  <a:pt x="5471972" y="6148525"/>
                </a:cubicBezTo>
                <a:cubicBezTo>
                  <a:pt x="5471972" y="6141472"/>
                  <a:pt x="5479026" y="6137944"/>
                  <a:pt x="5486079" y="6137944"/>
                </a:cubicBezTo>
                <a:close/>
                <a:moveTo>
                  <a:pt x="5574081" y="6131730"/>
                </a:moveTo>
                <a:cubicBezTo>
                  <a:pt x="5574081" y="6131730"/>
                  <a:pt x="5574081" y="6131730"/>
                  <a:pt x="5577440" y="6142210"/>
                </a:cubicBezTo>
                <a:cubicBezTo>
                  <a:pt x="5577440" y="6142210"/>
                  <a:pt x="5577440" y="6142210"/>
                  <a:pt x="5580799" y="6149197"/>
                </a:cubicBezTo>
                <a:cubicBezTo>
                  <a:pt x="5577440" y="6149197"/>
                  <a:pt x="5570722" y="6149197"/>
                  <a:pt x="5567363" y="6149197"/>
                </a:cubicBezTo>
                <a:lnTo>
                  <a:pt x="5570722" y="6142210"/>
                </a:lnTo>
                <a:cubicBezTo>
                  <a:pt x="5570722" y="6142210"/>
                  <a:pt x="5570722" y="6142210"/>
                  <a:pt x="5574081" y="6131730"/>
                </a:cubicBezTo>
                <a:close/>
                <a:moveTo>
                  <a:pt x="5482609" y="6131214"/>
                </a:moveTo>
                <a:cubicBezTo>
                  <a:pt x="5472195" y="6131214"/>
                  <a:pt x="5465254" y="6138242"/>
                  <a:pt x="5465254" y="6148784"/>
                </a:cubicBezTo>
                <a:cubicBezTo>
                  <a:pt x="5465254" y="6152297"/>
                  <a:pt x="5465254" y="6152297"/>
                  <a:pt x="5465254" y="6152297"/>
                </a:cubicBezTo>
                <a:cubicBezTo>
                  <a:pt x="5465254" y="6162839"/>
                  <a:pt x="5475666" y="6173381"/>
                  <a:pt x="5486079" y="6169867"/>
                </a:cubicBezTo>
                <a:cubicBezTo>
                  <a:pt x="5499963" y="6169867"/>
                  <a:pt x="5506904" y="6162839"/>
                  <a:pt x="5506904" y="6148784"/>
                </a:cubicBezTo>
                <a:cubicBezTo>
                  <a:pt x="5506904" y="6138242"/>
                  <a:pt x="5496492" y="6127700"/>
                  <a:pt x="5482609" y="6131214"/>
                </a:cubicBezTo>
                <a:close/>
                <a:moveTo>
                  <a:pt x="5612922" y="6127700"/>
                </a:moveTo>
                <a:cubicBezTo>
                  <a:pt x="5612922" y="6127700"/>
                  <a:pt x="5612922" y="6127700"/>
                  <a:pt x="5609380" y="6145454"/>
                </a:cubicBezTo>
                <a:cubicBezTo>
                  <a:pt x="5609380" y="6145454"/>
                  <a:pt x="5609380" y="6145454"/>
                  <a:pt x="5602296" y="6166759"/>
                </a:cubicBezTo>
                <a:cubicBezTo>
                  <a:pt x="5605837" y="6170310"/>
                  <a:pt x="5609380" y="6170310"/>
                  <a:pt x="5612922" y="6170310"/>
                </a:cubicBezTo>
                <a:lnTo>
                  <a:pt x="5616464" y="6156107"/>
                </a:lnTo>
                <a:cubicBezTo>
                  <a:pt x="5616464" y="6156107"/>
                  <a:pt x="5616464" y="6156107"/>
                  <a:pt x="5623548" y="6156107"/>
                </a:cubicBezTo>
                <a:cubicBezTo>
                  <a:pt x="5623548" y="6156107"/>
                  <a:pt x="5623548" y="6156107"/>
                  <a:pt x="5627090" y="6173861"/>
                </a:cubicBezTo>
                <a:cubicBezTo>
                  <a:pt x="5630632" y="6177412"/>
                  <a:pt x="5630632" y="6177412"/>
                  <a:pt x="5634175" y="6177412"/>
                </a:cubicBezTo>
                <a:cubicBezTo>
                  <a:pt x="5634175" y="6177412"/>
                  <a:pt x="5634175" y="6177412"/>
                  <a:pt x="5630632" y="6159658"/>
                </a:cubicBezTo>
                <a:cubicBezTo>
                  <a:pt x="5637717" y="6156107"/>
                  <a:pt x="5641259" y="6149005"/>
                  <a:pt x="5641259" y="6145454"/>
                </a:cubicBezTo>
                <a:cubicBezTo>
                  <a:pt x="5641259" y="6138353"/>
                  <a:pt x="5637717" y="6134802"/>
                  <a:pt x="5634175" y="6134802"/>
                </a:cubicBezTo>
                <a:cubicBezTo>
                  <a:pt x="5627090" y="6131251"/>
                  <a:pt x="5620006" y="6127700"/>
                  <a:pt x="5612922" y="6127700"/>
                </a:cubicBezTo>
                <a:close/>
                <a:moveTo>
                  <a:pt x="5570295" y="6120982"/>
                </a:moveTo>
                <a:cubicBezTo>
                  <a:pt x="5570295" y="6120982"/>
                  <a:pt x="5570295" y="6120982"/>
                  <a:pt x="5563211" y="6142066"/>
                </a:cubicBezTo>
                <a:cubicBezTo>
                  <a:pt x="5563211" y="6142066"/>
                  <a:pt x="5563211" y="6142066"/>
                  <a:pt x="5552585" y="6163149"/>
                </a:cubicBezTo>
                <a:cubicBezTo>
                  <a:pt x="5556127" y="6163149"/>
                  <a:pt x="5556127" y="6163149"/>
                  <a:pt x="5559669" y="6163149"/>
                </a:cubicBezTo>
                <a:lnTo>
                  <a:pt x="5563211" y="6156121"/>
                </a:lnTo>
                <a:cubicBezTo>
                  <a:pt x="5570295" y="6156121"/>
                  <a:pt x="5573838" y="6156121"/>
                  <a:pt x="5580922" y="6156121"/>
                </a:cubicBezTo>
                <a:cubicBezTo>
                  <a:pt x="5580922" y="6156121"/>
                  <a:pt x="5580922" y="6156121"/>
                  <a:pt x="5584464" y="6163149"/>
                </a:cubicBezTo>
                <a:cubicBezTo>
                  <a:pt x="5588006" y="6163149"/>
                  <a:pt x="5588006" y="6166663"/>
                  <a:pt x="5591548" y="6166663"/>
                </a:cubicBezTo>
                <a:cubicBezTo>
                  <a:pt x="5591548" y="6166663"/>
                  <a:pt x="5591548" y="6166663"/>
                  <a:pt x="5584464" y="6142066"/>
                </a:cubicBezTo>
                <a:cubicBezTo>
                  <a:pt x="5584464" y="6142066"/>
                  <a:pt x="5584464" y="6142066"/>
                  <a:pt x="5580922" y="6120982"/>
                </a:cubicBezTo>
                <a:cubicBezTo>
                  <a:pt x="5580922" y="6120982"/>
                  <a:pt x="5580922" y="6120982"/>
                  <a:pt x="5570295" y="6120982"/>
                </a:cubicBezTo>
                <a:close/>
                <a:moveTo>
                  <a:pt x="5549898" y="6120982"/>
                </a:moveTo>
                <a:cubicBezTo>
                  <a:pt x="5532187" y="6120982"/>
                  <a:pt x="5525103" y="6120982"/>
                  <a:pt x="5510934" y="6124453"/>
                </a:cubicBezTo>
                <a:cubicBezTo>
                  <a:pt x="5510934" y="6131394"/>
                  <a:pt x="5510934" y="6131394"/>
                  <a:pt x="5510934" y="6131394"/>
                </a:cubicBezTo>
                <a:lnTo>
                  <a:pt x="5525103" y="6127924"/>
                </a:lnTo>
                <a:cubicBezTo>
                  <a:pt x="5528645" y="6162632"/>
                  <a:pt x="5528645" y="6162632"/>
                  <a:pt x="5528645" y="6162632"/>
                </a:cubicBezTo>
                <a:cubicBezTo>
                  <a:pt x="5539271" y="6162632"/>
                  <a:pt x="5539271" y="6162632"/>
                  <a:pt x="5539271" y="6162632"/>
                </a:cubicBezTo>
                <a:cubicBezTo>
                  <a:pt x="5535729" y="6127924"/>
                  <a:pt x="5535729" y="6127924"/>
                  <a:pt x="5535729" y="6127924"/>
                </a:cubicBezTo>
                <a:cubicBezTo>
                  <a:pt x="5549898" y="6127924"/>
                  <a:pt x="5549898" y="6127924"/>
                  <a:pt x="5549898" y="6127924"/>
                </a:cubicBezTo>
                <a:cubicBezTo>
                  <a:pt x="5549898" y="6120982"/>
                  <a:pt x="5549898" y="6120982"/>
                  <a:pt x="5549898" y="6120982"/>
                </a:cubicBezTo>
                <a:close/>
                <a:moveTo>
                  <a:pt x="5100257" y="6120981"/>
                </a:moveTo>
                <a:cubicBezTo>
                  <a:pt x="5118171" y="6120981"/>
                  <a:pt x="5125336" y="6138448"/>
                  <a:pt x="5125336" y="6155913"/>
                </a:cubicBezTo>
                <a:lnTo>
                  <a:pt x="5071595" y="6155913"/>
                </a:lnTo>
                <a:cubicBezTo>
                  <a:pt x="5071595" y="6138448"/>
                  <a:pt x="5082343" y="6120981"/>
                  <a:pt x="5100257" y="6120981"/>
                </a:cubicBezTo>
                <a:close/>
                <a:moveTo>
                  <a:pt x="5552585" y="6114265"/>
                </a:moveTo>
                <a:cubicBezTo>
                  <a:pt x="5615759" y="6114265"/>
                  <a:pt x="5671914" y="6135224"/>
                  <a:pt x="5717539" y="6170156"/>
                </a:cubicBezTo>
                <a:cubicBezTo>
                  <a:pt x="5724558" y="6177143"/>
                  <a:pt x="5724558" y="6180636"/>
                  <a:pt x="5721049" y="6184129"/>
                </a:cubicBezTo>
                <a:cubicBezTo>
                  <a:pt x="5721049" y="6184129"/>
                  <a:pt x="5721049" y="6184129"/>
                  <a:pt x="5692972" y="6215569"/>
                </a:cubicBezTo>
                <a:cubicBezTo>
                  <a:pt x="5689462" y="6219061"/>
                  <a:pt x="5685952" y="6219061"/>
                  <a:pt x="5678933" y="6215569"/>
                </a:cubicBezTo>
                <a:cubicBezTo>
                  <a:pt x="5643837" y="6187623"/>
                  <a:pt x="5598210" y="6170156"/>
                  <a:pt x="5552585" y="6170156"/>
                </a:cubicBezTo>
                <a:cubicBezTo>
                  <a:pt x="5503450" y="6170156"/>
                  <a:pt x="5461334" y="6187623"/>
                  <a:pt x="5426236" y="6215569"/>
                </a:cubicBezTo>
                <a:cubicBezTo>
                  <a:pt x="5419217" y="6219061"/>
                  <a:pt x="5415708" y="6219061"/>
                  <a:pt x="5412198" y="6215569"/>
                </a:cubicBezTo>
                <a:cubicBezTo>
                  <a:pt x="5412198" y="6215569"/>
                  <a:pt x="5412198" y="6215569"/>
                  <a:pt x="5384121" y="6184129"/>
                </a:cubicBezTo>
                <a:cubicBezTo>
                  <a:pt x="5380611" y="6180636"/>
                  <a:pt x="5380611" y="6177143"/>
                  <a:pt x="5387630" y="6170156"/>
                </a:cubicBezTo>
                <a:cubicBezTo>
                  <a:pt x="5433256" y="6135224"/>
                  <a:pt x="5489411" y="6114265"/>
                  <a:pt x="5552585" y="6114265"/>
                </a:cubicBezTo>
                <a:close/>
                <a:moveTo>
                  <a:pt x="5100481" y="6114264"/>
                </a:moveTo>
                <a:cubicBezTo>
                  <a:pt x="5076113" y="6114264"/>
                  <a:pt x="5062189" y="6131778"/>
                  <a:pt x="5062189" y="6163304"/>
                </a:cubicBezTo>
                <a:cubicBezTo>
                  <a:pt x="5062189" y="6191326"/>
                  <a:pt x="5072632" y="6212343"/>
                  <a:pt x="5103962" y="6212343"/>
                </a:cubicBezTo>
                <a:cubicBezTo>
                  <a:pt x="5110924" y="6212343"/>
                  <a:pt x="5124848" y="6208840"/>
                  <a:pt x="5131810" y="6205337"/>
                </a:cubicBezTo>
                <a:lnTo>
                  <a:pt x="5131810" y="6194829"/>
                </a:lnTo>
                <a:cubicBezTo>
                  <a:pt x="5124848" y="6198332"/>
                  <a:pt x="5114404" y="6201834"/>
                  <a:pt x="5103962" y="6201834"/>
                </a:cubicBezTo>
                <a:cubicBezTo>
                  <a:pt x="5083076" y="6201834"/>
                  <a:pt x="5072632" y="6184320"/>
                  <a:pt x="5072632" y="6166807"/>
                </a:cubicBezTo>
                <a:cubicBezTo>
                  <a:pt x="5072632" y="6166807"/>
                  <a:pt x="5072632" y="6166807"/>
                  <a:pt x="5138772" y="6166807"/>
                </a:cubicBezTo>
                <a:cubicBezTo>
                  <a:pt x="5138772" y="6166807"/>
                  <a:pt x="5138772" y="6166807"/>
                  <a:pt x="5138772" y="6159801"/>
                </a:cubicBezTo>
                <a:cubicBezTo>
                  <a:pt x="5138772" y="6135281"/>
                  <a:pt x="5128329" y="6114264"/>
                  <a:pt x="5100481" y="6114264"/>
                </a:cubicBezTo>
                <a:close/>
                <a:moveTo>
                  <a:pt x="4851253" y="6077988"/>
                </a:moveTo>
                <a:lnTo>
                  <a:pt x="4851253" y="6088736"/>
                </a:lnTo>
                <a:lnTo>
                  <a:pt x="4890216" y="6088736"/>
                </a:lnTo>
                <a:lnTo>
                  <a:pt x="4890216" y="6208312"/>
                </a:lnTo>
                <a:lnTo>
                  <a:pt x="4903652" y="6208312"/>
                </a:lnTo>
                <a:lnTo>
                  <a:pt x="4903652" y="6088736"/>
                </a:lnTo>
                <a:lnTo>
                  <a:pt x="4942614" y="6088736"/>
                </a:lnTo>
                <a:lnTo>
                  <a:pt x="4942614" y="6077988"/>
                </a:lnTo>
                <a:close/>
                <a:moveTo>
                  <a:pt x="4964111" y="6067239"/>
                </a:moveTo>
                <a:lnTo>
                  <a:pt x="4964111" y="6208312"/>
                </a:lnTo>
                <a:cubicBezTo>
                  <a:pt x="4964111" y="6208312"/>
                  <a:pt x="4964111" y="6208312"/>
                  <a:pt x="4974476" y="6208312"/>
                </a:cubicBezTo>
                <a:cubicBezTo>
                  <a:pt x="4974476" y="6208312"/>
                  <a:pt x="4974476" y="6208312"/>
                  <a:pt x="4974476" y="6158936"/>
                </a:cubicBezTo>
                <a:cubicBezTo>
                  <a:pt x="4974476" y="6141302"/>
                  <a:pt x="4981385" y="6120142"/>
                  <a:pt x="5002115" y="6120142"/>
                </a:cubicBezTo>
                <a:cubicBezTo>
                  <a:pt x="5022844" y="6120142"/>
                  <a:pt x="5022844" y="6134249"/>
                  <a:pt x="5022844" y="6151883"/>
                </a:cubicBezTo>
                <a:cubicBezTo>
                  <a:pt x="5022844" y="6151883"/>
                  <a:pt x="5022844" y="6151883"/>
                  <a:pt x="5022844" y="6208312"/>
                </a:cubicBezTo>
                <a:cubicBezTo>
                  <a:pt x="5022844" y="6208312"/>
                  <a:pt x="5022844" y="6208312"/>
                  <a:pt x="5036662" y="6208312"/>
                </a:cubicBezTo>
                <a:cubicBezTo>
                  <a:pt x="5036662" y="6208312"/>
                  <a:pt x="5036662" y="6208312"/>
                  <a:pt x="5036662" y="6151883"/>
                </a:cubicBezTo>
                <a:cubicBezTo>
                  <a:pt x="5036662" y="6127195"/>
                  <a:pt x="5029753" y="6113088"/>
                  <a:pt x="5005569" y="6113088"/>
                </a:cubicBezTo>
                <a:cubicBezTo>
                  <a:pt x="4991750" y="6113088"/>
                  <a:pt x="4981385" y="6120142"/>
                  <a:pt x="4974476" y="6130722"/>
                </a:cubicBezTo>
                <a:cubicBezTo>
                  <a:pt x="4974476" y="6130722"/>
                  <a:pt x="4974476" y="6130722"/>
                  <a:pt x="4974476" y="6067239"/>
                </a:cubicBezTo>
                <a:cubicBezTo>
                  <a:pt x="4974476" y="6067239"/>
                  <a:pt x="4974476" y="6067239"/>
                  <a:pt x="4964111" y="6067239"/>
                </a:cubicBezTo>
                <a:close/>
                <a:moveTo>
                  <a:pt x="5542739" y="6043056"/>
                </a:moveTo>
                <a:cubicBezTo>
                  <a:pt x="5532222" y="6060677"/>
                  <a:pt x="5528716" y="6078298"/>
                  <a:pt x="5528716" y="6095919"/>
                </a:cubicBezTo>
                <a:cubicBezTo>
                  <a:pt x="5525210" y="6095919"/>
                  <a:pt x="5507681" y="6099443"/>
                  <a:pt x="5504176" y="6099443"/>
                </a:cubicBezTo>
                <a:cubicBezTo>
                  <a:pt x="5500669" y="6081822"/>
                  <a:pt x="5490152" y="6064201"/>
                  <a:pt x="5479635" y="6053629"/>
                </a:cubicBezTo>
                <a:cubicBezTo>
                  <a:pt x="5479635" y="6053629"/>
                  <a:pt x="5479635" y="6053629"/>
                  <a:pt x="5476129" y="6053629"/>
                </a:cubicBezTo>
                <a:cubicBezTo>
                  <a:pt x="5469117" y="6053629"/>
                  <a:pt x="5462106" y="6057153"/>
                  <a:pt x="5455094" y="6057153"/>
                </a:cubicBezTo>
                <a:cubicBezTo>
                  <a:pt x="5455094" y="6057153"/>
                  <a:pt x="5455094" y="6057153"/>
                  <a:pt x="5455094" y="6060677"/>
                </a:cubicBezTo>
                <a:cubicBezTo>
                  <a:pt x="5451588" y="6067726"/>
                  <a:pt x="5451588" y="6074774"/>
                  <a:pt x="5451588" y="6085346"/>
                </a:cubicBezTo>
                <a:cubicBezTo>
                  <a:pt x="5451588" y="6095919"/>
                  <a:pt x="5451588" y="6102967"/>
                  <a:pt x="5455094" y="6113540"/>
                </a:cubicBezTo>
                <a:cubicBezTo>
                  <a:pt x="5451588" y="6113540"/>
                  <a:pt x="5434059" y="6120588"/>
                  <a:pt x="5434059" y="6120588"/>
                </a:cubicBezTo>
                <a:cubicBezTo>
                  <a:pt x="5423542" y="6106491"/>
                  <a:pt x="5409518" y="6092395"/>
                  <a:pt x="5395495" y="6085346"/>
                </a:cubicBezTo>
                <a:cubicBezTo>
                  <a:pt x="5388484" y="6085346"/>
                  <a:pt x="5381472" y="6092395"/>
                  <a:pt x="5374460" y="6095919"/>
                </a:cubicBezTo>
                <a:cubicBezTo>
                  <a:pt x="5374460" y="6113540"/>
                  <a:pt x="5377966" y="6131161"/>
                  <a:pt x="5388484" y="6148781"/>
                </a:cubicBezTo>
                <a:cubicBezTo>
                  <a:pt x="5384978" y="6148781"/>
                  <a:pt x="5374460" y="6159354"/>
                  <a:pt x="5370954" y="6159354"/>
                </a:cubicBezTo>
                <a:cubicBezTo>
                  <a:pt x="5360437" y="6148781"/>
                  <a:pt x="5342908" y="6138209"/>
                  <a:pt x="5325379" y="6134685"/>
                </a:cubicBezTo>
                <a:cubicBezTo>
                  <a:pt x="5318367" y="6138209"/>
                  <a:pt x="5311356" y="6145257"/>
                  <a:pt x="5307850" y="6148781"/>
                </a:cubicBezTo>
                <a:cubicBezTo>
                  <a:pt x="5307850" y="6148781"/>
                  <a:pt x="5307850" y="6148781"/>
                  <a:pt x="5307850" y="6152305"/>
                </a:cubicBezTo>
                <a:cubicBezTo>
                  <a:pt x="5311356" y="6166403"/>
                  <a:pt x="5321873" y="6184023"/>
                  <a:pt x="5335896" y="6198120"/>
                </a:cubicBezTo>
                <a:cubicBezTo>
                  <a:pt x="5332390" y="6198120"/>
                  <a:pt x="5321873" y="6215741"/>
                  <a:pt x="5321873" y="6215741"/>
                </a:cubicBezTo>
                <a:cubicBezTo>
                  <a:pt x="5304344" y="6208692"/>
                  <a:pt x="5286815" y="6201644"/>
                  <a:pt x="5269286" y="6201644"/>
                </a:cubicBezTo>
                <a:cubicBezTo>
                  <a:pt x="5265780" y="6208692"/>
                  <a:pt x="5258768" y="6215741"/>
                  <a:pt x="5258768" y="6222789"/>
                </a:cubicBezTo>
                <a:cubicBezTo>
                  <a:pt x="5265780" y="6236886"/>
                  <a:pt x="5279803" y="6250982"/>
                  <a:pt x="5293827" y="6261556"/>
                </a:cubicBezTo>
                <a:cubicBezTo>
                  <a:pt x="5293827" y="6265080"/>
                  <a:pt x="5286815" y="6279176"/>
                  <a:pt x="5286815" y="6282700"/>
                </a:cubicBezTo>
                <a:cubicBezTo>
                  <a:pt x="5269286" y="6275652"/>
                  <a:pt x="5248251" y="6275652"/>
                  <a:pt x="5234228" y="6282700"/>
                </a:cubicBezTo>
                <a:cubicBezTo>
                  <a:pt x="5230722" y="6289749"/>
                  <a:pt x="5227216" y="6296797"/>
                  <a:pt x="5227216" y="6303845"/>
                </a:cubicBezTo>
                <a:cubicBezTo>
                  <a:pt x="5237733" y="6317942"/>
                  <a:pt x="5255262" y="6324990"/>
                  <a:pt x="5272791" y="6332039"/>
                </a:cubicBezTo>
                <a:cubicBezTo>
                  <a:pt x="5272791" y="6335563"/>
                  <a:pt x="5269286" y="6349659"/>
                  <a:pt x="5269286" y="6353183"/>
                </a:cubicBezTo>
                <a:cubicBezTo>
                  <a:pt x="5251757" y="6353183"/>
                  <a:pt x="5234228" y="6360232"/>
                  <a:pt x="5220205" y="6367281"/>
                </a:cubicBezTo>
                <a:cubicBezTo>
                  <a:pt x="5220205" y="6367281"/>
                  <a:pt x="5220205" y="6367281"/>
                  <a:pt x="5216698" y="6367281"/>
                </a:cubicBezTo>
                <a:cubicBezTo>
                  <a:pt x="5216698" y="6370805"/>
                  <a:pt x="5216698" y="6374329"/>
                  <a:pt x="5216698" y="6381377"/>
                </a:cubicBezTo>
                <a:cubicBezTo>
                  <a:pt x="5216698" y="6384901"/>
                  <a:pt x="5216698" y="6388425"/>
                  <a:pt x="5216698" y="6391950"/>
                </a:cubicBezTo>
                <a:cubicBezTo>
                  <a:pt x="5216698" y="6391950"/>
                  <a:pt x="5216698" y="6391950"/>
                  <a:pt x="5220205" y="6391950"/>
                </a:cubicBezTo>
                <a:cubicBezTo>
                  <a:pt x="5234228" y="6402523"/>
                  <a:pt x="5251757" y="6406047"/>
                  <a:pt x="5269286" y="6406047"/>
                </a:cubicBezTo>
                <a:cubicBezTo>
                  <a:pt x="5269286" y="6409571"/>
                  <a:pt x="5272791" y="6427192"/>
                  <a:pt x="5272791" y="6427192"/>
                </a:cubicBezTo>
                <a:cubicBezTo>
                  <a:pt x="5255262" y="6434240"/>
                  <a:pt x="5237733" y="6444812"/>
                  <a:pt x="5227216" y="6455385"/>
                </a:cubicBezTo>
                <a:cubicBezTo>
                  <a:pt x="5227216" y="6455385"/>
                  <a:pt x="5227216" y="6455385"/>
                  <a:pt x="5227216" y="6458909"/>
                </a:cubicBezTo>
                <a:cubicBezTo>
                  <a:pt x="5227216" y="6462434"/>
                  <a:pt x="5230722" y="6473006"/>
                  <a:pt x="5234228" y="6480054"/>
                </a:cubicBezTo>
                <a:cubicBezTo>
                  <a:pt x="5251757" y="6483578"/>
                  <a:pt x="5269286" y="6483578"/>
                  <a:pt x="5286815" y="6480054"/>
                </a:cubicBezTo>
                <a:cubicBezTo>
                  <a:pt x="5286815" y="6480054"/>
                  <a:pt x="5293827" y="6497675"/>
                  <a:pt x="5297332" y="6501200"/>
                </a:cubicBezTo>
                <a:cubicBezTo>
                  <a:pt x="5279803" y="6508248"/>
                  <a:pt x="5265780" y="6522344"/>
                  <a:pt x="5258768" y="6536441"/>
                </a:cubicBezTo>
                <a:cubicBezTo>
                  <a:pt x="5258768" y="6536441"/>
                  <a:pt x="5258768" y="6536441"/>
                  <a:pt x="5258768" y="6539965"/>
                </a:cubicBezTo>
                <a:cubicBezTo>
                  <a:pt x="5262274" y="6543489"/>
                  <a:pt x="5265780" y="6554062"/>
                  <a:pt x="5269286" y="6557586"/>
                </a:cubicBezTo>
                <a:cubicBezTo>
                  <a:pt x="5286815" y="6557586"/>
                  <a:pt x="5304344" y="6554062"/>
                  <a:pt x="5321873" y="6543489"/>
                </a:cubicBezTo>
                <a:cubicBezTo>
                  <a:pt x="5321873" y="6547014"/>
                  <a:pt x="5332390" y="6561110"/>
                  <a:pt x="5335896" y="6564635"/>
                </a:cubicBezTo>
                <a:cubicBezTo>
                  <a:pt x="5321873" y="6575207"/>
                  <a:pt x="5314861" y="6592827"/>
                  <a:pt x="5307850" y="6610449"/>
                </a:cubicBezTo>
                <a:cubicBezTo>
                  <a:pt x="5314861" y="6613973"/>
                  <a:pt x="5318367" y="6621021"/>
                  <a:pt x="5325379" y="6624545"/>
                </a:cubicBezTo>
                <a:cubicBezTo>
                  <a:pt x="5342908" y="6621021"/>
                  <a:pt x="5360437" y="6613973"/>
                  <a:pt x="5370954" y="6599877"/>
                </a:cubicBezTo>
                <a:cubicBezTo>
                  <a:pt x="5374460" y="6599877"/>
                  <a:pt x="5388484" y="6613973"/>
                  <a:pt x="5388484" y="6613973"/>
                </a:cubicBezTo>
                <a:cubicBezTo>
                  <a:pt x="5381472" y="6628069"/>
                  <a:pt x="5377966" y="6649215"/>
                  <a:pt x="5377966" y="6663311"/>
                </a:cubicBezTo>
                <a:cubicBezTo>
                  <a:pt x="5377966" y="6663311"/>
                  <a:pt x="5377966" y="6666836"/>
                  <a:pt x="5377966" y="6666836"/>
                </a:cubicBezTo>
                <a:cubicBezTo>
                  <a:pt x="5381472" y="6670360"/>
                  <a:pt x="5388484" y="6673884"/>
                  <a:pt x="5395495" y="6677408"/>
                </a:cubicBezTo>
                <a:cubicBezTo>
                  <a:pt x="5395495" y="6677408"/>
                  <a:pt x="5395495" y="6677408"/>
                  <a:pt x="5399001" y="6677408"/>
                </a:cubicBezTo>
                <a:cubicBezTo>
                  <a:pt x="5413024" y="6670360"/>
                  <a:pt x="5427047" y="6656263"/>
                  <a:pt x="5434059" y="6638642"/>
                </a:cubicBezTo>
                <a:cubicBezTo>
                  <a:pt x="5437564" y="6642166"/>
                  <a:pt x="5451588" y="6645691"/>
                  <a:pt x="5455094" y="6649215"/>
                </a:cubicBezTo>
                <a:cubicBezTo>
                  <a:pt x="5451588" y="6656263"/>
                  <a:pt x="5451588" y="6666836"/>
                  <a:pt x="5451588" y="6673884"/>
                </a:cubicBezTo>
                <a:cubicBezTo>
                  <a:pt x="5451588" y="6684456"/>
                  <a:pt x="5451588" y="6691505"/>
                  <a:pt x="5455094" y="6702078"/>
                </a:cubicBezTo>
                <a:cubicBezTo>
                  <a:pt x="5462106" y="6705602"/>
                  <a:pt x="5469117" y="6705602"/>
                  <a:pt x="5476129" y="6709126"/>
                </a:cubicBezTo>
                <a:cubicBezTo>
                  <a:pt x="5476129" y="6709126"/>
                  <a:pt x="5476129" y="6709126"/>
                  <a:pt x="5479635" y="6709126"/>
                </a:cubicBezTo>
                <a:cubicBezTo>
                  <a:pt x="5490152" y="6695029"/>
                  <a:pt x="5500669" y="6677408"/>
                  <a:pt x="5504176" y="6663311"/>
                </a:cubicBezTo>
                <a:cubicBezTo>
                  <a:pt x="5507681" y="6663311"/>
                  <a:pt x="5525210" y="6663311"/>
                  <a:pt x="5528716" y="6663311"/>
                </a:cubicBezTo>
                <a:cubicBezTo>
                  <a:pt x="5528716" y="6684456"/>
                  <a:pt x="5532222" y="6702078"/>
                  <a:pt x="5542739" y="6716174"/>
                </a:cubicBezTo>
                <a:cubicBezTo>
                  <a:pt x="5549751" y="6716174"/>
                  <a:pt x="5560268" y="6716174"/>
                  <a:pt x="5563774" y="6716174"/>
                </a:cubicBezTo>
                <a:cubicBezTo>
                  <a:pt x="5563774" y="6716174"/>
                  <a:pt x="5563774" y="6716174"/>
                  <a:pt x="5567280" y="6716174"/>
                </a:cubicBezTo>
                <a:cubicBezTo>
                  <a:pt x="5574291" y="6702078"/>
                  <a:pt x="5581303" y="6684456"/>
                  <a:pt x="5581303" y="6663311"/>
                </a:cubicBezTo>
                <a:cubicBezTo>
                  <a:pt x="5581303" y="6663311"/>
                  <a:pt x="5598832" y="6663311"/>
                  <a:pt x="5602339" y="6663311"/>
                </a:cubicBezTo>
                <a:cubicBezTo>
                  <a:pt x="5605844" y="6677408"/>
                  <a:pt x="5616361" y="6695029"/>
                  <a:pt x="5626879" y="6709126"/>
                </a:cubicBezTo>
                <a:cubicBezTo>
                  <a:pt x="5626879" y="6709126"/>
                  <a:pt x="5626879" y="6709126"/>
                  <a:pt x="5630385" y="6709126"/>
                </a:cubicBezTo>
                <a:cubicBezTo>
                  <a:pt x="5637396" y="6705602"/>
                  <a:pt x="5644408" y="6705602"/>
                  <a:pt x="5651420" y="6702078"/>
                </a:cubicBezTo>
                <a:cubicBezTo>
                  <a:pt x="5654925" y="6691505"/>
                  <a:pt x="5654925" y="6684456"/>
                  <a:pt x="5654925" y="6673884"/>
                </a:cubicBezTo>
                <a:cubicBezTo>
                  <a:pt x="5654925" y="6666836"/>
                  <a:pt x="5654925" y="6656263"/>
                  <a:pt x="5651420" y="6649215"/>
                </a:cubicBezTo>
                <a:cubicBezTo>
                  <a:pt x="5654925" y="6645691"/>
                  <a:pt x="5668949" y="6638642"/>
                  <a:pt x="5672454" y="6638642"/>
                </a:cubicBezTo>
                <a:cubicBezTo>
                  <a:pt x="5682972" y="6656263"/>
                  <a:pt x="5693490" y="6666836"/>
                  <a:pt x="5711019" y="6677408"/>
                </a:cubicBezTo>
                <a:cubicBezTo>
                  <a:pt x="5718030" y="6673884"/>
                  <a:pt x="5725042" y="6670360"/>
                  <a:pt x="5728547" y="6666836"/>
                </a:cubicBezTo>
                <a:cubicBezTo>
                  <a:pt x="5728547" y="6666836"/>
                  <a:pt x="5728547" y="6666836"/>
                  <a:pt x="5732054" y="6666836"/>
                </a:cubicBezTo>
                <a:cubicBezTo>
                  <a:pt x="5732054" y="6666836"/>
                  <a:pt x="5732054" y="6663311"/>
                  <a:pt x="5732054" y="6663311"/>
                </a:cubicBezTo>
                <a:cubicBezTo>
                  <a:pt x="5732054" y="6645691"/>
                  <a:pt x="5725042" y="6628069"/>
                  <a:pt x="5718030" y="6613973"/>
                </a:cubicBezTo>
                <a:cubicBezTo>
                  <a:pt x="5718030" y="6610449"/>
                  <a:pt x="5732054" y="6599877"/>
                  <a:pt x="5735559" y="6599877"/>
                </a:cubicBezTo>
                <a:cubicBezTo>
                  <a:pt x="5746076" y="6610449"/>
                  <a:pt x="5763606" y="6621021"/>
                  <a:pt x="5781135" y="6624545"/>
                </a:cubicBezTo>
                <a:cubicBezTo>
                  <a:pt x="5788146" y="6621021"/>
                  <a:pt x="5795158" y="6613973"/>
                  <a:pt x="5798664" y="6610449"/>
                </a:cubicBezTo>
                <a:cubicBezTo>
                  <a:pt x="5798664" y="6610449"/>
                  <a:pt x="5798664" y="6610449"/>
                  <a:pt x="5798664" y="6606925"/>
                </a:cubicBezTo>
                <a:cubicBezTo>
                  <a:pt x="5795158" y="6592827"/>
                  <a:pt x="5784641" y="6575207"/>
                  <a:pt x="5770617" y="6561110"/>
                </a:cubicBezTo>
                <a:cubicBezTo>
                  <a:pt x="5774123" y="6561110"/>
                  <a:pt x="5784641" y="6547014"/>
                  <a:pt x="5784641" y="6543489"/>
                </a:cubicBezTo>
                <a:cubicBezTo>
                  <a:pt x="5802170" y="6554062"/>
                  <a:pt x="5819699" y="6557586"/>
                  <a:pt x="5837228" y="6557586"/>
                </a:cubicBezTo>
                <a:cubicBezTo>
                  <a:pt x="5840734" y="6550538"/>
                  <a:pt x="5844239" y="6543489"/>
                  <a:pt x="5847746" y="6539965"/>
                </a:cubicBezTo>
                <a:cubicBezTo>
                  <a:pt x="5847746" y="6539965"/>
                  <a:pt x="5847746" y="6539965"/>
                  <a:pt x="5847746" y="6536441"/>
                </a:cubicBezTo>
                <a:cubicBezTo>
                  <a:pt x="5840734" y="6522344"/>
                  <a:pt x="5826710" y="6508248"/>
                  <a:pt x="5812688" y="6497675"/>
                </a:cubicBezTo>
                <a:cubicBezTo>
                  <a:pt x="5812688" y="6497675"/>
                  <a:pt x="5819699" y="6480054"/>
                  <a:pt x="5819699" y="6480054"/>
                </a:cubicBezTo>
                <a:cubicBezTo>
                  <a:pt x="5837228" y="6483578"/>
                  <a:pt x="5854757" y="6483578"/>
                  <a:pt x="5872286" y="6480054"/>
                </a:cubicBezTo>
                <a:cubicBezTo>
                  <a:pt x="5872286" y="6480054"/>
                  <a:pt x="5872286" y="6480054"/>
                  <a:pt x="5872286" y="6476530"/>
                </a:cubicBezTo>
                <a:cubicBezTo>
                  <a:pt x="5875792" y="6473006"/>
                  <a:pt x="5879298" y="6462434"/>
                  <a:pt x="5879298" y="6455385"/>
                </a:cubicBezTo>
                <a:cubicBezTo>
                  <a:pt x="5865275" y="6441288"/>
                  <a:pt x="5851251" y="6434240"/>
                  <a:pt x="5833722" y="6427192"/>
                </a:cubicBezTo>
                <a:cubicBezTo>
                  <a:pt x="5833722" y="6427192"/>
                  <a:pt x="5833722" y="6409571"/>
                  <a:pt x="5837228" y="6406047"/>
                </a:cubicBezTo>
                <a:cubicBezTo>
                  <a:pt x="5854757" y="6406047"/>
                  <a:pt x="5872286" y="6402523"/>
                  <a:pt x="5886310" y="6391950"/>
                </a:cubicBezTo>
                <a:cubicBezTo>
                  <a:pt x="5889815" y="6388425"/>
                  <a:pt x="5889815" y="6384901"/>
                  <a:pt x="5889815" y="6381377"/>
                </a:cubicBezTo>
                <a:cubicBezTo>
                  <a:pt x="5889815" y="6377853"/>
                  <a:pt x="5889815" y="6374329"/>
                  <a:pt x="5886310" y="6370805"/>
                </a:cubicBezTo>
                <a:cubicBezTo>
                  <a:pt x="5886310" y="6370805"/>
                  <a:pt x="5886310" y="6370805"/>
                  <a:pt x="5886310" y="6367281"/>
                </a:cubicBezTo>
                <a:cubicBezTo>
                  <a:pt x="5872286" y="6360232"/>
                  <a:pt x="5854757" y="6353183"/>
                  <a:pt x="5837228" y="6353183"/>
                </a:cubicBezTo>
                <a:cubicBezTo>
                  <a:pt x="5837228" y="6353183"/>
                  <a:pt x="5833722" y="6335563"/>
                  <a:pt x="5833722" y="6332039"/>
                </a:cubicBezTo>
                <a:cubicBezTo>
                  <a:pt x="5851251" y="6328515"/>
                  <a:pt x="5868780" y="6317942"/>
                  <a:pt x="5879298" y="6307370"/>
                </a:cubicBezTo>
                <a:cubicBezTo>
                  <a:pt x="5879298" y="6307370"/>
                  <a:pt x="5879298" y="6307370"/>
                  <a:pt x="5879298" y="6303845"/>
                </a:cubicBezTo>
                <a:cubicBezTo>
                  <a:pt x="5879298" y="6296797"/>
                  <a:pt x="5875792" y="6289749"/>
                  <a:pt x="5872286" y="6282700"/>
                </a:cubicBezTo>
                <a:cubicBezTo>
                  <a:pt x="5854757" y="6279176"/>
                  <a:pt x="5837228" y="6279176"/>
                  <a:pt x="5819699" y="6282700"/>
                </a:cubicBezTo>
                <a:cubicBezTo>
                  <a:pt x="5819699" y="6279176"/>
                  <a:pt x="5812688" y="6265080"/>
                  <a:pt x="5812688" y="6261556"/>
                </a:cubicBezTo>
                <a:cubicBezTo>
                  <a:pt x="5826710" y="6250982"/>
                  <a:pt x="5840734" y="6240410"/>
                  <a:pt x="5847746" y="6222789"/>
                </a:cubicBezTo>
                <a:cubicBezTo>
                  <a:pt x="5847746" y="6215741"/>
                  <a:pt x="5840734" y="6208692"/>
                  <a:pt x="5837228" y="6205168"/>
                </a:cubicBezTo>
                <a:cubicBezTo>
                  <a:pt x="5837228" y="6205168"/>
                  <a:pt x="5837228" y="6205168"/>
                  <a:pt x="5837228" y="6201644"/>
                </a:cubicBezTo>
                <a:cubicBezTo>
                  <a:pt x="5819699" y="6201644"/>
                  <a:pt x="5802170" y="6208692"/>
                  <a:pt x="5784641" y="6215741"/>
                </a:cubicBezTo>
                <a:cubicBezTo>
                  <a:pt x="5784641" y="6215741"/>
                  <a:pt x="5774123" y="6201644"/>
                  <a:pt x="5770617" y="6198120"/>
                </a:cubicBezTo>
                <a:cubicBezTo>
                  <a:pt x="5784641" y="6184023"/>
                  <a:pt x="5795158" y="6169927"/>
                  <a:pt x="5798664" y="6152305"/>
                </a:cubicBezTo>
                <a:cubicBezTo>
                  <a:pt x="5795158" y="6145257"/>
                  <a:pt x="5788146" y="6138209"/>
                  <a:pt x="5781135" y="6134685"/>
                </a:cubicBezTo>
                <a:cubicBezTo>
                  <a:pt x="5763606" y="6138209"/>
                  <a:pt x="5749583" y="6148781"/>
                  <a:pt x="5735559" y="6162879"/>
                </a:cubicBezTo>
                <a:cubicBezTo>
                  <a:pt x="5732054" y="6159354"/>
                  <a:pt x="5718030" y="6148781"/>
                  <a:pt x="5718030" y="6148781"/>
                </a:cubicBezTo>
                <a:cubicBezTo>
                  <a:pt x="5725042" y="6131161"/>
                  <a:pt x="5732054" y="6113540"/>
                  <a:pt x="5732054" y="6095919"/>
                </a:cubicBezTo>
                <a:cubicBezTo>
                  <a:pt x="5725042" y="6092395"/>
                  <a:pt x="5718030" y="6085346"/>
                  <a:pt x="5711019" y="6085346"/>
                </a:cubicBezTo>
                <a:cubicBezTo>
                  <a:pt x="5696995" y="6092395"/>
                  <a:pt x="5682972" y="6106491"/>
                  <a:pt x="5672454" y="6120588"/>
                </a:cubicBezTo>
                <a:cubicBezTo>
                  <a:pt x="5668949" y="6120588"/>
                  <a:pt x="5654925" y="6113540"/>
                  <a:pt x="5651420" y="6113540"/>
                </a:cubicBezTo>
                <a:cubicBezTo>
                  <a:pt x="5654925" y="6102967"/>
                  <a:pt x="5654925" y="6095919"/>
                  <a:pt x="5654925" y="6085346"/>
                </a:cubicBezTo>
                <a:cubicBezTo>
                  <a:pt x="5654925" y="6074774"/>
                  <a:pt x="5654925" y="6067726"/>
                  <a:pt x="5651420" y="6060677"/>
                </a:cubicBezTo>
                <a:cubicBezTo>
                  <a:pt x="5651420" y="6060677"/>
                  <a:pt x="5651420" y="6060677"/>
                  <a:pt x="5651420" y="6057153"/>
                </a:cubicBezTo>
                <a:cubicBezTo>
                  <a:pt x="5644408" y="6057153"/>
                  <a:pt x="5637396" y="6053629"/>
                  <a:pt x="5630385" y="6053629"/>
                </a:cubicBezTo>
                <a:cubicBezTo>
                  <a:pt x="5630385" y="6053629"/>
                  <a:pt x="5630385" y="6053629"/>
                  <a:pt x="5626879" y="6053629"/>
                </a:cubicBezTo>
                <a:cubicBezTo>
                  <a:pt x="5616361" y="6064201"/>
                  <a:pt x="5605844" y="6081822"/>
                  <a:pt x="5602339" y="6099443"/>
                </a:cubicBezTo>
                <a:cubicBezTo>
                  <a:pt x="5598832" y="6099443"/>
                  <a:pt x="5581303" y="6095919"/>
                  <a:pt x="5577798" y="6095919"/>
                </a:cubicBezTo>
                <a:cubicBezTo>
                  <a:pt x="5577798" y="6078298"/>
                  <a:pt x="5574291" y="6060677"/>
                  <a:pt x="5563774" y="6043056"/>
                </a:cubicBezTo>
                <a:cubicBezTo>
                  <a:pt x="5556763" y="6043056"/>
                  <a:pt x="5549751" y="6043056"/>
                  <a:pt x="5542739" y="6043056"/>
                </a:cubicBezTo>
                <a:close/>
                <a:moveTo>
                  <a:pt x="0" y="0"/>
                </a:moveTo>
                <a:lnTo>
                  <a:pt x="6096000" y="0"/>
                </a:lnTo>
                <a:lnTo>
                  <a:pt x="6096000" y="6858000"/>
                </a:lnTo>
                <a:lnTo>
                  <a:pt x="0" y="6858000"/>
                </a:lnTo>
                <a:close/>
              </a:path>
            </a:pathLst>
          </a:custGeom>
          <a:solidFill>
            <a:srgbClr val="01B4E7">
              <a:alpha val="60000"/>
            </a:srgbClr>
          </a:solidFill>
        </p:spPr>
        <p:txBody>
          <a:bodyPr vert="horz" wrap="square" lIns="91440" tIns="45720" rIns="91440" bIns="45720" rtlCol="0" anchor="b">
            <a:noAutofit/>
          </a:bodyPr>
          <a:lstStyle>
            <a:lvl1pPr>
              <a:defRPr lang="en-US" dirty="0">
                <a:solidFill>
                  <a:schemeClr val="tx1">
                    <a:alpha val="0"/>
                  </a:schemeClr>
                </a:solidFill>
              </a:defRPr>
            </a:lvl1pPr>
          </a:lstStyle>
          <a:p>
            <a:pPr marL="0" lvl="0" indent="0" algn="r">
              <a:buNone/>
            </a:pPr>
            <a:r>
              <a:rPr lang="en-US" dirty="0"/>
              <a:t> </a:t>
            </a:r>
          </a:p>
        </p:txBody>
      </p:sp>
      <p:sp>
        <p:nvSpPr>
          <p:cNvPr id="7" name="Text Placeholder 11">
            <a:extLst>
              <a:ext uri="{FF2B5EF4-FFF2-40B4-BE49-F238E27FC236}">
                <a16:creationId xmlns:a16="http://schemas.microsoft.com/office/drawing/2014/main" id="{1E089F70-69C6-4742-888F-F432A72B657B}"/>
              </a:ext>
            </a:extLst>
          </p:cNvPr>
          <p:cNvSpPr>
            <a:spLocks noGrp="1"/>
          </p:cNvSpPr>
          <p:nvPr>
            <p:ph type="body" sz="quarter" idx="14" hasCustomPrompt="1"/>
          </p:nvPr>
        </p:nvSpPr>
        <p:spPr>
          <a:xfrm>
            <a:off x="6879771"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3300" b="1" cap="all" baseline="0">
                <a:solidFill>
                  <a:schemeClr val="bg1"/>
                </a:solidFill>
                <a:latin typeface="+mj-lt"/>
              </a:defRPr>
            </a:lvl1pPr>
            <a:lvl2pPr marL="0" indent="0">
              <a:buNone/>
              <a:defRPr sz="1500">
                <a:solidFill>
                  <a:schemeClr val="bg1"/>
                </a:solidFill>
              </a:defRPr>
            </a:lvl2pPr>
            <a:lvl3pPr>
              <a:defRPr sz="1350"/>
            </a:lvl3pPr>
            <a:lvl4pPr>
              <a:defRPr sz="1200"/>
            </a:lvl4pPr>
            <a:lvl5pPr>
              <a:defRPr sz="1200"/>
            </a:lvl5pPr>
          </a:lstStyle>
          <a:p>
            <a:pPr lvl="0"/>
            <a:r>
              <a:rPr lang="en-US" dirty="0"/>
              <a:t>Title</a:t>
            </a:r>
          </a:p>
        </p:txBody>
      </p:sp>
      <p:sp>
        <p:nvSpPr>
          <p:cNvPr id="20" name="Subtitle 2">
            <a:extLst>
              <a:ext uri="{FF2B5EF4-FFF2-40B4-BE49-F238E27FC236}">
                <a16:creationId xmlns:a16="http://schemas.microsoft.com/office/drawing/2014/main" id="{3A65FA18-26F9-4DF9-BC04-CBF7083ECA8E}"/>
              </a:ext>
            </a:extLst>
          </p:cNvPr>
          <p:cNvSpPr>
            <a:spLocks noGrp="1"/>
          </p:cNvSpPr>
          <p:nvPr>
            <p:ph type="subTitle" idx="1"/>
          </p:nvPr>
        </p:nvSpPr>
        <p:spPr>
          <a:xfrm>
            <a:off x="6871305" y="3383632"/>
            <a:ext cx="4986867" cy="1975764"/>
          </a:xfrm>
        </p:spPr>
        <p:txBody>
          <a:bodyPr>
            <a:normAutofit/>
          </a:bodyPr>
          <a:lstStyle>
            <a:lvl1pPr marL="0" indent="0" algn="l">
              <a:buNone/>
              <a:defRPr sz="16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308019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6EAAB-7FEE-4F68-883D-EBA6B0F104AC}"/>
              </a:ext>
            </a:extLst>
          </p:cNvPr>
          <p:cNvSpPr/>
          <p:nvPr userDrawn="1"/>
        </p:nvSpPr>
        <p:spPr>
          <a:xfrm>
            <a:off x="0" y="0"/>
            <a:ext cx="12192000" cy="68580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hidden="1">
            <a:extLst>
              <a:ext uri="{FF2B5EF4-FFF2-40B4-BE49-F238E27FC236}">
                <a16:creationId xmlns:a16="http://schemas.microsoft.com/office/drawing/2014/main" id="{690739EB-94C1-4415-B19F-879B952D09F0}"/>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50000"/>
                  </a:schemeClr>
                </a:solidFill>
              </a:rPr>
              <a:t>© 2019 Rotary International. Internal Use Only. Not For Distribution. Private and Confidential.</a:t>
            </a:r>
          </a:p>
        </p:txBody>
      </p:sp>
      <p:sp>
        <p:nvSpPr>
          <p:cNvPr id="5" name="Slide Number Placeholder 5">
            <a:extLst>
              <a:ext uri="{FF2B5EF4-FFF2-40B4-BE49-F238E27FC236}">
                <a16:creationId xmlns:a16="http://schemas.microsoft.com/office/drawing/2014/main" id="{498B72DB-9B3F-4174-946B-11B970D5D543}"/>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a:t>
            </a:fld>
            <a:endParaRPr lang="en-US" dirty="0"/>
          </a:p>
        </p:txBody>
      </p:sp>
    </p:spTree>
    <p:extLst>
      <p:ext uri="{BB962C8B-B14F-4D97-AF65-F5344CB8AC3E}">
        <p14:creationId xmlns:p14="http://schemas.microsoft.com/office/powerpoint/2010/main" val="22506388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FD90A5B-A048-4B19-8F52-8094F1D3050B}"/>
              </a:ext>
            </a:extLst>
          </p:cNvPr>
          <p:cNvSpPr>
            <a:spLocks noGrp="1"/>
          </p:cNvSpPr>
          <p:nvPr>
            <p:ph type="pic" sz="quarter" idx="13"/>
          </p:nvPr>
        </p:nvSpPr>
        <p:spPr>
          <a:xfrm>
            <a:off x="1" y="0"/>
            <a:ext cx="6096001" cy="6858000"/>
          </a:xfrm>
          <a:custGeom>
            <a:avLst/>
            <a:gdLst>
              <a:gd name="connsiteX0" fmla="*/ 1 w 6096001"/>
              <a:gd name="connsiteY0" fmla="*/ 0 h 6858000"/>
              <a:gd name="connsiteX1" fmla="*/ 6096001 w 6096001"/>
              <a:gd name="connsiteY1" fmla="*/ 0 h 6858000"/>
              <a:gd name="connsiteX2" fmla="*/ 6096001 w 6096001"/>
              <a:gd name="connsiteY2" fmla="*/ 6858000 h 6858000"/>
              <a:gd name="connsiteX3" fmla="*/ 4539049 w 6096001"/>
              <a:gd name="connsiteY3" fmla="*/ 6858000 h 6858000"/>
              <a:gd name="connsiteX4" fmla="*/ 1 w 6096001"/>
              <a:gd name="connsiteY4" fmla="*/ 6858000 h 6858000"/>
              <a:gd name="connsiteX5" fmla="*/ 0 w 6096001"/>
              <a:gd name="connsiteY5" fmla="*/ 6858000 h 6858000"/>
              <a:gd name="connsiteX6" fmla="*/ 0 w 6096001"/>
              <a:gd name="connsiteY6" fmla="*/ 6273113 h 6858000"/>
              <a:gd name="connsiteX7" fmla="*/ 1 w 6096001"/>
              <a:gd name="connsiteY7"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001" h="6858000">
                <a:moveTo>
                  <a:pt x="1" y="0"/>
                </a:moveTo>
                <a:lnTo>
                  <a:pt x="6096001" y="0"/>
                </a:lnTo>
                <a:lnTo>
                  <a:pt x="6096001" y="6858000"/>
                </a:lnTo>
                <a:lnTo>
                  <a:pt x="4539049" y="6858000"/>
                </a:lnTo>
                <a:lnTo>
                  <a:pt x="1" y="6858000"/>
                </a:lnTo>
                <a:lnTo>
                  <a:pt x="0" y="6858000"/>
                </a:lnTo>
                <a:lnTo>
                  <a:pt x="0" y="6273113"/>
                </a:lnTo>
                <a:lnTo>
                  <a:pt x="1" y="6273113"/>
                </a:lnTo>
                <a:close/>
              </a:path>
            </a:pathLst>
          </a:custGeom>
        </p:spPr>
        <p:txBody>
          <a:bodyPr wrap="square">
            <a:noAutofit/>
          </a:bodyPr>
          <a:lstStyle/>
          <a:p>
            <a:endParaRPr lang="en-US" dirty="0"/>
          </a:p>
        </p:txBody>
      </p:sp>
      <p:sp>
        <p:nvSpPr>
          <p:cNvPr id="19" name="Text Placeholder 18">
            <a:extLst>
              <a:ext uri="{FF2B5EF4-FFF2-40B4-BE49-F238E27FC236}">
                <a16:creationId xmlns:a16="http://schemas.microsoft.com/office/drawing/2014/main" id="{7E3D8B2A-F4E2-4C5C-8C97-DF59F5F89A17}"/>
              </a:ext>
            </a:extLst>
          </p:cNvPr>
          <p:cNvSpPr>
            <a:spLocks noGrp="1"/>
          </p:cNvSpPr>
          <p:nvPr>
            <p:ph type="body" sz="quarter" idx="16" hasCustomPrompt="1"/>
          </p:nvPr>
        </p:nvSpPr>
        <p:spPr>
          <a:xfrm>
            <a:off x="6096001" y="0"/>
            <a:ext cx="6096000" cy="6858000"/>
          </a:xfrm>
          <a:solidFill>
            <a:srgbClr val="48595D"/>
          </a:solidFill>
        </p:spPr>
        <p:txBody>
          <a:bodyPr anchor="b"/>
          <a:lstStyle>
            <a:lvl1pPr marL="0" indent="0" algn="r">
              <a:buNone/>
              <a:defRPr>
                <a:solidFill>
                  <a:schemeClr val="tx1">
                    <a:alpha val="0"/>
                  </a:schemeClr>
                </a:solidFill>
              </a:defRPr>
            </a:lvl1pPr>
          </a:lstStyle>
          <a:p>
            <a:pPr lvl="0"/>
            <a:r>
              <a:rPr lang="en-US" dirty="0"/>
              <a:t>c</a:t>
            </a:r>
          </a:p>
        </p:txBody>
      </p:sp>
      <p:sp>
        <p:nvSpPr>
          <p:cNvPr id="7" name="Text Placeholder 11">
            <a:extLst>
              <a:ext uri="{FF2B5EF4-FFF2-40B4-BE49-F238E27FC236}">
                <a16:creationId xmlns:a16="http://schemas.microsoft.com/office/drawing/2014/main" id="{1E089F70-69C6-4742-888F-F432A72B657B}"/>
              </a:ext>
            </a:extLst>
          </p:cNvPr>
          <p:cNvSpPr>
            <a:spLocks noGrp="1"/>
          </p:cNvSpPr>
          <p:nvPr>
            <p:ph type="body" sz="quarter" idx="14" hasCustomPrompt="1"/>
          </p:nvPr>
        </p:nvSpPr>
        <p:spPr>
          <a:xfrm>
            <a:off x="6879771"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3300" b="1" cap="all" baseline="0">
                <a:solidFill>
                  <a:schemeClr val="bg1"/>
                </a:solidFill>
                <a:latin typeface="+mj-lt"/>
              </a:defRPr>
            </a:lvl1pPr>
            <a:lvl2pPr marL="0" indent="0">
              <a:buNone/>
              <a:defRPr sz="1500">
                <a:solidFill>
                  <a:schemeClr val="bg1"/>
                </a:solidFill>
              </a:defRPr>
            </a:lvl2pPr>
            <a:lvl3pPr>
              <a:defRPr sz="1350"/>
            </a:lvl3pPr>
            <a:lvl4pPr>
              <a:defRPr sz="1200"/>
            </a:lvl4pPr>
            <a:lvl5pPr>
              <a:defRPr sz="1200"/>
            </a:lvl5pPr>
          </a:lstStyle>
          <a:p>
            <a:pPr lvl="0"/>
            <a:r>
              <a:rPr lang="en-US" dirty="0"/>
              <a:t>Title</a:t>
            </a:r>
          </a:p>
        </p:txBody>
      </p:sp>
      <p:sp>
        <p:nvSpPr>
          <p:cNvPr id="20" name="Subtitle 2">
            <a:extLst>
              <a:ext uri="{FF2B5EF4-FFF2-40B4-BE49-F238E27FC236}">
                <a16:creationId xmlns:a16="http://schemas.microsoft.com/office/drawing/2014/main" id="{3A65FA18-26F9-4DF9-BC04-CBF7083ECA8E}"/>
              </a:ext>
            </a:extLst>
          </p:cNvPr>
          <p:cNvSpPr>
            <a:spLocks noGrp="1"/>
          </p:cNvSpPr>
          <p:nvPr>
            <p:ph type="subTitle" idx="1"/>
          </p:nvPr>
        </p:nvSpPr>
        <p:spPr>
          <a:xfrm>
            <a:off x="6871305" y="3383632"/>
            <a:ext cx="4986867" cy="1975764"/>
          </a:xfrm>
        </p:spPr>
        <p:txBody>
          <a:bodyPr>
            <a:normAutofit/>
          </a:bodyPr>
          <a:lstStyle>
            <a:lvl1pPr marL="0" indent="0" algn="l">
              <a:buNone/>
              <a:defRPr sz="16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5211560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C7DB56AF-4B87-40BA-AACA-91EF23DAEF6B}"/>
              </a:ext>
            </a:extLst>
          </p:cNvPr>
          <p:cNvSpPr/>
          <p:nvPr userDrawn="1"/>
        </p:nvSpPr>
        <p:spPr>
          <a:xfrm>
            <a:off x="0" y="1128584"/>
            <a:ext cx="12192000" cy="5729416"/>
          </a:xfrm>
          <a:custGeom>
            <a:avLst/>
            <a:gdLst>
              <a:gd name="connsiteX0" fmla="*/ 0 w 12192000"/>
              <a:gd name="connsiteY0" fmla="*/ 0 h 5317958"/>
              <a:gd name="connsiteX1" fmla="*/ 12192000 w 12192000"/>
              <a:gd name="connsiteY1" fmla="*/ 0 h 5317958"/>
              <a:gd name="connsiteX2" fmla="*/ 12192000 w 12192000"/>
              <a:gd name="connsiteY2" fmla="*/ 5317958 h 5317958"/>
              <a:gd name="connsiteX3" fmla="*/ 4539049 w 12192000"/>
              <a:gd name="connsiteY3" fmla="*/ 5317958 h 5317958"/>
              <a:gd name="connsiteX4" fmla="*/ 0 w 12192000"/>
              <a:gd name="connsiteY4" fmla="*/ 5317958 h 5317958"/>
              <a:gd name="connsiteX5" fmla="*/ 0 w 12192000"/>
              <a:gd name="connsiteY5" fmla="*/ 4733071 h 531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317958">
                <a:moveTo>
                  <a:pt x="0" y="0"/>
                </a:moveTo>
                <a:lnTo>
                  <a:pt x="12192000" y="0"/>
                </a:lnTo>
                <a:lnTo>
                  <a:pt x="12192000" y="5317958"/>
                </a:lnTo>
                <a:lnTo>
                  <a:pt x="4539049" y="5317958"/>
                </a:lnTo>
                <a:lnTo>
                  <a:pt x="0" y="5317958"/>
                </a:lnTo>
                <a:lnTo>
                  <a:pt x="0" y="4733071"/>
                </a:lnTo>
                <a:close/>
              </a:path>
            </a:pathLst>
          </a:cu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solidFill>
                <a:schemeClr val="bg1"/>
              </a:solidFill>
            </a:endParaRPr>
          </a:p>
        </p:txBody>
      </p:sp>
      <p:sp>
        <p:nvSpPr>
          <p:cNvPr id="3" name="Content Placeholder 2">
            <a:extLst>
              <a:ext uri="{FF2B5EF4-FFF2-40B4-BE49-F238E27FC236}">
                <a16:creationId xmlns:a16="http://schemas.microsoft.com/office/drawing/2014/main" id="{1CB3414E-C904-4B15-A237-DF3734E0E7F1}"/>
              </a:ext>
            </a:extLst>
          </p:cNvPr>
          <p:cNvSpPr>
            <a:spLocks noGrp="1"/>
          </p:cNvSpPr>
          <p:nvPr>
            <p:ph idx="1"/>
          </p:nvPr>
        </p:nvSpPr>
        <p:spPr>
          <a:xfrm>
            <a:off x="381001" y="1449860"/>
            <a:ext cx="11506199" cy="5033319"/>
          </a:xfrm>
        </p:spPr>
        <p:txBody>
          <a:bodyPr>
            <a:normAutofit/>
          </a:bodyPr>
          <a:lstStyle>
            <a:lvl1pPr>
              <a:defRPr sz="1800">
                <a:solidFill>
                  <a:schemeClr val="bg1"/>
                </a:solidFill>
              </a:defRPr>
            </a:lvl1pPr>
            <a:lvl2pPr marL="342900" indent="-171450">
              <a:defRPr sz="1500">
                <a:solidFill>
                  <a:schemeClr val="bg1"/>
                </a:solidFill>
              </a:defRPr>
            </a:lvl2pPr>
            <a:lvl3pPr marL="514350" indent="-171450">
              <a:defRPr sz="1350">
                <a:solidFill>
                  <a:schemeClr val="bg1"/>
                </a:solidFill>
              </a:defRPr>
            </a:lvl3pPr>
            <a:lvl4pPr marL="685800" indent="-171450">
              <a:defRPr sz="1200">
                <a:solidFill>
                  <a:schemeClr val="bg1"/>
                </a:solidFill>
              </a:defRPr>
            </a:lvl4pPr>
            <a:lvl5pPr marL="857250" indent="-171450">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a:extLst>
              <a:ext uri="{FF2B5EF4-FFF2-40B4-BE49-F238E27FC236}">
                <a16:creationId xmlns:a16="http://schemas.microsoft.com/office/drawing/2014/main" id="{AA8D5CE7-BEF2-4FE4-B11E-5B9925320D00}"/>
              </a:ext>
            </a:extLst>
          </p:cNvPr>
          <p:cNvSpPr>
            <a:spLocks noGrp="1"/>
          </p:cNvSpPr>
          <p:nvPr>
            <p:ph type="title"/>
          </p:nvPr>
        </p:nvSpPr>
        <p:spPr>
          <a:xfrm>
            <a:off x="381000" y="3"/>
            <a:ext cx="11506200" cy="1103869"/>
          </a:xfrm>
        </p:spPr>
        <p:txBody>
          <a:bodyPr tIns="0" bIns="91440" anchor="b"/>
          <a:lstStyle>
            <a:lvl1pPr>
              <a:defRPr cap="all" baseline="0">
                <a:solidFill>
                  <a:srgbClr val="48595D"/>
                </a:solidFill>
              </a:defRPr>
            </a:lvl1pPr>
          </a:lstStyle>
          <a:p>
            <a:r>
              <a:rPr lang="en-US" dirty="0"/>
              <a:t>Click to edit Master title style</a:t>
            </a:r>
          </a:p>
        </p:txBody>
      </p:sp>
      <p:sp>
        <p:nvSpPr>
          <p:cNvPr id="6" name="TextBox 5" hidden="1">
            <a:extLst>
              <a:ext uri="{FF2B5EF4-FFF2-40B4-BE49-F238E27FC236}">
                <a16:creationId xmlns:a16="http://schemas.microsoft.com/office/drawing/2014/main" id="{F881E11F-8C40-406B-8C33-2D779A9666EE}"/>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
        <p:nvSpPr>
          <p:cNvPr id="11" name="Rectangle 10" hidden="1">
            <a:extLst>
              <a:ext uri="{FF2B5EF4-FFF2-40B4-BE49-F238E27FC236}">
                <a16:creationId xmlns:a16="http://schemas.microsoft.com/office/drawing/2014/main" id="{E89C1C0D-FEFF-4DBE-B7EB-C7C2E923BA77}"/>
              </a:ext>
            </a:extLst>
          </p:cNvPr>
          <p:cNvSpPr/>
          <p:nvPr userDrawn="1"/>
        </p:nvSpPr>
        <p:spPr>
          <a:xfrm>
            <a:off x="1" y="6273115"/>
            <a:ext cx="4539049" cy="5848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548417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A776E0-39A8-48D5-80F8-035E16384242}"/>
              </a:ext>
            </a:extLst>
          </p:cNvPr>
          <p:cNvSpPr/>
          <p:nvPr userDrawn="1"/>
        </p:nvSpPr>
        <p:spPr>
          <a:xfrm>
            <a:off x="0" y="0"/>
            <a:ext cx="12192000" cy="6858000"/>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Content Placeholder 2">
            <a:extLst>
              <a:ext uri="{FF2B5EF4-FFF2-40B4-BE49-F238E27FC236}">
                <a16:creationId xmlns:a16="http://schemas.microsoft.com/office/drawing/2014/main" id="{1CB3414E-C904-4B15-A237-DF3734E0E7F1}"/>
              </a:ext>
            </a:extLst>
          </p:cNvPr>
          <p:cNvSpPr>
            <a:spLocks noGrp="1"/>
          </p:cNvSpPr>
          <p:nvPr>
            <p:ph idx="1"/>
          </p:nvPr>
        </p:nvSpPr>
        <p:spPr>
          <a:xfrm>
            <a:off x="381001" y="1738186"/>
            <a:ext cx="11506199" cy="4893275"/>
          </a:xfrm>
        </p:spPr>
        <p:txBody>
          <a:bodyPr>
            <a:normAutofit/>
          </a:bodyPr>
          <a:lstStyle>
            <a:lvl1pPr>
              <a:defRPr sz="1800">
                <a:solidFill>
                  <a:schemeClr val="bg1"/>
                </a:solidFill>
              </a:defRPr>
            </a:lvl1pPr>
            <a:lvl2pPr marL="342900" indent="-171450">
              <a:defRPr sz="1500">
                <a:solidFill>
                  <a:schemeClr val="bg1"/>
                </a:solidFill>
              </a:defRPr>
            </a:lvl2pPr>
            <a:lvl3pPr marL="514350" indent="-171450">
              <a:defRPr sz="1350">
                <a:solidFill>
                  <a:schemeClr val="bg1"/>
                </a:solidFill>
              </a:defRPr>
            </a:lvl3pPr>
            <a:lvl4pPr marL="685800" indent="-171450">
              <a:defRPr sz="1200">
                <a:solidFill>
                  <a:schemeClr val="bg1"/>
                </a:solidFill>
              </a:defRPr>
            </a:lvl4pPr>
            <a:lvl5pPr marL="857250" indent="-171450">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AEE19C2C-CAF3-4741-8F52-00E4422A13F8}"/>
              </a:ext>
            </a:extLst>
          </p:cNvPr>
          <p:cNvSpPr>
            <a:spLocks noGrp="1"/>
          </p:cNvSpPr>
          <p:nvPr>
            <p:ph type="title" hasCustomPrompt="1"/>
          </p:nvPr>
        </p:nvSpPr>
        <p:spPr>
          <a:xfrm>
            <a:off x="0" y="3"/>
            <a:ext cx="12192000" cy="939799"/>
          </a:xfrm>
          <a:noFill/>
        </p:spPr>
        <p:txBody>
          <a:bodyPr tIns="274320" bIns="91440" anchor="t">
            <a:normAutofit/>
          </a:bodyPr>
          <a:lstStyle>
            <a:lvl1pPr marL="298847" indent="0">
              <a:defRPr sz="3300" cap="all" baseline="0">
                <a:solidFill>
                  <a:srgbClr val="01B4E7"/>
                </a:solidFill>
              </a:defRPr>
            </a:lvl1pPr>
          </a:lstStyle>
          <a:p>
            <a:r>
              <a:rPr lang="en-US" dirty="0"/>
              <a:t>PHOTO HEADER WITH TEXT Subhead</a:t>
            </a:r>
          </a:p>
        </p:txBody>
      </p:sp>
      <p:sp>
        <p:nvSpPr>
          <p:cNvPr id="10" name="Subtitle 2">
            <a:extLst>
              <a:ext uri="{FF2B5EF4-FFF2-40B4-BE49-F238E27FC236}">
                <a16:creationId xmlns:a16="http://schemas.microsoft.com/office/drawing/2014/main" id="{3B73BEBA-ADDE-40D0-AC62-4FF8FDDBEAA5}"/>
              </a:ext>
            </a:extLst>
          </p:cNvPr>
          <p:cNvSpPr>
            <a:spLocks noGrp="1"/>
          </p:cNvSpPr>
          <p:nvPr>
            <p:ph type="subTitle" idx="13"/>
          </p:nvPr>
        </p:nvSpPr>
        <p:spPr>
          <a:xfrm>
            <a:off x="380999" y="1012898"/>
            <a:ext cx="11365895" cy="600002"/>
          </a:xfrm>
        </p:spPr>
        <p:txBody>
          <a:bodyPr>
            <a:normAutofit/>
          </a:bodyPr>
          <a:lstStyle>
            <a:lvl1pPr marL="0" indent="0" algn="l">
              <a:buNone/>
              <a:defRPr sz="21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8" name="TextBox 7" hidden="1">
            <a:extLst>
              <a:ext uri="{FF2B5EF4-FFF2-40B4-BE49-F238E27FC236}">
                <a16:creationId xmlns:a16="http://schemas.microsoft.com/office/drawing/2014/main" id="{C74794E8-6A05-4ADA-8C35-21FE1E2A9FCB}"/>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Tree>
    <p:extLst>
      <p:ext uri="{BB962C8B-B14F-4D97-AF65-F5344CB8AC3E}">
        <p14:creationId xmlns:p14="http://schemas.microsoft.com/office/powerpoint/2010/main" val="4855657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AD84134-AF73-4C60-A1A9-43F1411D04B1}"/>
              </a:ext>
            </a:extLst>
          </p:cNvPr>
          <p:cNvSpPr>
            <a:spLocks noGrp="1"/>
          </p:cNvSpPr>
          <p:nvPr>
            <p:ph type="pic" sz="quarter" idx="13"/>
          </p:nvPr>
        </p:nvSpPr>
        <p:spPr>
          <a:xfrm>
            <a:off x="1" y="1"/>
            <a:ext cx="12192000" cy="1828800"/>
          </a:xfrm>
        </p:spPr>
        <p:txBody>
          <a:bodyPr/>
          <a:lstStyle/>
          <a:p>
            <a:endParaRPr lang="en-US" dirty="0"/>
          </a:p>
        </p:txBody>
      </p:sp>
      <p:sp>
        <p:nvSpPr>
          <p:cNvPr id="7" name="Rectangle 6">
            <a:extLst>
              <a:ext uri="{FF2B5EF4-FFF2-40B4-BE49-F238E27FC236}">
                <a16:creationId xmlns:a16="http://schemas.microsoft.com/office/drawing/2014/main" id="{88A776E0-39A8-48D5-80F8-035E16384242}"/>
              </a:ext>
            </a:extLst>
          </p:cNvPr>
          <p:cNvSpPr/>
          <p:nvPr userDrawn="1"/>
        </p:nvSpPr>
        <p:spPr>
          <a:xfrm>
            <a:off x="0" y="1812326"/>
            <a:ext cx="12192000" cy="5045675"/>
          </a:xfrm>
          <a:prstGeom prst="rect">
            <a:avLst/>
          </a:prstGeom>
          <a:solidFill>
            <a:srgbClr val="4859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Content Placeholder 2">
            <a:extLst>
              <a:ext uri="{FF2B5EF4-FFF2-40B4-BE49-F238E27FC236}">
                <a16:creationId xmlns:a16="http://schemas.microsoft.com/office/drawing/2014/main" id="{1CB3414E-C904-4B15-A237-DF3734E0E7F1}"/>
              </a:ext>
            </a:extLst>
          </p:cNvPr>
          <p:cNvSpPr>
            <a:spLocks noGrp="1"/>
          </p:cNvSpPr>
          <p:nvPr>
            <p:ph idx="1"/>
          </p:nvPr>
        </p:nvSpPr>
        <p:spPr>
          <a:xfrm>
            <a:off x="381001" y="2141840"/>
            <a:ext cx="11506199" cy="4299443"/>
          </a:xfrm>
        </p:spPr>
        <p:txBody>
          <a:bodyPr>
            <a:normAutofit/>
          </a:bodyPr>
          <a:lstStyle>
            <a:lvl1pPr>
              <a:defRPr sz="1800">
                <a:solidFill>
                  <a:schemeClr val="bg1"/>
                </a:solidFill>
              </a:defRPr>
            </a:lvl1pPr>
            <a:lvl2pPr marL="342900" indent="-171450">
              <a:defRPr sz="1500">
                <a:solidFill>
                  <a:schemeClr val="bg1"/>
                </a:solidFill>
              </a:defRPr>
            </a:lvl2pPr>
            <a:lvl3pPr marL="514350" indent="-171450">
              <a:defRPr sz="1350">
                <a:solidFill>
                  <a:schemeClr val="bg1"/>
                </a:solidFill>
              </a:defRPr>
            </a:lvl3pPr>
            <a:lvl4pPr marL="685800" indent="-171450">
              <a:defRPr sz="1200">
                <a:solidFill>
                  <a:schemeClr val="bg1"/>
                </a:solidFill>
              </a:defRPr>
            </a:lvl4pPr>
            <a:lvl5pPr marL="857250" indent="-171450">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a:extLst>
              <a:ext uri="{FF2B5EF4-FFF2-40B4-BE49-F238E27FC236}">
                <a16:creationId xmlns:a16="http://schemas.microsoft.com/office/drawing/2014/main" id="{7A3F1B4D-9E1F-465D-AFF7-028507FC44F4}"/>
              </a:ext>
            </a:extLst>
          </p:cNvPr>
          <p:cNvSpPr>
            <a:spLocks noGrp="1"/>
          </p:cNvSpPr>
          <p:nvPr>
            <p:ph type="body" sz="quarter" idx="14"/>
          </p:nvPr>
        </p:nvSpPr>
        <p:spPr>
          <a:xfrm>
            <a:off x="0" y="0"/>
            <a:ext cx="12192000" cy="1828800"/>
          </a:xfrm>
          <a:solidFill>
            <a:srgbClr val="48595D">
              <a:alpha val="70000"/>
            </a:srgbClr>
          </a:solidFill>
        </p:spPr>
        <p:txBody>
          <a:bodyPr lIns="822960" tIns="457200">
            <a:normAutofit/>
          </a:bodyPr>
          <a:lstStyle>
            <a:lvl1pPr marL="0" indent="0">
              <a:buNone/>
              <a:defRPr sz="3300" b="1">
                <a:solidFill>
                  <a:schemeClr val="bg1"/>
                </a:solidFill>
                <a:latin typeface="+mj-lt"/>
              </a:defRPr>
            </a:lvl1pPr>
          </a:lstStyle>
          <a:p>
            <a:pPr lvl="0"/>
            <a:r>
              <a:rPr lang="en-US" dirty="0"/>
              <a:t>Click to edit Master text styles</a:t>
            </a:r>
          </a:p>
        </p:txBody>
      </p:sp>
      <p:sp>
        <p:nvSpPr>
          <p:cNvPr id="8" name="TextBox 7" hidden="1">
            <a:extLst>
              <a:ext uri="{FF2B5EF4-FFF2-40B4-BE49-F238E27FC236}">
                <a16:creationId xmlns:a16="http://schemas.microsoft.com/office/drawing/2014/main" id="{E86D5449-CD56-4478-BDD4-BC492E69988A}"/>
              </a:ext>
            </a:extLst>
          </p:cNvPr>
          <p:cNvSpPr txBox="1"/>
          <p:nvPr userDrawn="1"/>
        </p:nvSpPr>
        <p:spPr>
          <a:xfrm>
            <a:off x="0" y="6673336"/>
            <a:ext cx="9144000" cy="161583"/>
          </a:xfrm>
          <a:prstGeom prst="rect">
            <a:avLst/>
          </a:prstGeom>
          <a:noFill/>
        </p:spPr>
        <p:txBody>
          <a:bodyPr wrap="square" rtlCol="0">
            <a:spAutoFit/>
          </a:bodyPr>
          <a:lstStyle/>
          <a:p>
            <a:r>
              <a:rPr lang="en-US" sz="450" dirty="0">
                <a:solidFill>
                  <a:schemeClr val="bg2">
                    <a:lumMod val="75000"/>
                  </a:schemeClr>
                </a:solidFill>
              </a:rPr>
              <a:t>© 2019 Rotary International. Internal Use Only. Not For Distribution. Private and Confidential.</a:t>
            </a:r>
          </a:p>
        </p:txBody>
      </p:sp>
    </p:spTree>
    <p:extLst>
      <p:ext uri="{BB962C8B-B14F-4D97-AF65-F5344CB8AC3E}">
        <p14:creationId xmlns:p14="http://schemas.microsoft.com/office/powerpoint/2010/main" val="1313495631"/>
      </p:ext>
    </p:extLst>
  </p:cSld>
  <p:clrMapOvr>
    <a:masterClrMapping/>
  </p:clrMapOvr>
  <p:extLst>
    <p:ext uri="{DCECCB84-F9BA-43D5-87BE-67443E8EF086}">
      <p15:sldGuideLst xmlns:p15="http://schemas.microsoft.com/office/powerpoint/2012/main">
        <p15:guide id="1" pos="736">
          <p15:clr>
            <a:srgbClr val="FBAE40"/>
          </p15:clr>
        </p15:guide>
        <p15:guide id="2" orient="horz" pos="57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5B3319E-CCFF-4817-B0EF-3F9D7B80EF80}"/>
              </a:ext>
            </a:extLst>
          </p:cNvPr>
          <p:cNvSpPr>
            <a:spLocks noGrp="1"/>
          </p:cNvSpPr>
          <p:nvPr>
            <p:ph type="pic" sz="quarter" idx="13"/>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9" name="Text Placeholder 8">
            <a:extLst>
              <a:ext uri="{FF2B5EF4-FFF2-40B4-BE49-F238E27FC236}">
                <a16:creationId xmlns:a16="http://schemas.microsoft.com/office/drawing/2014/main" id="{51F7105B-D603-475E-A6BE-3F63773D70D4}"/>
              </a:ext>
            </a:extLst>
          </p:cNvPr>
          <p:cNvSpPr>
            <a:spLocks noGrp="1"/>
          </p:cNvSpPr>
          <p:nvPr>
            <p:ph type="body" sz="quarter" idx="16"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rgbClr val="48595D">
              <a:alpha val="70000"/>
            </a:srgbClr>
          </a:solidFill>
        </p:spPr>
        <p:txBody>
          <a:bodyPr wrap="square" tIns="0" bIns="1371600" anchor="b">
            <a:noAutofit/>
          </a:bodyPr>
          <a:lstStyle>
            <a:lvl1pPr marL="342900" indent="0" algn="l">
              <a:buNone/>
              <a:defRPr sz="4950" b="1" cap="all" baseline="0">
                <a:solidFill>
                  <a:schemeClr val="bg1">
                    <a:alpha val="0"/>
                  </a:schemeClr>
                </a:solidFill>
                <a:latin typeface="+mj-lt"/>
              </a:defRPr>
            </a:lvl1pPr>
            <a:lvl2pPr marL="0" indent="0" algn="ctr">
              <a:buNone/>
              <a:defRPr sz="1500">
                <a:solidFill>
                  <a:schemeClr val="bg1"/>
                </a:solidFill>
              </a:defRPr>
            </a:lvl2pPr>
            <a:lvl3pPr>
              <a:defRPr sz="1350"/>
            </a:lvl3pPr>
            <a:lvl4pPr>
              <a:defRPr sz="1200"/>
            </a:lvl4pPr>
            <a:lvl5pPr>
              <a:defRPr sz="1200"/>
            </a:lvl5pPr>
          </a:lstStyle>
          <a:p>
            <a:pPr lvl="0"/>
            <a:r>
              <a:rPr lang="en-US" dirty="0"/>
              <a:t> </a:t>
            </a:r>
          </a:p>
        </p:txBody>
      </p:sp>
      <p:sp>
        <p:nvSpPr>
          <p:cNvPr id="8" name="Text Placeholder 7">
            <a:extLst>
              <a:ext uri="{FF2B5EF4-FFF2-40B4-BE49-F238E27FC236}">
                <a16:creationId xmlns:a16="http://schemas.microsoft.com/office/drawing/2014/main" id="{E5AC0397-2DA6-4540-8C1F-56B2F3337EE9}"/>
              </a:ext>
            </a:extLst>
          </p:cNvPr>
          <p:cNvSpPr>
            <a:spLocks noGrp="1"/>
          </p:cNvSpPr>
          <p:nvPr>
            <p:ph type="body" sz="quarter" idx="14"/>
          </p:nvPr>
        </p:nvSpPr>
        <p:spPr>
          <a:xfrm>
            <a:off x="719139" y="1358902"/>
            <a:ext cx="3860800" cy="2434167"/>
          </a:xfrm>
          <a:noFill/>
          <a:ln w="50800">
            <a:solidFill>
              <a:schemeClr val="bg1"/>
            </a:solidFill>
          </a:ln>
        </p:spPr>
        <p:txBody>
          <a:bodyPr anchor="ctr">
            <a:normAutofit/>
          </a:bodyPr>
          <a:lstStyle>
            <a:lvl1pPr marL="0" indent="0">
              <a:buNone/>
              <a:defRPr sz="2475">
                <a:solidFill>
                  <a:schemeClr val="bg1"/>
                </a:solidFill>
                <a:latin typeface="+mn-lt"/>
              </a:defRPr>
            </a:lvl1pPr>
            <a:lvl2pPr marL="342900" indent="0">
              <a:buFont typeface="Arial" panose="020B0604020202020204" pitchFamily="34" charset="0"/>
              <a:buNone/>
              <a:defRPr sz="2475">
                <a:solidFill>
                  <a:schemeClr val="bg1"/>
                </a:solidFill>
                <a:latin typeface="+mn-lt"/>
              </a:defRPr>
            </a:lvl2pPr>
          </a:lstStyle>
          <a:p>
            <a:pPr lvl="0"/>
            <a:r>
              <a:rPr lang="en-US" dirty="0"/>
              <a:t>Click to edit Master text styles</a:t>
            </a:r>
          </a:p>
          <a:p>
            <a:pPr lvl="1"/>
            <a:endParaRPr lang="en-US" dirty="0"/>
          </a:p>
        </p:txBody>
      </p:sp>
      <p:sp>
        <p:nvSpPr>
          <p:cNvPr id="10" name="Text Placeholder 7">
            <a:extLst>
              <a:ext uri="{FF2B5EF4-FFF2-40B4-BE49-F238E27FC236}">
                <a16:creationId xmlns:a16="http://schemas.microsoft.com/office/drawing/2014/main" id="{CB44E7F6-F31E-4A39-A72C-52DF93197E75}"/>
              </a:ext>
            </a:extLst>
          </p:cNvPr>
          <p:cNvSpPr>
            <a:spLocks noGrp="1"/>
          </p:cNvSpPr>
          <p:nvPr>
            <p:ph type="body" sz="quarter" idx="15"/>
          </p:nvPr>
        </p:nvSpPr>
        <p:spPr>
          <a:xfrm>
            <a:off x="719139" y="3793068"/>
            <a:ext cx="3860800" cy="651932"/>
          </a:xfrm>
          <a:noFill/>
          <a:ln w="50800">
            <a:solidFill>
              <a:schemeClr val="bg1"/>
            </a:solidFill>
          </a:ln>
        </p:spPr>
        <p:txBody>
          <a:bodyPr tIns="0" bIns="0" anchor="ctr">
            <a:noAutofit/>
          </a:bodyPr>
          <a:lstStyle>
            <a:lvl1pPr marL="0" indent="0">
              <a:buNone/>
              <a:defRPr sz="2475">
                <a:solidFill>
                  <a:schemeClr val="bg1"/>
                </a:solidFill>
                <a:latin typeface="+mn-lt"/>
              </a:defRPr>
            </a:lvl1pPr>
            <a:lvl2pPr marL="342900" indent="0">
              <a:buFont typeface="Arial" panose="020B0604020202020204" pitchFamily="34" charset="0"/>
              <a:buNone/>
              <a:defRPr sz="2475">
                <a:solidFill>
                  <a:schemeClr val="bg1"/>
                </a:solidFill>
                <a:latin typeface="+mn-lt"/>
              </a:defRPr>
            </a:lvl2pPr>
          </a:lstStyle>
          <a:p>
            <a:pPr lvl="0"/>
            <a:r>
              <a:rPr lang="en-US" dirty="0"/>
              <a:t>Click to edit Master</a:t>
            </a:r>
          </a:p>
        </p:txBody>
      </p:sp>
    </p:spTree>
    <p:extLst>
      <p:ext uri="{BB962C8B-B14F-4D97-AF65-F5344CB8AC3E}">
        <p14:creationId xmlns:p14="http://schemas.microsoft.com/office/powerpoint/2010/main" val="413915008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6FF9887C-D76D-4774-9588-585207980050}"/>
              </a:ext>
            </a:extLst>
          </p:cNvPr>
          <p:cNvSpPr>
            <a:spLocks noGrp="1"/>
          </p:cNvSpPr>
          <p:nvPr>
            <p:ph type="pic" sz="quarter" idx="16"/>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p:spPr>
        <p:txBody>
          <a:bodyPr wrap="square">
            <a:noAutofit/>
          </a:bodyPr>
          <a:lstStyle/>
          <a:p>
            <a:endParaRPr lang="en-US" dirty="0"/>
          </a:p>
        </p:txBody>
      </p:sp>
      <p:sp>
        <p:nvSpPr>
          <p:cNvPr id="9" name="Text Placeholder 8">
            <a:extLst>
              <a:ext uri="{FF2B5EF4-FFF2-40B4-BE49-F238E27FC236}">
                <a16:creationId xmlns:a16="http://schemas.microsoft.com/office/drawing/2014/main" id="{50E2BBE3-EB51-42FB-8A2D-CDD7837EED5A}"/>
              </a:ext>
            </a:extLst>
          </p:cNvPr>
          <p:cNvSpPr>
            <a:spLocks noGrp="1"/>
          </p:cNvSpPr>
          <p:nvPr>
            <p:ph type="body" sz="quarter" idx="17" hasCustomPrompt="1"/>
          </p:nvPr>
        </p:nvSpPr>
        <p:spPr>
          <a:xfrm>
            <a:off x="0" y="0"/>
            <a:ext cx="12192000" cy="6858000"/>
          </a:xfrm>
          <a:custGeom>
            <a:avLst/>
            <a:gdLst>
              <a:gd name="connsiteX0" fmla="*/ 11946675 w 12192000"/>
              <a:gd name="connsiteY0" fmla="*/ 6677576 h 6858000"/>
              <a:gd name="connsiteX1" fmla="*/ 11952788 w 12192000"/>
              <a:gd name="connsiteY1" fmla="*/ 6677576 h 6858000"/>
              <a:gd name="connsiteX2" fmla="*/ 11958183 w 12192000"/>
              <a:gd name="connsiteY2" fmla="*/ 6678151 h 6858000"/>
              <a:gd name="connsiteX3" fmla="*/ 11960461 w 12192000"/>
              <a:gd name="connsiteY3" fmla="*/ 6679894 h 6858000"/>
              <a:gd name="connsiteX4" fmla="*/ 11961281 w 12192000"/>
              <a:gd name="connsiteY4" fmla="*/ 6682541 h 6858000"/>
              <a:gd name="connsiteX5" fmla="*/ 11959578 w 12192000"/>
              <a:gd name="connsiteY5" fmla="*/ 6686233 h 6858000"/>
              <a:gd name="connsiteX6" fmla="*/ 11953198 w 12192000"/>
              <a:gd name="connsiteY6" fmla="*/ 6687628 h 6858000"/>
              <a:gd name="connsiteX7" fmla="*/ 11946675 w 12192000"/>
              <a:gd name="connsiteY7" fmla="*/ 6687628 h 6858000"/>
              <a:gd name="connsiteX8" fmla="*/ 11941300 w 12192000"/>
              <a:gd name="connsiteY8" fmla="*/ 6673064 h 6858000"/>
              <a:gd name="connsiteX9" fmla="*/ 11941300 w 12192000"/>
              <a:gd name="connsiteY9" fmla="*/ 6706378 h 6858000"/>
              <a:gd name="connsiteX10" fmla="*/ 11946675 w 12192000"/>
              <a:gd name="connsiteY10" fmla="*/ 6706378 h 6858000"/>
              <a:gd name="connsiteX11" fmla="*/ 11946675 w 12192000"/>
              <a:gd name="connsiteY11" fmla="*/ 6692224 h 6858000"/>
              <a:gd name="connsiteX12" fmla="*/ 11949834 w 12192000"/>
              <a:gd name="connsiteY12" fmla="*/ 6692224 h 6858000"/>
              <a:gd name="connsiteX13" fmla="*/ 11954142 w 12192000"/>
              <a:gd name="connsiteY13" fmla="*/ 6693372 h 6858000"/>
              <a:gd name="connsiteX14" fmla="*/ 11959762 w 12192000"/>
              <a:gd name="connsiteY14" fmla="*/ 6701126 h 6858000"/>
              <a:gd name="connsiteX15" fmla="*/ 11962717 w 12192000"/>
              <a:gd name="connsiteY15" fmla="*/ 6706378 h 6858000"/>
              <a:gd name="connsiteX16" fmla="*/ 11969281 w 12192000"/>
              <a:gd name="connsiteY16" fmla="*/ 6706378 h 6858000"/>
              <a:gd name="connsiteX17" fmla="*/ 11965220 w 12192000"/>
              <a:gd name="connsiteY17" fmla="*/ 6699854 h 6858000"/>
              <a:gd name="connsiteX18" fmla="*/ 11960296 w 12192000"/>
              <a:gd name="connsiteY18" fmla="*/ 6693249 h 6858000"/>
              <a:gd name="connsiteX19" fmla="*/ 11957466 w 12192000"/>
              <a:gd name="connsiteY19" fmla="*/ 6691485 h 6858000"/>
              <a:gd name="connsiteX20" fmla="*/ 11964378 w 12192000"/>
              <a:gd name="connsiteY20" fmla="*/ 6688449 h 6858000"/>
              <a:gd name="connsiteX21" fmla="*/ 11966983 w 12192000"/>
              <a:gd name="connsiteY21" fmla="*/ 6682090 h 6858000"/>
              <a:gd name="connsiteX22" fmla="*/ 11965424 w 12192000"/>
              <a:gd name="connsiteY22" fmla="*/ 6677207 h 6858000"/>
              <a:gd name="connsiteX23" fmla="*/ 11961239 w 12192000"/>
              <a:gd name="connsiteY23" fmla="*/ 6673987 h 6858000"/>
              <a:gd name="connsiteX24" fmla="*/ 11952747 w 12192000"/>
              <a:gd name="connsiteY24" fmla="*/ 6673064 h 6858000"/>
              <a:gd name="connsiteX25" fmla="*/ 10902089 w 12192000"/>
              <a:gd name="connsiteY25" fmla="*/ 6670493 h 6858000"/>
              <a:gd name="connsiteX26" fmla="*/ 10905603 w 12192000"/>
              <a:gd name="connsiteY26" fmla="*/ 6670493 h 6858000"/>
              <a:gd name="connsiteX27" fmla="*/ 10905603 w 12192000"/>
              <a:gd name="connsiteY27" fmla="*/ 6674034 h 6858000"/>
              <a:gd name="connsiteX28" fmla="*/ 10877492 w 12192000"/>
              <a:gd name="connsiteY28" fmla="*/ 6709456 h 6858000"/>
              <a:gd name="connsiteX29" fmla="*/ 10859922 w 12192000"/>
              <a:gd name="connsiteY29" fmla="*/ 6691746 h 6858000"/>
              <a:gd name="connsiteX30" fmla="*/ 10902089 w 12192000"/>
              <a:gd name="connsiteY30" fmla="*/ 6670493 h 6858000"/>
              <a:gd name="connsiteX31" fmla="*/ 11954881 w 12192000"/>
              <a:gd name="connsiteY31" fmla="*/ 6663422 h 6858000"/>
              <a:gd name="connsiteX32" fmla="*/ 11967558 w 12192000"/>
              <a:gd name="connsiteY32" fmla="*/ 6666766 h 6858000"/>
              <a:gd name="connsiteX33" fmla="*/ 11977220 w 12192000"/>
              <a:gd name="connsiteY33" fmla="*/ 6676325 h 6858000"/>
              <a:gd name="connsiteX34" fmla="*/ 11980687 w 12192000"/>
              <a:gd name="connsiteY34" fmla="*/ 6689269 h 6858000"/>
              <a:gd name="connsiteX35" fmla="*/ 11977282 w 12192000"/>
              <a:gd name="connsiteY35" fmla="*/ 6702090 h 6858000"/>
              <a:gd name="connsiteX36" fmla="*/ 11967722 w 12192000"/>
              <a:gd name="connsiteY36" fmla="*/ 6711650 h 6858000"/>
              <a:gd name="connsiteX37" fmla="*/ 11954881 w 12192000"/>
              <a:gd name="connsiteY37" fmla="*/ 6715076 h 6858000"/>
              <a:gd name="connsiteX38" fmla="*/ 11942039 w 12192000"/>
              <a:gd name="connsiteY38" fmla="*/ 6711650 h 6858000"/>
              <a:gd name="connsiteX39" fmla="*/ 11932459 w 12192000"/>
              <a:gd name="connsiteY39" fmla="*/ 6702090 h 6858000"/>
              <a:gd name="connsiteX40" fmla="*/ 11929033 w 12192000"/>
              <a:gd name="connsiteY40" fmla="*/ 6689269 h 6858000"/>
              <a:gd name="connsiteX41" fmla="*/ 11932521 w 12192000"/>
              <a:gd name="connsiteY41" fmla="*/ 6676325 h 6858000"/>
              <a:gd name="connsiteX42" fmla="*/ 11942183 w 12192000"/>
              <a:gd name="connsiteY42" fmla="*/ 6666766 h 6858000"/>
              <a:gd name="connsiteX43" fmla="*/ 11954881 w 12192000"/>
              <a:gd name="connsiteY43" fmla="*/ 6663422 h 6858000"/>
              <a:gd name="connsiteX44" fmla="*/ 11954881 w 12192000"/>
              <a:gd name="connsiteY44" fmla="*/ 6658294 h 6858000"/>
              <a:gd name="connsiteX45" fmla="*/ 11939660 w 12192000"/>
              <a:gd name="connsiteY45" fmla="*/ 6662294 h 6858000"/>
              <a:gd name="connsiteX46" fmla="*/ 11928069 w 12192000"/>
              <a:gd name="connsiteY46" fmla="*/ 6673741 h 6858000"/>
              <a:gd name="connsiteX47" fmla="*/ 11923904 w 12192000"/>
              <a:gd name="connsiteY47" fmla="*/ 6689269 h 6858000"/>
              <a:gd name="connsiteX48" fmla="*/ 11928007 w 12192000"/>
              <a:gd name="connsiteY48" fmla="*/ 6704655 h 6858000"/>
              <a:gd name="connsiteX49" fmla="*/ 11939474 w 12192000"/>
              <a:gd name="connsiteY49" fmla="*/ 6716122 h 6858000"/>
              <a:gd name="connsiteX50" fmla="*/ 11954881 w 12192000"/>
              <a:gd name="connsiteY50" fmla="*/ 6720204 h 6858000"/>
              <a:gd name="connsiteX51" fmla="*/ 11970287 w 12192000"/>
              <a:gd name="connsiteY51" fmla="*/ 6716122 h 6858000"/>
              <a:gd name="connsiteX52" fmla="*/ 11981733 w 12192000"/>
              <a:gd name="connsiteY52" fmla="*/ 6704655 h 6858000"/>
              <a:gd name="connsiteX53" fmla="*/ 11985815 w 12192000"/>
              <a:gd name="connsiteY53" fmla="*/ 6689269 h 6858000"/>
              <a:gd name="connsiteX54" fmla="*/ 11981671 w 12192000"/>
              <a:gd name="connsiteY54" fmla="*/ 6673741 h 6858000"/>
              <a:gd name="connsiteX55" fmla="*/ 11970101 w 12192000"/>
              <a:gd name="connsiteY55" fmla="*/ 6662294 h 6858000"/>
              <a:gd name="connsiteX56" fmla="*/ 11954881 w 12192000"/>
              <a:gd name="connsiteY56" fmla="*/ 6658294 h 6858000"/>
              <a:gd name="connsiteX57" fmla="*/ 11091685 w 12192000"/>
              <a:gd name="connsiteY57" fmla="*/ 6628842 h 6858000"/>
              <a:gd name="connsiteX58" fmla="*/ 11123259 w 12192000"/>
              <a:gd name="connsiteY58" fmla="*/ 6669149 h 6858000"/>
              <a:gd name="connsiteX59" fmla="*/ 11091685 w 12192000"/>
              <a:gd name="connsiteY59" fmla="*/ 6709455 h 6858000"/>
              <a:gd name="connsiteX60" fmla="*/ 11060111 w 12192000"/>
              <a:gd name="connsiteY60" fmla="*/ 6669149 h 6858000"/>
              <a:gd name="connsiteX61" fmla="*/ 11091685 w 12192000"/>
              <a:gd name="connsiteY61" fmla="*/ 6628842 h 6858000"/>
              <a:gd name="connsiteX62" fmla="*/ 10781998 w 12192000"/>
              <a:gd name="connsiteY62" fmla="*/ 6628842 h 6858000"/>
              <a:gd name="connsiteX63" fmla="*/ 10810212 w 12192000"/>
              <a:gd name="connsiteY63" fmla="*/ 6669149 h 6858000"/>
              <a:gd name="connsiteX64" fmla="*/ 10781998 w 12192000"/>
              <a:gd name="connsiteY64" fmla="*/ 6709455 h 6858000"/>
              <a:gd name="connsiteX65" fmla="*/ 10753783 w 12192000"/>
              <a:gd name="connsiteY65" fmla="*/ 6669149 h 6858000"/>
              <a:gd name="connsiteX66" fmla="*/ 10781998 w 12192000"/>
              <a:gd name="connsiteY66" fmla="*/ 6628842 h 6858000"/>
              <a:gd name="connsiteX67" fmla="*/ 10469622 w 12192000"/>
              <a:gd name="connsiteY67" fmla="*/ 6628842 h 6858000"/>
              <a:gd name="connsiteX68" fmla="*/ 10501196 w 12192000"/>
              <a:gd name="connsiteY68" fmla="*/ 6669149 h 6858000"/>
              <a:gd name="connsiteX69" fmla="*/ 10469622 w 12192000"/>
              <a:gd name="connsiteY69" fmla="*/ 6709455 h 6858000"/>
              <a:gd name="connsiteX70" fmla="*/ 10438048 w 12192000"/>
              <a:gd name="connsiteY70" fmla="*/ 6669149 h 6858000"/>
              <a:gd name="connsiteX71" fmla="*/ 10469622 w 12192000"/>
              <a:gd name="connsiteY71" fmla="*/ 6628842 h 6858000"/>
              <a:gd name="connsiteX72" fmla="*/ 11014562 w 12192000"/>
              <a:gd name="connsiteY72" fmla="*/ 6623595 h 6858000"/>
              <a:gd name="connsiteX73" fmla="*/ 11014562 w 12192000"/>
              <a:gd name="connsiteY73" fmla="*/ 6719555 h 6858000"/>
              <a:gd name="connsiteX74" fmla="*/ 11026851 w 12192000"/>
              <a:gd name="connsiteY74" fmla="*/ 6719555 h 6858000"/>
              <a:gd name="connsiteX75" fmla="*/ 11026851 w 12192000"/>
              <a:gd name="connsiteY75" fmla="*/ 6623595 h 6858000"/>
              <a:gd name="connsiteX76" fmla="*/ 11158189 w 12192000"/>
              <a:gd name="connsiteY76" fmla="*/ 6622125 h 6858000"/>
              <a:gd name="connsiteX77" fmla="*/ 11158189 w 12192000"/>
              <a:gd name="connsiteY77" fmla="*/ 6646508 h 6858000"/>
              <a:gd name="connsiteX78" fmla="*/ 11158189 w 12192000"/>
              <a:gd name="connsiteY78" fmla="*/ 6716173 h 6858000"/>
              <a:gd name="connsiteX79" fmla="*/ 11172009 w 12192000"/>
              <a:gd name="connsiteY79" fmla="*/ 6716173 h 6858000"/>
              <a:gd name="connsiteX80" fmla="*/ 11172009 w 12192000"/>
              <a:gd name="connsiteY80" fmla="*/ 6663924 h 6858000"/>
              <a:gd name="connsiteX81" fmla="*/ 11199648 w 12192000"/>
              <a:gd name="connsiteY81" fmla="*/ 6629091 h 6858000"/>
              <a:gd name="connsiteX82" fmla="*/ 11220377 w 12192000"/>
              <a:gd name="connsiteY82" fmla="*/ 6660441 h 6858000"/>
              <a:gd name="connsiteX83" fmla="*/ 11220377 w 12192000"/>
              <a:gd name="connsiteY83" fmla="*/ 6716173 h 6858000"/>
              <a:gd name="connsiteX84" fmla="*/ 11230741 w 12192000"/>
              <a:gd name="connsiteY84" fmla="*/ 6716173 h 6858000"/>
              <a:gd name="connsiteX85" fmla="*/ 11230741 w 12192000"/>
              <a:gd name="connsiteY85" fmla="*/ 6656957 h 6858000"/>
              <a:gd name="connsiteX86" fmla="*/ 11199648 w 12192000"/>
              <a:gd name="connsiteY86" fmla="*/ 6622125 h 6858000"/>
              <a:gd name="connsiteX87" fmla="*/ 11168554 w 12192000"/>
              <a:gd name="connsiteY87" fmla="*/ 6639541 h 6858000"/>
              <a:gd name="connsiteX88" fmla="*/ 11168554 w 12192000"/>
              <a:gd name="connsiteY88" fmla="*/ 6622125 h 6858000"/>
              <a:gd name="connsiteX89" fmla="*/ 11158189 w 12192000"/>
              <a:gd name="connsiteY89" fmla="*/ 6622125 h 6858000"/>
              <a:gd name="connsiteX90" fmla="*/ 11088997 w 12192000"/>
              <a:gd name="connsiteY90" fmla="*/ 6622125 h 6858000"/>
              <a:gd name="connsiteX91" fmla="*/ 11045332 w 12192000"/>
              <a:gd name="connsiteY91" fmla="*/ 6671165 h 6858000"/>
              <a:gd name="connsiteX92" fmla="*/ 11088997 w 12192000"/>
              <a:gd name="connsiteY92" fmla="*/ 6720204 h 6858000"/>
              <a:gd name="connsiteX93" fmla="*/ 11132662 w 12192000"/>
              <a:gd name="connsiteY93" fmla="*/ 6671165 h 6858000"/>
              <a:gd name="connsiteX94" fmla="*/ 11088997 w 12192000"/>
              <a:gd name="connsiteY94" fmla="*/ 6622125 h 6858000"/>
              <a:gd name="connsiteX95" fmla="*/ 10883851 w 12192000"/>
              <a:gd name="connsiteY95" fmla="*/ 6622125 h 6858000"/>
              <a:gd name="connsiteX96" fmla="*/ 10855700 w 12192000"/>
              <a:gd name="connsiteY96" fmla="*/ 6625628 h 6858000"/>
              <a:gd name="connsiteX97" fmla="*/ 10855700 w 12192000"/>
              <a:gd name="connsiteY97" fmla="*/ 6639639 h 6858000"/>
              <a:gd name="connsiteX98" fmla="*/ 10883851 w 12192000"/>
              <a:gd name="connsiteY98" fmla="*/ 6629131 h 6858000"/>
              <a:gd name="connsiteX99" fmla="*/ 10904964 w 12192000"/>
              <a:gd name="connsiteY99" fmla="*/ 6653651 h 6858000"/>
              <a:gd name="connsiteX100" fmla="*/ 10904964 w 12192000"/>
              <a:gd name="connsiteY100" fmla="*/ 6660656 h 6858000"/>
              <a:gd name="connsiteX101" fmla="*/ 10845144 w 12192000"/>
              <a:gd name="connsiteY101" fmla="*/ 6692181 h 6858000"/>
              <a:gd name="connsiteX102" fmla="*/ 10876813 w 12192000"/>
              <a:gd name="connsiteY102" fmla="*/ 6720204 h 6858000"/>
              <a:gd name="connsiteX103" fmla="*/ 10904964 w 12192000"/>
              <a:gd name="connsiteY103" fmla="*/ 6702690 h 6858000"/>
              <a:gd name="connsiteX104" fmla="*/ 10908483 w 12192000"/>
              <a:gd name="connsiteY104" fmla="*/ 6702690 h 6858000"/>
              <a:gd name="connsiteX105" fmla="*/ 10908483 w 12192000"/>
              <a:gd name="connsiteY105" fmla="*/ 6716701 h 6858000"/>
              <a:gd name="connsiteX106" fmla="*/ 10919039 w 12192000"/>
              <a:gd name="connsiteY106" fmla="*/ 6716701 h 6858000"/>
              <a:gd name="connsiteX107" fmla="*/ 10919039 w 12192000"/>
              <a:gd name="connsiteY107" fmla="*/ 6699187 h 6858000"/>
              <a:gd name="connsiteX108" fmla="*/ 10919039 w 12192000"/>
              <a:gd name="connsiteY108" fmla="*/ 6657154 h 6858000"/>
              <a:gd name="connsiteX109" fmla="*/ 10883851 w 12192000"/>
              <a:gd name="connsiteY109" fmla="*/ 6622125 h 6858000"/>
              <a:gd name="connsiteX110" fmla="*/ 10642268 w 12192000"/>
              <a:gd name="connsiteY110" fmla="*/ 6622125 h 6858000"/>
              <a:gd name="connsiteX111" fmla="*/ 10642268 w 12192000"/>
              <a:gd name="connsiteY111" fmla="*/ 6646508 h 6858000"/>
              <a:gd name="connsiteX112" fmla="*/ 10642268 w 12192000"/>
              <a:gd name="connsiteY112" fmla="*/ 6716173 h 6858000"/>
              <a:gd name="connsiteX113" fmla="*/ 10656343 w 12192000"/>
              <a:gd name="connsiteY113" fmla="*/ 6716173 h 6858000"/>
              <a:gd name="connsiteX114" fmla="*/ 10656343 w 12192000"/>
              <a:gd name="connsiteY114" fmla="*/ 6663924 h 6858000"/>
              <a:gd name="connsiteX115" fmla="*/ 10684494 w 12192000"/>
              <a:gd name="connsiteY115" fmla="*/ 6629091 h 6858000"/>
              <a:gd name="connsiteX116" fmla="*/ 10705607 w 12192000"/>
              <a:gd name="connsiteY116" fmla="*/ 6660441 h 6858000"/>
              <a:gd name="connsiteX117" fmla="*/ 10705607 w 12192000"/>
              <a:gd name="connsiteY117" fmla="*/ 6716173 h 6858000"/>
              <a:gd name="connsiteX118" fmla="*/ 10716163 w 12192000"/>
              <a:gd name="connsiteY118" fmla="*/ 6716173 h 6858000"/>
              <a:gd name="connsiteX119" fmla="*/ 10716163 w 12192000"/>
              <a:gd name="connsiteY119" fmla="*/ 6656957 h 6858000"/>
              <a:gd name="connsiteX120" fmla="*/ 10684494 w 12192000"/>
              <a:gd name="connsiteY120" fmla="*/ 6622125 h 6858000"/>
              <a:gd name="connsiteX121" fmla="*/ 10652824 w 12192000"/>
              <a:gd name="connsiteY121" fmla="*/ 6639541 h 6858000"/>
              <a:gd name="connsiteX122" fmla="*/ 10652824 w 12192000"/>
              <a:gd name="connsiteY122" fmla="*/ 6622125 h 6858000"/>
              <a:gd name="connsiteX123" fmla="*/ 10642268 w 12192000"/>
              <a:gd name="connsiteY123" fmla="*/ 6622125 h 6858000"/>
              <a:gd name="connsiteX124" fmla="*/ 10540159 w 12192000"/>
              <a:gd name="connsiteY124" fmla="*/ 6622125 h 6858000"/>
              <a:gd name="connsiteX125" fmla="*/ 10540159 w 12192000"/>
              <a:gd name="connsiteY125" fmla="*/ 6685175 h 6858000"/>
              <a:gd name="connsiteX126" fmla="*/ 10571828 w 12192000"/>
              <a:gd name="connsiteY126" fmla="*/ 6720204 h 6858000"/>
              <a:gd name="connsiteX127" fmla="*/ 10603498 w 12192000"/>
              <a:gd name="connsiteY127" fmla="*/ 6702690 h 6858000"/>
              <a:gd name="connsiteX128" fmla="*/ 10603498 w 12192000"/>
              <a:gd name="connsiteY128" fmla="*/ 6716701 h 6858000"/>
              <a:gd name="connsiteX129" fmla="*/ 10614054 w 12192000"/>
              <a:gd name="connsiteY129" fmla="*/ 6716701 h 6858000"/>
              <a:gd name="connsiteX130" fmla="*/ 10614054 w 12192000"/>
              <a:gd name="connsiteY130" fmla="*/ 6695684 h 6858000"/>
              <a:gd name="connsiteX131" fmla="*/ 10614054 w 12192000"/>
              <a:gd name="connsiteY131" fmla="*/ 6622125 h 6858000"/>
              <a:gd name="connsiteX132" fmla="*/ 10599979 w 12192000"/>
              <a:gd name="connsiteY132" fmla="*/ 6622125 h 6858000"/>
              <a:gd name="connsiteX133" fmla="*/ 10599979 w 12192000"/>
              <a:gd name="connsiteY133" fmla="*/ 6674667 h 6858000"/>
              <a:gd name="connsiteX134" fmla="*/ 10571828 w 12192000"/>
              <a:gd name="connsiteY134" fmla="*/ 6709695 h 6858000"/>
              <a:gd name="connsiteX135" fmla="*/ 10550715 w 12192000"/>
              <a:gd name="connsiteY135" fmla="*/ 6681673 h 6858000"/>
              <a:gd name="connsiteX136" fmla="*/ 10550715 w 12192000"/>
              <a:gd name="connsiteY136" fmla="*/ 6622125 h 6858000"/>
              <a:gd name="connsiteX137" fmla="*/ 10540159 w 12192000"/>
              <a:gd name="connsiteY137" fmla="*/ 6622125 h 6858000"/>
              <a:gd name="connsiteX138" fmla="*/ 10471637 w 12192000"/>
              <a:gd name="connsiteY138" fmla="*/ 6622125 h 6858000"/>
              <a:gd name="connsiteX139" fmla="*/ 10427300 w 12192000"/>
              <a:gd name="connsiteY139" fmla="*/ 6671165 h 6858000"/>
              <a:gd name="connsiteX140" fmla="*/ 10471637 w 12192000"/>
              <a:gd name="connsiteY140" fmla="*/ 6720204 h 6858000"/>
              <a:gd name="connsiteX141" fmla="*/ 10515975 w 12192000"/>
              <a:gd name="connsiteY141" fmla="*/ 6671165 h 6858000"/>
              <a:gd name="connsiteX142" fmla="*/ 10471637 w 12192000"/>
              <a:gd name="connsiteY142" fmla="*/ 6622125 h 6858000"/>
              <a:gd name="connsiteX143" fmla="*/ 11655303 w 12192000"/>
              <a:gd name="connsiteY143" fmla="*/ 6607346 h 6858000"/>
              <a:gd name="connsiteX144" fmla="*/ 11659333 w 12192000"/>
              <a:gd name="connsiteY144" fmla="*/ 6618095 h 6858000"/>
              <a:gd name="connsiteX145" fmla="*/ 11663364 w 12192000"/>
              <a:gd name="connsiteY145" fmla="*/ 6624813 h 6858000"/>
              <a:gd name="connsiteX146" fmla="*/ 11648585 w 12192000"/>
              <a:gd name="connsiteY146" fmla="*/ 6624813 h 6858000"/>
              <a:gd name="connsiteX147" fmla="*/ 11652616 w 12192000"/>
              <a:gd name="connsiteY147" fmla="*/ 6618095 h 6858000"/>
              <a:gd name="connsiteX148" fmla="*/ 11659446 w 12192000"/>
              <a:gd name="connsiteY148" fmla="*/ 6596598 h 6858000"/>
              <a:gd name="connsiteX149" fmla="*/ 11649032 w 12192000"/>
              <a:gd name="connsiteY149" fmla="*/ 6600112 h 6858000"/>
              <a:gd name="connsiteX150" fmla="*/ 11645562 w 12192000"/>
              <a:gd name="connsiteY150" fmla="*/ 6617682 h 6858000"/>
              <a:gd name="connsiteX151" fmla="*/ 11635149 w 12192000"/>
              <a:gd name="connsiteY151" fmla="*/ 6638764 h 6858000"/>
              <a:gd name="connsiteX152" fmla="*/ 11645562 w 12192000"/>
              <a:gd name="connsiteY152" fmla="*/ 6642278 h 6858000"/>
              <a:gd name="connsiteX153" fmla="*/ 11645562 w 12192000"/>
              <a:gd name="connsiteY153" fmla="*/ 6631737 h 6858000"/>
              <a:gd name="connsiteX154" fmla="*/ 11666387 w 12192000"/>
              <a:gd name="connsiteY154" fmla="*/ 6631737 h 6858000"/>
              <a:gd name="connsiteX155" fmla="*/ 11666387 w 12192000"/>
              <a:gd name="connsiteY155" fmla="*/ 6638764 h 6858000"/>
              <a:gd name="connsiteX156" fmla="*/ 11676800 w 12192000"/>
              <a:gd name="connsiteY156" fmla="*/ 6638764 h 6858000"/>
              <a:gd name="connsiteX157" fmla="*/ 11666387 w 12192000"/>
              <a:gd name="connsiteY157" fmla="*/ 6617682 h 6858000"/>
              <a:gd name="connsiteX158" fmla="*/ 11659446 w 12192000"/>
              <a:gd name="connsiteY158" fmla="*/ 6600112 h 6858000"/>
              <a:gd name="connsiteX159" fmla="*/ 11659446 w 12192000"/>
              <a:gd name="connsiteY159" fmla="*/ 6596598 h 6858000"/>
              <a:gd name="connsiteX160" fmla="*/ 10964451 w 12192000"/>
              <a:gd name="connsiteY160" fmla="*/ 6596597 h 6858000"/>
              <a:gd name="connsiteX161" fmla="*/ 10953971 w 12192000"/>
              <a:gd name="connsiteY161" fmla="*/ 6600129 h 6858000"/>
              <a:gd name="connsiteX162" fmla="*/ 10953971 w 12192000"/>
              <a:gd name="connsiteY162" fmla="*/ 6621318 h 6858000"/>
              <a:gd name="connsiteX163" fmla="*/ 10936505 w 12192000"/>
              <a:gd name="connsiteY163" fmla="*/ 6621318 h 6858000"/>
              <a:gd name="connsiteX164" fmla="*/ 10936505 w 12192000"/>
              <a:gd name="connsiteY164" fmla="*/ 6631913 h 6858000"/>
              <a:gd name="connsiteX165" fmla="*/ 10953971 w 12192000"/>
              <a:gd name="connsiteY165" fmla="*/ 6631913 h 6858000"/>
              <a:gd name="connsiteX166" fmla="*/ 10953971 w 12192000"/>
              <a:gd name="connsiteY166" fmla="*/ 6688419 h 6858000"/>
              <a:gd name="connsiteX167" fmla="*/ 10974931 w 12192000"/>
              <a:gd name="connsiteY167" fmla="*/ 6720203 h 6858000"/>
              <a:gd name="connsiteX168" fmla="*/ 10988904 w 12192000"/>
              <a:gd name="connsiteY168" fmla="*/ 6716672 h 6858000"/>
              <a:gd name="connsiteX169" fmla="*/ 10988904 w 12192000"/>
              <a:gd name="connsiteY169" fmla="*/ 6706077 h 6858000"/>
              <a:gd name="connsiteX170" fmla="*/ 10978424 w 12192000"/>
              <a:gd name="connsiteY170" fmla="*/ 6709608 h 6858000"/>
              <a:gd name="connsiteX171" fmla="*/ 10964451 w 12192000"/>
              <a:gd name="connsiteY171" fmla="*/ 6695482 h 6858000"/>
              <a:gd name="connsiteX172" fmla="*/ 10964451 w 12192000"/>
              <a:gd name="connsiteY172" fmla="*/ 6631913 h 6858000"/>
              <a:gd name="connsiteX173" fmla="*/ 10985410 w 12192000"/>
              <a:gd name="connsiteY173" fmla="*/ 6631913 h 6858000"/>
              <a:gd name="connsiteX174" fmla="*/ 10985410 w 12192000"/>
              <a:gd name="connsiteY174" fmla="*/ 6621318 h 6858000"/>
              <a:gd name="connsiteX175" fmla="*/ 10964451 w 12192000"/>
              <a:gd name="connsiteY175" fmla="*/ 6621318 h 6858000"/>
              <a:gd name="connsiteX176" fmla="*/ 10964451 w 12192000"/>
              <a:gd name="connsiteY176" fmla="*/ 6596597 h 6858000"/>
              <a:gd name="connsiteX177" fmla="*/ 11599881 w 12192000"/>
              <a:gd name="connsiteY177" fmla="*/ 6593911 h 6858000"/>
              <a:gd name="connsiteX178" fmla="*/ 11589469 w 12192000"/>
              <a:gd name="connsiteY178" fmla="*/ 6636077 h 6858000"/>
              <a:gd name="connsiteX179" fmla="*/ 11599881 w 12192000"/>
              <a:gd name="connsiteY179" fmla="*/ 6636077 h 6858000"/>
              <a:gd name="connsiteX180" fmla="*/ 11603352 w 12192000"/>
              <a:gd name="connsiteY180" fmla="*/ 6611481 h 6858000"/>
              <a:gd name="connsiteX181" fmla="*/ 11617236 w 12192000"/>
              <a:gd name="connsiteY181" fmla="*/ 6639591 h 6858000"/>
              <a:gd name="connsiteX182" fmla="*/ 11624178 w 12192000"/>
              <a:gd name="connsiteY182" fmla="*/ 6639591 h 6858000"/>
              <a:gd name="connsiteX183" fmla="*/ 11631119 w 12192000"/>
              <a:gd name="connsiteY183" fmla="*/ 6597425 h 6858000"/>
              <a:gd name="connsiteX184" fmla="*/ 11624178 w 12192000"/>
              <a:gd name="connsiteY184" fmla="*/ 6597425 h 6858000"/>
              <a:gd name="connsiteX185" fmla="*/ 11620707 w 12192000"/>
              <a:gd name="connsiteY185" fmla="*/ 6625536 h 6858000"/>
              <a:gd name="connsiteX186" fmla="*/ 11606824 w 12192000"/>
              <a:gd name="connsiteY186" fmla="*/ 6593911 h 6858000"/>
              <a:gd name="connsiteX187" fmla="*/ 11599881 w 12192000"/>
              <a:gd name="connsiteY187" fmla="*/ 6593911 h 6858000"/>
              <a:gd name="connsiteX188" fmla="*/ 11709044 w 12192000"/>
              <a:gd name="connsiteY188" fmla="*/ 6589881 h 6858000"/>
              <a:gd name="connsiteX189" fmla="*/ 11674112 w 12192000"/>
              <a:gd name="connsiteY189" fmla="*/ 6596982 h 6858000"/>
              <a:gd name="connsiteX190" fmla="*/ 11674112 w 12192000"/>
              <a:gd name="connsiteY190" fmla="*/ 6604084 h 6858000"/>
              <a:gd name="connsiteX191" fmla="*/ 11688084 w 12192000"/>
              <a:gd name="connsiteY191" fmla="*/ 6604084 h 6858000"/>
              <a:gd name="connsiteX192" fmla="*/ 11695071 w 12192000"/>
              <a:gd name="connsiteY192" fmla="*/ 6639592 h 6858000"/>
              <a:gd name="connsiteX193" fmla="*/ 11702057 w 12192000"/>
              <a:gd name="connsiteY193" fmla="*/ 6636041 h 6858000"/>
              <a:gd name="connsiteX194" fmla="*/ 11695071 w 12192000"/>
              <a:gd name="connsiteY194" fmla="*/ 6600533 h 6858000"/>
              <a:gd name="connsiteX195" fmla="*/ 11709044 w 12192000"/>
              <a:gd name="connsiteY195" fmla="*/ 6596982 h 6858000"/>
              <a:gd name="connsiteX196" fmla="*/ 11564748 w 12192000"/>
              <a:gd name="connsiteY196" fmla="*/ 6589881 h 6858000"/>
              <a:gd name="connsiteX197" fmla="*/ 11575228 w 12192000"/>
              <a:gd name="connsiteY197" fmla="*/ 6593240 h 6858000"/>
              <a:gd name="connsiteX198" fmla="*/ 11578720 w 12192000"/>
              <a:gd name="connsiteY198" fmla="*/ 6596599 h 6858000"/>
              <a:gd name="connsiteX199" fmla="*/ 11578720 w 12192000"/>
              <a:gd name="connsiteY199" fmla="*/ 6599957 h 6858000"/>
              <a:gd name="connsiteX200" fmla="*/ 11571734 w 12192000"/>
              <a:gd name="connsiteY200" fmla="*/ 6603316 h 6858000"/>
              <a:gd name="connsiteX201" fmla="*/ 11561254 w 12192000"/>
              <a:gd name="connsiteY201" fmla="*/ 6599957 h 6858000"/>
              <a:gd name="connsiteX202" fmla="*/ 11564748 w 12192000"/>
              <a:gd name="connsiteY202" fmla="*/ 6596599 h 6858000"/>
              <a:gd name="connsiteX203" fmla="*/ 11564748 w 12192000"/>
              <a:gd name="connsiteY203" fmla="*/ 6589881 h 6858000"/>
              <a:gd name="connsiteX204" fmla="*/ 11014562 w 12192000"/>
              <a:gd name="connsiteY204" fmla="*/ 6587995 h 6858000"/>
              <a:gd name="connsiteX205" fmla="*/ 11014562 w 12192000"/>
              <a:gd name="connsiteY205" fmla="*/ 6601689 h 6858000"/>
              <a:gd name="connsiteX206" fmla="*/ 11026851 w 12192000"/>
              <a:gd name="connsiteY206" fmla="*/ 6601689 h 6858000"/>
              <a:gd name="connsiteX207" fmla="*/ 11026851 w 12192000"/>
              <a:gd name="connsiteY207" fmla="*/ 6587995 h 6858000"/>
              <a:gd name="connsiteX208" fmla="*/ 11715762 w 12192000"/>
              <a:gd name="connsiteY208" fmla="*/ 6585849 h 6858000"/>
              <a:gd name="connsiteX209" fmla="*/ 11729582 w 12192000"/>
              <a:gd name="connsiteY209" fmla="*/ 6628843 h 6858000"/>
              <a:gd name="connsiteX210" fmla="*/ 11739946 w 12192000"/>
              <a:gd name="connsiteY210" fmla="*/ 6625260 h 6858000"/>
              <a:gd name="connsiteX211" fmla="*/ 11726127 w 12192000"/>
              <a:gd name="connsiteY211" fmla="*/ 6585849 h 6858000"/>
              <a:gd name="connsiteX212" fmla="*/ 11715762 w 12192000"/>
              <a:gd name="connsiteY212" fmla="*/ 6585849 h 6858000"/>
              <a:gd name="connsiteX213" fmla="*/ 10346688 w 12192000"/>
              <a:gd name="connsiteY213" fmla="*/ 6585849 h 6858000"/>
              <a:gd name="connsiteX214" fmla="*/ 10346688 w 12192000"/>
              <a:gd name="connsiteY214" fmla="*/ 6716173 h 6858000"/>
              <a:gd name="connsiteX215" fmla="*/ 10361467 w 12192000"/>
              <a:gd name="connsiteY215" fmla="*/ 6716173 h 6858000"/>
              <a:gd name="connsiteX216" fmla="*/ 10361467 w 12192000"/>
              <a:gd name="connsiteY216" fmla="*/ 6657057 h 6858000"/>
              <a:gd name="connsiteX217" fmla="*/ 10407148 w 12192000"/>
              <a:gd name="connsiteY217" fmla="*/ 6657057 h 6858000"/>
              <a:gd name="connsiteX218" fmla="*/ 10407148 w 12192000"/>
              <a:gd name="connsiteY218" fmla="*/ 6646309 h 6858000"/>
              <a:gd name="connsiteX219" fmla="*/ 10361467 w 12192000"/>
              <a:gd name="connsiteY219" fmla="*/ 6646309 h 6858000"/>
              <a:gd name="connsiteX220" fmla="*/ 10361467 w 12192000"/>
              <a:gd name="connsiteY220" fmla="*/ 6596597 h 6858000"/>
              <a:gd name="connsiteX221" fmla="*/ 10409835 w 12192000"/>
              <a:gd name="connsiteY221" fmla="*/ 6596597 h 6858000"/>
              <a:gd name="connsiteX222" fmla="*/ 10409835 w 12192000"/>
              <a:gd name="connsiteY222" fmla="*/ 6585849 h 6858000"/>
              <a:gd name="connsiteX223" fmla="*/ 11561143 w 12192000"/>
              <a:gd name="connsiteY223" fmla="*/ 6579132 h 6858000"/>
              <a:gd name="connsiteX224" fmla="*/ 11554200 w 12192000"/>
              <a:gd name="connsiteY224" fmla="*/ 6596599 h 6858000"/>
              <a:gd name="connsiteX225" fmla="*/ 11554200 w 12192000"/>
              <a:gd name="connsiteY225" fmla="*/ 6600091 h 6858000"/>
              <a:gd name="connsiteX226" fmla="*/ 11543788 w 12192000"/>
              <a:gd name="connsiteY226" fmla="*/ 6617558 h 6858000"/>
              <a:gd name="connsiteX227" fmla="*/ 11554200 w 12192000"/>
              <a:gd name="connsiteY227" fmla="*/ 6621051 h 6858000"/>
              <a:gd name="connsiteX228" fmla="*/ 11557671 w 12192000"/>
              <a:gd name="connsiteY228" fmla="*/ 6607078 h 6858000"/>
              <a:gd name="connsiteX229" fmla="*/ 11568084 w 12192000"/>
              <a:gd name="connsiteY229" fmla="*/ 6610572 h 6858000"/>
              <a:gd name="connsiteX230" fmla="*/ 11568084 w 12192000"/>
              <a:gd name="connsiteY230" fmla="*/ 6628037 h 6858000"/>
              <a:gd name="connsiteX231" fmla="*/ 11578497 w 12192000"/>
              <a:gd name="connsiteY231" fmla="*/ 6631531 h 6858000"/>
              <a:gd name="connsiteX232" fmla="*/ 11575026 w 12192000"/>
              <a:gd name="connsiteY232" fmla="*/ 6610572 h 6858000"/>
              <a:gd name="connsiteX233" fmla="*/ 11585438 w 12192000"/>
              <a:gd name="connsiteY233" fmla="*/ 6600091 h 6858000"/>
              <a:gd name="connsiteX234" fmla="*/ 11585438 w 12192000"/>
              <a:gd name="connsiteY234" fmla="*/ 6596599 h 6858000"/>
              <a:gd name="connsiteX235" fmla="*/ 11578497 w 12192000"/>
              <a:gd name="connsiteY235" fmla="*/ 6586119 h 6858000"/>
              <a:gd name="connsiteX236" fmla="*/ 11561143 w 12192000"/>
              <a:gd name="connsiteY236" fmla="*/ 6579132 h 6858000"/>
              <a:gd name="connsiteX237" fmla="*/ 11766241 w 12192000"/>
              <a:gd name="connsiteY237" fmla="*/ 6576425 h 6858000"/>
              <a:gd name="connsiteX238" fmla="*/ 11774878 w 12192000"/>
              <a:gd name="connsiteY238" fmla="*/ 6582156 h 6858000"/>
              <a:gd name="connsiteX239" fmla="*/ 11774878 w 12192000"/>
              <a:gd name="connsiteY239" fmla="*/ 6589209 h 6858000"/>
              <a:gd name="connsiteX240" fmla="*/ 11771423 w 12192000"/>
              <a:gd name="connsiteY240" fmla="*/ 6599790 h 6858000"/>
              <a:gd name="connsiteX241" fmla="*/ 11767968 w 12192000"/>
              <a:gd name="connsiteY241" fmla="*/ 6603317 h 6858000"/>
              <a:gd name="connsiteX242" fmla="*/ 11754149 w 12192000"/>
              <a:gd name="connsiteY242" fmla="*/ 6599790 h 6858000"/>
              <a:gd name="connsiteX243" fmla="*/ 11750694 w 12192000"/>
              <a:gd name="connsiteY243" fmla="*/ 6596264 h 6858000"/>
              <a:gd name="connsiteX244" fmla="*/ 11750694 w 12192000"/>
              <a:gd name="connsiteY244" fmla="*/ 6589209 h 6858000"/>
              <a:gd name="connsiteX245" fmla="*/ 11757604 w 12192000"/>
              <a:gd name="connsiteY245" fmla="*/ 6578629 h 6858000"/>
              <a:gd name="connsiteX246" fmla="*/ 11766241 w 12192000"/>
              <a:gd name="connsiteY246" fmla="*/ 6576425 h 6858000"/>
              <a:gd name="connsiteX247" fmla="*/ 10810738 w 12192000"/>
              <a:gd name="connsiteY247" fmla="*/ 6575100 h 6858000"/>
              <a:gd name="connsiteX248" fmla="*/ 10810738 w 12192000"/>
              <a:gd name="connsiteY248" fmla="*/ 6638804 h 6858000"/>
              <a:gd name="connsiteX249" fmla="*/ 10782231 w 12192000"/>
              <a:gd name="connsiteY249" fmla="*/ 6621108 h 6858000"/>
              <a:gd name="connsiteX250" fmla="*/ 10743034 w 12192000"/>
              <a:gd name="connsiteY250" fmla="*/ 6670656 h 6858000"/>
              <a:gd name="connsiteX251" fmla="*/ 10782231 w 12192000"/>
              <a:gd name="connsiteY251" fmla="*/ 6720203 h 6858000"/>
              <a:gd name="connsiteX252" fmla="*/ 10810738 w 12192000"/>
              <a:gd name="connsiteY252" fmla="*/ 6702507 h 6858000"/>
              <a:gd name="connsiteX253" fmla="*/ 10810738 w 12192000"/>
              <a:gd name="connsiteY253" fmla="*/ 6716664 h 6858000"/>
              <a:gd name="connsiteX254" fmla="*/ 10824991 w 12192000"/>
              <a:gd name="connsiteY254" fmla="*/ 6716664 h 6858000"/>
              <a:gd name="connsiteX255" fmla="*/ 10824991 w 12192000"/>
              <a:gd name="connsiteY255" fmla="*/ 6575100 h 6858000"/>
              <a:gd name="connsiteX256" fmla="*/ 10810738 w 12192000"/>
              <a:gd name="connsiteY256" fmla="*/ 6575100 h 6858000"/>
              <a:gd name="connsiteX257" fmla="*/ 11768161 w 12192000"/>
              <a:gd name="connsiteY257" fmla="*/ 6569584 h 6858000"/>
              <a:gd name="connsiteX258" fmla="*/ 11750694 w 12192000"/>
              <a:gd name="connsiteY258" fmla="*/ 6572607 h 6858000"/>
              <a:gd name="connsiteX259" fmla="*/ 11739946 w 12192000"/>
              <a:gd name="connsiteY259" fmla="*/ 6589881 h 6858000"/>
              <a:gd name="connsiteX260" fmla="*/ 11743528 w 12192000"/>
              <a:gd name="connsiteY260" fmla="*/ 6600246 h 6858000"/>
              <a:gd name="connsiteX261" fmla="*/ 11772191 w 12192000"/>
              <a:gd name="connsiteY261" fmla="*/ 6607156 h 6858000"/>
              <a:gd name="connsiteX262" fmla="*/ 11782939 w 12192000"/>
              <a:gd name="connsiteY262" fmla="*/ 6600246 h 6858000"/>
              <a:gd name="connsiteX263" fmla="*/ 11782939 w 12192000"/>
              <a:gd name="connsiteY263" fmla="*/ 6589881 h 6858000"/>
              <a:gd name="connsiteX264" fmla="*/ 11782939 w 12192000"/>
              <a:gd name="connsiteY264" fmla="*/ 6579517 h 6858000"/>
              <a:gd name="connsiteX265" fmla="*/ 11768161 w 12192000"/>
              <a:gd name="connsiteY265" fmla="*/ 6569584 h 6858000"/>
              <a:gd name="connsiteX266" fmla="*/ 11525909 w 12192000"/>
              <a:gd name="connsiteY266" fmla="*/ 6561666 h 6858000"/>
              <a:gd name="connsiteX267" fmla="*/ 11504825 w 12192000"/>
              <a:gd name="connsiteY267" fmla="*/ 6596598 h 6858000"/>
              <a:gd name="connsiteX268" fmla="*/ 11529423 w 12192000"/>
              <a:gd name="connsiteY268" fmla="*/ 6614064 h 6858000"/>
              <a:gd name="connsiteX269" fmla="*/ 11532937 w 12192000"/>
              <a:gd name="connsiteY269" fmla="*/ 6607078 h 6858000"/>
              <a:gd name="connsiteX270" fmla="*/ 11515367 w 12192000"/>
              <a:gd name="connsiteY270" fmla="*/ 6596598 h 6858000"/>
              <a:gd name="connsiteX271" fmla="*/ 11522395 w 12192000"/>
              <a:gd name="connsiteY271" fmla="*/ 6586119 h 6858000"/>
              <a:gd name="connsiteX272" fmla="*/ 11532937 w 12192000"/>
              <a:gd name="connsiteY272" fmla="*/ 6593105 h 6858000"/>
              <a:gd name="connsiteX273" fmla="*/ 11536450 w 12192000"/>
              <a:gd name="connsiteY273" fmla="*/ 6586119 h 6858000"/>
              <a:gd name="connsiteX274" fmla="*/ 11525909 w 12192000"/>
              <a:gd name="connsiteY274" fmla="*/ 6579132 h 6858000"/>
              <a:gd name="connsiteX275" fmla="*/ 11529423 w 12192000"/>
              <a:gd name="connsiteY275" fmla="*/ 6572146 h 6858000"/>
              <a:gd name="connsiteX276" fmla="*/ 11546992 w 12192000"/>
              <a:gd name="connsiteY276" fmla="*/ 6582625 h 6858000"/>
              <a:gd name="connsiteX277" fmla="*/ 11550506 w 12192000"/>
              <a:gd name="connsiteY277" fmla="*/ 6575638 h 6858000"/>
              <a:gd name="connsiteX278" fmla="*/ 11525909 w 12192000"/>
              <a:gd name="connsiteY278" fmla="*/ 6561666 h 6858000"/>
              <a:gd name="connsiteX279" fmla="*/ 11803361 w 12192000"/>
              <a:gd name="connsiteY279" fmla="*/ 6533452 h 6858000"/>
              <a:gd name="connsiteX280" fmla="*/ 11796375 w 12192000"/>
              <a:gd name="connsiteY280" fmla="*/ 6540505 h 6858000"/>
              <a:gd name="connsiteX281" fmla="*/ 11813840 w 12192000"/>
              <a:gd name="connsiteY281" fmla="*/ 6558139 h 6858000"/>
              <a:gd name="connsiteX282" fmla="*/ 11785895 w 12192000"/>
              <a:gd name="connsiteY282" fmla="*/ 6551086 h 6858000"/>
              <a:gd name="connsiteX283" fmla="*/ 11778908 w 12192000"/>
              <a:gd name="connsiteY283" fmla="*/ 6554612 h 6858000"/>
              <a:gd name="connsiteX284" fmla="*/ 11803361 w 12192000"/>
              <a:gd name="connsiteY284" fmla="*/ 6589881 h 6858000"/>
              <a:gd name="connsiteX285" fmla="*/ 11810348 w 12192000"/>
              <a:gd name="connsiteY285" fmla="*/ 6582827 h 6858000"/>
              <a:gd name="connsiteX286" fmla="*/ 11796375 w 12192000"/>
              <a:gd name="connsiteY286" fmla="*/ 6561666 h 6858000"/>
              <a:gd name="connsiteX287" fmla="*/ 11824320 w 12192000"/>
              <a:gd name="connsiteY287" fmla="*/ 6572246 h 6858000"/>
              <a:gd name="connsiteX288" fmla="*/ 11831307 w 12192000"/>
              <a:gd name="connsiteY288" fmla="*/ 6565193 h 6858000"/>
              <a:gd name="connsiteX289" fmla="*/ 11803361 w 12192000"/>
              <a:gd name="connsiteY289" fmla="*/ 6533452 h 6858000"/>
              <a:gd name="connsiteX290" fmla="*/ 11495008 w 12192000"/>
              <a:gd name="connsiteY290" fmla="*/ 6533452 h 6858000"/>
              <a:gd name="connsiteX291" fmla="*/ 11487980 w 12192000"/>
              <a:gd name="connsiteY291" fmla="*/ 6536965 h 6858000"/>
              <a:gd name="connsiteX292" fmla="*/ 11498522 w 12192000"/>
              <a:gd name="connsiteY292" fmla="*/ 6547507 h 6858000"/>
              <a:gd name="connsiteX293" fmla="*/ 11473924 w 12192000"/>
              <a:gd name="connsiteY293" fmla="*/ 6572104 h 6858000"/>
              <a:gd name="connsiteX294" fmla="*/ 11480952 w 12192000"/>
              <a:gd name="connsiteY294" fmla="*/ 6579132 h 6858000"/>
              <a:gd name="connsiteX295" fmla="*/ 11505548 w 12192000"/>
              <a:gd name="connsiteY295" fmla="*/ 6554535 h 6858000"/>
              <a:gd name="connsiteX296" fmla="*/ 11516090 w 12192000"/>
              <a:gd name="connsiteY296" fmla="*/ 6561562 h 6858000"/>
              <a:gd name="connsiteX297" fmla="*/ 11519604 w 12192000"/>
              <a:gd name="connsiteY297" fmla="*/ 6554535 h 6858000"/>
              <a:gd name="connsiteX298" fmla="*/ 11495008 w 12192000"/>
              <a:gd name="connsiteY298" fmla="*/ 6533452 h 6858000"/>
              <a:gd name="connsiteX299" fmla="*/ 11824589 w 12192000"/>
              <a:gd name="connsiteY299" fmla="*/ 6522703 h 6858000"/>
              <a:gd name="connsiteX300" fmla="*/ 11842055 w 12192000"/>
              <a:gd name="connsiteY300" fmla="*/ 6529421 h 6858000"/>
              <a:gd name="connsiteX301" fmla="*/ 11842055 w 12192000"/>
              <a:gd name="connsiteY301" fmla="*/ 6533452 h 6858000"/>
              <a:gd name="connsiteX302" fmla="*/ 11835337 w 12192000"/>
              <a:gd name="connsiteY302" fmla="*/ 6540170 h 6858000"/>
              <a:gd name="connsiteX303" fmla="*/ 11831307 w 12192000"/>
              <a:gd name="connsiteY303" fmla="*/ 6533452 h 6858000"/>
              <a:gd name="connsiteX304" fmla="*/ 11820942 w 12192000"/>
              <a:gd name="connsiteY304" fmla="*/ 6515985 h 6858000"/>
              <a:gd name="connsiteX305" fmla="*/ 11813840 w 12192000"/>
              <a:gd name="connsiteY305" fmla="*/ 6522927 h 6858000"/>
              <a:gd name="connsiteX306" fmla="*/ 11820942 w 12192000"/>
              <a:gd name="connsiteY306" fmla="*/ 6533339 h 6858000"/>
              <a:gd name="connsiteX307" fmla="*/ 11838696 w 12192000"/>
              <a:gd name="connsiteY307" fmla="*/ 6557635 h 6858000"/>
              <a:gd name="connsiteX308" fmla="*/ 11842247 w 12192000"/>
              <a:gd name="connsiteY308" fmla="*/ 6554165 h 6858000"/>
              <a:gd name="connsiteX309" fmla="*/ 11838696 w 12192000"/>
              <a:gd name="connsiteY309" fmla="*/ 6547223 h 6858000"/>
              <a:gd name="connsiteX310" fmla="*/ 11849349 w 12192000"/>
              <a:gd name="connsiteY310" fmla="*/ 6533339 h 6858000"/>
              <a:gd name="connsiteX311" fmla="*/ 11856450 w 12192000"/>
              <a:gd name="connsiteY311" fmla="*/ 6533339 h 6858000"/>
              <a:gd name="connsiteX312" fmla="*/ 11860002 w 12192000"/>
              <a:gd name="connsiteY312" fmla="*/ 6533339 h 6858000"/>
              <a:gd name="connsiteX313" fmla="*/ 11863552 w 12192000"/>
              <a:gd name="connsiteY313" fmla="*/ 6526397 h 6858000"/>
              <a:gd name="connsiteX314" fmla="*/ 11820942 w 12192000"/>
              <a:gd name="connsiteY314" fmla="*/ 6515985 h 6858000"/>
              <a:gd name="connsiteX315" fmla="*/ 11466198 w 12192000"/>
              <a:gd name="connsiteY315" fmla="*/ 6501206 h 6858000"/>
              <a:gd name="connsiteX316" fmla="*/ 11430930 w 12192000"/>
              <a:gd name="connsiteY316" fmla="*/ 6526286 h 6858000"/>
              <a:gd name="connsiteX317" fmla="*/ 11437984 w 12192000"/>
              <a:gd name="connsiteY317" fmla="*/ 6533452 h 6858000"/>
              <a:gd name="connsiteX318" fmla="*/ 11459145 w 12192000"/>
              <a:gd name="connsiteY318" fmla="*/ 6519121 h 6858000"/>
              <a:gd name="connsiteX319" fmla="*/ 11448564 w 12192000"/>
              <a:gd name="connsiteY319" fmla="*/ 6547782 h 6858000"/>
              <a:gd name="connsiteX320" fmla="*/ 11455618 w 12192000"/>
              <a:gd name="connsiteY320" fmla="*/ 6554948 h 6858000"/>
              <a:gd name="connsiteX321" fmla="*/ 11487359 w 12192000"/>
              <a:gd name="connsiteY321" fmla="*/ 6526286 h 6858000"/>
              <a:gd name="connsiteX322" fmla="*/ 11483833 w 12192000"/>
              <a:gd name="connsiteY322" fmla="*/ 6519121 h 6858000"/>
              <a:gd name="connsiteX323" fmla="*/ 11462672 w 12192000"/>
              <a:gd name="connsiteY323" fmla="*/ 6537034 h 6858000"/>
              <a:gd name="connsiteX324" fmla="*/ 11473252 w 12192000"/>
              <a:gd name="connsiteY324" fmla="*/ 6508372 h 6858000"/>
              <a:gd name="connsiteX325" fmla="*/ 11466198 w 12192000"/>
              <a:gd name="connsiteY325" fmla="*/ 6501206 h 6858000"/>
              <a:gd name="connsiteX326" fmla="*/ 11835338 w 12192000"/>
              <a:gd name="connsiteY326" fmla="*/ 6490458 h 6858000"/>
              <a:gd name="connsiteX327" fmla="*/ 11831307 w 12192000"/>
              <a:gd name="connsiteY327" fmla="*/ 6498519 h 6858000"/>
              <a:gd name="connsiteX328" fmla="*/ 11870270 w 12192000"/>
              <a:gd name="connsiteY328" fmla="*/ 6518673 h 6858000"/>
              <a:gd name="connsiteX329" fmla="*/ 11883706 w 12192000"/>
              <a:gd name="connsiteY329" fmla="*/ 6494489 h 6858000"/>
              <a:gd name="connsiteX330" fmla="*/ 11876988 w 12192000"/>
              <a:gd name="connsiteY330" fmla="*/ 6490458 h 6858000"/>
              <a:gd name="connsiteX331" fmla="*/ 11866239 w 12192000"/>
              <a:gd name="connsiteY331" fmla="*/ 6509268 h 6858000"/>
              <a:gd name="connsiteX332" fmla="*/ 11459634 w 12192000"/>
              <a:gd name="connsiteY332" fmla="*/ 6487771 h 6858000"/>
              <a:gd name="connsiteX333" fmla="*/ 11424212 w 12192000"/>
              <a:gd name="connsiteY333" fmla="*/ 6508933 h 6858000"/>
              <a:gd name="connsiteX334" fmla="*/ 11427754 w 12192000"/>
              <a:gd name="connsiteY334" fmla="*/ 6515986 h 6858000"/>
              <a:gd name="connsiteX335" fmla="*/ 11463176 w 12192000"/>
              <a:gd name="connsiteY335" fmla="*/ 6494825 h 6858000"/>
              <a:gd name="connsiteX336" fmla="*/ 11459634 w 12192000"/>
              <a:gd name="connsiteY336" fmla="*/ 6487771 h 6858000"/>
              <a:gd name="connsiteX337" fmla="*/ 11450927 w 12192000"/>
              <a:gd name="connsiteY337" fmla="*/ 6454161 h 6858000"/>
              <a:gd name="connsiteX338" fmla="*/ 11456192 w 12192000"/>
              <a:gd name="connsiteY338" fmla="*/ 6459892 h 6858000"/>
              <a:gd name="connsiteX339" fmla="*/ 11649257 w 12192000"/>
              <a:gd name="connsiteY339" fmla="*/ 6590385 h 6858000"/>
              <a:gd name="connsiteX340" fmla="*/ 11842320 w 12192000"/>
              <a:gd name="connsiteY340" fmla="*/ 6459892 h 6858000"/>
              <a:gd name="connsiteX341" fmla="*/ 11847586 w 12192000"/>
              <a:gd name="connsiteY341" fmla="*/ 6454161 h 6858000"/>
              <a:gd name="connsiteX342" fmla="*/ 11852851 w 12192000"/>
              <a:gd name="connsiteY342" fmla="*/ 6456365 h 6858000"/>
              <a:gd name="connsiteX343" fmla="*/ 11891464 w 12192000"/>
              <a:gd name="connsiteY343" fmla="*/ 6466946 h 6858000"/>
              <a:gd name="connsiteX344" fmla="*/ 11898484 w 12192000"/>
              <a:gd name="connsiteY344" fmla="*/ 6477526 h 6858000"/>
              <a:gd name="connsiteX345" fmla="*/ 11649257 w 12192000"/>
              <a:gd name="connsiteY345" fmla="*/ 6650341 h 6858000"/>
              <a:gd name="connsiteX346" fmla="*/ 11400028 w 12192000"/>
              <a:gd name="connsiteY346" fmla="*/ 6481054 h 6858000"/>
              <a:gd name="connsiteX347" fmla="*/ 11407049 w 12192000"/>
              <a:gd name="connsiteY347" fmla="*/ 6466946 h 6858000"/>
              <a:gd name="connsiteX348" fmla="*/ 11445662 w 12192000"/>
              <a:gd name="connsiteY348" fmla="*/ 6456365 h 6858000"/>
              <a:gd name="connsiteX349" fmla="*/ 11450927 w 12192000"/>
              <a:gd name="connsiteY349" fmla="*/ 6454161 h 6858000"/>
              <a:gd name="connsiteX350" fmla="*/ 11603442 w 12192000"/>
              <a:gd name="connsiteY350" fmla="*/ 6448323 h 6858000"/>
              <a:gd name="connsiteX351" fmla="*/ 11613922 w 12192000"/>
              <a:gd name="connsiteY351" fmla="*/ 6448323 h 6858000"/>
              <a:gd name="connsiteX352" fmla="*/ 11617414 w 12192000"/>
              <a:gd name="connsiteY352" fmla="*/ 6455414 h 6858000"/>
              <a:gd name="connsiteX353" fmla="*/ 11624401 w 12192000"/>
              <a:gd name="connsiteY353" fmla="*/ 6558233 h 6858000"/>
              <a:gd name="connsiteX354" fmla="*/ 11620908 w 12192000"/>
              <a:gd name="connsiteY354" fmla="*/ 6568870 h 6858000"/>
              <a:gd name="connsiteX355" fmla="*/ 11613922 w 12192000"/>
              <a:gd name="connsiteY355" fmla="*/ 6568870 h 6858000"/>
              <a:gd name="connsiteX356" fmla="*/ 11505632 w 12192000"/>
              <a:gd name="connsiteY356" fmla="*/ 6505050 h 6858000"/>
              <a:gd name="connsiteX357" fmla="*/ 11502138 w 12192000"/>
              <a:gd name="connsiteY357" fmla="*/ 6501505 h 6858000"/>
              <a:gd name="connsiteX358" fmla="*/ 11502138 w 12192000"/>
              <a:gd name="connsiteY358" fmla="*/ 6497960 h 6858000"/>
              <a:gd name="connsiteX359" fmla="*/ 11509124 w 12192000"/>
              <a:gd name="connsiteY359" fmla="*/ 6494415 h 6858000"/>
              <a:gd name="connsiteX360" fmla="*/ 11603442 w 12192000"/>
              <a:gd name="connsiteY360" fmla="*/ 6448323 h 6858000"/>
              <a:gd name="connsiteX361" fmla="*/ 11688084 w 12192000"/>
              <a:gd name="connsiteY361" fmla="*/ 6444777 h 6858000"/>
              <a:gd name="connsiteX362" fmla="*/ 11698565 w 12192000"/>
              <a:gd name="connsiteY362" fmla="*/ 6444777 h 6858000"/>
              <a:gd name="connsiteX363" fmla="*/ 11789388 w 12192000"/>
              <a:gd name="connsiteY363" fmla="*/ 6490688 h 6858000"/>
              <a:gd name="connsiteX364" fmla="*/ 11796375 w 12192000"/>
              <a:gd name="connsiteY364" fmla="*/ 6497752 h 6858000"/>
              <a:gd name="connsiteX365" fmla="*/ 11792882 w 12192000"/>
              <a:gd name="connsiteY365" fmla="*/ 6504815 h 6858000"/>
              <a:gd name="connsiteX366" fmla="*/ 11684592 w 12192000"/>
              <a:gd name="connsiteY366" fmla="*/ 6568384 h 6858000"/>
              <a:gd name="connsiteX367" fmla="*/ 11677605 w 12192000"/>
              <a:gd name="connsiteY367" fmla="*/ 6568384 h 6858000"/>
              <a:gd name="connsiteX368" fmla="*/ 11674112 w 12192000"/>
              <a:gd name="connsiteY368" fmla="*/ 6557789 h 6858000"/>
              <a:gd name="connsiteX369" fmla="*/ 11684592 w 12192000"/>
              <a:gd name="connsiteY369" fmla="*/ 6455373 h 6858000"/>
              <a:gd name="connsiteX370" fmla="*/ 11688084 w 12192000"/>
              <a:gd name="connsiteY370" fmla="*/ 6444777 h 6858000"/>
              <a:gd name="connsiteX371" fmla="*/ 10810283 w 12192000"/>
              <a:gd name="connsiteY371" fmla="*/ 6405813 h 6858000"/>
              <a:gd name="connsiteX372" fmla="*/ 10851862 w 12192000"/>
              <a:gd name="connsiteY372" fmla="*/ 6405813 h 6858000"/>
              <a:gd name="connsiteX373" fmla="*/ 10851862 w 12192000"/>
              <a:gd name="connsiteY373" fmla="*/ 6448423 h 6858000"/>
              <a:gd name="connsiteX374" fmla="*/ 10803353 w 12192000"/>
              <a:gd name="connsiteY374" fmla="*/ 6455525 h 6858000"/>
              <a:gd name="connsiteX375" fmla="*/ 10786028 w 12192000"/>
              <a:gd name="connsiteY375" fmla="*/ 6430669 h 6858000"/>
              <a:gd name="connsiteX376" fmla="*/ 10810283 w 12192000"/>
              <a:gd name="connsiteY376" fmla="*/ 6405813 h 6858000"/>
              <a:gd name="connsiteX377" fmla="*/ 10494479 w 12192000"/>
              <a:gd name="connsiteY377" fmla="*/ 6335948 h 6858000"/>
              <a:gd name="connsiteX378" fmla="*/ 10536128 w 12192000"/>
              <a:gd name="connsiteY378" fmla="*/ 6392220 h 6858000"/>
              <a:gd name="connsiteX379" fmla="*/ 10494479 w 12192000"/>
              <a:gd name="connsiteY379" fmla="*/ 6455524 h 6858000"/>
              <a:gd name="connsiteX380" fmla="*/ 10452829 w 12192000"/>
              <a:gd name="connsiteY380" fmla="*/ 6392220 h 6858000"/>
              <a:gd name="connsiteX381" fmla="*/ 10494479 w 12192000"/>
              <a:gd name="connsiteY381" fmla="*/ 6335948 h 6858000"/>
              <a:gd name="connsiteX382" fmla="*/ 11639005 w 12192000"/>
              <a:gd name="connsiteY382" fmla="*/ 6331919 h 6858000"/>
              <a:gd name="connsiteX383" fmla="*/ 11660034 w 12192000"/>
              <a:gd name="connsiteY383" fmla="*/ 6331919 h 6858000"/>
              <a:gd name="connsiteX384" fmla="*/ 11660034 w 12192000"/>
              <a:gd name="connsiteY384" fmla="*/ 6342559 h 6858000"/>
              <a:gd name="connsiteX385" fmla="*/ 11691578 w 12192000"/>
              <a:gd name="connsiteY385" fmla="*/ 6381576 h 6858000"/>
              <a:gd name="connsiteX386" fmla="*/ 11649519 w 12192000"/>
              <a:gd name="connsiteY386" fmla="*/ 6420593 h 6858000"/>
              <a:gd name="connsiteX387" fmla="*/ 11610966 w 12192000"/>
              <a:gd name="connsiteY387" fmla="*/ 6381576 h 6858000"/>
              <a:gd name="connsiteX388" fmla="*/ 11639005 w 12192000"/>
              <a:gd name="connsiteY388" fmla="*/ 6342559 h 6858000"/>
              <a:gd name="connsiteX389" fmla="*/ 11639005 w 12192000"/>
              <a:gd name="connsiteY389" fmla="*/ 6331919 h 6858000"/>
              <a:gd name="connsiteX390" fmla="*/ 11649257 w 12192000"/>
              <a:gd name="connsiteY390" fmla="*/ 6321170 h 6858000"/>
              <a:gd name="connsiteX391" fmla="*/ 11589469 w 12192000"/>
              <a:gd name="connsiteY391" fmla="*/ 6381630 h 6858000"/>
              <a:gd name="connsiteX392" fmla="*/ 11649257 w 12192000"/>
              <a:gd name="connsiteY392" fmla="*/ 6442090 h 6858000"/>
              <a:gd name="connsiteX393" fmla="*/ 11709045 w 12192000"/>
              <a:gd name="connsiteY393" fmla="*/ 6381630 h 6858000"/>
              <a:gd name="connsiteX394" fmla="*/ 11649257 w 12192000"/>
              <a:gd name="connsiteY394" fmla="*/ 6321170 h 6858000"/>
              <a:gd name="connsiteX395" fmla="*/ 11649257 w 12192000"/>
              <a:gd name="connsiteY395" fmla="*/ 6314453 h 6858000"/>
              <a:gd name="connsiteX396" fmla="*/ 11715763 w 12192000"/>
              <a:gd name="connsiteY396" fmla="*/ 6381630 h 6858000"/>
              <a:gd name="connsiteX397" fmla="*/ 11649257 w 12192000"/>
              <a:gd name="connsiteY397" fmla="*/ 6448808 h 6858000"/>
              <a:gd name="connsiteX398" fmla="*/ 11582751 w 12192000"/>
              <a:gd name="connsiteY398" fmla="*/ 6381630 h 6858000"/>
              <a:gd name="connsiteX399" fmla="*/ 11649257 w 12192000"/>
              <a:gd name="connsiteY399" fmla="*/ 6314453 h 6858000"/>
              <a:gd name="connsiteX400" fmla="*/ 11824549 w 12192000"/>
              <a:gd name="connsiteY400" fmla="*/ 6311766 h 6858000"/>
              <a:gd name="connsiteX401" fmla="*/ 11828050 w 12192000"/>
              <a:gd name="connsiteY401" fmla="*/ 6318819 h 6858000"/>
              <a:gd name="connsiteX402" fmla="*/ 11828050 w 12192000"/>
              <a:gd name="connsiteY402" fmla="*/ 6442258 h 6858000"/>
              <a:gd name="connsiteX403" fmla="*/ 11824549 w 12192000"/>
              <a:gd name="connsiteY403" fmla="*/ 6449312 h 6858000"/>
              <a:gd name="connsiteX404" fmla="*/ 11817546 w 12192000"/>
              <a:gd name="connsiteY404" fmla="*/ 6449312 h 6858000"/>
              <a:gd name="connsiteX405" fmla="*/ 11730012 w 12192000"/>
              <a:gd name="connsiteY405" fmla="*/ 6389356 h 6858000"/>
              <a:gd name="connsiteX406" fmla="*/ 11726510 w 12192000"/>
              <a:gd name="connsiteY406" fmla="*/ 6382302 h 6858000"/>
              <a:gd name="connsiteX407" fmla="*/ 11730012 w 12192000"/>
              <a:gd name="connsiteY407" fmla="*/ 6371721 h 6858000"/>
              <a:gd name="connsiteX408" fmla="*/ 11814044 w 12192000"/>
              <a:gd name="connsiteY408" fmla="*/ 6315292 h 6858000"/>
              <a:gd name="connsiteX409" fmla="*/ 11824549 w 12192000"/>
              <a:gd name="connsiteY409" fmla="*/ 6311766 h 6858000"/>
              <a:gd name="connsiteX410" fmla="*/ 11473964 w 12192000"/>
              <a:gd name="connsiteY410" fmla="*/ 6311766 h 6858000"/>
              <a:gd name="connsiteX411" fmla="*/ 11480967 w 12192000"/>
              <a:gd name="connsiteY411" fmla="*/ 6315292 h 6858000"/>
              <a:gd name="connsiteX412" fmla="*/ 11568501 w 12192000"/>
              <a:gd name="connsiteY412" fmla="*/ 6371721 h 6858000"/>
              <a:gd name="connsiteX413" fmla="*/ 11572002 w 12192000"/>
              <a:gd name="connsiteY413" fmla="*/ 6382302 h 6858000"/>
              <a:gd name="connsiteX414" fmla="*/ 11568501 w 12192000"/>
              <a:gd name="connsiteY414" fmla="*/ 6389356 h 6858000"/>
              <a:gd name="connsiteX415" fmla="*/ 11480967 w 12192000"/>
              <a:gd name="connsiteY415" fmla="*/ 6449312 h 6858000"/>
              <a:gd name="connsiteX416" fmla="*/ 11473964 w 12192000"/>
              <a:gd name="connsiteY416" fmla="*/ 6449312 h 6858000"/>
              <a:gd name="connsiteX417" fmla="*/ 11466961 w 12192000"/>
              <a:gd name="connsiteY417" fmla="*/ 6445785 h 6858000"/>
              <a:gd name="connsiteX418" fmla="*/ 11466961 w 12192000"/>
              <a:gd name="connsiteY418" fmla="*/ 6318819 h 6858000"/>
              <a:gd name="connsiteX419" fmla="*/ 11473964 w 12192000"/>
              <a:gd name="connsiteY419" fmla="*/ 6311766 h 6858000"/>
              <a:gd name="connsiteX420" fmla="*/ 11070316 w 12192000"/>
              <a:gd name="connsiteY420" fmla="*/ 6301017 h 6858000"/>
              <a:gd name="connsiteX421" fmla="*/ 11070316 w 12192000"/>
              <a:gd name="connsiteY421" fmla="*/ 6308070 h 6858000"/>
              <a:gd name="connsiteX422" fmla="*/ 11112166 w 12192000"/>
              <a:gd name="connsiteY422" fmla="*/ 6470304 h 6858000"/>
              <a:gd name="connsiteX423" fmla="*/ 11133091 w 12192000"/>
              <a:gd name="connsiteY423" fmla="*/ 6491465 h 6858000"/>
              <a:gd name="connsiteX424" fmla="*/ 11143554 w 12192000"/>
              <a:gd name="connsiteY424" fmla="*/ 6491465 h 6858000"/>
              <a:gd name="connsiteX425" fmla="*/ 11140066 w 12192000"/>
              <a:gd name="connsiteY425" fmla="*/ 6498518 h 6858000"/>
              <a:gd name="connsiteX426" fmla="*/ 11112166 w 12192000"/>
              <a:gd name="connsiteY426" fmla="*/ 6519679 h 6858000"/>
              <a:gd name="connsiteX427" fmla="*/ 11077291 w 12192000"/>
              <a:gd name="connsiteY427" fmla="*/ 6516153 h 6858000"/>
              <a:gd name="connsiteX428" fmla="*/ 11073804 w 12192000"/>
              <a:gd name="connsiteY428" fmla="*/ 6519679 h 6858000"/>
              <a:gd name="connsiteX429" fmla="*/ 11070316 w 12192000"/>
              <a:gd name="connsiteY429" fmla="*/ 6523206 h 6858000"/>
              <a:gd name="connsiteX430" fmla="*/ 11070316 w 12192000"/>
              <a:gd name="connsiteY430" fmla="*/ 6544367 h 6858000"/>
              <a:gd name="connsiteX431" fmla="*/ 11077291 w 12192000"/>
              <a:gd name="connsiteY431" fmla="*/ 6551421 h 6858000"/>
              <a:gd name="connsiteX432" fmla="*/ 11122628 w 12192000"/>
              <a:gd name="connsiteY432" fmla="*/ 6554947 h 6858000"/>
              <a:gd name="connsiteX433" fmla="*/ 11126116 w 12192000"/>
              <a:gd name="connsiteY433" fmla="*/ 6554947 h 6858000"/>
              <a:gd name="connsiteX434" fmla="*/ 11181916 w 12192000"/>
              <a:gd name="connsiteY434" fmla="*/ 6502045 h 6858000"/>
              <a:gd name="connsiteX435" fmla="*/ 11213303 w 12192000"/>
              <a:gd name="connsiteY435" fmla="*/ 6371553 h 6858000"/>
              <a:gd name="connsiteX436" fmla="*/ 11227253 w 12192000"/>
              <a:gd name="connsiteY436" fmla="*/ 6329231 h 6858000"/>
              <a:gd name="connsiteX437" fmla="*/ 11230741 w 12192000"/>
              <a:gd name="connsiteY437" fmla="*/ 6308070 h 6858000"/>
              <a:gd name="connsiteX438" fmla="*/ 11230741 w 12192000"/>
              <a:gd name="connsiteY438" fmla="*/ 6301017 h 6858000"/>
              <a:gd name="connsiteX439" fmla="*/ 11223766 w 12192000"/>
              <a:gd name="connsiteY439" fmla="*/ 6301017 h 6858000"/>
              <a:gd name="connsiteX440" fmla="*/ 11195866 w 12192000"/>
              <a:gd name="connsiteY440" fmla="*/ 6301017 h 6858000"/>
              <a:gd name="connsiteX441" fmla="*/ 11188891 w 12192000"/>
              <a:gd name="connsiteY441" fmla="*/ 6304543 h 6858000"/>
              <a:gd name="connsiteX442" fmla="*/ 11150528 w 12192000"/>
              <a:gd name="connsiteY442" fmla="*/ 6449143 h 6858000"/>
              <a:gd name="connsiteX443" fmla="*/ 11147041 w 12192000"/>
              <a:gd name="connsiteY443" fmla="*/ 6449143 h 6858000"/>
              <a:gd name="connsiteX444" fmla="*/ 11112166 w 12192000"/>
              <a:gd name="connsiteY444" fmla="*/ 6304543 h 6858000"/>
              <a:gd name="connsiteX445" fmla="*/ 11105191 w 12192000"/>
              <a:gd name="connsiteY445" fmla="*/ 6301017 h 6858000"/>
              <a:gd name="connsiteX446" fmla="*/ 11077291 w 12192000"/>
              <a:gd name="connsiteY446" fmla="*/ 6301017 h 6858000"/>
              <a:gd name="connsiteX447" fmla="*/ 11070316 w 12192000"/>
              <a:gd name="connsiteY447" fmla="*/ 6301017 h 6858000"/>
              <a:gd name="connsiteX448" fmla="*/ 11038289 w 12192000"/>
              <a:gd name="connsiteY448" fmla="*/ 6296986 h 6858000"/>
              <a:gd name="connsiteX449" fmla="*/ 10985474 w 12192000"/>
              <a:gd name="connsiteY449" fmla="*/ 6318092 h 6858000"/>
              <a:gd name="connsiteX450" fmla="*/ 10985474 w 12192000"/>
              <a:gd name="connsiteY450" fmla="*/ 6307539 h 6858000"/>
              <a:gd name="connsiteX451" fmla="*/ 10978433 w 12192000"/>
              <a:gd name="connsiteY451" fmla="*/ 6300504 h 6858000"/>
              <a:gd name="connsiteX452" fmla="*/ 10950264 w 12192000"/>
              <a:gd name="connsiteY452" fmla="*/ 6300504 h 6858000"/>
              <a:gd name="connsiteX453" fmla="*/ 10943222 w 12192000"/>
              <a:gd name="connsiteY453" fmla="*/ 6307539 h 6858000"/>
              <a:gd name="connsiteX454" fmla="*/ 10943222 w 12192000"/>
              <a:gd name="connsiteY454" fmla="*/ 6483422 h 6858000"/>
              <a:gd name="connsiteX455" fmla="*/ 10950264 w 12192000"/>
              <a:gd name="connsiteY455" fmla="*/ 6490457 h 6858000"/>
              <a:gd name="connsiteX456" fmla="*/ 10978433 w 12192000"/>
              <a:gd name="connsiteY456" fmla="*/ 6490457 h 6858000"/>
              <a:gd name="connsiteX457" fmla="*/ 10985474 w 12192000"/>
              <a:gd name="connsiteY457" fmla="*/ 6483422 h 6858000"/>
              <a:gd name="connsiteX458" fmla="*/ 10985474 w 12192000"/>
              <a:gd name="connsiteY458" fmla="*/ 6360304 h 6858000"/>
              <a:gd name="connsiteX459" fmla="*/ 11038289 w 12192000"/>
              <a:gd name="connsiteY459" fmla="*/ 6339198 h 6858000"/>
              <a:gd name="connsiteX460" fmla="*/ 11045332 w 12192000"/>
              <a:gd name="connsiteY460" fmla="*/ 6332163 h 6858000"/>
              <a:gd name="connsiteX461" fmla="*/ 11045332 w 12192000"/>
              <a:gd name="connsiteY461" fmla="*/ 6304022 h 6858000"/>
              <a:gd name="connsiteX462" fmla="*/ 11041811 w 12192000"/>
              <a:gd name="connsiteY462" fmla="*/ 6300504 h 6858000"/>
              <a:gd name="connsiteX463" fmla="*/ 11038289 w 12192000"/>
              <a:gd name="connsiteY463" fmla="*/ 6296986 h 6858000"/>
              <a:gd name="connsiteX464" fmla="*/ 10831647 w 12192000"/>
              <a:gd name="connsiteY464" fmla="*/ 6292955 h 6858000"/>
              <a:gd name="connsiteX465" fmla="*/ 10761417 w 12192000"/>
              <a:gd name="connsiteY465" fmla="*/ 6300026 h 6858000"/>
              <a:gd name="connsiteX466" fmla="*/ 10754394 w 12192000"/>
              <a:gd name="connsiteY466" fmla="*/ 6307098 h 6858000"/>
              <a:gd name="connsiteX467" fmla="*/ 10754394 w 12192000"/>
              <a:gd name="connsiteY467" fmla="*/ 6331847 h 6858000"/>
              <a:gd name="connsiteX468" fmla="*/ 10757905 w 12192000"/>
              <a:gd name="connsiteY468" fmla="*/ 6338919 h 6858000"/>
              <a:gd name="connsiteX469" fmla="*/ 10761417 w 12192000"/>
              <a:gd name="connsiteY469" fmla="*/ 6338919 h 6858000"/>
              <a:gd name="connsiteX470" fmla="*/ 10828136 w 12192000"/>
              <a:gd name="connsiteY470" fmla="*/ 6335383 h 6858000"/>
              <a:gd name="connsiteX471" fmla="*/ 10852717 w 12192000"/>
              <a:gd name="connsiteY471" fmla="*/ 6360133 h 6858000"/>
              <a:gd name="connsiteX472" fmla="*/ 10852717 w 12192000"/>
              <a:gd name="connsiteY472" fmla="*/ 6370740 h 6858000"/>
              <a:gd name="connsiteX473" fmla="*/ 10803555 w 12192000"/>
              <a:gd name="connsiteY473" fmla="*/ 6374276 h 6858000"/>
              <a:gd name="connsiteX474" fmla="*/ 10740347 w 12192000"/>
              <a:gd name="connsiteY474" fmla="*/ 6434381 h 6858000"/>
              <a:gd name="connsiteX475" fmla="*/ 10796532 w 12192000"/>
              <a:gd name="connsiteY475" fmla="*/ 6494487 h 6858000"/>
              <a:gd name="connsiteX476" fmla="*/ 10859740 w 12192000"/>
              <a:gd name="connsiteY476" fmla="*/ 6480344 h 6858000"/>
              <a:gd name="connsiteX477" fmla="*/ 10887833 w 12192000"/>
              <a:gd name="connsiteY477" fmla="*/ 6494487 h 6858000"/>
              <a:gd name="connsiteX478" fmla="*/ 10894855 w 12192000"/>
              <a:gd name="connsiteY478" fmla="*/ 6490951 h 6858000"/>
              <a:gd name="connsiteX479" fmla="*/ 10894855 w 12192000"/>
              <a:gd name="connsiteY479" fmla="*/ 6487416 h 6858000"/>
              <a:gd name="connsiteX480" fmla="*/ 10894855 w 12192000"/>
              <a:gd name="connsiteY480" fmla="*/ 6360133 h 6858000"/>
              <a:gd name="connsiteX481" fmla="*/ 10831647 w 12192000"/>
              <a:gd name="connsiteY481" fmla="*/ 6292955 h 6858000"/>
              <a:gd name="connsiteX482" fmla="*/ 10495822 w 12192000"/>
              <a:gd name="connsiteY482" fmla="*/ 6292954 h 6858000"/>
              <a:gd name="connsiteX483" fmla="*/ 10409835 w 12192000"/>
              <a:gd name="connsiteY483" fmla="*/ 6393721 h 6858000"/>
              <a:gd name="connsiteX484" fmla="*/ 10495822 w 12192000"/>
              <a:gd name="connsiteY484" fmla="*/ 6494487 h 6858000"/>
              <a:gd name="connsiteX485" fmla="*/ 10581809 w 12192000"/>
              <a:gd name="connsiteY485" fmla="*/ 6393721 h 6858000"/>
              <a:gd name="connsiteX486" fmla="*/ 10495822 w 12192000"/>
              <a:gd name="connsiteY486" fmla="*/ 6292954 h 6858000"/>
              <a:gd name="connsiteX487" fmla="*/ 10241892 w 12192000"/>
              <a:gd name="connsiteY487" fmla="*/ 6268771 h 6858000"/>
              <a:gd name="connsiteX488" fmla="*/ 10273241 w 12192000"/>
              <a:gd name="connsiteY488" fmla="*/ 6268771 h 6858000"/>
              <a:gd name="connsiteX489" fmla="*/ 10290657 w 12192000"/>
              <a:gd name="connsiteY489" fmla="*/ 6268771 h 6858000"/>
              <a:gd name="connsiteX490" fmla="*/ 10335940 w 12192000"/>
              <a:gd name="connsiteY490" fmla="*/ 6307735 h 6858000"/>
              <a:gd name="connsiteX491" fmla="*/ 10287174 w 12192000"/>
              <a:gd name="connsiteY491" fmla="*/ 6346697 h 6858000"/>
              <a:gd name="connsiteX492" fmla="*/ 10241892 w 12192000"/>
              <a:gd name="connsiteY492" fmla="*/ 6346697 h 6858000"/>
              <a:gd name="connsiteX493" fmla="*/ 10241892 w 12192000"/>
              <a:gd name="connsiteY493" fmla="*/ 6268771 h 6858000"/>
              <a:gd name="connsiteX494" fmla="*/ 10659063 w 12192000"/>
              <a:gd name="connsiteY494" fmla="*/ 6255336 h 6858000"/>
              <a:gd name="connsiteX495" fmla="*/ 10627410 w 12192000"/>
              <a:gd name="connsiteY495" fmla="*/ 6262370 h 6858000"/>
              <a:gd name="connsiteX496" fmla="*/ 10623893 w 12192000"/>
              <a:gd name="connsiteY496" fmla="*/ 6269404 h 6858000"/>
              <a:gd name="connsiteX497" fmla="*/ 10623893 w 12192000"/>
              <a:gd name="connsiteY497" fmla="*/ 6301056 h 6858000"/>
              <a:gd name="connsiteX498" fmla="*/ 10606308 w 12192000"/>
              <a:gd name="connsiteY498" fmla="*/ 6301056 h 6858000"/>
              <a:gd name="connsiteX499" fmla="*/ 10599275 w 12192000"/>
              <a:gd name="connsiteY499" fmla="*/ 6308090 h 6858000"/>
              <a:gd name="connsiteX500" fmla="*/ 10599275 w 12192000"/>
              <a:gd name="connsiteY500" fmla="*/ 6332708 h 6858000"/>
              <a:gd name="connsiteX501" fmla="*/ 10606308 w 12192000"/>
              <a:gd name="connsiteY501" fmla="*/ 6339742 h 6858000"/>
              <a:gd name="connsiteX502" fmla="*/ 10623893 w 12192000"/>
              <a:gd name="connsiteY502" fmla="*/ 6339742 h 6858000"/>
              <a:gd name="connsiteX503" fmla="*/ 10623893 w 12192000"/>
              <a:gd name="connsiteY503" fmla="*/ 6424149 h 6858000"/>
              <a:gd name="connsiteX504" fmla="*/ 10680164 w 12192000"/>
              <a:gd name="connsiteY504" fmla="*/ 6494487 h 6858000"/>
              <a:gd name="connsiteX505" fmla="*/ 10711817 w 12192000"/>
              <a:gd name="connsiteY505" fmla="*/ 6490971 h 6858000"/>
              <a:gd name="connsiteX506" fmla="*/ 10718851 w 12192000"/>
              <a:gd name="connsiteY506" fmla="*/ 6483936 h 6858000"/>
              <a:gd name="connsiteX507" fmla="*/ 10718851 w 12192000"/>
              <a:gd name="connsiteY507" fmla="*/ 6459318 h 6858000"/>
              <a:gd name="connsiteX508" fmla="*/ 10711817 w 12192000"/>
              <a:gd name="connsiteY508" fmla="*/ 6452284 h 6858000"/>
              <a:gd name="connsiteX509" fmla="*/ 10687198 w 12192000"/>
              <a:gd name="connsiteY509" fmla="*/ 6452284 h 6858000"/>
              <a:gd name="connsiteX510" fmla="*/ 10666096 w 12192000"/>
              <a:gd name="connsiteY510" fmla="*/ 6417115 h 6858000"/>
              <a:gd name="connsiteX511" fmla="*/ 10666096 w 12192000"/>
              <a:gd name="connsiteY511" fmla="*/ 6339742 h 6858000"/>
              <a:gd name="connsiteX512" fmla="*/ 10711817 w 12192000"/>
              <a:gd name="connsiteY512" fmla="*/ 6339742 h 6858000"/>
              <a:gd name="connsiteX513" fmla="*/ 10718851 w 12192000"/>
              <a:gd name="connsiteY513" fmla="*/ 6332708 h 6858000"/>
              <a:gd name="connsiteX514" fmla="*/ 10718851 w 12192000"/>
              <a:gd name="connsiteY514" fmla="*/ 6308090 h 6858000"/>
              <a:gd name="connsiteX515" fmla="*/ 10711817 w 12192000"/>
              <a:gd name="connsiteY515" fmla="*/ 6301056 h 6858000"/>
              <a:gd name="connsiteX516" fmla="*/ 10666096 w 12192000"/>
              <a:gd name="connsiteY516" fmla="*/ 6301056 h 6858000"/>
              <a:gd name="connsiteX517" fmla="*/ 10666096 w 12192000"/>
              <a:gd name="connsiteY517" fmla="*/ 6262370 h 6858000"/>
              <a:gd name="connsiteX518" fmla="*/ 10662580 w 12192000"/>
              <a:gd name="connsiteY518" fmla="*/ 6255336 h 6858000"/>
              <a:gd name="connsiteX519" fmla="*/ 10659063 w 12192000"/>
              <a:gd name="connsiteY519" fmla="*/ 6255336 h 6858000"/>
              <a:gd name="connsiteX520" fmla="*/ 10283668 w 12192000"/>
              <a:gd name="connsiteY520" fmla="*/ 6227122 h 6858000"/>
              <a:gd name="connsiteX521" fmla="*/ 10203208 w 12192000"/>
              <a:gd name="connsiteY521" fmla="*/ 6230633 h 6858000"/>
              <a:gd name="connsiteX522" fmla="*/ 10196211 w 12192000"/>
              <a:gd name="connsiteY522" fmla="*/ 6237655 h 6858000"/>
              <a:gd name="connsiteX523" fmla="*/ 10196211 w 12192000"/>
              <a:gd name="connsiteY523" fmla="*/ 6483435 h 6858000"/>
              <a:gd name="connsiteX524" fmla="*/ 10203208 w 12192000"/>
              <a:gd name="connsiteY524" fmla="*/ 6490457 h 6858000"/>
              <a:gd name="connsiteX525" fmla="*/ 10234693 w 12192000"/>
              <a:gd name="connsiteY525" fmla="*/ 6490457 h 6858000"/>
              <a:gd name="connsiteX526" fmla="*/ 10241689 w 12192000"/>
              <a:gd name="connsiteY526" fmla="*/ 6483435 h 6858000"/>
              <a:gd name="connsiteX527" fmla="*/ 10241689 w 12192000"/>
              <a:gd name="connsiteY527" fmla="*/ 6385123 h 6858000"/>
              <a:gd name="connsiteX528" fmla="*/ 10290665 w 12192000"/>
              <a:gd name="connsiteY528" fmla="*/ 6388634 h 6858000"/>
              <a:gd name="connsiteX529" fmla="*/ 10336143 w 12192000"/>
              <a:gd name="connsiteY529" fmla="*/ 6486946 h 6858000"/>
              <a:gd name="connsiteX530" fmla="*/ 10343139 w 12192000"/>
              <a:gd name="connsiteY530" fmla="*/ 6490457 h 6858000"/>
              <a:gd name="connsiteX531" fmla="*/ 10374624 w 12192000"/>
              <a:gd name="connsiteY531" fmla="*/ 6490457 h 6858000"/>
              <a:gd name="connsiteX532" fmla="*/ 10381620 w 12192000"/>
              <a:gd name="connsiteY532" fmla="*/ 6486946 h 6858000"/>
              <a:gd name="connsiteX533" fmla="*/ 10381620 w 12192000"/>
              <a:gd name="connsiteY533" fmla="*/ 6479924 h 6858000"/>
              <a:gd name="connsiteX534" fmla="*/ 10336143 w 12192000"/>
              <a:gd name="connsiteY534" fmla="*/ 6374590 h 6858000"/>
              <a:gd name="connsiteX535" fmla="*/ 10381620 w 12192000"/>
              <a:gd name="connsiteY535" fmla="*/ 6307878 h 6858000"/>
              <a:gd name="connsiteX536" fmla="*/ 10290665 w 12192000"/>
              <a:gd name="connsiteY536" fmla="*/ 6227122 h 6858000"/>
              <a:gd name="connsiteX537" fmla="*/ 10283668 w 12192000"/>
              <a:gd name="connsiteY537" fmla="*/ 6227122 h 6858000"/>
              <a:gd name="connsiteX538" fmla="*/ 11839186 w 12192000"/>
              <a:gd name="connsiteY538" fmla="*/ 6196200 h 6858000"/>
              <a:gd name="connsiteX539" fmla="*/ 11845722 w 12192000"/>
              <a:gd name="connsiteY539" fmla="*/ 6201931 h 6858000"/>
              <a:gd name="connsiteX540" fmla="*/ 11908470 w 12192000"/>
              <a:gd name="connsiteY540" fmla="*/ 6441755 h 6858000"/>
              <a:gd name="connsiteX541" fmla="*/ 11898012 w 12192000"/>
              <a:gd name="connsiteY541" fmla="*/ 6445282 h 6858000"/>
              <a:gd name="connsiteX542" fmla="*/ 11859666 w 12192000"/>
              <a:gd name="connsiteY542" fmla="*/ 6434701 h 6858000"/>
              <a:gd name="connsiteX543" fmla="*/ 11852694 w 12192000"/>
              <a:gd name="connsiteY543" fmla="*/ 6424121 h 6858000"/>
              <a:gd name="connsiteX544" fmla="*/ 11807377 w 12192000"/>
              <a:gd name="connsiteY544" fmla="*/ 6244253 h 6858000"/>
              <a:gd name="connsiteX545" fmla="*/ 11807377 w 12192000"/>
              <a:gd name="connsiteY545" fmla="*/ 6230146 h 6858000"/>
              <a:gd name="connsiteX546" fmla="*/ 11835264 w 12192000"/>
              <a:gd name="connsiteY546" fmla="*/ 6198404 h 6858000"/>
              <a:gd name="connsiteX547" fmla="*/ 11839186 w 12192000"/>
              <a:gd name="connsiteY547" fmla="*/ 6196200 h 6858000"/>
              <a:gd name="connsiteX548" fmla="*/ 11458923 w 12192000"/>
              <a:gd name="connsiteY548" fmla="*/ 6196200 h 6858000"/>
              <a:gd name="connsiteX549" fmla="*/ 11462885 w 12192000"/>
              <a:gd name="connsiteY549" fmla="*/ 6198404 h 6858000"/>
              <a:gd name="connsiteX550" fmla="*/ 11494585 w 12192000"/>
              <a:gd name="connsiteY550" fmla="*/ 6230146 h 6858000"/>
              <a:gd name="connsiteX551" fmla="*/ 11491063 w 12192000"/>
              <a:gd name="connsiteY551" fmla="*/ 6244253 h 6858000"/>
              <a:gd name="connsiteX552" fmla="*/ 11445274 w 12192000"/>
              <a:gd name="connsiteY552" fmla="*/ 6424121 h 6858000"/>
              <a:gd name="connsiteX553" fmla="*/ 11438229 w 12192000"/>
              <a:gd name="connsiteY553" fmla="*/ 6434701 h 6858000"/>
              <a:gd name="connsiteX554" fmla="*/ 11399484 w 12192000"/>
              <a:gd name="connsiteY554" fmla="*/ 6445282 h 6858000"/>
              <a:gd name="connsiteX555" fmla="*/ 11388917 w 12192000"/>
              <a:gd name="connsiteY555" fmla="*/ 6441755 h 6858000"/>
              <a:gd name="connsiteX556" fmla="*/ 11452318 w 12192000"/>
              <a:gd name="connsiteY556" fmla="*/ 6201931 h 6858000"/>
              <a:gd name="connsiteX557" fmla="*/ 11458923 w 12192000"/>
              <a:gd name="connsiteY557" fmla="*/ 6196200 h 6858000"/>
              <a:gd name="connsiteX558" fmla="*/ 11677605 w 12192000"/>
              <a:gd name="connsiteY558" fmla="*/ 6190846 h 6858000"/>
              <a:gd name="connsiteX559" fmla="*/ 11684592 w 12192000"/>
              <a:gd name="connsiteY559" fmla="*/ 6190846 h 6858000"/>
              <a:gd name="connsiteX560" fmla="*/ 11792882 w 12192000"/>
              <a:gd name="connsiteY560" fmla="*/ 6254415 h 6858000"/>
              <a:gd name="connsiteX561" fmla="*/ 11796375 w 12192000"/>
              <a:gd name="connsiteY561" fmla="*/ 6261479 h 6858000"/>
              <a:gd name="connsiteX562" fmla="*/ 11789388 w 12192000"/>
              <a:gd name="connsiteY562" fmla="*/ 6268542 h 6858000"/>
              <a:gd name="connsiteX563" fmla="*/ 11698565 w 12192000"/>
              <a:gd name="connsiteY563" fmla="*/ 6314453 h 6858000"/>
              <a:gd name="connsiteX564" fmla="*/ 11688084 w 12192000"/>
              <a:gd name="connsiteY564" fmla="*/ 6314453 h 6858000"/>
              <a:gd name="connsiteX565" fmla="*/ 11681098 w 12192000"/>
              <a:gd name="connsiteY565" fmla="*/ 6303858 h 6858000"/>
              <a:gd name="connsiteX566" fmla="*/ 11674112 w 12192000"/>
              <a:gd name="connsiteY566" fmla="*/ 6201442 h 6858000"/>
              <a:gd name="connsiteX567" fmla="*/ 11677605 w 12192000"/>
              <a:gd name="connsiteY567" fmla="*/ 6190846 h 6858000"/>
              <a:gd name="connsiteX568" fmla="*/ 11613922 w 12192000"/>
              <a:gd name="connsiteY568" fmla="*/ 6190846 h 6858000"/>
              <a:gd name="connsiteX569" fmla="*/ 11620908 w 12192000"/>
              <a:gd name="connsiteY569" fmla="*/ 6190846 h 6858000"/>
              <a:gd name="connsiteX570" fmla="*/ 11624401 w 12192000"/>
              <a:gd name="connsiteY570" fmla="*/ 6201442 h 6858000"/>
              <a:gd name="connsiteX571" fmla="*/ 11613922 w 12192000"/>
              <a:gd name="connsiteY571" fmla="*/ 6307389 h 6858000"/>
              <a:gd name="connsiteX572" fmla="*/ 11610428 w 12192000"/>
              <a:gd name="connsiteY572" fmla="*/ 6314453 h 6858000"/>
              <a:gd name="connsiteX573" fmla="*/ 11599949 w 12192000"/>
              <a:gd name="connsiteY573" fmla="*/ 6314453 h 6858000"/>
              <a:gd name="connsiteX574" fmla="*/ 11509124 w 12192000"/>
              <a:gd name="connsiteY574" fmla="*/ 6268542 h 6858000"/>
              <a:gd name="connsiteX575" fmla="*/ 11502138 w 12192000"/>
              <a:gd name="connsiteY575" fmla="*/ 6261479 h 6858000"/>
              <a:gd name="connsiteX576" fmla="*/ 11505632 w 12192000"/>
              <a:gd name="connsiteY576" fmla="*/ 6254415 h 6858000"/>
              <a:gd name="connsiteX577" fmla="*/ 11613922 w 12192000"/>
              <a:gd name="connsiteY577" fmla="*/ 6190846 h 6858000"/>
              <a:gd name="connsiteX578" fmla="*/ 11532772 w 12192000"/>
              <a:gd name="connsiteY578" fmla="*/ 6155914 h 6858000"/>
              <a:gd name="connsiteX579" fmla="*/ 11539758 w 12192000"/>
              <a:gd name="connsiteY579" fmla="*/ 6163304 h 6858000"/>
              <a:gd name="connsiteX580" fmla="*/ 11536265 w 12192000"/>
              <a:gd name="connsiteY580" fmla="*/ 6166999 h 6858000"/>
              <a:gd name="connsiteX581" fmla="*/ 11529278 w 12192000"/>
              <a:gd name="connsiteY581" fmla="*/ 6170694 h 6858000"/>
              <a:gd name="connsiteX582" fmla="*/ 11525785 w 12192000"/>
              <a:gd name="connsiteY582" fmla="*/ 6163304 h 6858000"/>
              <a:gd name="connsiteX583" fmla="*/ 11522292 w 12192000"/>
              <a:gd name="connsiteY583" fmla="*/ 6163304 h 6858000"/>
              <a:gd name="connsiteX584" fmla="*/ 11532772 w 12192000"/>
              <a:gd name="connsiteY584" fmla="*/ 6155914 h 6858000"/>
              <a:gd name="connsiteX585" fmla="*/ 11529297 w 12192000"/>
              <a:gd name="connsiteY585" fmla="*/ 6148717 h 6858000"/>
              <a:gd name="connsiteX586" fmla="*/ 11511543 w 12192000"/>
              <a:gd name="connsiteY586" fmla="*/ 6159369 h 6858000"/>
              <a:gd name="connsiteX587" fmla="*/ 11515094 w 12192000"/>
              <a:gd name="connsiteY587" fmla="*/ 6162920 h 6858000"/>
              <a:gd name="connsiteX588" fmla="*/ 11532848 w 12192000"/>
              <a:gd name="connsiteY588" fmla="*/ 6194878 h 6858000"/>
              <a:gd name="connsiteX589" fmla="*/ 11539950 w 12192000"/>
              <a:gd name="connsiteY589" fmla="*/ 6191326 h 6858000"/>
              <a:gd name="connsiteX590" fmla="*/ 11532848 w 12192000"/>
              <a:gd name="connsiteY590" fmla="*/ 6177123 h 6858000"/>
              <a:gd name="connsiteX591" fmla="*/ 11539950 w 12192000"/>
              <a:gd name="connsiteY591" fmla="*/ 6173573 h 6858000"/>
              <a:gd name="connsiteX592" fmla="*/ 11554153 w 12192000"/>
              <a:gd name="connsiteY592" fmla="*/ 6184225 h 6858000"/>
              <a:gd name="connsiteX593" fmla="*/ 11561255 w 12192000"/>
              <a:gd name="connsiteY593" fmla="*/ 6180674 h 6858000"/>
              <a:gd name="connsiteX594" fmla="*/ 11547052 w 12192000"/>
              <a:gd name="connsiteY594" fmla="*/ 6166471 h 6858000"/>
              <a:gd name="connsiteX595" fmla="*/ 11547052 w 12192000"/>
              <a:gd name="connsiteY595" fmla="*/ 6162920 h 6858000"/>
              <a:gd name="connsiteX596" fmla="*/ 11529297 w 12192000"/>
              <a:gd name="connsiteY596" fmla="*/ 6148717 h 6858000"/>
              <a:gd name="connsiteX597" fmla="*/ 11750205 w 12192000"/>
              <a:gd name="connsiteY597" fmla="*/ 6142479 h 6858000"/>
              <a:gd name="connsiteX598" fmla="*/ 11753748 w 12192000"/>
              <a:gd name="connsiteY598" fmla="*/ 6166663 h 6858000"/>
              <a:gd name="connsiteX599" fmla="*/ 11746663 w 12192000"/>
              <a:gd name="connsiteY599" fmla="*/ 6183937 h 6858000"/>
              <a:gd name="connsiteX600" fmla="*/ 11753748 w 12192000"/>
              <a:gd name="connsiteY600" fmla="*/ 6190846 h 6858000"/>
              <a:gd name="connsiteX601" fmla="*/ 11760832 w 12192000"/>
              <a:gd name="connsiteY601" fmla="*/ 6173572 h 6858000"/>
              <a:gd name="connsiteX602" fmla="*/ 11785626 w 12192000"/>
              <a:gd name="connsiteY602" fmla="*/ 6159753 h 6858000"/>
              <a:gd name="connsiteX603" fmla="*/ 11778543 w 12192000"/>
              <a:gd name="connsiteY603" fmla="*/ 6156298 h 6858000"/>
              <a:gd name="connsiteX604" fmla="*/ 11760832 w 12192000"/>
              <a:gd name="connsiteY604" fmla="*/ 6163208 h 6858000"/>
              <a:gd name="connsiteX605" fmla="*/ 11757290 w 12192000"/>
              <a:gd name="connsiteY605" fmla="*/ 6145933 h 6858000"/>
              <a:gd name="connsiteX606" fmla="*/ 11750205 w 12192000"/>
              <a:gd name="connsiteY606" fmla="*/ 6142479 h 6858000"/>
              <a:gd name="connsiteX607" fmla="*/ 11715224 w 12192000"/>
              <a:gd name="connsiteY607" fmla="*/ 6138449 h 6858000"/>
              <a:gd name="connsiteX608" fmla="*/ 11725705 w 12192000"/>
              <a:gd name="connsiteY608" fmla="*/ 6141808 h 6858000"/>
              <a:gd name="connsiteX609" fmla="*/ 11729197 w 12192000"/>
              <a:gd name="connsiteY609" fmla="*/ 6145167 h 6858000"/>
              <a:gd name="connsiteX610" fmla="*/ 11722211 w 12192000"/>
              <a:gd name="connsiteY610" fmla="*/ 6151884 h 6858000"/>
              <a:gd name="connsiteX611" fmla="*/ 11711731 w 12192000"/>
              <a:gd name="connsiteY611" fmla="*/ 6148525 h 6858000"/>
              <a:gd name="connsiteX612" fmla="*/ 11711731 w 12192000"/>
              <a:gd name="connsiteY612" fmla="*/ 6145167 h 6858000"/>
              <a:gd name="connsiteX613" fmla="*/ 11715224 w 12192000"/>
              <a:gd name="connsiteY613" fmla="*/ 6138449 h 6858000"/>
              <a:gd name="connsiteX614" fmla="*/ 11582079 w 12192000"/>
              <a:gd name="connsiteY614" fmla="*/ 6137944 h 6858000"/>
              <a:gd name="connsiteX615" fmla="*/ 11596187 w 12192000"/>
              <a:gd name="connsiteY615" fmla="*/ 6148525 h 6858000"/>
              <a:gd name="connsiteX616" fmla="*/ 11582079 w 12192000"/>
              <a:gd name="connsiteY616" fmla="*/ 6162632 h 6858000"/>
              <a:gd name="connsiteX617" fmla="*/ 11567972 w 12192000"/>
              <a:gd name="connsiteY617" fmla="*/ 6152052 h 6858000"/>
              <a:gd name="connsiteX618" fmla="*/ 11567972 w 12192000"/>
              <a:gd name="connsiteY618" fmla="*/ 6148525 h 6858000"/>
              <a:gd name="connsiteX619" fmla="*/ 11582079 w 12192000"/>
              <a:gd name="connsiteY619" fmla="*/ 6137944 h 6858000"/>
              <a:gd name="connsiteX620" fmla="*/ 11670081 w 12192000"/>
              <a:gd name="connsiteY620" fmla="*/ 6131730 h 6858000"/>
              <a:gd name="connsiteX621" fmla="*/ 11673440 w 12192000"/>
              <a:gd name="connsiteY621" fmla="*/ 6142210 h 6858000"/>
              <a:gd name="connsiteX622" fmla="*/ 11676799 w 12192000"/>
              <a:gd name="connsiteY622" fmla="*/ 6149197 h 6858000"/>
              <a:gd name="connsiteX623" fmla="*/ 11663363 w 12192000"/>
              <a:gd name="connsiteY623" fmla="*/ 6149197 h 6858000"/>
              <a:gd name="connsiteX624" fmla="*/ 11666722 w 12192000"/>
              <a:gd name="connsiteY624" fmla="*/ 6142210 h 6858000"/>
              <a:gd name="connsiteX625" fmla="*/ 11670081 w 12192000"/>
              <a:gd name="connsiteY625" fmla="*/ 6131730 h 6858000"/>
              <a:gd name="connsiteX626" fmla="*/ 11578609 w 12192000"/>
              <a:gd name="connsiteY626" fmla="*/ 6131214 h 6858000"/>
              <a:gd name="connsiteX627" fmla="*/ 11561254 w 12192000"/>
              <a:gd name="connsiteY627" fmla="*/ 6148784 h 6858000"/>
              <a:gd name="connsiteX628" fmla="*/ 11561254 w 12192000"/>
              <a:gd name="connsiteY628" fmla="*/ 6152297 h 6858000"/>
              <a:gd name="connsiteX629" fmla="*/ 11582079 w 12192000"/>
              <a:gd name="connsiteY629" fmla="*/ 6169867 h 6858000"/>
              <a:gd name="connsiteX630" fmla="*/ 11602904 w 12192000"/>
              <a:gd name="connsiteY630" fmla="*/ 6148784 h 6858000"/>
              <a:gd name="connsiteX631" fmla="*/ 11578609 w 12192000"/>
              <a:gd name="connsiteY631" fmla="*/ 6131214 h 6858000"/>
              <a:gd name="connsiteX632" fmla="*/ 11708922 w 12192000"/>
              <a:gd name="connsiteY632" fmla="*/ 6127700 h 6858000"/>
              <a:gd name="connsiteX633" fmla="*/ 11705380 w 12192000"/>
              <a:gd name="connsiteY633" fmla="*/ 6145454 h 6858000"/>
              <a:gd name="connsiteX634" fmla="*/ 11698296 w 12192000"/>
              <a:gd name="connsiteY634" fmla="*/ 6166759 h 6858000"/>
              <a:gd name="connsiteX635" fmla="*/ 11708922 w 12192000"/>
              <a:gd name="connsiteY635" fmla="*/ 6170310 h 6858000"/>
              <a:gd name="connsiteX636" fmla="*/ 11712464 w 12192000"/>
              <a:gd name="connsiteY636" fmla="*/ 6156107 h 6858000"/>
              <a:gd name="connsiteX637" fmla="*/ 11719548 w 12192000"/>
              <a:gd name="connsiteY637" fmla="*/ 6156107 h 6858000"/>
              <a:gd name="connsiteX638" fmla="*/ 11723090 w 12192000"/>
              <a:gd name="connsiteY638" fmla="*/ 6173861 h 6858000"/>
              <a:gd name="connsiteX639" fmla="*/ 11730175 w 12192000"/>
              <a:gd name="connsiteY639" fmla="*/ 6177412 h 6858000"/>
              <a:gd name="connsiteX640" fmla="*/ 11726632 w 12192000"/>
              <a:gd name="connsiteY640" fmla="*/ 6159658 h 6858000"/>
              <a:gd name="connsiteX641" fmla="*/ 11737259 w 12192000"/>
              <a:gd name="connsiteY641" fmla="*/ 6145454 h 6858000"/>
              <a:gd name="connsiteX642" fmla="*/ 11730175 w 12192000"/>
              <a:gd name="connsiteY642" fmla="*/ 6134802 h 6858000"/>
              <a:gd name="connsiteX643" fmla="*/ 11708922 w 12192000"/>
              <a:gd name="connsiteY643" fmla="*/ 6127700 h 6858000"/>
              <a:gd name="connsiteX644" fmla="*/ 11666295 w 12192000"/>
              <a:gd name="connsiteY644" fmla="*/ 6120982 h 6858000"/>
              <a:gd name="connsiteX645" fmla="*/ 11659211 w 12192000"/>
              <a:gd name="connsiteY645" fmla="*/ 6142066 h 6858000"/>
              <a:gd name="connsiteX646" fmla="*/ 11648585 w 12192000"/>
              <a:gd name="connsiteY646" fmla="*/ 6163149 h 6858000"/>
              <a:gd name="connsiteX647" fmla="*/ 11655669 w 12192000"/>
              <a:gd name="connsiteY647" fmla="*/ 6163149 h 6858000"/>
              <a:gd name="connsiteX648" fmla="*/ 11659211 w 12192000"/>
              <a:gd name="connsiteY648" fmla="*/ 6156121 h 6858000"/>
              <a:gd name="connsiteX649" fmla="*/ 11676922 w 12192000"/>
              <a:gd name="connsiteY649" fmla="*/ 6156121 h 6858000"/>
              <a:gd name="connsiteX650" fmla="*/ 11680464 w 12192000"/>
              <a:gd name="connsiteY650" fmla="*/ 6163149 h 6858000"/>
              <a:gd name="connsiteX651" fmla="*/ 11687548 w 12192000"/>
              <a:gd name="connsiteY651" fmla="*/ 6166663 h 6858000"/>
              <a:gd name="connsiteX652" fmla="*/ 11680464 w 12192000"/>
              <a:gd name="connsiteY652" fmla="*/ 6142066 h 6858000"/>
              <a:gd name="connsiteX653" fmla="*/ 11676922 w 12192000"/>
              <a:gd name="connsiteY653" fmla="*/ 6120982 h 6858000"/>
              <a:gd name="connsiteX654" fmla="*/ 11666295 w 12192000"/>
              <a:gd name="connsiteY654" fmla="*/ 6120982 h 6858000"/>
              <a:gd name="connsiteX655" fmla="*/ 11645898 w 12192000"/>
              <a:gd name="connsiteY655" fmla="*/ 6120982 h 6858000"/>
              <a:gd name="connsiteX656" fmla="*/ 11606934 w 12192000"/>
              <a:gd name="connsiteY656" fmla="*/ 6124453 h 6858000"/>
              <a:gd name="connsiteX657" fmla="*/ 11606934 w 12192000"/>
              <a:gd name="connsiteY657" fmla="*/ 6131394 h 6858000"/>
              <a:gd name="connsiteX658" fmla="*/ 11621103 w 12192000"/>
              <a:gd name="connsiteY658" fmla="*/ 6127924 h 6858000"/>
              <a:gd name="connsiteX659" fmla="*/ 11624645 w 12192000"/>
              <a:gd name="connsiteY659" fmla="*/ 6162632 h 6858000"/>
              <a:gd name="connsiteX660" fmla="*/ 11635271 w 12192000"/>
              <a:gd name="connsiteY660" fmla="*/ 6162632 h 6858000"/>
              <a:gd name="connsiteX661" fmla="*/ 11631729 w 12192000"/>
              <a:gd name="connsiteY661" fmla="*/ 6127924 h 6858000"/>
              <a:gd name="connsiteX662" fmla="*/ 11645898 w 12192000"/>
              <a:gd name="connsiteY662" fmla="*/ 6127924 h 6858000"/>
              <a:gd name="connsiteX663" fmla="*/ 11645898 w 12192000"/>
              <a:gd name="connsiteY663" fmla="*/ 6120982 h 6858000"/>
              <a:gd name="connsiteX664" fmla="*/ 11196257 w 12192000"/>
              <a:gd name="connsiteY664" fmla="*/ 6120981 h 6858000"/>
              <a:gd name="connsiteX665" fmla="*/ 11221336 w 12192000"/>
              <a:gd name="connsiteY665" fmla="*/ 6155913 h 6858000"/>
              <a:gd name="connsiteX666" fmla="*/ 11167595 w 12192000"/>
              <a:gd name="connsiteY666" fmla="*/ 6155913 h 6858000"/>
              <a:gd name="connsiteX667" fmla="*/ 11196257 w 12192000"/>
              <a:gd name="connsiteY667" fmla="*/ 6120981 h 6858000"/>
              <a:gd name="connsiteX668" fmla="*/ 11648585 w 12192000"/>
              <a:gd name="connsiteY668" fmla="*/ 6114265 h 6858000"/>
              <a:gd name="connsiteX669" fmla="*/ 11813539 w 12192000"/>
              <a:gd name="connsiteY669" fmla="*/ 6170156 h 6858000"/>
              <a:gd name="connsiteX670" fmla="*/ 11817049 w 12192000"/>
              <a:gd name="connsiteY670" fmla="*/ 6184129 h 6858000"/>
              <a:gd name="connsiteX671" fmla="*/ 11788972 w 12192000"/>
              <a:gd name="connsiteY671" fmla="*/ 6215569 h 6858000"/>
              <a:gd name="connsiteX672" fmla="*/ 11774933 w 12192000"/>
              <a:gd name="connsiteY672" fmla="*/ 6215569 h 6858000"/>
              <a:gd name="connsiteX673" fmla="*/ 11648585 w 12192000"/>
              <a:gd name="connsiteY673" fmla="*/ 6170156 h 6858000"/>
              <a:gd name="connsiteX674" fmla="*/ 11522236 w 12192000"/>
              <a:gd name="connsiteY674" fmla="*/ 6215569 h 6858000"/>
              <a:gd name="connsiteX675" fmla="*/ 11508198 w 12192000"/>
              <a:gd name="connsiteY675" fmla="*/ 6215569 h 6858000"/>
              <a:gd name="connsiteX676" fmla="*/ 11480121 w 12192000"/>
              <a:gd name="connsiteY676" fmla="*/ 6184129 h 6858000"/>
              <a:gd name="connsiteX677" fmla="*/ 11483630 w 12192000"/>
              <a:gd name="connsiteY677" fmla="*/ 6170156 h 6858000"/>
              <a:gd name="connsiteX678" fmla="*/ 11648585 w 12192000"/>
              <a:gd name="connsiteY678" fmla="*/ 6114265 h 6858000"/>
              <a:gd name="connsiteX679" fmla="*/ 11196481 w 12192000"/>
              <a:gd name="connsiteY679" fmla="*/ 6114264 h 6858000"/>
              <a:gd name="connsiteX680" fmla="*/ 11158189 w 12192000"/>
              <a:gd name="connsiteY680" fmla="*/ 6163304 h 6858000"/>
              <a:gd name="connsiteX681" fmla="*/ 11199962 w 12192000"/>
              <a:gd name="connsiteY681" fmla="*/ 6212343 h 6858000"/>
              <a:gd name="connsiteX682" fmla="*/ 11227810 w 12192000"/>
              <a:gd name="connsiteY682" fmla="*/ 6205337 h 6858000"/>
              <a:gd name="connsiteX683" fmla="*/ 11227810 w 12192000"/>
              <a:gd name="connsiteY683" fmla="*/ 6194829 h 6858000"/>
              <a:gd name="connsiteX684" fmla="*/ 11199962 w 12192000"/>
              <a:gd name="connsiteY684" fmla="*/ 6201834 h 6858000"/>
              <a:gd name="connsiteX685" fmla="*/ 11168632 w 12192000"/>
              <a:gd name="connsiteY685" fmla="*/ 6166807 h 6858000"/>
              <a:gd name="connsiteX686" fmla="*/ 11234772 w 12192000"/>
              <a:gd name="connsiteY686" fmla="*/ 6166807 h 6858000"/>
              <a:gd name="connsiteX687" fmla="*/ 11234772 w 12192000"/>
              <a:gd name="connsiteY687" fmla="*/ 6159801 h 6858000"/>
              <a:gd name="connsiteX688" fmla="*/ 11196481 w 12192000"/>
              <a:gd name="connsiteY688" fmla="*/ 6114264 h 6858000"/>
              <a:gd name="connsiteX689" fmla="*/ 10947253 w 12192000"/>
              <a:gd name="connsiteY689" fmla="*/ 6077988 h 6858000"/>
              <a:gd name="connsiteX690" fmla="*/ 10947253 w 12192000"/>
              <a:gd name="connsiteY690" fmla="*/ 6088736 h 6858000"/>
              <a:gd name="connsiteX691" fmla="*/ 10986216 w 12192000"/>
              <a:gd name="connsiteY691" fmla="*/ 6088736 h 6858000"/>
              <a:gd name="connsiteX692" fmla="*/ 10986216 w 12192000"/>
              <a:gd name="connsiteY692" fmla="*/ 6208312 h 6858000"/>
              <a:gd name="connsiteX693" fmla="*/ 10999652 w 12192000"/>
              <a:gd name="connsiteY693" fmla="*/ 6208312 h 6858000"/>
              <a:gd name="connsiteX694" fmla="*/ 10999652 w 12192000"/>
              <a:gd name="connsiteY694" fmla="*/ 6088736 h 6858000"/>
              <a:gd name="connsiteX695" fmla="*/ 11038614 w 12192000"/>
              <a:gd name="connsiteY695" fmla="*/ 6088736 h 6858000"/>
              <a:gd name="connsiteX696" fmla="*/ 11038614 w 12192000"/>
              <a:gd name="connsiteY696" fmla="*/ 6077988 h 6858000"/>
              <a:gd name="connsiteX697" fmla="*/ 11060111 w 12192000"/>
              <a:gd name="connsiteY697" fmla="*/ 6067239 h 6858000"/>
              <a:gd name="connsiteX698" fmla="*/ 11060111 w 12192000"/>
              <a:gd name="connsiteY698" fmla="*/ 6208312 h 6858000"/>
              <a:gd name="connsiteX699" fmla="*/ 11070476 w 12192000"/>
              <a:gd name="connsiteY699" fmla="*/ 6208312 h 6858000"/>
              <a:gd name="connsiteX700" fmla="*/ 11070476 w 12192000"/>
              <a:gd name="connsiteY700" fmla="*/ 6158936 h 6858000"/>
              <a:gd name="connsiteX701" fmla="*/ 11098115 w 12192000"/>
              <a:gd name="connsiteY701" fmla="*/ 6120142 h 6858000"/>
              <a:gd name="connsiteX702" fmla="*/ 11118844 w 12192000"/>
              <a:gd name="connsiteY702" fmla="*/ 6151883 h 6858000"/>
              <a:gd name="connsiteX703" fmla="*/ 11118844 w 12192000"/>
              <a:gd name="connsiteY703" fmla="*/ 6208312 h 6858000"/>
              <a:gd name="connsiteX704" fmla="*/ 11132662 w 12192000"/>
              <a:gd name="connsiteY704" fmla="*/ 6208312 h 6858000"/>
              <a:gd name="connsiteX705" fmla="*/ 11132662 w 12192000"/>
              <a:gd name="connsiteY705" fmla="*/ 6151883 h 6858000"/>
              <a:gd name="connsiteX706" fmla="*/ 11101569 w 12192000"/>
              <a:gd name="connsiteY706" fmla="*/ 6113088 h 6858000"/>
              <a:gd name="connsiteX707" fmla="*/ 11070476 w 12192000"/>
              <a:gd name="connsiteY707" fmla="*/ 6130722 h 6858000"/>
              <a:gd name="connsiteX708" fmla="*/ 11070476 w 12192000"/>
              <a:gd name="connsiteY708" fmla="*/ 6067239 h 6858000"/>
              <a:gd name="connsiteX709" fmla="*/ 11060111 w 12192000"/>
              <a:gd name="connsiteY709" fmla="*/ 6067239 h 6858000"/>
              <a:gd name="connsiteX710" fmla="*/ 11638739 w 12192000"/>
              <a:gd name="connsiteY710" fmla="*/ 6043056 h 6858000"/>
              <a:gd name="connsiteX711" fmla="*/ 11624716 w 12192000"/>
              <a:gd name="connsiteY711" fmla="*/ 6095919 h 6858000"/>
              <a:gd name="connsiteX712" fmla="*/ 11600176 w 12192000"/>
              <a:gd name="connsiteY712" fmla="*/ 6099443 h 6858000"/>
              <a:gd name="connsiteX713" fmla="*/ 11575635 w 12192000"/>
              <a:gd name="connsiteY713" fmla="*/ 6053629 h 6858000"/>
              <a:gd name="connsiteX714" fmla="*/ 11572129 w 12192000"/>
              <a:gd name="connsiteY714" fmla="*/ 6053629 h 6858000"/>
              <a:gd name="connsiteX715" fmla="*/ 11551094 w 12192000"/>
              <a:gd name="connsiteY715" fmla="*/ 6057153 h 6858000"/>
              <a:gd name="connsiteX716" fmla="*/ 11551094 w 12192000"/>
              <a:gd name="connsiteY716" fmla="*/ 6060677 h 6858000"/>
              <a:gd name="connsiteX717" fmla="*/ 11547588 w 12192000"/>
              <a:gd name="connsiteY717" fmla="*/ 6085346 h 6858000"/>
              <a:gd name="connsiteX718" fmla="*/ 11551094 w 12192000"/>
              <a:gd name="connsiteY718" fmla="*/ 6113540 h 6858000"/>
              <a:gd name="connsiteX719" fmla="*/ 11530059 w 12192000"/>
              <a:gd name="connsiteY719" fmla="*/ 6120588 h 6858000"/>
              <a:gd name="connsiteX720" fmla="*/ 11491495 w 12192000"/>
              <a:gd name="connsiteY720" fmla="*/ 6085346 h 6858000"/>
              <a:gd name="connsiteX721" fmla="*/ 11470460 w 12192000"/>
              <a:gd name="connsiteY721" fmla="*/ 6095919 h 6858000"/>
              <a:gd name="connsiteX722" fmla="*/ 11484484 w 12192000"/>
              <a:gd name="connsiteY722" fmla="*/ 6148781 h 6858000"/>
              <a:gd name="connsiteX723" fmla="*/ 11466954 w 12192000"/>
              <a:gd name="connsiteY723" fmla="*/ 6159354 h 6858000"/>
              <a:gd name="connsiteX724" fmla="*/ 11421379 w 12192000"/>
              <a:gd name="connsiteY724" fmla="*/ 6134685 h 6858000"/>
              <a:gd name="connsiteX725" fmla="*/ 11403850 w 12192000"/>
              <a:gd name="connsiteY725" fmla="*/ 6148781 h 6858000"/>
              <a:gd name="connsiteX726" fmla="*/ 11403850 w 12192000"/>
              <a:gd name="connsiteY726" fmla="*/ 6152305 h 6858000"/>
              <a:gd name="connsiteX727" fmla="*/ 11431896 w 12192000"/>
              <a:gd name="connsiteY727" fmla="*/ 6198120 h 6858000"/>
              <a:gd name="connsiteX728" fmla="*/ 11417873 w 12192000"/>
              <a:gd name="connsiteY728" fmla="*/ 6215741 h 6858000"/>
              <a:gd name="connsiteX729" fmla="*/ 11365286 w 12192000"/>
              <a:gd name="connsiteY729" fmla="*/ 6201644 h 6858000"/>
              <a:gd name="connsiteX730" fmla="*/ 11354768 w 12192000"/>
              <a:gd name="connsiteY730" fmla="*/ 6222789 h 6858000"/>
              <a:gd name="connsiteX731" fmla="*/ 11389827 w 12192000"/>
              <a:gd name="connsiteY731" fmla="*/ 6261556 h 6858000"/>
              <a:gd name="connsiteX732" fmla="*/ 11382815 w 12192000"/>
              <a:gd name="connsiteY732" fmla="*/ 6282700 h 6858000"/>
              <a:gd name="connsiteX733" fmla="*/ 11330228 w 12192000"/>
              <a:gd name="connsiteY733" fmla="*/ 6282700 h 6858000"/>
              <a:gd name="connsiteX734" fmla="*/ 11323216 w 12192000"/>
              <a:gd name="connsiteY734" fmla="*/ 6303845 h 6858000"/>
              <a:gd name="connsiteX735" fmla="*/ 11368791 w 12192000"/>
              <a:gd name="connsiteY735" fmla="*/ 6332039 h 6858000"/>
              <a:gd name="connsiteX736" fmla="*/ 11365286 w 12192000"/>
              <a:gd name="connsiteY736" fmla="*/ 6353183 h 6858000"/>
              <a:gd name="connsiteX737" fmla="*/ 11316205 w 12192000"/>
              <a:gd name="connsiteY737" fmla="*/ 6367281 h 6858000"/>
              <a:gd name="connsiteX738" fmla="*/ 11312698 w 12192000"/>
              <a:gd name="connsiteY738" fmla="*/ 6367281 h 6858000"/>
              <a:gd name="connsiteX739" fmla="*/ 11312698 w 12192000"/>
              <a:gd name="connsiteY739" fmla="*/ 6381377 h 6858000"/>
              <a:gd name="connsiteX740" fmla="*/ 11312698 w 12192000"/>
              <a:gd name="connsiteY740" fmla="*/ 6391950 h 6858000"/>
              <a:gd name="connsiteX741" fmla="*/ 11316205 w 12192000"/>
              <a:gd name="connsiteY741" fmla="*/ 6391950 h 6858000"/>
              <a:gd name="connsiteX742" fmla="*/ 11365286 w 12192000"/>
              <a:gd name="connsiteY742" fmla="*/ 6406047 h 6858000"/>
              <a:gd name="connsiteX743" fmla="*/ 11368791 w 12192000"/>
              <a:gd name="connsiteY743" fmla="*/ 6427192 h 6858000"/>
              <a:gd name="connsiteX744" fmla="*/ 11323216 w 12192000"/>
              <a:gd name="connsiteY744" fmla="*/ 6455385 h 6858000"/>
              <a:gd name="connsiteX745" fmla="*/ 11323216 w 12192000"/>
              <a:gd name="connsiteY745" fmla="*/ 6458909 h 6858000"/>
              <a:gd name="connsiteX746" fmla="*/ 11330228 w 12192000"/>
              <a:gd name="connsiteY746" fmla="*/ 6480054 h 6858000"/>
              <a:gd name="connsiteX747" fmla="*/ 11382815 w 12192000"/>
              <a:gd name="connsiteY747" fmla="*/ 6480054 h 6858000"/>
              <a:gd name="connsiteX748" fmla="*/ 11393332 w 12192000"/>
              <a:gd name="connsiteY748" fmla="*/ 6501200 h 6858000"/>
              <a:gd name="connsiteX749" fmla="*/ 11354768 w 12192000"/>
              <a:gd name="connsiteY749" fmla="*/ 6536441 h 6858000"/>
              <a:gd name="connsiteX750" fmla="*/ 11354768 w 12192000"/>
              <a:gd name="connsiteY750" fmla="*/ 6539965 h 6858000"/>
              <a:gd name="connsiteX751" fmla="*/ 11365286 w 12192000"/>
              <a:gd name="connsiteY751" fmla="*/ 6557586 h 6858000"/>
              <a:gd name="connsiteX752" fmla="*/ 11417873 w 12192000"/>
              <a:gd name="connsiteY752" fmla="*/ 6543489 h 6858000"/>
              <a:gd name="connsiteX753" fmla="*/ 11431896 w 12192000"/>
              <a:gd name="connsiteY753" fmla="*/ 6564635 h 6858000"/>
              <a:gd name="connsiteX754" fmla="*/ 11403850 w 12192000"/>
              <a:gd name="connsiteY754" fmla="*/ 6610449 h 6858000"/>
              <a:gd name="connsiteX755" fmla="*/ 11421379 w 12192000"/>
              <a:gd name="connsiteY755" fmla="*/ 6624545 h 6858000"/>
              <a:gd name="connsiteX756" fmla="*/ 11466954 w 12192000"/>
              <a:gd name="connsiteY756" fmla="*/ 6599877 h 6858000"/>
              <a:gd name="connsiteX757" fmla="*/ 11484484 w 12192000"/>
              <a:gd name="connsiteY757" fmla="*/ 6613973 h 6858000"/>
              <a:gd name="connsiteX758" fmla="*/ 11473966 w 12192000"/>
              <a:gd name="connsiteY758" fmla="*/ 6663311 h 6858000"/>
              <a:gd name="connsiteX759" fmla="*/ 11473966 w 12192000"/>
              <a:gd name="connsiteY759" fmla="*/ 6666836 h 6858000"/>
              <a:gd name="connsiteX760" fmla="*/ 11491495 w 12192000"/>
              <a:gd name="connsiteY760" fmla="*/ 6677408 h 6858000"/>
              <a:gd name="connsiteX761" fmla="*/ 11495001 w 12192000"/>
              <a:gd name="connsiteY761" fmla="*/ 6677408 h 6858000"/>
              <a:gd name="connsiteX762" fmla="*/ 11530059 w 12192000"/>
              <a:gd name="connsiteY762" fmla="*/ 6638642 h 6858000"/>
              <a:gd name="connsiteX763" fmla="*/ 11551094 w 12192000"/>
              <a:gd name="connsiteY763" fmla="*/ 6649215 h 6858000"/>
              <a:gd name="connsiteX764" fmla="*/ 11547588 w 12192000"/>
              <a:gd name="connsiteY764" fmla="*/ 6673884 h 6858000"/>
              <a:gd name="connsiteX765" fmla="*/ 11551094 w 12192000"/>
              <a:gd name="connsiteY765" fmla="*/ 6702078 h 6858000"/>
              <a:gd name="connsiteX766" fmla="*/ 11572129 w 12192000"/>
              <a:gd name="connsiteY766" fmla="*/ 6709126 h 6858000"/>
              <a:gd name="connsiteX767" fmla="*/ 11575635 w 12192000"/>
              <a:gd name="connsiteY767" fmla="*/ 6709126 h 6858000"/>
              <a:gd name="connsiteX768" fmla="*/ 11600176 w 12192000"/>
              <a:gd name="connsiteY768" fmla="*/ 6663311 h 6858000"/>
              <a:gd name="connsiteX769" fmla="*/ 11624716 w 12192000"/>
              <a:gd name="connsiteY769" fmla="*/ 6663311 h 6858000"/>
              <a:gd name="connsiteX770" fmla="*/ 11638739 w 12192000"/>
              <a:gd name="connsiteY770" fmla="*/ 6716174 h 6858000"/>
              <a:gd name="connsiteX771" fmla="*/ 11659774 w 12192000"/>
              <a:gd name="connsiteY771" fmla="*/ 6716174 h 6858000"/>
              <a:gd name="connsiteX772" fmla="*/ 11663280 w 12192000"/>
              <a:gd name="connsiteY772" fmla="*/ 6716174 h 6858000"/>
              <a:gd name="connsiteX773" fmla="*/ 11677303 w 12192000"/>
              <a:gd name="connsiteY773" fmla="*/ 6663311 h 6858000"/>
              <a:gd name="connsiteX774" fmla="*/ 11698339 w 12192000"/>
              <a:gd name="connsiteY774" fmla="*/ 6663311 h 6858000"/>
              <a:gd name="connsiteX775" fmla="*/ 11722879 w 12192000"/>
              <a:gd name="connsiteY775" fmla="*/ 6709126 h 6858000"/>
              <a:gd name="connsiteX776" fmla="*/ 11726385 w 12192000"/>
              <a:gd name="connsiteY776" fmla="*/ 6709126 h 6858000"/>
              <a:gd name="connsiteX777" fmla="*/ 11747420 w 12192000"/>
              <a:gd name="connsiteY777" fmla="*/ 6702078 h 6858000"/>
              <a:gd name="connsiteX778" fmla="*/ 11750925 w 12192000"/>
              <a:gd name="connsiteY778" fmla="*/ 6673884 h 6858000"/>
              <a:gd name="connsiteX779" fmla="*/ 11747420 w 12192000"/>
              <a:gd name="connsiteY779" fmla="*/ 6649215 h 6858000"/>
              <a:gd name="connsiteX780" fmla="*/ 11768454 w 12192000"/>
              <a:gd name="connsiteY780" fmla="*/ 6638642 h 6858000"/>
              <a:gd name="connsiteX781" fmla="*/ 11807019 w 12192000"/>
              <a:gd name="connsiteY781" fmla="*/ 6677408 h 6858000"/>
              <a:gd name="connsiteX782" fmla="*/ 11824547 w 12192000"/>
              <a:gd name="connsiteY782" fmla="*/ 6666836 h 6858000"/>
              <a:gd name="connsiteX783" fmla="*/ 11828054 w 12192000"/>
              <a:gd name="connsiteY783" fmla="*/ 6666836 h 6858000"/>
              <a:gd name="connsiteX784" fmla="*/ 11828054 w 12192000"/>
              <a:gd name="connsiteY784" fmla="*/ 6663311 h 6858000"/>
              <a:gd name="connsiteX785" fmla="*/ 11814030 w 12192000"/>
              <a:gd name="connsiteY785" fmla="*/ 6613973 h 6858000"/>
              <a:gd name="connsiteX786" fmla="*/ 11831559 w 12192000"/>
              <a:gd name="connsiteY786" fmla="*/ 6599877 h 6858000"/>
              <a:gd name="connsiteX787" fmla="*/ 11877135 w 12192000"/>
              <a:gd name="connsiteY787" fmla="*/ 6624545 h 6858000"/>
              <a:gd name="connsiteX788" fmla="*/ 11894664 w 12192000"/>
              <a:gd name="connsiteY788" fmla="*/ 6610449 h 6858000"/>
              <a:gd name="connsiteX789" fmla="*/ 11894664 w 12192000"/>
              <a:gd name="connsiteY789" fmla="*/ 6606925 h 6858000"/>
              <a:gd name="connsiteX790" fmla="*/ 11866617 w 12192000"/>
              <a:gd name="connsiteY790" fmla="*/ 6561110 h 6858000"/>
              <a:gd name="connsiteX791" fmla="*/ 11880641 w 12192000"/>
              <a:gd name="connsiteY791" fmla="*/ 6543489 h 6858000"/>
              <a:gd name="connsiteX792" fmla="*/ 11933228 w 12192000"/>
              <a:gd name="connsiteY792" fmla="*/ 6557586 h 6858000"/>
              <a:gd name="connsiteX793" fmla="*/ 11943746 w 12192000"/>
              <a:gd name="connsiteY793" fmla="*/ 6539965 h 6858000"/>
              <a:gd name="connsiteX794" fmla="*/ 11943746 w 12192000"/>
              <a:gd name="connsiteY794" fmla="*/ 6536441 h 6858000"/>
              <a:gd name="connsiteX795" fmla="*/ 11908688 w 12192000"/>
              <a:gd name="connsiteY795" fmla="*/ 6497675 h 6858000"/>
              <a:gd name="connsiteX796" fmla="*/ 11915699 w 12192000"/>
              <a:gd name="connsiteY796" fmla="*/ 6480054 h 6858000"/>
              <a:gd name="connsiteX797" fmla="*/ 11968286 w 12192000"/>
              <a:gd name="connsiteY797" fmla="*/ 6480054 h 6858000"/>
              <a:gd name="connsiteX798" fmla="*/ 11968286 w 12192000"/>
              <a:gd name="connsiteY798" fmla="*/ 6476530 h 6858000"/>
              <a:gd name="connsiteX799" fmla="*/ 11975298 w 12192000"/>
              <a:gd name="connsiteY799" fmla="*/ 6455385 h 6858000"/>
              <a:gd name="connsiteX800" fmla="*/ 11929722 w 12192000"/>
              <a:gd name="connsiteY800" fmla="*/ 6427192 h 6858000"/>
              <a:gd name="connsiteX801" fmla="*/ 11933228 w 12192000"/>
              <a:gd name="connsiteY801" fmla="*/ 6406047 h 6858000"/>
              <a:gd name="connsiteX802" fmla="*/ 11982310 w 12192000"/>
              <a:gd name="connsiteY802" fmla="*/ 6391950 h 6858000"/>
              <a:gd name="connsiteX803" fmla="*/ 11985815 w 12192000"/>
              <a:gd name="connsiteY803" fmla="*/ 6381377 h 6858000"/>
              <a:gd name="connsiteX804" fmla="*/ 11982310 w 12192000"/>
              <a:gd name="connsiteY804" fmla="*/ 6370805 h 6858000"/>
              <a:gd name="connsiteX805" fmla="*/ 11982310 w 12192000"/>
              <a:gd name="connsiteY805" fmla="*/ 6367281 h 6858000"/>
              <a:gd name="connsiteX806" fmla="*/ 11933228 w 12192000"/>
              <a:gd name="connsiteY806" fmla="*/ 6353183 h 6858000"/>
              <a:gd name="connsiteX807" fmla="*/ 11929722 w 12192000"/>
              <a:gd name="connsiteY807" fmla="*/ 6332039 h 6858000"/>
              <a:gd name="connsiteX808" fmla="*/ 11975298 w 12192000"/>
              <a:gd name="connsiteY808" fmla="*/ 6307370 h 6858000"/>
              <a:gd name="connsiteX809" fmla="*/ 11975298 w 12192000"/>
              <a:gd name="connsiteY809" fmla="*/ 6303845 h 6858000"/>
              <a:gd name="connsiteX810" fmla="*/ 11968286 w 12192000"/>
              <a:gd name="connsiteY810" fmla="*/ 6282700 h 6858000"/>
              <a:gd name="connsiteX811" fmla="*/ 11915699 w 12192000"/>
              <a:gd name="connsiteY811" fmla="*/ 6282700 h 6858000"/>
              <a:gd name="connsiteX812" fmla="*/ 11908688 w 12192000"/>
              <a:gd name="connsiteY812" fmla="*/ 6261556 h 6858000"/>
              <a:gd name="connsiteX813" fmla="*/ 11943746 w 12192000"/>
              <a:gd name="connsiteY813" fmla="*/ 6222789 h 6858000"/>
              <a:gd name="connsiteX814" fmla="*/ 11933228 w 12192000"/>
              <a:gd name="connsiteY814" fmla="*/ 6205168 h 6858000"/>
              <a:gd name="connsiteX815" fmla="*/ 11933228 w 12192000"/>
              <a:gd name="connsiteY815" fmla="*/ 6201644 h 6858000"/>
              <a:gd name="connsiteX816" fmla="*/ 11880641 w 12192000"/>
              <a:gd name="connsiteY816" fmla="*/ 6215741 h 6858000"/>
              <a:gd name="connsiteX817" fmla="*/ 11866617 w 12192000"/>
              <a:gd name="connsiteY817" fmla="*/ 6198120 h 6858000"/>
              <a:gd name="connsiteX818" fmla="*/ 11894664 w 12192000"/>
              <a:gd name="connsiteY818" fmla="*/ 6152305 h 6858000"/>
              <a:gd name="connsiteX819" fmla="*/ 11877135 w 12192000"/>
              <a:gd name="connsiteY819" fmla="*/ 6134685 h 6858000"/>
              <a:gd name="connsiteX820" fmla="*/ 11831559 w 12192000"/>
              <a:gd name="connsiteY820" fmla="*/ 6162879 h 6858000"/>
              <a:gd name="connsiteX821" fmla="*/ 11814030 w 12192000"/>
              <a:gd name="connsiteY821" fmla="*/ 6148781 h 6858000"/>
              <a:gd name="connsiteX822" fmla="*/ 11828054 w 12192000"/>
              <a:gd name="connsiteY822" fmla="*/ 6095919 h 6858000"/>
              <a:gd name="connsiteX823" fmla="*/ 11807019 w 12192000"/>
              <a:gd name="connsiteY823" fmla="*/ 6085346 h 6858000"/>
              <a:gd name="connsiteX824" fmla="*/ 11768454 w 12192000"/>
              <a:gd name="connsiteY824" fmla="*/ 6120588 h 6858000"/>
              <a:gd name="connsiteX825" fmla="*/ 11747420 w 12192000"/>
              <a:gd name="connsiteY825" fmla="*/ 6113540 h 6858000"/>
              <a:gd name="connsiteX826" fmla="*/ 11750925 w 12192000"/>
              <a:gd name="connsiteY826" fmla="*/ 6085346 h 6858000"/>
              <a:gd name="connsiteX827" fmla="*/ 11747420 w 12192000"/>
              <a:gd name="connsiteY827" fmla="*/ 6060677 h 6858000"/>
              <a:gd name="connsiteX828" fmla="*/ 11747420 w 12192000"/>
              <a:gd name="connsiteY828" fmla="*/ 6057153 h 6858000"/>
              <a:gd name="connsiteX829" fmla="*/ 11726385 w 12192000"/>
              <a:gd name="connsiteY829" fmla="*/ 6053629 h 6858000"/>
              <a:gd name="connsiteX830" fmla="*/ 11722879 w 12192000"/>
              <a:gd name="connsiteY830" fmla="*/ 6053629 h 6858000"/>
              <a:gd name="connsiteX831" fmla="*/ 11698339 w 12192000"/>
              <a:gd name="connsiteY831" fmla="*/ 6099443 h 6858000"/>
              <a:gd name="connsiteX832" fmla="*/ 11673798 w 12192000"/>
              <a:gd name="connsiteY832" fmla="*/ 6095919 h 6858000"/>
              <a:gd name="connsiteX833" fmla="*/ 11659774 w 12192000"/>
              <a:gd name="connsiteY833" fmla="*/ 6043056 h 6858000"/>
              <a:gd name="connsiteX834" fmla="*/ 11638739 w 12192000"/>
              <a:gd name="connsiteY834" fmla="*/ 6043056 h 6858000"/>
              <a:gd name="connsiteX835" fmla="*/ 0 w 12192000"/>
              <a:gd name="connsiteY835" fmla="*/ 0 h 6858000"/>
              <a:gd name="connsiteX836" fmla="*/ 12192000 w 12192000"/>
              <a:gd name="connsiteY836" fmla="*/ 0 h 6858000"/>
              <a:gd name="connsiteX837" fmla="*/ 12192000 w 12192000"/>
              <a:gd name="connsiteY837" fmla="*/ 6858000 h 6858000"/>
              <a:gd name="connsiteX838" fmla="*/ 0 w 12192000"/>
              <a:gd name="connsiteY83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Lst>
            <a:rect l="l" t="t" r="r" b="b"/>
            <a:pathLst>
              <a:path w="12192000" h="6858000">
                <a:moveTo>
                  <a:pt x="11946675" y="6677576"/>
                </a:moveTo>
                <a:lnTo>
                  <a:pt x="11952788" y="6677576"/>
                </a:lnTo>
                <a:cubicBezTo>
                  <a:pt x="11955414" y="6677576"/>
                  <a:pt x="11957212" y="6677768"/>
                  <a:pt x="11958183" y="6678151"/>
                </a:cubicBezTo>
                <a:cubicBezTo>
                  <a:pt x="11959154" y="6678534"/>
                  <a:pt x="11959913" y="6679115"/>
                  <a:pt x="11960461" y="6679894"/>
                </a:cubicBezTo>
                <a:cubicBezTo>
                  <a:pt x="11961008" y="6680674"/>
                  <a:pt x="11961281" y="6681557"/>
                  <a:pt x="11961281" y="6682541"/>
                </a:cubicBezTo>
                <a:cubicBezTo>
                  <a:pt x="11961281" y="6684073"/>
                  <a:pt x="11960713" y="6685303"/>
                  <a:pt x="11959578" y="6686233"/>
                </a:cubicBezTo>
                <a:cubicBezTo>
                  <a:pt x="11958443" y="6687164"/>
                  <a:pt x="11956316" y="6687628"/>
                  <a:pt x="11953198" y="6687628"/>
                </a:cubicBezTo>
                <a:lnTo>
                  <a:pt x="11946675" y="6687628"/>
                </a:lnTo>
                <a:close/>
                <a:moveTo>
                  <a:pt x="11941300" y="6673064"/>
                </a:moveTo>
                <a:lnTo>
                  <a:pt x="11941300" y="6706378"/>
                </a:lnTo>
                <a:lnTo>
                  <a:pt x="11946675" y="6706378"/>
                </a:lnTo>
                <a:lnTo>
                  <a:pt x="11946675" y="6692224"/>
                </a:lnTo>
                <a:lnTo>
                  <a:pt x="11949834" y="6692224"/>
                </a:lnTo>
                <a:cubicBezTo>
                  <a:pt x="11951722" y="6692224"/>
                  <a:pt x="11953158" y="6692606"/>
                  <a:pt x="11954142" y="6693372"/>
                </a:cubicBezTo>
                <a:cubicBezTo>
                  <a:pt x="11955564" y="6694411"/>
                  <a:pt x="11957438" y="6696996"/>
                  <a:pt x="11959762" y="6701126"/>
                </a:cubicBezTo>
                <a:lnTo>
                  <a:pt x="11962717" y="6706378"/>
                </a:lnTo>
                <a:lnTo>
                  <a:pt x="11969281" y="6706378"/>
                </a:lnTo>
                <a:lnTo>
                  <a:pt x="11965220" y="6699854"/>
                </a:lnTo>
                <a:cubicBezTo>
                  <a:pt x="11963277" y="6696763"/>
                  <a:pt x="11961636" y="6694562"/>
                  <a:pt x="11960296" y="6693249"/>
                </a:cubicBezTo>
                <a:cubicBezTo>
                  <a:pt x="11959585" y="6692566"/>
                  <a:pt x="11958641" y="6691977"/>
                  <a:pt x="11957466" y="6691485"/>
                </a:cubicBezTo>
                <a:cubicBezTo>
                  <a:pt x="11960337" y="6691266"/>
                  <a:pt x="11962642" y="6690254"/>
                  <a:pt x="11964378" y="6688449"/>
                </a:cubicBezTo>
                <a:cubicBezTo>
                  <a:pt x="11966115" y="6686644"/>
                  <a:pt x="11966983" y="6684524"/>
                  <a:pt x="11966983" y="6682090"/>
                </a:cubicBezTo>
                <a:cubicBezTo>
                  <a:pt x="11966983" y="6680367"/>
                  <a:pt x="11966464" y="6678739"/>
                  <a:pt x="11965424" y="6677207"/>
                </a:cubicBezTo>
                <a:cubicBezTo>
                  <a:pt x="11964385" y="6675675"/>
                  <a:pt x="11962990" y="6674602"/>
                  <a:pt x="11961239" y="6673987"/>
                </a:cubicBezTo>
                <a:cubicBezTo>
                  <a:pt x="11959489" y="6673371"/>
                  <a:pt x="11956658" y="6673064"/>
                  <a:pt x="11952747" y="6673064"/>
                </a:cubicBezTo>
                <a:close/>
                <a:moveTo>
                  <a:pt x="10902089" y="6670493"/>
                </a:moveTo>
                <a:cubicBezTo>
                  <a:pt x="10902089" y="6670493"/>
                  <a:pt x="10902089" y="6670493"/>
                  <a:pt x="10905603" y="6670493"/>
                </a:cubicBezTo>
                <a:lnTo>
                  <a:pt x="10905603" y="6674034"/>
                </a:lnTo>
                <a:cubicBezTo>
                  <a:pt x="10905603" y="6684661"/>
                  <a:pt x="10905603" y="6709456"/>
                  <a:pt x="10877492" y="6709456"/>
                </a:cubicBezTo>
                <a:cubicBezTo>
                  <a:pt x="10866950" y="6709456"/>
                  <a:pt x="10859922" y="6705914"/>
                  <a:pt x="10859922" y="6691746"/>
                </a:cubicBezTo>
                <a:cubicBezTo>
                  <a:pt x="10859922" y="6670493"/>
                  <a:pt x="10884520" y="6670493"/>
                  <a:pt x="10902089" y="6670493"/>
                </a:cubicBezTo>
                <a:close/>
                <a:moveTo>
                  <a:pt x="11954881" y="6663422"/>
                </a:moveTo>
                <a:cubicBezTo>
                  <a:pt x="11959202" y="6663422"/>
                  <a:pt x="11963428" y="6664537"/>
                  <a:pt x="11967558" y="6666766"/>
                </a:cubicBezTo>
                <a:cubicBezTo>
                  <a:pt x="11971688" y="6668995"/>
                  <a:pt x="11974909" y="6672182"/>
                  <a:pt x="11977220" y="6676325"/>
                </a:cubicBezTo>
                <a:cubicBezTo>
                  <a:pt x="11979531" y="6680469"/>
                  <a:pt x="11980687" y="6684784"/>
                  <a:pt x="11980687" y="6689269"/>
                </a:cubicBezTo>
                <a:cubicBezTo>
                  <a:pt x="11980687" y="6693728"/>
                  <a:pt x="11979552" y="6698002"/>
                  <a:pt x="11977282" y="6702090"/>
                </a:cubicBezTo>
                <a:cubicBezTo>
                  <a:pt x="11975012" y="6706180"/>
                  <a:pt x="11971825" y="6709366"/>
                  <a:pt x="11967722" y="6711650"/>
                </a:cubicBezTo>
                <a:cubicBezTo>
                  <a:pt x="11963619" y="6713934"/>
                  <a:pt x="11959339" y="6715076"/>
                  <a:pt x="11954881" y="6715076"/>
                </a:cubicBezTo>
                <a:cubicBezTo>
                  <a:pt x="11950422" y="6715076"/>
                  <a:pt x="11946142" y="6713934"/>
                  <a:pt x="11942039" y="6711650"/>
                </a:cubicBezTo>
                <a:cubicBezTo>
                  <a:pt x="11937936" y="6709366"/>
                  <a:pt x="11934742" y="6706180"/>
                  <a:pt x="11932459" y="6702090"/>
                </a:cubicBezTo>
                <a:cubicBezTo>
                  <a:pt x="11930175" y="6698002"/>
                  <a:pt x="11929033" y="6693728"/>
                  <a:pt x="11929033" y="6689269"/>
                </a:cubicBezTo>
                <a:cubicBezTo>
                  <a:pt x="11929033" y="6684784"/>
                  <a:pt x="11930195" y="6680469"/>
                  <a:pt x="11932521" y="6676325"/>
                </a:cubicBezTo>
                <a:cubicBezTo>
                  <a:pt x="11934846" y="6672182"/>
                  <a:pt x="11938066" y="6668995"/>
                  <a:pt x="11942183" y="6666766"/>
                </a:cubicBezTo>
                <a:cubicBezTo>
                  <a:pt x="11946299" y="6664537"/>
                  <a:pt x="11950532" y="6663422"/>
                  <a:pt x="11954881" y="6663422"/>
                </a:cubicBezTo>
                <a:close/>
                <a:moveTo>
                  <a:pt x="11954881" y="6658294"/>
                </a:moveTo>
                <a:cubicBezTo>
                  <a:pt x="11949684" y="6658294"/>
                  <a:pt x="11944610" y="6659627"/>
                  <a:pt x="11939660" y="6662294"/>
                </a:cubicBezTo>
                <a:cubicBezTo>
                  <a:pt x="11934709" y="6664960"/>
                  <a:pt x="11930845" y="6668776"/>
                  <a:pt x="11928069" y="6673741"/>
                </a:cubicBezTo>
                <a:cubicBezTo>
                  <a:pt x="11925293" y="6678704"/>
                  <a:pt x="11923904" y="6683881"/>
                  <a:pt x="11923904" y="6689269"/>
                </a:cubicBezTo>
                <a:cubicBezTo>
                  <a:pt x="11923904" y="6694603"/>
                  <a:pt x="11925272" y="6699732"/>
                  <a:pt x="11928007" y="6704655"/>
                </a:cubicBezTo>
                <a:cubicBezTo>
                  <a:pt x="11930743" y="6709578"/>
                  <a:pt x="11934565" y="6713401"/>
                  <a:pt x="11939474" y="6716122"/>
                </a:cubicBezTo>
                <a:cubicBezTo>
                  <a:pt x="11944385" y="6718843"/>
                  <a:pt x="11949519" y="6720204"/>
                  <a:pt x="11954881" y="6720204"/>
                </a:cubicBezTo>
                <a:cubicBezTo>
                  <a:pt x="11960242" y="6720204"/>
                  <a:pt x="11965376" y="6718843"/>
                  <a:pt x="11970287" y="6716122"/>
                </a:cubicBezTo>
                <a:cubicBezTo>
                  <a:pt x="11975196" y="6713401"/>
                  <a:pt x="11979011" y="6709578"/>
                  <a:pt x="11981733" y="6704655"/>
                </a:cubicBezTo>
                <a:cubicBezTo>
                  <a:pt x="11984454" y="6699732"/>
                  <a:pt x="11985815" y="6694603"/>
                  <a:pt x="11985815" y="6689269"/>
                </a:cubicBezTo>
                <a:cubicBezTo>
                  <a:pt x="11985815" y="6683881"/>
                  <a:pt x="11984434" y="6678704"/>
                  <a:pt x="11981671" y="6673741"/>
                </a:cubicBezTo>
                <a:cubicBezTo>
                  <a:pt x="11978909" y="6668776"/>
                  <a:pt x="11975052" y="6664960"/>
                  <a:pt x="11970101" y="6662294"/>
                </a:cubicBezTo>
                <a:cubicBezTo>
                  <a:pt x="11965151" y="6659627"/>
                  <a:pt x="11960077" y="6658294"/>
                  <a:pt x="11954881" y="6658294"/>
                </a:cubicBezTo>
                <a:close/>
                <a:moveTo>
                  <a:pt x="11091685" y="6628842"/>
                </a:moveTo>
                <a:cubicBezTo>
                  <a:pt x="11109123" y="6628842"/>
                  <a:pt x="11123259" y="6646888"/>
                  <a:pt x="11123259" y="6669149"/>
                </a:cubicBezTo>
                <a:cubicBezTo>
                  <a:pt x="11123259" y="6691410"/>
                  <a:pt x="11109123" y="6709455"/>
                  <a:pt x="11091685" y="6709455"/>
                </a:cubicBezTo>
                <a:cubicBezTo>
                  <a:pt x="11074247" y="6709455"/>
                  <a:pt x="11060111" y="6691410"/>
                  <a:pt x="11060111" y="6669149"/>
                </a:cubicBezTo>
                <a:cubicBezTo>
                  <a:pt x="11060111" y="6646888"/>
                  <a:pt x="11074247" y="6628842"/>
                  <a:pt x="11091685" y="6628842"/>
                </a:cubicBezTo>
                <a:close/>
                <a:moveTo>
                  <a:pt x="10781998" y="6628842"/>
                </a:moveTo>
                <a:cubicBezTo>
                  <a:pt x="10797580" y="6628842"/>
                  <a:pt x="10810212" y="6646888"/>
                  <a:pt x="10810212" y="6669149"/>
                </a:cubicBezTo>
                <a:cubicBezTo>
                  <a:pt x="10810212" y="6691410"/>
                  <a:pt x="10797580" y="6709455"/>
                  <a:pt x="10781998" y="6709455"/>
                </a:cubicBezTo>
                <a:cubicBezTo>
                  <a:pt x="10766415" y="6709455"/>
                  <a:pt x="10753783" y="6691410"/>
                  <a:pt x="10753783" y="6669149"/>
                </a:cubicBezTo>
                <a:cubicBezTo>
                  <a:pt x="10753783" y="6646888"/>
                  <a:pt x="10766415" y="6628842"/>
                  <a:pt x="10781998" y="6628842"/>
                </a:cubicBezTo>
                <a:close/>
                <a:moveTo>
                  <a:pt x="10469622" y="6628842"/>
                </a:moveTo>
                <a:cubicBezTo>
                  <a:pt x="10487060" y="6628842"/>
                  <a:pt x="10501196" y="6646888"/>
                  <a:pt x="10501196" y="6669149"/>
                </a:cubicBezTo>
                <a:cubicBezTo>
                  <a:pt x="10501196" y="6691410"/>
                  <a:pt x="10487060" y="6709455"/>
                  <a:pt x="10469622" y="6709455"/>
                </a:cubicBezTo>
                <a:cubicBezTo>
                  <a:pt x="10452185" y="6709455"/>
                  <a:pt x="10438048" y="6691410"/>
                  <a:pt x="10438048" y="6669149"/>
                </a:cubicBezTo>
                <a:cubicBezTo>
                  <a:pt x="10438048" y="6646888"/>
                  <a:pt x="10452185" y="6628842"/>
                  <a:pt x="10469622" y="6628842"/>
                </a:cubicBezTo>
                <a:close/>
                <a:moveTo>
                  <a:pt x="11014562" y="6623595"/>
                </a:moveTo>
                <a:lnTo>
                  <a:pt x="11014562" y="6719555"/>
                </a:lnTo>
                <a:lnTo>
                  <a:pt x="11026851" y="6719555"/>
                </a:lnTo>
                <a:lnTo>
                  <a:pt x="11026851" y="6623595"/>
                </a:lnTo>
                <a:close/>
                <a:moveTo>
                  <a:pt x="11158189" y="6622125"/>
                </a:moveTo>
                <a:cubicBezTo>
                  <a:pt x="11158189" y="6629091"/>
                  <a:pt x="11158189" y="6639541"/>
                  <a:pt x="11158189" y="6646508"/>
                </a:cubicBezTo>
                <a:lnTo>
                  <a:pt x="11158189" y="6716173"/>
                </a:lnTo>
                <a:cubicBezTo>
                  <a:pt x="11158189" y="6716173"/>
                  <a:pt x="11158189" y="6716173"/>
                  <a:pt x="11172009" y="6716173"/>
                </a:cubicBezTo>
                <a:cubicBezTo>
                  <a:pt x="11172009" y="6716173"/>
                  <a:pt x="11172009" y="6716173"/>
                  <a:pt x="11172009" y="6663924"/>
                </a:cubicBezTo>
                <a:cubicBezTo>
                  <a:pt x="11172009" y="6649991"/>
                  <a:pt x="11178918" y="6629091"/>
                  <a:pt x="11199648" y="6629091"/>
                </a:cubicBezTo>
                <a:cubicBezTo>
                  <a:pt x="11213466" y="6629091"/>
                  <a:pt x="11220377" y="6643024"/>
                  <a:pt x="11220377" y="6660441"/>
                </a:cubicBezTo>
                <a:cubicBezTo>
                  <a:pt x="11220377" y="6660441"/>
                  <a:pt x="11220377" y="6660441"/>
                  <a:pt x="11220377" y="6716173"/>
                </a:cubicBezTo>
                <a:cubicBezTo>
                  <a:pt x="11220377" y="6716173"/>
                  <a:pt x="11220377" y="6716173"/>
                  <a:pt x="11230741" y="6716173"/>
                </a:cubicBezTo>
                <a:cubicBezTo>
                  <a:pt x="11230741" y="6716173"/>
                  <a:pt x="11230741" y="6716173"/>
                  <a:pt x="11230741" y="6656957"/>
                </a:cubicBezTo>
                <a:cubicBezTo>
                  <a:pt x="11230741" y="6636058"/>
                  <a:pt x="11223831" y="6622125"/>
                  <a:pt x="11199648" y="6622125"/>
                </a:cubicBezTo>
                <a:cubicBezTo>
                  <a:pt x="11182373" y="6622125"/>
                  <a:pt x="11175464" y="6632574"/>
                  <a:pt x="11168554" y="6639541"/>
                </a:cubicBezTo>
                <a:cubicBezTo>
                  <a:pt x="11168554" y="6639541"/>
                  <a:pt x="11168554" y="6639541"/>
                  <a:pt x="11168554" y="6622125"/>
                </a:cubicBezTo>
                <a:cubicBezTo>
                  <a:pt x="11168554" y="6622125"/>
                  <a:pt x="11168554" y="6622125"/>
                  <a:pt x="11158189" y="6622125"/>
                </a:cubicBezTo>
                <a:close/>
                <a:moveTo>
                  <a:pt x="11088997" y="6622125"/>
                </a:moveTo>
                <a:cubicBezTo>
                  <a:pt x="11064881" y="6622125"/>
                  <a:pt x="11045332" y="6644080"/>
                  <a:pt x="11045332" y="6671165"/>
                </a:cubicBezTo>
                <a:cubicBezTo>
                  <a:pt x="11045332" y="6698249"/>
                  <a:pt x="11064881" y="6720204"/>
                  <a:pt x="11088997" y="6720204"/>
                </a:cubicBezTo>
                <a:cubicBezTo>
                  <a:pt x="11113113" y="6720204"/>
                  <a:pt x="11132662" y="6698249"/>
                  <a:pt x="11132662" y="6671165"/>
                </a:cubicBezTo>
                <a:cubicBezTo>
                  <a:pt x="11132662" y="6644080"/>
                  <a:pt x="11113113" y="6622125"/>
                  <a:pt x="11088997" y="6622125"/>
                </a:cubicBezTo>
                <a:close/>
                <a:moveTo>
                  <a:pt x="10883851" y="6622125"/>
                </a:moveTo>
                <a:cubicBezTo>
                  <a:pt x="10876813" y="6622125"/>
                  <a:pt x="10862738" y="6622125"/>
                  <a:pt x="10855700" y="6625628"/>
                </a:cubicBezTo>
                <a:cubicBezTo>
                  <a:pt x="10855700" y="6625628"/>
                  <a:pt x="10855700" y="6625628"/>
                  <a:pt x="10855700" y="6639639"/>
                </a:cubicBezTo>
                <a:cubicBezTo>
                  <a:pt x="10866257" y="6632634"/>
                  <a:pt x="10873294" y="6629131"/>
                  <a:pt x="10883851" y="6629131"/>
                </a:cubicBezTo>
                <a:cubicBezTo>
                  <a:pt x="10901445" y="6629131"/>
                  <a:pt x="10904964" y="6639639"/>
                  <a:pt x="10904964" y="6653651"/>
                </a:cubicBezTo>
                <a:cubicBezTo>
                  <a:pt x="10904964" y="6653651"/>
                  <a:pt x="10904964" y="6653651"/>
                  <a:pt x="10904964" y="6660656"/>
                </a:cubicBezTo>
                <a:cubicBezTo>
                  <a:pt x="10880332" y="6660656"/>
                  <a:pt x="10845144" y="6660656"/>
                  <a:pt x="10845144" y="6692181"/>
                </a:cubicBezTo>
                <a:cubicBezTo>
                  <a:pt x="10845144" y="6702690"/>
                  <a:pt x="10848663" y="6720204"/>
                  <a:pt x="10876813" y="6720204"/>
                </a:cubicBezTo>
                <a:cubicBezTo>
                  <a:pt x="10887370" y="6720204"/>
                  <a:pt x="10901445" y="6713198"/>
                  <a:pt x="10904964" y="6702690"/>
                </a:cubicBezTo>
                <a:cubicBezTo>
                  <a:pt x="10904964" y="6702690"/>
                  <a:pt x="10904964" y="6702690"/>
                  <a:pt x="10908483" y="6702690"/>
                </a:cubicBezTo>
                <a:lnTo>
                  <a:pt x="10908483" y="6716701"/>
                </a:lnTo>
                <a:cubicBezTo>
                  <a:pt x="10908483" y="6716701"/>
                  <a:pt x="10908483" y="6716701"/>
                  <a:pt x="10919039" y="6716701"/>
                </a:cubicBezTo>
                <a:cubicBezTo>
                  <a:pt x="10919039" y="6713198"/>
                  <a:pt x="10919039" y="6706193"/>
                  <a:pt x="10919039" y="6699187"/>
                </a:cubicBezTo>
                <a:cubicBezTo>
                  <a:pt x="10919039" y="6699187"/>
                  <a:pt x="10919039" y="6699187"/>
                  <a:pt x="10919039" y="6657154"/>
                </a:cubicBezTo>
                <a:cubicBezTo>
                  <a:pt x="10919039" y="6632634"/>
                  <a:pt x="10908483" y="6622125"/>
                  <a:pt x="10883851" y="6622125"/>
                </a:cubicBezTo>
                <a:close/>
                <a:moveTo>
                  <a:pt x="10642268" y="6622125"/>
                </a:moveTo>
                <a:cubicBezTo>
                  <a:pt x="10642268" y="6629091"/>
                  <a:pt x="10642268" y="6639541"/>
                  <a:pt x="10642268" y="6646508"/>
                </a:cubicBezTo>
                <a:lnTo>
                  <a:pt x="10642268" y="6716173"/>
                </a:lnTo>
                <a:cubicBezTo>
                  <a:pt x="10642268" y="6716173"/>
                  <a:pt x="10642268" y="6716173"/>
                  <a:pt x="10656343" y="6716173"/>
                </a:cubicBezTo>
                <a:cubicBezTo>
                  <a:pt x="10656343" y="6716173"/>
                  <a:pt x="10656343" y="6716173"/>
                  <a:pt x="10656343" y="6663924"/>
                </a:cubicBezTo>
                <a:cubicBezTo>
                  <a:pt x="10656343" y="6649991"/>
                  <a:pt x="10663381" y="6629091"/>
                  <a:pt x="10684494" y="6629091"/>
                </a:cubicBezTo>
                <a:cubicBezTo>
                  <a:pt x="10698569" y="6629091"/>
                  <a:pt x="10705607" y="6643024"/>
                  <a:pt x="10705607" y="6660441"/>
                </a:cubicBezTo>
                <a:cubicBezTo>
                  <a:pt x="10705607" y="6660441"/>
                  <a:pt x="10705607" y="6660441"/>
                  <a:pt x="10705607" y="6716173"/>
                </a:cubicBezTo>
                <a:cubicBezTo>
                  <a:pt x="10705607" y="6716173"/>
                  <a:pt x="10705607" y="6716173"/>
                  <a:pt x="10716163" y="6716173"/>
                </a:cubicBezTo>
                <a:cubicBezTo>
                  <a:pt x="10716163" y="6716173"/>
                  <a:pt x="10716163" y="6716173"/>
                  <a:pt x="10716163" y="6656957"/>
                </a:cubicBezTo>
                <a:cubicBezTo>
                  <a:pt x="10716163" y="6636058"/>
                  <a:pt x="10709125" y="6622125"/>
                  <a:pt x="10684494" y="6622125"/>
                </a:cubicBezTo>
                <a:cubicBezTo>
                  <a:pt x="10666900" y="6622125"/>
                  <a:pt x="10659862" y="6632574"/>
                  <a:pt x="10652824" y="6639541"/>
                </a:cubicBezTo>
                <a:cubicBezTo>
                  <a:pt x="10652824" y="6639541"/>
                  <a:pt x="10652824" y="6639541"/>
                  <a:pt x="10652824" y="6622125"/>
                </a:cubicBezTo>
                <a:cubicBezTo>
                  <a:pt x="10652824" y="6622125"/>
                  <a:pt x="10652824" y="6622125"/>
                  <a:pt x="10642268" y="6622125"/>
                </a:cubicBezTo>
                <a:close/>
                <a:moveTo>
                  <a:pt x="10540159" y="6622125"/>
                </a:moveTo>
                <a:cubicBezTo>
                  <a:pt x="10540159" y="6622125"/>
                  <a:pt x="10540159" y="6622125"/>
                  <a:pt x="10540159" y="6685175"/>
                </a:cubicBezTo>
                <a:cubicBezTo>
                  <a:pt x="10540159" y="6706193"/>
                  <a:pt x="10547196" y="6720204"/>
                  <a:pt x="10571828" y="6720204"/>
                </a:cubicBezTo>
                <a:cubicBezTo>
                  <a:pt x="10589422" y="6720204"/>
                  <a:pt x="10596460" y="6709695"/>
                  <a:pt x="10603498" y="6702690"/>
                </a:cubicBezTo>
                <a:cubicBezTo>
                  <a:pt x="10603498" y="6702690"/>
                  <a:pt x="10603498" y="6702690"/>
                  <a:pt x="10603498" y="6716701"/>
                </a:cubicBezTo>
                <a:cubicBezTo>
                  <a:pt x="10603498" y="6716701"/>
                  <a:pt x="10603498" y="6716701"/>
                  <a:pt x="10614054" y="6716701"/>
                </a:cubicBezTo>
                <a:cubicBezTo>
                  <a:pt x="10614054" y="6709695"/>
                  <a:pt x="10614054" y="6702690"/>
                  <a:pt x="10614054" y="6695684"/>
                </a:cubicBezTo>
                <a:lnTo>
                  <a:pt x="10614054" y="6622125"/>
                </a:lnTo>
                <a:cubicBezTo>
                  <a:pt x="10614054" y="6622125"/>
                  <a:pt x="10614054" y="6622125"/>
                  <a:pt x="10599979" y="6622125"/>
                </a:cubicBezTo>
                <a:cubicBezTo>
                  <a:pt x="10599979" y="6622125"/>
                  <a:pt x="10599979" y="6622125"/>
                  <a:pt x="10599979" y="6674667"/>
                </a:cubicBezTo>
                <a:cubicBezTo>
                  <a:pt x="10599979" y="6692181"/>
                  <a:pt x="10592941" y="6709695"/>
                  <a:pt x="10571828" y="6709695"/>
                </a:cubicBezTo>
                <a:cubicBezTo>
                  <a:pt x="10557753" y="6709695"/>
                  <a:pt x="10550715" y="6699187"/>
                  <a:pt x="10550715" y="6681673"/>
                </a:cubicBezTo>
                <a:cubicBezTo>
                  <a:pt x="10550715" y="6681673"/>
                  <a:pt x="10550715" y="6681673"/>
                  <a:pt x="10550715" y="6622125"/>
                </a:cubicBezTo>
                <a:cubicBezTo>
                  <a:pt x="10550715" y="6622125"/>
                  <a:pt x="10550715" y="6622125"/>
                  <a:pt x="10540159" y="6622125"/>
                </a:cubicBezTo>
                <a:close/>
                <a:moveTo>
                  <a:pt x="10471637" y="6622125"/>
                </a:moveTo>
                <a:cubicBezTo>
                  <a:pt x="10447151" y="6622125"/>
                  <a:pt x="10427300" y="6644080"/>
                  <a:pt x="10427300" y="6671165"/>
                </a:cubicBezTo>
                <a:cubicBezTo>
                  <a:pt x="10427300" y="6698249"/>
                  <a:pt x="10447151" y="6720204"/>
                  <a:pt x="10471637" y="6720204"/>
                </a:cubicBezTo>
                <a:cubicBezTo>
                  <a:pt x="10496124" y="6720204"/>
                  <a:pt x="10515975" y="6698249"/>
                  <a:pt x="10515975" y="6671165"/>
                </a:cubicBezTo>
                <a:cubicBezTo>
                  <a:pt x="10515975" y="6644080"/>
                  <a:pt x="10496124" y="6622125"/>
                  <a:pt x="10471637" y="6622125"/>
                </a:cubicBezTo>
                <a:close/>
                <a:moveTo>
                  <a:pt x="11655303" y="6607346"/>
                </a:moveTo>
                <a:lnTo>
                  <a:pt x="11659333" y="6618095"/>
                </a:lnTo>
                <a:lnTo>
                  <a:pt x="11663364" y="6624813"/>
                </a:lnTo>
                <a:lnTo>
                  <a:pt x="11648585" y="6624813"/>
                </a:lnTo>
                <a:lnTo>
                  <a:pt x="11652616" y="6618095"/>
                </a:lnTo>
                <a:close/>
                <a:moveTo>
                  <a:pt x="11659446" y="6596598"/>
                </a:moveTo>
                <a:cubicBezTo>
                  <a:pt x="11659446" y="6596598"/>
                  <a:pt x="11659446" y="6596598"/>
                  <a:pt x="11649032" y="6600112"/>
                </a:cubicBezTo>
                <a:cubicBezTo>
                  <a:pt x="11649032" y="6600112"/>
                  <a:pt x="11649032" y="6600112"/>
                  <a:pt x="11645562" y="6617682"/>
                </a:cubicBezTo>
                <a:cubicBezTo>
                  <a:pt x="11645562" y="6617682"/>
                  <a:pt x="11645562" y="6617682"/>
                  <a:pt x="11635149" y="6638764"/>
                </a:cubicBezTo>
                <a:cubicBezTo>
                  <a:pt x="11638620" y="6638764"/>
                  <a:pt x="11642091" y="6638764"/>
                  <a:pt x="11645562" y="6642278"/>
                </a:cubicBezTo>
                <a:cubicBezTo>
                  <a:pt x="11645562" y="6642278"/>
                  <a:pt x="11645562" y="6642278"/>
                  <a:pt x="11645562" y="6631737"/>
                </a:cubicBezTo>
                <a:cubicBezTo>
                  <a:pt x="11645562" y="6631737"/>
                  <a:pt x="11645562" y="6631737"/>
                  <a:pt x="11666387" y="6631737"/>
                </a:cubicBezTo>
                <a:cubicBezTo>
                  <a:pt x="11666387" y="6631737"/>
                  <a:pt x="11666387" y="6631737"/>
                  <a:pt x="11666387" y="6638764"/>
                </a:cubicBezTo>
                <a:cubicBezTo>
                  <a:pt x="11669858" y="6638764"/>
                  <a:pt x="11673329" y="6638764"/>
                  <a:pt x="11676800" y="6638764"/>
                </a:cubicBezTo>
                <a:cubicBezTo>
                  <a:pt x="11676800" y="6638764"/>
                  <a:pt x="11676800" y="6638764"/>
                  <a:pt x="11666387" y="6617682"/>
                </a:cubicBezTo>
                <a:lnTo>
                  <a:pt x="11659446" y="6600112"/>
                </a:lnTo>
                <a:cubicBezTo>
                  <a:pt x="11659446" y="6600112"/>
                  <a:pt x="11659446" y="6600112"/>
                  <a:pt x="11659446" y="6596598"/>
                </a:cubicBezTo>
                <a:close/>
                <a:moveTo>
                  <a:pt x="10964451" y="6596597"/>
                </a:moveTo>
                <a:cubicBezTo>
                  <a:pt x="10964451" y="6596597"/>
                  <a:pt x="10964451" y="6596597"/>
                  <a:pt x="10953971" y="6600129"/>
                </a:cubicBezTo>
                <a:cubicBezTo>
                  <a:pt x="10953971" y="6600129"/>
                  <a:pt x="10953971" y="6600129"/>
                  <a:pt x="10953971" y="6621318"/>
                </a:cubicBezTo>
                <a:cubicBezTo>
                  <a:pt x="10953971" y="6621318"/>
                  <a:pt x="10953971" y="6621318"/>
                  <a:pt x="10936505" y="6621318"/>
                </a:cubicBezTo>
                <a:cubicBezTo>
                  <a:pt x="10936505" y="6621318"/>
                  <a:pt x="10936505" y="6621318"/>
                  <a:pt x="10936505" y="6631913"/>
                </a:cubicBezTo>
                <a:cubicBezTo>
                  <a:pt x="10936505" y="6631913"/>
                  <a:pt x="10936505" y="6631913"/>
                  <a:pt x="10953971" y="6631913"/>
                </a:cubicBezTo>
                <a:cubicBezTo>
                  <a:pt x="10953971" y="6631913"/>
                  <a:pt x="10953971" y="6631913"/>
                  <a:pt x="10953971" y="6688419"/>
                </a:cubicBezTo>
                <a:cubicBezTo>
                  <a:pt x="10953971" y="6706077"/>
                  <a:pt x="10953971" y="6720203"/>
                  <a:pt x="10974931" y="6720203"/>
                </a:cubicBezTo>
                <a:cubicBezTo>
                  <a:pt x="10981917" y="6720203"/>
                  <a:pt x="10985410" y="6720203"/>
                  <a:pt x="10988904" y="6716672"/>
                </a:cubicBezTo>
                <a:cubicBezTo>
                  <a:pt x="10988904" y="6716672"/>
                  <a:pt x="10988904" y="6716672"/>
                  <a:pt x="10988904" y="6706077"/>
                </a:cubicBezTo>
                <a:cubicBezTo>
                  <a:pt x="10985410" y="6709608"/>
                  <a:pt x="10981917" y="6709608"/>
                  <a:pt x="10978424" y="6709608"/>
                </a:cubicBezTo>
                <a:cubicBezTo>
                  <a:pt x="10967944" y="6709608"/>
                  <a:pt x="10964451" y="6702546"/>
                  <a:pt x="10964451" y="6695482"/>
                </a:cubicBezTo>
                <a:cubicBezTo>
                  <a:pt x="10964451" y="6695482"/>
                  <a:pt x="10964451" y="6695482"/>
                  <a:pt x="10964451" y="6631913"/>
                </a:cubicBezTo>
                <a:cubicBezTo>
                  <a:pt x="10964451" y="6631913"/>
                  <a:pt x="10964451" y="6631913"/>
                  <a:pt x="10985410" y="6631913"/>
                </a:cubicBezTo>
                <a:lnTo>
                  <a:pt x="10985410" y="6621318"/>
                </a:lnTo>
                <a:cubicBezTo>
                  <a:pt x="10985410" y="6621318"/>
                  <a:pt x="10985410" y="6621318"/>
                  <a:pt x="10964451" y="6621318"/>
                </a:cubicBezTo>
                <a:cubicBezTo>
                  <a:pt x="10964451" y="6621318"/>
                  <a:pt x="10964451" y="6621318"/>
                  <a:pt x="10964451" y="6596597"/>
                </a:cubicBezTo>
                <a:close/>
                <a:moveTo>
                  <a:pt x="11599881" y="6593911"/>
                </a:moveTo>
                <a:cubicBezTo>
                  <a:pt x="11589469" y="6636077"/>
                  <a:pt x="11589469" y="6636077"/>
                  <a:pt x="11589469" y="6636077"/>
                </a:cubicBezTo>
                <a:cubicBezTo>
                  <a:pt x="11592940" y="6636077"/>
                  <a:pt x="11596410" y="6636077"/>
                  <a:pt x="11599881" y="6636077"/>
                </a:cubicBezTo>
                <a:cubicBezTo>
                  <a:pt x="11603352" y="6611481"/>
                  <a:pt x="11603352" y="6611481"/>
                  <a:pt x="11603352" y="6611481"/>
                </a:cubicBezTo>
                <a:cubicBezTo>
                  <a:pt x="11617236" y="6639591"/>
                  <a:pt x="11617236" y="6639591"/>
                  <a:pt x="11617236" y="6639591"/>
                </a:cubicBezTo>
                <a:cubicBezTo>
                  <a:pt x="11620707" y="6639591"/>
                  <a:pt x="11624178" y="6639591"/>
                  <a:pt x="11624178" y="6639591"/>
                </a:cubicBezTo>
                <a:cubicBezTo>
                  <a:pt x="11631119" y="6597425"/>
                  <a:pt x="11631119" y="6597425"/>
                  <a:pt x="11631119" y="6597425"/>
                </a:cubicBezTo>
                <a:cubicBezTo>
                  <a:pt x="11627648" y="6597425"/>
                  <a:pt x="11624178" y="6597425"/>
                  <a:pt x="11624178" y="6597425"/>
                </a:cubicBezTo>
                <a:cubicBezTo>
                  <a:pt x="11620707" y="6625536"/>
                  <a:pt x="11620707" y="6625536"/>
                  <a:pt x="11620707" y="6625536"/>
                </a:cubicBezTo>
                <a:cubicBezTo>
                  <a:pt x="11606824" y="6593911"/>
                  <a:pt x="11606824" y="6593911"/>
                  <a:pt x="11606824" y="6593911"/>
                </a:cubicBezTo>
                <a:cubicBezTo>
                  <a:pt x="11603352" y="6593911"/>
                  <a:pt x="11603352" y="6593911"/>
                  <a:pt x="11599881" y="6593911"/>
                </a:cubicBezTo>
                <a:close/>
                <a:moveTo>
                  <a:pt x="11709044" y="6589881"/>
                </a:moveTo>
                <a:cubicBezTo>
                  <a:pt x="11695071" y="6593432"/>
                  <a:pt x="11684592" y="6596982"/>
                  <a:pt x="11674112" y="6596982"/>
                </a:cubicBezTo>
                <a:cubicBezTo>
                  <a:pt x="11674112" y="6604084"/>
                  <a:pt x="11674112" y="6604084"/>
                  <a:pt x="11674112" y="6604084"/>
                </a:cubicBezTo>
                <a:cubicBezTo>
                  <a:pt x="11681098" y="6604084"/>
                  <a:pt x="11684592" y="6604084"/>
                  <a:pt x="11688084" y="6604084"/>
                </a:cubicBezTo>
                <a:cubicBezTo>
                  <a:pt x="11695071" y="6639592"/>
                  <a:pt x="11695071" y="6639592"/>
                  <a:pt x="11695071" y="6639592"/>
                </a:cubicBezTo>
                <a:cubicBezTo>
                  <a:pt x="11702057" y="6636041"/>
                  <a:pt x="11702057" y="6636041"/>
                  <a:pt x="11702057" y="6636041"/>
                </a:cubicBezTo>
                <a:cubicBezTo>
                  <a:pt x="11695071" y="6600533"/>
                  <a:pt x="11695071" y="6600533"/>
                  <a:pt x="11695071" y="6600533"/>
                </a:cubicBezTo>
                <a:cubicBezTo>
                  <a:pt x="11702057" y="6600533"/>
                  <a:pt x="11705551" y="6600533"/>
                  <a:pt x="11709044" y="6596982"/>
                </a:cubicBezTo>
                <a:close/>
                <a:moveTo>
                  <a:pt x="11564748" y="6589881"/>
                </a:moveTo>
                <a:cubicBezTo>
                  <a:pt x="11564748" y="6589881"/>
                  <a:pt x="11564748" y="6589881"/>
                  <a:pt x="11575228" y="6593240"/>
                </a:cubicBezTo>
                <a:cubicBezTo>
                  <a:pt x="11578720" y="6593240"/>
                  <a:pt x="11578720" y="6596599"/>
                  <a:pt x="11578720" y="6596599"/>
                </a:cubicBezTo>
                <a:cubicBezTo>
                  <a:pt x="11578720" y="6596599"/>
                  <a:pt x="11578720" y="6599957"/>
                  <a:pt x="11578720" y="6599957"/>
                </a:cubicBezTo>
                <a:cubicBezTo>
                  <a:pt x="11578720" y="6599957"/>
                  <a:pt x="11575228" y="6603316"/>
                  <a:pt x="11571734" y="6603316"/>
                </a:cubicBezTo>
                <a:cubicBezTo>
                  <a:pt x="11571734" y="6603316"/>
                  <a:pt x="11571734" y="6603316"/>
                  <a:pt x="11561254" y="6599957"/>
                </a:cubicBezTo>
                <a:cubicBezTo>
                  <a:pt x="11561254" y="6599957"/>
                  <a:pt x="11561254" y="6599957"/>
                  <a:pt x="11564748" y="6596599"/>
                </a:cubicBezTo>
                <a:cubicBezTo>
                  <a:pt x="11564748" y="6596599"/>
                  <a:pt x="11564748" y="6596599"/>
                  <a:pt x="11564748" y="6589881"/>
                </a:cubicBezTo>
                <a:close/>
                <a:moveTo>
                  <a:pt x="11014562" y="6587995"/>
                </a:moveTo>
                <a:lnTo>
                  <a:pt x="11014562" y="6601689"/>
                </a:lnTo>
                <a:lnTo>
                  <a:pt x="11026851" y="6601689"/>
                </a:lnTo>
                <a:lnTo>
                  <a:pt x="11026851" y="6587995"/>
                </a:lnTo>
                <a:close/>
                <a:moveTo>
                  <a:pt x="11715762" y="6585849"/>
                </a:moveTo>
                <a:cubicBezTo>
                  <a:pt x="11729582" y="6628843"/>
                  <a:pt x="11729582" y="6628843"/>
                  <a:pt x="11729582" y="6628843"/>
                </a:cubicBezTo>
                <a:cubicBezTo>
                  <a:pt x="11733036" y="6625260"/>
                  <a:pt x="11736491" y="6625260"/>
                  <a:pt x="11739946" y="6625260"/>
                </a:cubicBezTo>
                <a:cubicBezTo>
                  <a:pt x="11726127" y="6585849"/>
                  <a:pt x="11726127" y="6585849"/>
                  <a:pt x="11726127" y="6585849"/>
                </a:cubicBezTo>
                <a:cubicBezTo>
                  <a:pt x="11722671" y="6585849"/>
                  <a:pt x="11719217" y="6585849"/>
                  <a:pt x="11715762" y="6585849"/>
                </a:cubicBezTo>
                <a:close/>
                <a:moveTo>
                  <a:pt x="10346688" y="6585849"/>
                </a:moveTo>
                <a:lnTo>
                  <a:pt x="10346688" y="6716173"/>
                </a:lnTo>
                <a:lnTo>
                  <a:pt x="10361467" y="6716173"/>
                </a:lnTo>
                <a:lnTo>
                  <a:pt x="10361467" y="6657057"/>
                </a:lnTo>
                <a:lnTo>
                  <a:pt x="10407148" y="6657057"/>
                </a:lnTo>
                <a:lnTo>
                  <a:pt x="10407148" y="6646309"/>
                </a:lnTo>
                <a:lnTo>
                  <a:pt x="10361467" y="6646309"/>
                </a:lnTo>
                <a:lnTo>
                  <a:pt x="10361467" y="6596597"/>
                </a:lnTo>
                <a:lnTo>
                  <a:pt x="10409835" y="6596597"/>
                </a:lnTo>
                <a:lnTo>
                  <a:pt x="10409835" y="6585849"/>
                </a:lnTo>
                <a:close/>
                <a:moveTo>
                  <a:pt x="11561143" y="6579132"/>
                </a:moveTo>
                <a:cubicBezTo>
                  <a:pt x="11561143" y="6579132"/>
                  <a:pt x="11561143" y="6579132"/>
                  <a:pt x="11554200" y="6596599"/>
                </a:cubicBezTo>
                <a:cubicBezTo>
                  <a:pt x="11554200" y="6596599"/>
                  <a:pt x="11554200" y="6596599"/>
                  <a:pt x="11554200" y="6600091"/>
                </a:cubicBezTo>
                <a:cubicBezTo>
                  <a:pt x="11554200" y="6600091"/>
                  <a:pt x="11554200" y="6600091"/>
                  <a:pt x="11543788" y="6617558"/>
                </a:cubicBezTo>
                <a:cubicBezTo>
                  <a:pt x="11547259" y="6621051"/>
                  <a:pt x="11550730" y="6621051"/>
                  <a:pt x="11554200" y="6621051"/>
                </a:cubicBezTo>
                <a:cubicBezTo>
                  <a:pt x="11554200" y="6621051"/>
                  <a:pt x="11554200" y="6621051"/>
                  <a:pt x="11557671" y="6607078"/>
                </a:cubicBezTo>
                <a:cubicBezTo>
                  <a:pt x="11557671" y="6607078"/>
                  <a:pt x="11557671" y="6607078"/>
                  <a:pt x="11568084" y="6610572"/>
                </a:cubicBezTo>
                <a:cubicBezTo>
                  <a:pt x="11568084" y="6610572"/>
                  <a:pt x="11568084" y="6610572"/>
                  <a:pt x="11568084" y="6628037"/>
                </a:cubicBezTo>
                <a:cubicBezTo>
                  <a:pt x="11571555" y="6628037"/>
                  <a:pt x="11575026" y="6631531"/>
                  <a:pt x="11578497" y="6631531"/>
                </a:cubicBezTo>
                <a:cubicBezTo>
                  <a:pt x="11578497" y="6631531"/>
                  <a:pt x="11578497" y="6631531"/>
                  <a:pt x="11575026" y="6610572"/>
                </a:cubicBezTo>
                <a:cubicBezTo>
                  <a:pt x="11581968" y="6610572"/>
                  <a:pt x="11585438" y="6603585"/>
                  <a:pt x="11585438" y="6600091"/>
                </a:cubicBezTo>
                <a:cubicBezTo>
                  <a:pt x="11585438" y="6600091"/>
                  <a:pt x="11585438" y="6596599"/>
                  <a:pt x="11585438" y="6596599"/>
                </a:cubicBezTo>
                <a:cubicBezTo>
                  <a:pt x="11585438" y="6593105"/>
                  <a:pt x="11585438" y="6589612"/>
                  <a:pt x="11578497" y="6586119"/>
                </a:cubicBezTo>
                <a:cubicBezTo>
                  <a:pt x="11578497" y="6586119"/>
                  <a:pt x="11578497" y="6586119"/>
                  <a:pt x="11561143" y="6579132"/>
                </a:cubicBezTo>
                <a:close/>
                <a:moveTo>
                  <a:pt x="11766241" y="6576425"/>
                </a:moveTo>
                <a:cubicBezTo>
                  <a:pt x="11769696" y="6576866"/>
                  <a:pt x="11773151" y="6578629"/>
                  <a:pt x="11774878" y="6582156"/>
                </a:cubicBezTo>
                <a:cubicBezTo>
                  <a:pt x="11774878" y="6585683"/>
                  <a:pt x="11774878" y="6589209"/>
                  <a:pt x="11774878" y="6589209"/>
                </a:cubicBezTo>
                <a:cubicBezTo>
                  <a:pt x="11774878" y="6592736"/>
                  <a:pt x="11774878" y="6596264"/>
                  <a:pt x="11771423" y="6599790"/>
                </a:cubicBezTo>
                <a:cubicBezTo>
                  <a:pt x="11771423" y="6599790"/>
                  <a:pt x="11771423" y="6599790"/>
                  <a:pt x="11767968" y="6603317"/>
                </a:cubicBezTo>
                <a:cubicBezTo>
                  <a:pt x="11764514" y="6603317"/>
                  <a:pt x="11757604" y="6603317"/>
                  <a:pt x="11754149" y="6599790"/>
                </a:cubicBezTo>
                <a:cubicBezTo>
                  <a:pt x="11750694" y="6599790"/>
                  <a:pt x="11750694" y="6596264"/>
                  <a:pt x="11750694" y="6596264"/>
                </a:cubicBezTo>
                <a:cubicBezTo>
                  <a:pt x="11750694" y="6596264"/>
                  <a:pt x="11750694" y="6592736"/>
                  <a:pt x="11750694" y="6589209"/>
                </a:cubicBezTo>
                <a:cubicBezTo>
                  <a:pt x="11750694" y="6585683"/>
                  <a:pt x="11750694" y="6582156"/>
                  <a:pt x="11757604" y="6578629"/>
                </a:cubicBezTo>
                <a:cubicBezTo>
                  <a:pt x="11759332" y="6576866"/>
                  <a:pt x="11762786" y="6575984"/>
                  <a:pt x="11766241" y="6576425"/>
                </a:cubicBezTo>
                <a:close/>
                <a:moveTo>
                  <a:pt x="10810738" y="6575100"/>
                </a:moveTo>
                <a:cubicBezTo>
                  <a:pt x="10810738" y="6575100"/>
                  <a:pt x="10810738" y="6575100"/>
                  <a:pt x="10810738" y="6638804"/>
                </a:cubicBezTo>
                <a:cubicBezTo>
                  <a:pt x="10810738" y="6631726"/>
                  <a:pt x="10800048" y="6621108"/>
                  <a:pt x="10782231" y="6621108"/>
                </a:cubicBezTo>
                <a:cubicBezTo>
                  <a:pt x="10753724" y="6621108"/>
                  <a:pt x="10743034" y="6642343"/>
                  <a:pt x="10743034" y="6670656"/>
                </a:cubicBezTo>
                <a:cubicBezTo>
                  <a:pt x="10743034" y="6698969"/>
                  <a:pt x="10753724" y="6720203"/>
                  <a:pt x="10782231" y="6720203"/>
                </a:cubicBezTo>
                <a:cubicBezTo>
                  <a:pt x="10796484" y="6720203"/>
                  <a:pt x="10803611" y="6716664"/>
                  <a:pt x="10810738" y="6702507"/>
                </a:cubicBezTo>
                <a:cubicBezTo>
                  <a:pt x="10810738" y="6702507"/>
                  <a:pt x="10810738" y="6702507"/>
                  <a:pt x="10810738" y="6716664"/>
                </a:cubicBezTo>
                <a:cubicBezTo>
                  <a:pt x="10810738" y="6716664"/>
                  <a:pt x="10810738" y="6716664"/>
                  <a:pt x="10824991" y="6716664"/>
                </a:cubicBezTo>
                <a:lnTo>
                  <a:pt x="10824991" y="6575100"/>
                </a:lnTo>
                <a:cubicBezTo>
                  <a:pt x="10824991" y="6575100"/>
                  <a:pt x="10824991" y="6575100"/>
                  <a:pt x="10810738" y="6575100"/>
                </a:cubicBezTo>
                <a:close/>
                <a:moveTo>
                  <a:pt x="11768161" y="6569584"/>
                </a:moveTo>
                <a:cubicBezTo>
                  <a:pt x="11762338" y="6568289"/>
                  <a:pt x="11756068" y="6569152"/>
                  <a:pt x="11750694" y="6572607"/>
                </a:cubicBezTo>
                <a:cubicBezTo>
                  <a:pt x="11743528" y="6576062"/>
                  <a:pt x="11739946" y="6582972"/>
                  <a:pt x="11739946" y="6589881"/>
                </a:cubicBezTo>
                <a:cubicBezTo>
                  <a:pt x="11739946" y="6593336"/>
                  <a:pt x="11743528" y="6596791"/>
                  <a:pt x="11743528" y="6600246"/>
                </a:cubicBezTo>
                <a:cubicBezTo>
                  <a:pt x="11750694" y="6610611"/>
                  <a:pt x="11765025" y="6614065"/>
                  <a:pt x="11772191" y="6607156"/>
                </a:cubicBezTo>
                <a:cubicBezTo>
                  <a:pt x="11779357" y="6607156"/>
                  <a:pt x="11779357" y="6603701"/>
                  <a:pt x="11782939" y="6600246"/>
                </a:cubicBezTo>
                <a:cubicBezTo>
                  <a:pt x="11782939" y="6596791"/>
                  <a:pt x="11782939" y="6593336"/>
                  <a:pt x="11782939" y="6589881"/>
                </a:cubicBezTo>
                <a:cubicBezTo>
                  <a:pt x="11782939" y="6586427"/>
                  <a:pt x="11782939" y="6582972"/>
                  <a:pt x="11782939" y="6579517"/>
                </a:cubicBezTo>
                <a:cubicBezTo>
                  <a:pt x="11779357" y="6574334"/>
                  <a:pt x="11773982" y="6570880"/>
                  <a:pt x="11768161" y="6569584"/>
                </a:cubicBezTo>
                <a:close/>
                <a:moveTo>
                  <a:pt x="11525909" y="6561666"/>
                </a:moveTo>
                <a:cubicBezTo>
                  <a:pt x="11504825" y="6596598"/>
                  <a:pt x="11504825" y="6596598"/>
                  <a:pt x="11504825" y="6596598"/>
                </a:cubicBezTo>
                <a:cubicBezTo>
                  <a:pt x="11511853" y="6603584"/>
                  <a:pt x="11518881" y="6607078"/>
                  <a:pt x="11529423" y="6614064"/>
                </a:cubicBezTo>
                <a:cubicBezTo>
                  <a:pt x="11532937" y="6607078"/>
                  <a:pt x="11532937" y="6607078"/>
                  <a:pt x="11532937" y="6607078"/>
                </a:cubicBezTo>
                <a:cubicBezTo>
                  <a:pt x="11515367" y="6596598"/>
                  <a:pt x="11515367" y="6596598"/>
                  <a:pt x="11515367" y="6596598"/>
                </a:cubicBezTo>
                <a:cubicBezTo>
                  <a:pt x="11522395" y="6586119"/>
                  <a:pt x="11522395" y="6586119"/>
                  <a:pt x="11522395" y="6586119"/>
                </a:cubicBezTo>
                <a:cubicBezTo>
                  <a:pt x="11532937" y="6593105"/>
                  <a:pt x="11532937" y="6593105"/>
                  <a:pt x="11532937" y="6593105"/>
                </a:cubicBezTo>
                <a:cubicBezTo>
                  <a:pt x="11536450" y="6586119"/>
                  <a:pt x="11536450" y="6586119"/>
                  <a:pt x="11536450" y="6586119"/>
                </a:cubicBezTo>
                <a:cubicBezTo>
                  <a:pt x="11532937" y="6586119"/>
                  <a:pt x="11529423" y="6582625"/>
                  <a:pt x="11525909" y="6579132"/>
                </a:cubicBezTo>
                <a:lnTo>
                  <a:pt x="11529423" y="6572146"/>
                </a:lnTo>
                <a:cubicBezTo>
                  <a:pt x="11536450" y="6575638"/>
                  <a:pt x="11539964" y="6579132"/>
                  <a:pt x="11546992" y="6582625"/>
                </a:cubicBezTo>
                <a:cubicBezTo>
                  <a:pt x="11550506" y="6575638"/>
                  <a:pt x="11550506" y="6575638"/>
                  <a:pt x="11550506" y="6575638"/>
                </a:cubicBezTo>
                <a:cubicBezTo>
                  <a:pt x="11543478" y="6572146"/>
                  <a:pt x="11532937" y="6565159"/>
                  <a:pt x="11525909" y="6561666"/>
                </a:cubicBezTo>
                <a:close/>
                <a:moveTo>
                  <a:pt x="11803361" y="6533452"/>
                </a:moveTo>
                <a:cubicBezTo>
                  <a:pt x="11799868" y="6536978"/>
                  <a:pt x="11799868" y="6536978"/>
                  <a:pt x="11796375" y="6540505"/>
                </a:cubicBezTo>
                <a:cubicBezTo>
                  <a:pt x="11813840" y="6558139"/>
                  <a:pt x="11813840" y="6558139"/>
                  <a:pt x="11813840" y="6558139"/>
                </a:cubicBezTo>
                <a:cubicBezTo>
                  <a:pt x="11785895" y="6551086"/>
                  <a:pt x="11785895" y="6551086"/>
                  <a:pt x="11785895" y="6551086"/>
                </a:cubicBezTo>
                <a:cubicBezTo>
                  <a:pt x="11782402" y="6551086"/>
                  <a:pt x="11782402" y="6554612"/>
                  <a:pt x="11778908" y="6554612"/>
                </a:cubicBezTo>
                <a:cubicBezTo>
                  <a:pt x="11803361" y="6589881"/>
                  <a:pt x="11803361" y="6589881"/>
                  <a:pt x="11803361" y="6589881"/>
                </a:cubicBezTo>
                <a:cubicBezTo>
                  <a:pt x="11806854" y="6586354"/>
                  <a:pt x="11806854" y="6586354"/>
                  <a:pt x="11810348" y="6582827"/>
                </a:cubicBezTo>
                <a:cubicBezTo>
                  <a:pt x="11796375" y="6561666"/>
                  <a:pt x="11796375" y="6561666"/>
                  <a:pt x="11796375" y="6561666"/>
                </a:cubicBezTo>
                <a:cubicBezTo>
                  <a:pt x="11824320" y="6572246"/>
                  <a:pt x="11824320" y="6572246"/>
                  <a:pt x="11824320" y="6572246"/>
                </a:cubicBezTo>
                <a:cubicBezTo>
                  <a:pt x="11827814" y="6568720"/>
                  <a:pt x="11827814" y="6568720"/>
                  <a:pt x="11831307" y="6565193"/>
                </a:cubicBezTo>
                <a:cubicBezTo>
                  <a:pt x="11803361" y="6533452"/>
                  <a:pt x="11803361" y="6533452"/>
                  <a:pt x="11803361" y="6533452"/>
                </a:cubicBezTo>
                <a:close/>
                <a:moveTo>
                  <a:pt x="11495008" y="6533452"/>
                </a:moveTo>
                <a:cubicBezTo>
                  <a:pt x="11495008" y="6533452"/>
                  <a:pt x="11495008" y="6533452"/>
                  <a:pt x="11487980" y="6536965"/>
                </a:cubicBezTo>
                <a:cubicBezTo>
                  <a:pt x="11491494" y="6540479"/>
                  <a:pt x="11495008" y="6543993"/>
                  <a:pt x="11498522" y="6547507"/>
                </a:cubicBezTo>
                <a:cubicBezTo>
                  <a:pt x="11498522" y="6547507"/>
                  <a:pt x="11498522" y="6547507"/>
                  <a:pt x="11473924" y="6572104"/>
                </a:cubicBezTo>
                <a:cubicBezTo>
                  <a:pt x="11473924" y="6572104"/>
                  <a:pt x="11473924" y="6572104"/>
                  <a:pt x="11480952" y="6579132"/>
                </a:cubicBezTo>
                <a:cubicBezTo>
                  <a:pt x="11480952" y="6579132"/>
                  <a:pt x="11480952" y="6579132"/>
                  <a:pt x="11505548" y="6554535"/>
                </a:cubicBezTo>
                <a:cubicBezTo>
                  <a:pt x="11509062" y="6554535"/>
                  <a:pt x="11512576" y="6558048"/>
                  <a:pt x="11516090" y="6561562"/>
                </a:cubicBezTo>
                <a:cubicBezTo>
                  <a:pt x="11516090" y="6561562"/>
                  <a:pt x="11516090" y="6561562"/>
                  <a:pt x="11519604" y="6554535"/>
                </a:cubicBezTo>
                <a:cubicBezTo>
                  <a:pt x="11509062" y="6547507"/>
                  <a:pt x="11502036" y="6540479"/>
                  <a:pt x="11495008" y="6533452"/>
                </a:cubicBezTo>
                <a:close/>
                <a:moveTo>
                  <a:pt x="11824589" y="6522703"/>
                </a:moveTo>
                <a:lnTo>
                  <a:pt x="11842055" y="6529421"/>
                </a:lnTo>
                <a:lnTo>
                  <a:pt x="11842055" y="6533452"/>
                </a:lnTo>
                <a:lnTo>
                  <a:pt x="11835337" y="6540170"/>
                </a:lnTo>
                <a:lnTo>
                  <a:pt x="11831307" y="6533452"/>
                </a:lnTo>
                <a:close/>
                <a:moveTo>
                  <a:pt x="11820942" y="6515985"/>
                </a:moveTo>
                <a:lnTo>
                  <a:pt x="11813840" y="6522927"/>
                </a:lnTo>
                <a:cubicBezTo>
                  <a:pt x="11813840" y="6522927"/>
                  <a:pt x="11813840" y="6522927"/>
                  <a:pt x="11820942" y="6533339"/>
                </a:cubicBezTo>
                <a:cubicBezTo>
                  <a:pt x="11820942" y="6533339"/>
                  <a:pt x="11820942" y="6533339"/>
                  <a:pt x="11838696" y="6557635"/>
                </a:cubicBezTo>
                <a:cubicBezTo>
                  <a:pt x="11838696" y="6557635"/>
                  <a:pt x="11842247" y="6554165"/>
                  <a:pt x="11842247" y="6554165"/>
                </a:cubicBezTo>
                <a:cubicBezTo>
                  <a:pt x="11842247" y="6554165"/>
                  <a:pt x="11842247" y="6554165"/>
                  <a:pt x="11838696" y="6547223"/>
                </a:cubicBezTo>
                <a:cubicBezTo>
                  <a:pt x="11838696" y="6547223"/>
                  <a:pt x="11838696" y="6547223"/>
                  <a:pt x="11849349" y="6533339"/>
                </a:cubicBezTo>
                <a:cubicBezTo>
                  <a:pt x="11849349" y="6533339"/>
                  <a:pt x="11849349" y="6533339"/>
                  <a:pt x="11856450" y="6533339"/>
                </a:cubicBezTo>
                <a:cubicBezTo>
                  <a:pt x="11860002" y="6533339"/>
                  <a:pt x="11860002" y="6533339"/>
                  <a:pt x="11860002" y="6533339"/>
                </a:cubicBezTo>
                <a:cubicBezTo>
                  <a:pt x="11860002" y="6529868"/>
                  <a:pt x="11863552" y="6529868"/>
                  <a:pt x="11863552" y="6526397"/>
                </a:cubicBezTo>
                <a:cubicBezTo>
                  <a:pt x="11863552" y="6526397"/>
                  <a:pt x="11863552" y="6526397"/>
                  <a:pt x="11820942" y="6515985"/>
                </a:cubicBezTo>
                <a:close/>
                <a:moveTo>
                  <a:pt x="11466198" y="6501206"/>
                </a:moveTo>
                <a:cubicBezTo>
                  <a:pt x="11430930" y="6526286"/>
                  <a:pt x="11430930" y="6526286"/>
                  <a:pt x="11430930" y="6526286"/>
                </a:cubicBezTo>
                <a:cubicBezTo>
                  <a:pt x="11434457" y="6529869"/>
                  <a:pt x="11434457" y="6529869"/>
                  <a:pt x="11437984" y="6533452"/>
                </a:cubicBezTo>
                <a:cubicBezTo>
                  <a:pt x="11459145" y="6519121"/>
                  <a:pt x="11459145" y="6519121"/>
                  <a:pt x="11459145" y="6519121"/>
                </a:cubicBezTo>
                <a:cubicBezTo>
                  <a:pt x="11448564" y="6547782"/>
                  <a:pt x="11448564" y="6547782"/>
                  <a:pt x="11448564" y="6547782"/>
                </a:cubicBezTo>
                <a:cubicBezTo>
                  <a:pt x="11452091" y="6551366"/>
                  <a:pt x="11452091" y="6551366"/>
                  <a:pt x="11455618" y="6554948"/>
                </a:cubicBezTo>
                <a:cubicBezTo>
                  <a:pt x="11487359" y="6526286"/>
                  <a:pt x="11487359" y="6526286"/>
                  <a:pt x="11487359" y="6526286"/>
                </a:cubicBezTo>
                <a:cubicBezTo>
                  <a:pt x="11487359" y="6522703"/>
                  <a:pt x="11483833" y="6522703"/>
                  <a:pt x="11483833" y="6519121"/>
                </a:cubicBezTo>
                <a:cubicBezTo>
                  <a:pt x="11462672" y="6537034"/>
                  <a:pt x="11462672" y="6537034"/>
                  <a:pt x="11462672" y="6537034"/>
                </a:cubicBezTo>
                <a:cubicBezTo>
                  <a:pt x="11473252" y="6508372"/>
                  <a:pt x="11473252" y="6508372"/>
                  <a:pt x="11473252" y="6508372"/>
                </a:cubicBezTo>
                <a:cubicBezTo>
                  <a:pt x="11469725" y="6504789"/>
                  <a:pt x="11469725" y="6504789"/>
                  <a:pt x="11466198" y="6501206"/>
                </a:cubicBezTo>
                <a:close/>
                <a:moveTo>
                  <a:pt x="11835338" y="6490458"/>
                </a:moveTo>
                <a:lnTo>
                  <a:pt x="11831307" y="6498519"/>
                </a:lnTo>
                <a:lnTo>
                  <a:pt x="11870270" y="6518673"/>
                </a:lnTo>
                <a:lnTo>
                  <a:pt x="11883706" y="6494489"/>
                </a:lnTo>
                <a:lnTo>
                  <a:pt x="11876988" y="6490458"/>
                </a:lnTo>
                <a:lnTo>
                  <a:pt x="11866239" y="6509268"/>
                </a:lnTo>
                <a:close/>
                <a:moveTo>
                  <a:pt x="11459634" y="6487771"/>
                </a:moveTo>
                <a:cubicBezTo>
                  <a:pt x="11424212" y="6508933"/>
                  <a:pt x="11424212" y="6508933"/>
                  <a:pt x="11424212" y="6508933"/>
                </a:cubicBezTo>
                <a:cubicBezTo>
                  <a:pt x="11424212" y="6508933"/>
                  <a:pt x="11424212" y="6512459"/>
                  <a:pt x="11427754" y="6515986"/>
                </a:cubicBezTo>
                <a:cubicBezTo>
                  <a:pt x="11463176" y="6494825"/>
                  <a:pt x="11463176" y="6494825"/>
                  <a:pt x="11463176" y="6494825"/>
                </a:cubicBezTo>
                <a:cubicBezTo>
                  <a:pt x="11463176" y="6491298"/>
                  <a:pt x="11459634" y="6491298"/>
                  <a:pt x="11459634" y="6487771"/>
                </a:cubicBezTo>
                <a:close/>
                <a:moveTo>
                  <a:pt x="11450927" y="6454161"/>
                </a:moveTo>
                <a:cubicBezTo>
                  <a:pt x="11452683" y="6454602"/>
                  <a:pt x="11454437" y="6456365"/>
                  <a:pt x="11456192" y="6459892"/>
                </a:cubicBezTo>
                <a:cubicBezTo>
                  <a:pt x="11487785" y="6537483"/>
                  <a:pt x="11561500" y="6590385"/>
                  <a:pt x="11649257" y="6590385"/>
                </a:cubicBezTo>
                <a:cubicBezTo>
                  <a:pt x="11737012" y="6590385"/>
                  <a:pt x="11810728" y="6537483"/>
                  <a:pt x="11842320" y="6459892"/>
                </a:cubicBezTo>
                <a:cubicBezTo>
                  <a:pt x="11844075" y="6456365"/>
                  <a:pt x="11845831" y="6454602"/>
                  <a:pt x="11847586" y="6454161"/>
                </a:cubicBezTo>
                <a:cubicBezTo>
                  <a:pt x="11849340" y="6453721"/>
                  <a:pt x="11851096" y="6454602"/>
                  <a:pt x="11852851" y="6456365"/>
                </a:cubicBezTo>
                <a:cubicBezTo>
                  <a:pt x="11852851" y="6456365"/>
                  <a:pt x="11852851" y="6456365"/>
                  <a:pt x="11891464" y="6466946"/>
                </a:cubicBezTo>
                <a:cubicBezTo>
                  <a:pt x="11894974" y="6470473"/>
                  <a:pt x="11898484" y="6473999"/>
                  <a:pt x="11898484" y="6477526"/>
                </a:cubicBezTo>
                <a:cubicBezTo>
                  <a:pt x="11859871" y="6579804"/>
                  <a:pt x="11761585" y="6650341"/>
                  <a:pt x="11649257" y="6650341"/>
                </a:cubicBezTo>
                <a:cubicBezTo>
                  <a:pt x="11536929" y="6650341"/>
                  <a:pt x="11438641" y="6579804"/>
                  <a:pt x="11400028" y="6481054"/>
                </a:cubicBezTo>
                <a:cubicBezTo>
                  <a:pt x="11400028" y="6473999"/>
                  <a:pt x="11400028" y="6470473"/>
                  <a:pt x="11407049" y="6466946"/>
                </a:cubicBezTo>
                <a:cubicBezTo>
                  <a:pt x="11407049" y="6466946"/>
                  <a:pt x="11407049" y="6466946"/>
                  <a:pt x="11445662" y="6456365"/>
                </a:cubicBezTo>
                <a:cubicBezTo>
                  <a:pt x="11447417" y="6454602"/>
                  <a:pt x="11449172" y="6453721"/>
                  <a:pt x="11450927" y="6454161"/>
                </a:cubicBezTo>
                <a:close/>
                <a:moveTo>
                  <a:pt x="11603442" y="6448323"/>
                </a:moveTo>
                <a:cubicBezTo>
                  <a:pt x="11606935" y="6444777"/>
                  <a:pt x="11610428" y="6444777"/>
                  <a:pt x="11613922" y="6448323"/>
                </a:cubicBezTo>
                <a:cubicBezTo>
                  <a:pt x="11613922" y="6448323"/>
                  <a:pt x="11617414" y="6451869"/>
                  <a:pt x="11617414" y="6455414"/>
                </a:cubicBezTo>
                <a:cubicBezTo>
                  <a:pt x="11617414" y="6455414"/>
                  <a:pt x="11624401" y="6558233"/>
                  <a:pt x="11624401" y="6558233"/>
                </a:cubicBezTo>
                <a:cubicBezTo>
                  <a:pt x="11624401" y="6565324"/>
                  <a:pt x="11624401" y="6568870"/>
                  <a:pt x="11620908" y="6568870"/>
                </a:cubicBezTo>
                <a:cubicBezTo>
                  <a:pt x="11620908" y="6572415"/>
                  <a:pt x="11617414" y="6572415"/>
                  <a:pt x="11613922" y="6568870"/>
                </a:cubicBezTo>
                <a:cubicBezTo>
                  <a:pt x="11568509" y="6558233"/>
                  <a:pt x="11537070" y="6540506"/>
                  <a:pt x="11505632" y="6505050"/>
                </a:cubicBezTo>
                <a:cubicBezTo>
                  <a:pt x="11502138" y="6505050"/>
                  <a:pt x="11502138" y="6501505"/>
                  <a:pt x="11502138" y="6501505"/>
                </a:cubicBezTo>
                <a:cubicBezTo>
                  <a:pt x="11502138" y="6497960"/>
                  <a:pt x="11502138" y="6497960"/>
                  <a:pt x="11502138" y="6497960"/>
                </a:cubicBezTo>
                <a:cubicBezTo>
                  <a:pt x="11502138" y="6494415"/>
                  <a:pt x="11505632" y="6494415"/>
                  <a:pt x="11509124" y="6494415"/>
                </a:cubicBezTo>
                <a:cubicBezTo>
                  <a:pt x="11509124" y="6494415"/>
                  <a:pt x="11509124" y="6494415"/>
                  <a:pt x="11603442" y="6448323"/>
                </a:cubicBezTo>
                <a:close/>
                <a:moveTo>
                  <a:pt x="11688084" y="6444777"/>
                </a:moveTo>
                <a:cubicBezTo>
                  <a:pt x="11691578" y="6444777"/>
                  <a:pt x="11695071" y="6444777"/>
                  <a:pt x="11698565" y="6444777"/>
                </a:cubicBezTo>
                <a:cubicBezTo>
                  <a:pt x="11698565" y="6444777"/>
                  <a:pt x="11698565" y="6444777"/>
                  <a:pt x="11789388" y="6490688"/>
                </a:cubicBezTo>
                <a:cubicBezTo>
                  <a:pt x="11792882" y="6494220"/>
                  <a:pt x="11796375" y="6494220"/>
                  <a:pt x="11796375" y="6497752"/>
                </a:cubicBezTo>
                <a:cubicBezTo>
                  <a:pt x="11796375" y="6501283"/>
                  <a:pt x="11796375" y="6501283"/>
                  <a:pt x="11792882" y="6504815"/>
                </a:cubicBezTo>
                <a:cubicBezTo>
                  <a:pt x="11761442" y="6540131"/>
                  <a:pt x="11730003" y="6557789"/>
                  <a:pt x="11684592" y="6568384"/>
                </a:cubicBezTo>
                <a:cubicBezTo>
                  <a:pt x="11681098" y="6568384"/>
                  <a:pt x="11677605" y="6568384"/>
                  <a:pt x="11677605" y="6568384"/>
                </a:cubicBezTo>
                <a:cubicBezTo>
                  <a:pt x="11674112" y="6564852"/>
                  <a:pt x="11674112" y="6561320"/>
                  <a:pt x="11674112" y="6557789"/>
                </a:cubicBezTo>
                <a:cubicBezTo>
                  <a:pt x="11674112" y="6557789"/>
                  <a:pt x="11674112" y="6557789"/>
                  <a:pt x="11684592" y="6455373"/>
                </a:cubicBezTo>
                <a:cubicBezTo>
                  <a:pt x="11684592" y="6451841"/>
                  <a:pt x="11684592" y="6448309"/>
                  <a:pt x="11688084" y="6444777"/>
                </a:cubicBezTo>
                <a:close/>
                <a:moveTo>
                  <a:pt x="10810283" y="6405813"/>
                </a:moveTo>
                <a:lnTo>
                  <a:pt x="10851862" y="6405813"/>
                </a:lnTo>
                <a:cubicBezTo>
                  <a:pt x="10851862" y="6405813"/>
                  <a:pt x="10851862" y="6405813"/>
                  <a:pt x="10851862" y="6448423"/>
                </a:cubicBezTo>
                <a:cubicBezTo>
                  <a:pt x="10851862" y="6448423"/>
                  <a:pt x="10824142" y="6455525"/>
                  <a:pt x="10803353" y="6455525"/>
                </a:cubicBezTo>
                <a:cubicBezTo>
                  <a:pt x="10786028" y="6455525"/>
                  <a:pt x="10786028" y="6441322"/>
                  <a:pt x="10786028" y="6430669"/>
                </a:cubicBezTo>
                <a:cubicBezTo>
                  <a:pt x="10786028" y="6416466"/>
                  <a:pt x="10792958" y="6409364"/>
                  <a:pt x="10810283" y="6405813"/>
                </a:cubicBezTo>
                <a:close/>
                <a:moveTo>
                  <a:pt x="10494479" y="6335948"/>
                </a:moveTo>
                <a:cubicBezTo>
                  <a:pt x="10525716" y="6335948"/>
                  <a:pt x="10536128" y="6350016"/>
                  <a:pt x="10536128" y="6392220"/>
                </a:cubicBezTo>
                <a:cubicBezTo>
                  <a:pt x="10536128" y="6430905"/>
                  <a:pt x="10529187" y="6455524"/>
                  <a:pt x="10494479" y="6455524"/>
                </a:cubicBezTo>
                <a:cubicBezTo>
                  <a:pt x="10459770" y="6455524"/>
                  <a:pt x="10452829" y="6434423"/>
                  <a:pt x="10452829" y="6392220"/>
                </a:cubicBezTo>
                <a:cubicBezTo>
                  <a:pt x="10452829" y="6350016"/>
                  <a:pt x="10463241" y="6335948"/>
                  <a:pt x="10494479" y="6335948"/>
                </a:cubicBezTo>
                <a:close/>
                <a:moveTo>
                  <a:pt x="11639005" y="6331919"/>
                </a:moveTo>
                <a:cubicBezTo>
                  <a:pt x="11639005" y="6331919"/>
                  <a:pt x="11639005" y="6331919"/>
                  <a:pt x="11660034" y="6331919"/>
                </a:cubicBezTo>
                <a:cubicBezTo>
                  <a:pt x="11660034" y="6331919"/>
                  <a:pt x="11660034" y="6339012"/>
                  <a:pt x="11660034" y="6342559"/>
                </a:cubicBezTo>
                <a:cubicBezTo>
                  <a:pt x="11677559" y="6346106"/>
                  <a:pt x="11691578" y="6363841"/>
                  <a:pt x="11691578" y="6381576"/>
                </a:cubicBezTo>
                <a:cubicBezTo>
                  <a:pt x="11691578" y="6402858"/>
                  <a:pt x="11670549" y="6420593"/>
                  <a:pt x="11649519" y="6420593"/>
                </a:cubicBezTo>
                <a:cubicBezTo>
                  <a:pt x="11628490" y="6420593"/>
                  <a:pt x="11610966" y="6402858"/>
                  <a:pt x="11610966" y="6381576"/>
                </a:cubicBezTo>
                <a:cubicBezTo>
                  <a:pt x="11610966" y="6363841"/>
                  <a:pt x="11621480" y="6346106"/>
                  <a:pt x="11639005" y="6342559"/>
                </a:cubicBezTo>
                <a:cubicBezTo>
                  <a:pt x="11639005" y="6342559"/>
                  <a:pt x="11639005" y="6331919"/>
                  <a:pt x="11639005" y="6331919"/>
                </a:cubicBezTo>
                <a:close/>
                <a:moveTo>
                  <a:pt x="11649257" y="6321170"/>
                </a:moveTo>
                <a:cubicBezTo>
                  <a:pt x="11616236" y="6321170"/>
                  <a:pt x="11589469" y="6348239"/>
                  <a:pt x="11589469" y="6381630"/>
                </a:cubicBezTo>
                <a:cubicBezTo>
                  <a:pt x="11589469" y="6415021"/>
                  <a:pt x="11616236" y="6442090"/>
                  <a:pt x="11649257" y="6442090"/>
                </a:cubicBezTo>
                <a:cubicBezTo>
                  <a:pt x="11682277" y="6442090"/>
                  <a:pt x="11709045" y="6415021"/>
                  <a:pt x="11709045" y="6381630"/>
                </a:cubicBezTo>
                <a:cubicBezTo>
                  <a:pt x="11709045" y="6348239"/>
                  <a:pt x="11682277" y="6321170"/>
                  <a:pt x="11649257" y="6321170"/>
                </a:cubicBezTo>
                <a:close/>
                <a:moveTo>
                  <a:pt x="11649257" y="6314453"/>
                </a:moveTo>
                <a:cubicBezTo>
                  <a:pt x="11685987" y="6314453"/>
                  <a:pt x="11715763" y="6344529"/>
                  <a:pt x="11715763" y="6381630"/>
                </a:cubicBezTo>
                <a:cubicBezTo>
                  <a:pt x="11715763" y="6418732"/>
                  <a:pt x="11685987" y="6448808"/>
                  <a:pt x="11649257" y="6448808"/>
                </a:cubicBezTo>
                <a:cubicBezTo>
                  <a:pt x="11612526" y="6448808"/>
                  <a:pt x="11582751" y="6418732"/>
                  <a:pt x="11582751" y="6381630"/>
                </a:cubicBezTo>
                <a:cubicBezTo>
                  <a:pt x="11582751" y="6344529"/>
                  <a:pt x="11612526" y="6314453"/>
                  <a:pt x="11649257" y="6314453"/>
                </a:cubicBezTo>
                <a:close/>
                <a:moveTo>
                  <a:pt x="11824549" y="6311766"/>
                </a:moveTo>
                <a:cubicBezTo>
                  <a:pt x="11828050" y="6311766"/>
                  <a:pt x="11828050" y="6315292"/>
                  <a:pt x="11828050" y="6318819"/>
                </a:cubicBezTo>
                <a:cubicBezTo>
                  <a:pt x="11842055" y="6361141"/>
                  <a:pt x="11842055" y="6399936"/>
                  <a:pt x="11828050" y="6442258"/>
                </a:cubicBezTo>
                <a:cubicBezTo>
                  <a:pt x="11828050" y="6449312"/>
                  <a:pt x="11828050" y="6449312"/>
                  <a:pt x="11824549" y="6449312"/>
                </a:cubicBezTo>
                <a:cubicBezTo>
                  <a:pt x="11821047" y="6452839"/>
                  <a:pt x="11817546" y="6449312"/>
                  <a:pt x="11817546" y="6449312"/>
                </a:cubicBezTo>
                <a:lnTo>
                  <a:pt x="11730012" y="6389356"/>
                </a:lnTo>
                <a:cubicBezTo>
                  <a:pt x="11726510" y="6385829"/>
                  <a:pt x="11726510" y="6382302"/>
                  <a:pt x="11726510" y="6382302"/>
                </a:cubicBezTo>
                <a:cubicBezTo>
                  <a:pt x="11726510" y="6378776"/>
                  <a:pt x="11726510" y="6375249"/>
                  <a:pt x="11730012" y="6371721"/>
                </a:cubicBezTo>
                <a:cubicBezTo>
                  <a:pt x="11730012" y="6371721"/>
                  <a:pt x="11730012" y="6371721"/>
                  <a:pt x="11814044" y="6315292"/>
                </a:cubicBezTo>
                <a:cubicBezTo>
                  <a:pt x="11821047" y="6311766"/>
                  <a:pt x="11824549" y="6311766"/>
                  <a:pt x="11824549" y="6311766"/>
                </a:cubicBezTo>
                <a:close/>
                <a:moveTo>
                  <a:pt x="11473964" y="6311766"/>
                </a:moveTo>
                <a:cubicBezTo>
                  <a:pt x="11477466" y="6311766"/>
                  <a:pt x="11480967" y="6311766"/>
                  <a:pt x="11480967" y="6315292"/>
                </a:cubicBezTo>
                <a:lnTo>
                  <a:pt x="11568501" y="6371721"/>
                </a:lnTo>
                <a:cubicBezTo>
                  <a:pt x="11572002" y="6375249"/>
                  <a:pt x="11572002" y="6378776"/>
                  <a:pt x="11572002" y="6382302"/>
                </a:cubicBezTo>
                <a:cubicBezTo>
                  <a:pt x="11572002" y="6385829"/>
                  <a:pt x="11572002" y="6389356"/>
                  <a:pt x="11568501" y="6389356"/>
                </a:cubicBezTo>
                <a:cubicBezTo>
                  <a:pt x="11568501" y="6389356"/>
                  <a:pt x="11568501" y="6389356"/>
                  <a:pt x="11480967" y="6449312"/>
                </a:cubicBezTo>
                <a:cubicBezTo>
                  <a:pt x="11477466" y="6449312"/>
                  <a:pt x="11473964" y="6452839"/>
                  <a:pt x="11473964" y="6449312"/>
                </a:cubicBezTo>
                <a:cubicBezTo>
                  <a:pt x="11470463" y="6449312"/>
                  <a:pt x="11470463" y="6445785"/>
                  <a:pt x="11466961" y="6445785"/>
                </a:cubicBezTo>
                <a:cubicBezTo>
                  <a:pt x="11456457" y="6399936"/>
                  <a:pt x="11456457" y="6361141"/>
                  <a:pt x="11466961" y="6318819"/>
                </a:cubicBezTo>
                <a:cubicBezTo>
                  <a:pt x="11470463" y="6315292"/>
                  <a:pt x="11470463" y="6311766"/>
                  <a:pt x="11473964" y="6311766"/>
                </a:cubicBezTo>
                <a:close/>
                <a:moveTo>
                  <a:pt x="11070316" y="6301017"/>
                </a:moveTo>
                <a:cubicBezTo>
                  <a:pt x="11070316" y="6304543"/>
                  <a:pt x="11066828" y="6304543"/>
                  <a:pt x="11070316" y="6308070"/>
                </a:cubicBezTo>
                <a:cubicBezTo>
                  <a:pt x="11112166" y="6470304"/>
                  <a:pt x="11112166" y="6470304"/>
                  <a:pt x="11112166" y="6470304"/>
                </a:cubicBezTo>
                <a:cubicBezTo>
                  <a:pt x="11112166" y="6477358"/>
                  <a:pt x="11119141" y="6491465"/>
                  <a:pt x="11133091" y="6491465"/>
                </a:cubicBezTo>
                <a:cubicBezTo>
                  <a:pt x="11143554" y="6491465"/>
                  <a:pt x="11143554" y="6491465"/>
                  <a:pt x="11143554" y="6491465"/>
                </a:cubicBezTo>
                <a:cubicBezTo>
                  <a:pt x="11140066" y="6494992"/>
                  <a:pt x="11140066" y="6494992"/>
                  <a:pt x="11140066" y="6498518"/>
                </a:cubicBezTo>
                <a:cubicBezTo>
                  <a:pt x="11136578" y="6509098"/>
                  <a:pt x="11133091" y="6519679"/>
                  <a:pt x="11112166" y="6519679"/>
                </a:cubicBezTo>
                <a:cubicBezTo>
                  <a:pt x="11077291" y="6516153"/>
                  <a:pt x="11077291" y="6516153"/>
                  <a:pt x="11077291" y="6516153"/>
                </a:cubicBezTo>
                <a:cubicBezTo>
                  <a:pt x="11077291" y="6516153"/>
                  <a:pt x="11073804" y="6516153"/>
                  <a:pt x="11073804" y="6519679"/>
                </a:cubicBezTo>
                <a:cubicBezTo>
                  <a:pt x="11070316" y="6519679"/>
                  <a:pt x="11070316" y="6523206"/>
                  <a:pt x="11070316" y="6523206"/>
                </a:cubicBezTo>
                <a:cubicBezTo>
                  <a:pt x="11070316" y="6544367"/>
                  <a:pt x="11070316" y="6544367"/>
                  <a:pt x="11070316" y="6544367"/>
                </a:cubicBezTo>
                <a:cubicBezTo>
                  <a:pt x="11070316" y="6547894"/>
                  <a:pt x="11073804" y="6547894"/>
                  <a:pt x="11077291" y="6551421"/>
                </a:cubicBezTo>
                <a:cubicBezTo>
                  <a:pt x="11087754" y="6551421"/>
                  <a:pt x="11108678" y="6554947"/>
                  <a:pt x="11122628" y="6554947"/>
                </a:cubicBezTo>
                <a:cubicBezTo>
                  <a:pt x="11126116" y="6554947"/>
                  <a:pt x="11126116" y="6554947"/>
                  <a:pt x="11126116" y="6554947"/>
                </a:cubicBezTo>
                <a:cubicBezTo>
                  <a:pt x="11154016" y="6554947"/>
                  <a:pt x="11171453" y="6537313"/>
                  <a:pt x="11181916" y="6502045"/>
                </a:cubicBezTo>
                <a:cubicBezTo>
                  <a:pt x="11192378" y="6463250"/>
                  <a:pt x="11206329" y="6410348"/>
                  <a:pt x="11213303" y="6371553"/>
                </a:cubicBezTo>
                <a:cubicBezTo>
                  <a:pt x="11220279" y="6353919"/>
                  <a:pt x="11223766" y="6339811"/>
                  <a:pt x="11227253" y="6329231"/>
                </a:cubicBezTo>
                <a:cubicBezTo>
                  <a:pt x="11230741" y="6308070"/>
                  <a:pt x="11230741" y="6308070"/>
                  <a:pt x="11230741" y="6308070"/>
                </a:cubicBezTo>
                <a:cubicBezTo>
                  <a:pt x="11230741" y="6304543"/>
                  <a:pt x="11230741" y="6304543"/>
                  <a:pt x="11230741" y="6301017"/>
                </a:cubicBezTo>
                <a:cubicBezTo>
                  <a:pt x="11227253" y="6301017"/>
                  <a:pt x="11227253" y="6301017"/>
                  <a:pt x="11223766" y="6301017"/>
                </a:cubicBezTo>
                <a:cubicBezTo>
                  <a:pt x="11195866" y="6301017"/>
                  <a:pt x="11195866" y="6301017"/>
                  <a:pt x="11195866" y="6301017"/>
                </a:cubicBezTo>
                <a:cubicBezTo>
                  <a:pt x="11192378" y="6301017"/>
                  <a:pt x="11188891" y="6301017"/>
                  <a:pt x="11188891" y="6304543"/>
                </a:cubicBezTo>
                <a:cubicBezTo>
                  <a:pt x="11150528" y="6449143"/>
                  <a:pt x="11150528" y="6449143"/>
                  <a:pt x="11150528" y="6449143"/>
                </a:cubicBezTo>
                <a:cubicBezTo>
                  <a:pt x="11147041" y="6449143"/>
                  <a:pt x="11147041" y="6449143"/>
                  <a:pt x="11147041" y="6449143"/>
                </a:cubicBezTo>
                <a:cubicBezTo>
                  <a:pt x="11112166" y="6304543"/>
                  <a:pt x="11112166" y="6304543"/>
                  <a:pt x="11112166" y="6304543"/>
                </a:cubicBezTo>
                <a:cubicBezTo>
                  <a:pt x="11108678" y="6301017"/>
                  <a:pt x="11108678" y="6301017"/>
                  <a:pt x="11105191" y="6301017"/>
                </a:cubicBezTo>
                <a:cubicBezTo>
                  <a:pt x="11077291" y="6301017"/>
                  <a:pt x="11077291" y="6301017"/>
                  <a:pt x="11077291" y="6301017"/>
                </a:cubicBezTo>
                <a:cubicBezTo>
                  <a:pt x="11073804" y="6301017"/>
                  <a:pt x="11070316" y="6301017"/>
                  <a:pt x="11070316" y="6301017"/>
                </a:cubicBezTo>
                <a:close/>
                <a:moveTo>
                  <a:pt x="11038289" y="6296986"/>
                </a:moveTo>
                <a:cubicBezTo>
                  <a:pt x="11017163" y="6296986"/>
                  <a:pt x="10999559" y="6311057"/>
                  <a:pt x="10985474" y="6318092"/>
                </a:cubicBezTo>
                <a:cubicBezTo>
                  <a:pt x="10985474" y="6307539"/>
                  <a:pt x="10985474" y="6307539"/>
                  <a:pt x="10985474" y="6307539"/>
                </a:cubicBezTo>
                <a:cubicBezTo>
                  <a:pt x="10985474" y="6300504"/>
                  <a:pt x="10981954" y="6300504"/>
                  <a:pt x="10978433" y="6300504"/>
                </a:cubicBezTo>
                <a:cubicBezTo>
                  <a:pt x="10950264" y="6300504"/>
                  <a:pt x="10950264" y="6300504"/>
                  <a:pt x="10950264" y="6300504"/>
                </a:cubicBezTo>
                <a:cubicBezTo>
                  <a:pt x="10946743" y="6300504"/>
                  <a:pt x="10943222" y="6300504"/>
                  <a:pt x="10943222" y="6307539"/>
                </a:cubicBezTo>
                <a:cubicBezTo>
                  <a:pt x="10943222" y="6483422"/>
                  <a:pt x="10943222" y="6483422"/>
                  <a:pt x="10943222" y="6483422"/>
                </a:cubicBezTo>
                <a:cubicBezTo>
                  <a:pt x="10943222" y="6486940"/>
                  <a:pt x="10946743" y="6490457"/>
                  <a:pt x="10950264" y="6490457"/>
                </a:cubicBezTo>
                <a:cubicBezTo>
                  <a:pt x="10978433" y="6490457"/>
                  <a:pt x="10978433" y="6490457"/>
                  <a:pt x="10978433" y="6490457"/>
                </a:cubicBezTo>
                <a:cubicBezTo>
                  <a:pt x="10981954" y="6490457"/>
                  <a:pt x="10985474" y="6486940"/>
                  <a:pt x="10985474" y="6483422"/>
                </a:cubicBezTo>
                <a:cubicBezTo>
                  <a:pt x="10985474" y="6360304"/>
                  <a:pt x="10985474" y="6360304"/>
                  <a:pt x="10985474" y="6360304"/>
                </a:cubicBezTo>
                <a:cubicBezTo>
                  <a:pt x="10992517" y="6356786"/>
                  <a:pt x="11013643" y="6339198"/>
                  <a:pt x="11038289" y="6339198"/>
                </a:cubicBezTo>
                <a:cubicBezTo>
                  <a:pt x="11041811" y="6335680"/>
                  <a:pt x="11045332" y="6335680"/>
                  <a:pt x="11045332" y="6332163"/>
                </a:cubicBezTo>
                <a:cubicBezTo>
                  <a:pt x="11045332" y="6304022"/>
                  <a:pt x="11045332" y="6304022"/>
                  <a:pt x="11045332" y="6304022"/>
                </a:cubicBezTo>
                <a:cubicBezTo>
                  <a:pt x="11045332" y="6304022"/>
                  <a:pt x="11045332" y="6300504"/>
                  <a:pt x="11041811" y="6300504"/>
                </a:cubicBezTo>
                <a:cubicBezTo>
                  <a:pt x="11041811" y="6296986"/>
                  <a:pt x="11038289" y="6296986"/>
                  <a:pt x="11038289" y="6296986"/>
                </a:cubicBezTo>
                <a:close/>
                <a:moveTo>
                  <a:pt x="10831647" y="6292955"/>
                </a:moveTo>
                <a:cubicBezTo>
                  <a:pt x="10810578" y="6292955"/>
                  <a:pt x="10775463" y="6300026"/>
                  <a:pt x="10761417" y="6300026"/>
                </a:cubicBezTo>
                <a:cubicBezTo>
                  <a:pt x="10757905" y="6300026"/>
                  <a:pt x="10754394" y="6303562"/>
                  <a:pt x="10754394" y="6307098"/>
                </a:cubicBezTo>
                <a:cubicBezTo>
                  <a:pt x="10754394" y="6307098"/>
                  <a:pt x="10754394" y="6307098"/>
                  <a:pt x="10754394" y="6331847"/>
                </a:cubicBezTo>
                <a:cubicBezTo>
                  <a:pt x="10754394" y="6335383"/>
                  <a:pt x="10754394" y="6335383"/>
                  <a:pt x="10757905" y="6338919"/>
                </a:cubicBezTo>
                <a:cubicBezTo>
                  <a:pt x="10757905" y="6338919"/>
                  <a:pt x="10761417" y="6338919"/>
                  <a:pt x="10761417" y="6338919"/>
                </a:cubicBezTo>
                <a:cubicBezTo>
                  <a:pt x="10778974" y="6338919"/>
                  <a:pt x="10807067" y="6335383"/>
                  <a:pt x="10828136" y="6335383"/>
                </a:cubicBezTo>
                <a:cubicBezTo>
                  <a:pt x="10842182" y="6335383"/>
                  <a:pt x="10852717" y="6345990"/>
                  <a:pt x="10852717" y="6360133"/>
                </a:cubicBezTo>
                <a:cubicBezTo>
                  <a:pt x="10852717" y="6360133"/>
                  <a:pt x="10852717" y="6360133"/>
                  <a:pt x="10852717" y="6370740"/>
                </a:cubicBezTo>
                <a:cubicBezTo>
                  <a:pt x="10852717" y="6370740"/>
                  <a:pt x="10852717" y="6370740"/>
                  <a:pt x="10803555" y="6374276"/>
                </a:cubicBezTo>
                <a:cubicBezTo>
                  <a:pt x="10761417" y="6377811"/>
                  <a:pt x="10740347" y="6395489"/>
                  <a:pt x="10740347" y="6434381"/>
                </a:cubicBezTo>
                <a:cubicBezTo>
                  <a:pt x="10740347" y="6473273"/>
                  <a:pt x="10761417" y="6494487"/>
                  <a:pt x="10796532" y="6494487"/>
                </a:cubicBezTo>
                <a:cubicBezTo>
                  <a:pt x="10824625" y="6494487"/>
                  <a:pt x="10859740" y="6480344"/>
                  <a:pt x="10859740" y="6480344"/>
                </a:cubicBezTo>
                <a:cubicBezTo>
                  <a:pt x="10866763" y="6487416"/>
                  <a:pt x="10873786" y="6490951"/>
                  <a:pt x="10887833" y="6494487"/>
                </a:cubicBezTo>
                <a:cubicBezTo>
                  <a:pt x="10891344" y="6494487"/>
                  <a:pt x="10891344" y="6494487"/>
                  <a:pt x="10894855" y="6490951"/>
                </a:cubicBezTo>
                <a:cubicBezTo>
                  <a:pt x="10894855" y="6490951"/>
                  <a:pt x="10894855" y="6487416"/>
                  <a:pt x="10894855" y="6487416"/>
                </a:cubicBezTo>
                <a:cubicBezTo>
                  <a:pt x="10894855" y="6487416"/>
                  <a:pt x="10894855" y="6487416"/>
                  <a:pt x="10894855" y="6360133"/>
                </a:cubicBezTo>
                <a:cubicBezTo>
                  <a:pt x="10894855" y="6314169"/>
                  <a:pt x="10873786" y="6292955"/>
                  <a:pt x="10831647" y="6292955"/>
                </a:cubicBezTo>
                <a:close/>
                <a:moveTo>
                  <a:pt x="10495822" y="6292954"/>
                </a:moveTo>
                <a:cubicBezTo>
                  <a:pt x="10448333" y="6292954"/>
                  <a:pt x="10409835" y="6338069"/>
                  <a:pt x="10409835" y="6393721"/>
                </a:cubicBezTo>
                <a:cubicBezTo>
                  <a:pt x="10409835" y="6449373"/>
                  <a:pt x="10448333" y="6494487"/>
                  <a:pt x="10495822" y="6494487"/>
                </a:cubicBezTo>
                <a:cubicBezTo>
                  <a:pt x="10543311" y="6494487"/>
                  <a:pt x="10581809" y="6449373"/>
                  <a:pt x="10581809" y="6393721"/>
                </a:cubicBezTo>
                <a:cubicBezTo>
                  <a:pt x="10581809" y="6338069"/>
                  <a:pt x="10543311" y="6292954"/>
                  <a:pt x="10495822" y="6292954"/>
                </a:cubicBezTo>
                <a:close/>
                <a:moveTo>
                  <a:pt x="10241892" y="6268771"/>
                </a:moveTo>
                <a:cubicBezTo>
                  <a:pt x="10248859" y="6268771"/>
                  <a:pt x="10255825" y="6268771"/>
                  <a:pt x="10273241" y="6268771"/>
                </a:cubicBezTo>
                <a:cubicBezTo>
                  <a:pt x="10273241" y="6268771"/>
                  <a:pt x="10273241" y="6268771"/>
                  <a:pt x="10290657" y="6268771"/>
                </a:cubicBezTo>
                <a:cubicBezTo>
                  <a:pt x="10322007" y="6268771"/>
                  <a:pt x="10335940" y="6290024"/>
                  <a:pt x="10335940" y="6307735"/>
                </a:cubicBezTo>
                <a:cubicBezTo>
                  <a:pt x="10335940" y="6332529"/>
                  <a:pt x="10318523" y="6346697"/>
                  <a:pt x="10287174" y="6346697"/>
                </a:cubicBezTo>
                <a:cubicBezTo>
                  <a:pt x="10266274" y="6346697"/>
                  <a:pt x="10248859" y="6346697"/>
                  <a:pt x="10241892" y="6346697"/>
                </a:cubicBezTo>
                <a:cubicBezTo>
                  <a:pt x="10241892" y="6346697"/>
                  <a:pt x="10241892" y="6346697"/>
                  <a:pt x="10241892" y="6268771"/>
                </a:cubicBezTo>
                <a:close/>
                <a:moveTo>
                  <a:pt x="10659063" y="6255336"/>
                </a:moveTo>
                <a:cubicBezTo>
                  <a:pt x="10659063" y="6255336"/>
                  <a:pt x="10659063" y="6255336"/>
                  <a:pt x="10627410" y="6262370"/>
                </a:cubicBezTo>
                <a:cubicBezTo>
                  <a:pt x="10623893" y="6262370"/>
                  <a:pt x="10623893" y="6265887"/>
                  <a:pt x="10623893" y="6269404"/>
                </a:cubicBezTo>
                <a:cubicBezTo>
                  <a:pt x="10623893" y="6269404"/>
                  <a:pt x="10623893" y="6269404"/>
                  <a:pt x="10623893" y="6301056"/>
                </a:cubicBezTo>
                <a:cubicBezTo>
                  <a:pt x="10623893" y="6301056"/>
                  <a:pt x="10623893" y="6301056"/>
                  <a:pt x="10606308" y="6301056"/>
                </a:cubicBezTo>
                <a:cubicBezTo>
                  <a:pt x="10602792" y="6301056"/>
                  <a:pt x="10599275" y="6301056"/>
                  <a:pt x="10599275" y="6308090"/>
                </a:cubicBezTo>
                <a:cubicBezTo>
                  <a:pt x="10599275" y="6308090"/>
                  <a:pt x="10599275" y="6308090"/>
                  <a:pt x="10599275" y="6332708"/>
                </a:cubicBezTo>
                <a:cubicBezTo>
                  <a:pt x="10599275" y="6336226"/>
                  <a:pt x="10602792" y="6339742"/>
                  <a:pt x="10606308" y="6339742"/>
                </a:cubicBezTo>
                <a:cubicBezTo>
                  <a:pt x="10606308" y="6339742"/>
                  <a:pt x="10606308" y="6339742"/>
                  <a:pt x="10623893" y="6339742"/>
                </a:cubicBezTo>
                <a:cubicBezTo>
                  <a:pt x="10623893" y="6339742"/>
                  <a:pt x="10623893" y="6339742"/>
                  <a:pt x="10623893" y="6424149"/>
                </a:cubicBezTo>
                <a:cubicBezTo>
                  <a:pt x="10623893" y="6476902"/>
                  <a:pt x="10637961" y="6494487"/>
                  <a:pt x="10680164" y="6494487"/>
                </a:cubicBezTo>
                <a:cubicBezTo>
                  <a:pt x="10690715" y="6494487"/>
                  <a:pt x="10701266" y="6490971"/>
                  <a:pt x="10711817" y="6490971"/>
                </a:cubicBezTo>
                <a:cubicBezTo>
                  <a:pt x="10715334" y="6490971"/>
                  <a:pt x="10718851" y="6487454"/>
                  <a:pt x="10718851" y="6483936"/>
                </a:cubicBezTo>
                <a:cubicBezTo>
                  <a:pt x="10718851" y="6483936"/>
                  <a:pt x="10718851" y="6483936"/>
                  <a:pt x="10718851" y="6459318"/>
                </a:cubicBezTo>
                <a:cubicBezTo>
                  <a:pt x="10718851" y="6455801"/>
                  <a:pt x="10715334" y="6452284"/>
                  <a:pt x="10711817" y="6452284"/>
                </a:cubicBezTo>
                <a:cubicBezTo>
                  <a:pt x="10704783" y="6452284"/>
                  <a:pt x="10694232" y="6452284"/>
                  <a:pt x="10687198" y="6452284"/>
                </a:cubicBezTo>
                <a:cubicBezTo>
                  <a:pt x="10666096" y="6452284"/>
                  <a:pt x="10666096" y="6445250"/>
                  <a:pt x="10666096" y="6417115"/>
                </a:cubicBezTo>
                <a:cubicBezTo>
                  <a:pt x="10666096" y="6417115"/>
                  <a:pt x="10666096" y="6417115"/>
                  <a:pt x="10666096" y="6339742"/>
                </a:cubicBezTo>
                <a:cubicBezTo>
                  <a:pt x="10666096" y="6339742"/>
                  <a:pt x="10666096" y="6339742"/>
                  <a:pt x="10711817" y="6339742"/>
                </a:cubicBezTo>
                <a:cubicBezTo>
                  <a:pt x="10715334" y="6339742"/>
                  <a:pt x="10718851" y="6336226"/>
                  <a:pt x="10718851" y="6332708"/>
                </a:cubicBezTo>
                <a:cubicBezTo>
                  <a:pt x="10718851" y="6332708"/>
                  <a:pt x="10718851" y="6332708"/>
                  <a:pt x="10718851" y="6308090"/>
                </a:cubicBezTo>
                <a:cubicBezTo>
                  <a:pt x="10718851" y="6301056"/>
                  <a:pt x="10715334" y="6301056"/>
                  <a:pt x="10711817" y="6301056"/>
                </a:cubicBezTo>
                <a:cubicBezTo>
                  <a:pt x="10711817" y="6301056"/>
                  <a:pt x="10711817" y="6301056"/>
                  <a:pt x="10666096" y="6301056"/>
                </a:cubicBezTo>
                <a:cubicBezTo>
                  <a:pt x="10666096" y="6301056"/>
                  <a:pt x="10666096" y="6301056"/>
                  <a:pt x="10666096" y="6262370"/>
                </a:cubicBezTo>
                <a:cubicBezTo>
                  <a:pt x="10666096" y="6258853"/>
                  <a:pt x="10666096" y="6258853"/>
                  <a:pt x="10662580" y="6255336"/>
                </a:cubicBezTo>
                <a:cubicBezTo>
                  <a:pt x="10662580" y="6255336"/>
                  <a:pt x="10659063" y="6255336"/>
                  <a:pt x="10659063" y="6255336"/>
                </a:cubicBezTo>
                <a:close/>
                <a:moveTo>
                  <a:pt x="10283668" y="6227122"/>
                </a:moveTo>
                <a:cubicBezTo>
                  <a:pt x="10273174" y="6227122"/>
                  <a:pt x="10241689" y="6227122"/>
                  <a:pt x="10203208" y="6230633"/>
                </a:cubicBezTo>
                <a:cubicBezTo>
                  <a:pt x="10199710" y="6230633"/>
                  <a:pt x="10196211" y="6234144"/>
                  <a:pt x="10196211" y="6237655"/>
                </a:cubicBezTo>
                <a:cubicBezTo>
                  <a:pt x="10196211" y="6237655"/>
                  <a:pt x="10196211" y="6237655"/>
                  <a:pt x="10196211" y="6483435"/>
                </a:cubicBezTo>
                <a:cubicBezTo>
                  <a:pt x="10196211" y="6486946"/>
                  <a:pt x="10199710" y="6490457"/>
                  <a:pt x="10203208" y="6490457"/>
                </a:cubicBezTo>
                <a:cubicBezTo>
                  <a:pt x="10203208" y="6490457"/>
                  <a:pt x="10203208" y="6490457"/>
                  <a:pt x="10234693" y="6490457"/>
                </a:cubicBezTo>
                <a:cubicBezTo>
                  <a:pt x="10238191" y="6490457"/>
                  <a:pt x="10241689" y="6486946"/>
                  <a:pt x="10241689" y="6483435"/>
                </a:cubicBezTo>
                <a:cubicBezTo>
                  <a:pt x="10241689" y="6483435"/>
                  <a:pt x="10241689" y="6483435"/>
                  <a:pt x="10241689" y="6385123"/>
                </a:cubicBezTo>
                <a:cubicBezTo>
                  <a:pt x="10252184" y="6388634"/>
                  <a:pt x="10269675" y="6388634"/>
                  <a:pt x="10290665" y="6388634"/>
                </a:cubicBezTo>
                <a:cubicBezTo>
                  <a:pt x="10290665" y="6388634"/>
                  <a:pt x="10290665" y="6388634"/>
                  <a:pt x="10336143" y="6486946"/>
                </a:cubicBezTo>
                <a:cubicBezTo>
                  <a:pt x="10336143" y="6486946"/>
                  <a:pt x="10339641" y="6490457"/>
                  <a:pt x="10343139" y="6490457"/>
                </a:cubicBezTo>
                <a:cubicBezTo>
                  <a:pt x="10343139" y="6490457"/>
                  <a:pt x="10343139" y="6490457"/>
                  <a:pt x="10374624" y="6490457"/>
                </a:cubicBezTo>
                <a:cubicBezTo>
                  <a:pt x="10378122" y="6490457"/>
                  <a:pt x="10381620" y="6486946"/>
                  <a:pt x="10381620" y="6486946"/>
                </a:cubicBezTo>
                <a:cubicBezTo>
                  <a:pt x="10381620" y="6483435"/>
                  <a:pt x="10381620" y="6483435"/>
                  <a:pt x="10381620" y="6479924"/>
                </a:cubicBezTo>
                <a:lnTo>
                  <a:pt x="10336143" y="6374590"/>
                </a:lnTo>
                <a:cubicBezTo>
                  <a:pt x="10367627" y="6360545"/>
                  <a:pt x="10381620" y="6339478"/>
                  <a:pt x="10381620" y="6307878"/>
                </a:cubicBezTo>
                <a:cubicBezTo>
                  <a:pt x="10381620" y="6269255"/>
                  <a:pt x="10364129" y="6227122"/>
                  <a:pt x="10290665" y="6227122"/>
                </a:cubicBezTo>
                <a:cubicBezTo>
                  <a:pt x="10290665" y="6227122"/>
                  <a:pt x="10287167" y="6227122"/>
                  <a:pt x="10283668" y="6227122"/>
                </a:cubicBezTo>
                <a:close/>
                <a:moveTo>
                  <a:pt x="11839186" y="6196200"/>
                </a:moveTo>
                <a:cubicBezTo>
                  <a:pt x="11841365" y="6196641"/>
                  <a:pt x="11843980" y="6198404"/>
                  <a:pt x="11845722" y="6201931"/>
                </a:cubicBezTo>
                <a:cubicBezTo>
                  <a:pt x="11901498" y="6258361"/>
                  <a:pt x="11929385" y="6350058"/>
                  <a:pt x="11908470" y="6441755"/>
                </a:cubicBezTo>
                <a:cubicBezTo>
                  <a:pt x="11908470" y="6445282"/>
                  <a:pt x="11904984" y="6448808"/>
                  <a:pt x="11898012" y="6445282"/>
                </a:cubicBezTo>
                <a:cubicBezTo>
                  <a:pt x="11898012" y="6445282"/>
                  <a:pt x="11898012" y="6445282"/>
                  <a:pt x="11859666" y="6434701"/>
                </a:cubicBezTo>
                <a:cubicBezTo>
                  <a:pt x="11856180" y="6434701"/>
                  <a:pt x="11852694" y="6431174"/>
                  <a:pt x="11852694" y="6424121"/>
                </a:cubicBezTo>
                <a:cubicBezTo>
                  <a:pt x="11866638" y="6350058"/>
                  <a:pt x="11849208" y="6290101"/>
                  <a:pt x="11807377" y="6244253"/>
                </a:cubicBezTo>
                <a:cubicBezTo>
                  <a:pt x="11800405" y="6240727"/>
                  <a:pt x="11800405" y="6233672"/>
                  <a:pt x="11807377" y="6230146"/>
                </a:cubicBezTo>
                <a:cubicBezTo>
                  <a:pt x="11807377" y="6230146"/>
                  <a:pt x="11807377" y="6230146"/>
                  <a:pt x="11835264" y="6198404"/>
                </a:cubicBezTo>
                <a:cubicBezTo>
                  <a:pt x="11835264" y="6196641"/>
                  <a:pt x="11837008" y="6195759"/>
                  <a:pt x="11839186" y="6196200"/>
                </a:cubicBezTo>
                <a:close/>
                <a:moveTo>
                  <a:pt x="11458923" y="6196200"/>
                </a:moveTo>
                <a:cubicBezTo>
                  <a:pt x="11461124" y="6195759"/>
                  <a:pt x="11462885" y="6196641"/>
                  <a:pt x="11462885" y="6198404"/>
                </a:cubicBezTo>
                <a:cubicBezTo>
                  <a:pt x="11462885" y="6198404"/>
                  <a:pt x="11462885" y="6198404"/>
                  <a:pt x="11494585" y="6230146"/>
                </a:cubicBezTo>
                <a:cubicBezTo>
                  <a:pt x="11498108" y="6233672"/>
                  <a:pt x="11498108" y="6240727"/>
                  <a:pt x="11491063" y="6244253"/>
                </a:cubicBezTo>
                <a:cubicBezTo>
                  <a:pt x="11448796" y="6290101"/>
                  <a:pt x="11431184" y="6350058"/>
                  <a:pt x="11445274" y="6424121"/>
                </a:cubicBezTo>
                <a:cubicBezTo>
                  <a:pt x="11445274" y="6431174"/>
                  <a:pt x="11441752" y="6434701"/>
                  <a:pt x="11438229" y="6434701"/>
                </a:cubicBezTo>
                <a:cubicBezTo>
                  <a:pt x="11438229" y="6434701"/>
                  <a:pt x="11438229" y="6434701"/>
                  <a:pt x="11399484" y="6445282"/>
                </a:cubicBezTo>
                <a:cubicBezTo>
                  <a:pt x="11392439" y="6448808"/>
                  <a:pt x="11388917" y="6445282"/>
                  <a:pt x="11388917" y="6441755"/>
                </a:cubicBezTo>
                <a:cubicBezTo>
                  <a:pt x="11367783" y="6350058"/>
                  <a:pt x="11395962" y="6258361"/>
                  <a:pt x="11452318" y="6201931"/>
                </a:cubicBezTo>
                <a:cubicBezTo>
                  <a:pt x="11454079" y="6198404"/>
                  <a:pt x="11456721" y="6196641"/>
                  <a:pt x="11458923" y="6196200"/>
                </a:cubicBezTo>
                <a:close/>
                <a:moveTo>
                  <a:pt x="11677605" y="6190846"/>
                </a:moveTo>
                <a:cubicBezTo>
                  <a:pt x="11681098" y="6190846"/>
                  <a:pt x="11681098" y="6190846"/>
                  <a:pt x="11684592" y="6190846"/>
                </a:cubicBezTo>
                <a:cubicBezTo>
                  <a:pt x="11730003" y="6201442"/>
                  <a:pt x="11761442" y="6219099"/>
                  <a:pt x="11792882" y="6254415"/>
                </a:cubicBezTo>
                <a:cubicBezTo>
                  <a:pt x="11796375" y="6257947"/>
                  <a:pt x="11796375" y="6257947"/>
                  <a:pt x="11796375" y="6261479"/>
                </a:cubicBezTo>
                <a:cubicBezTo>
                  <a:pt x="11796375" y="6265010"/>
                  <a:pt x="11792882" y="6265010"/>
                  <a:pt x="11789388" y="6268542"/>
                </a:cubicBezTo>
                <a:cubicBezTo>
                  <a:pt x="11789388" y="6268542"/>
                  <a:pt x="11789388" y="6268542"/>
                  <a:pt x="11698565" y="6314453"/>
                </a:cubicBezTo>
                <a:cubicBezTo>
                  <a:pt x="11695071" y="6314453"/>
                  <a:pt x="11691578" y="6314453"/>
                  <a:pt x="11688084" y="6314453"/>
                </a:cubicBezTo>
                <a:cubicBezTo>
                  <a:pt x="11684592" y="6310921"/>
                  <a:pt x="11684592" y="6307389"/>
                  <a:pt x="11681098" y="6303858"/>
                </a:cubicBezTo>
                <a:cubicBezTo>
                  <a:pt x="11681098" y="6303858"/>
                  <a:pt x="11681098" y="6303858"/>
                  <a:pt x="11674112" y="6201442"/>
                </a:cubicBezTo>
                <a:cubicBezTo>
                  <a:pt x="11674112" y="6197910"/>
                  <a:pt x="11674112" y="6194378"/>
                  <a:pt x="11677605" y="6190846"/>
                </a:cubicBezTo>
                <a:close/>
                <a:moveTo>
                  <a:pt x="11613922" y="6190846"/>
                </a:moveTo>
                <a:cubicBezTo>
                  <a:pt x="11617414" y="6190846"/>
                  <a:pt x="11617414" y="6190846"/>
                  <a:pt x="11620908" y="6190846"/>
                </a:cubicBezTo>
                <a:cubicBezTo>
                  <a:pt x="11620908" y="6194378"/>
                  <a:pt x="11624401" y="6197910"/>
                  <a:pt x="11624401" y="6201442"/>
                </a:cubicBezTo>
                <a:cubicBezTo>
                  <a:pt x="11624401" y="6201442"/>
                  <a:pt x="11624401" y="6201442"/>
                  <a:pt x="11613922" y="6307389"/>
                </a:cubicBezTo>
                <a:cubicBezTo>
                  <a:pt x="11613922" y="6310921"/>
                  <a:pt x="11613922" y="6314453"/>
                  <a:pt x="11610428" y="6314453"/>
                </a:cubicBezTo>
                <a:cubicBezTo>
                  <a:pt x="11606935" y="6314453"/>
                  <a:pt x="11603442" y="6314453"/>
                  <a:pt x="11599949" y="6314453"/>
                </a:cubicBezTo>
                <a:cubicBezTo>
                  <a:pt x="11599949" y="6314453"/>
                  <a:pt x="11599949" y="6314453"/>
                  <a:pt x="11509124" y="6268542"/>
                </a:cubicBezTo>
                <a:cubicBezTo>
                  <a:pt x="11505632" y="6268542"/>
                  <a:pt x="11502138" y="6265010"/>
                  <a:pt x="11502138" y="6261479"/>
                </a:cubicBezTo>
                <a:cubicBezTo>
                  <a:pt x="11502138" y="6261479"/>
                  <a:pt x="11502138" y="6257947"/>
                  <a:pt x="11505632" y="6254415"/>
                </a:cubicBezTo>
                <a:cubicBezTo>
                  <a:pt x="11537070" y="6222631"/>
                  <a:pt x="11568509" y="6201442"/>
                  <a:pt x="11613922" y="6190846"/>
                </a:cubicBezTo>
                <a:close/>
                <a:moveTo>
                  <a:pt x="11532772" y="6155914"/>
                </a:moveTo>
                <a:cubicBezTo>
                  <a:pt x="11536265" y="6155914"/>
                  <a:pt x="11539758" y="6159609"/>
                  <a:pt x="11539758" y="6163304"/>
                </a:cubicBezTo>
                <a:cubicBezTo>
                  <a:pt x="11539758" y="6166999"/>
                  <a:pt x="11539758" y="6166999"/>
                  <a:pt x="11536265" y="6166999"/>
                </a:cubicBezTo>
                <a:cubicBezTo>
                  <a:pt x="11536265" y="6166999"/>
                  <a:pt x="11536265" y="6166999"/>
                  <a:pt x="11529278" y="6170694"/>
                </a:cubicBezTo>
                <a:cubicBezTo>
                  <a:pt x="11529278" y="6170694"/>
                  <a:pt x="11529278" y="6170694"/>
                  <a:pt x="11525785" y="6163304"/>
                </a:cubicBezTo>
                <a:cubicBezTo>
                  <a:pt x="11525785" y="6163304"/>
                  <a:pt x="11525785" y="6163304"/>
                  <a:pt x="11522292" y="6163304"/>
                </a:cubicBezTo>
                <a:cubicBezTo>
                  <a:pt x="11525785" y="6159609"/>
                  <a:pt x="11529278" y="6159609"/>
                  <a:pt x="11532772" y="6155914"/>
                </a:cubicBezTo>
                <a:close/>
                <a:moveTo>
                  <a:pt x="11529297" y="6148717"/>
                </a:moveTo>
                <a:cubicBezTo>
                  <a:pt x="11525746" y="6152267"/>
                  <a:pt x="11518645" y="6155819"/>
                  <a:pt x="11511543" y="6159369"/>
                </a:cubicBezTo>
                <a:cubicBezTo>
                  <a:pt x="11511543" y="6159369"/>
                  <a:pt x="11511543" y="6159369"/>
                  <a:pt x="11515094" y="6162920"/>
                </a:cubicBezTo>
                <a:lnTo>
                  <a:pt x="11532848" y="6194878"/>
                </a:lnTo>
                <a:cubicBezTo>
                  <a:pt x="11536399" y="6194878"/>
                  <a:pt x="11536399" y="6191326"/>
                  <a:pt x="11539950" y="6191326"/>
                </a:cubicBezTo>
                <a:cubicBezTo>
                  <a:pt x="11539950" y="6191326"/>
                  <a:pt x="11539950" y="6191326"/>
                  <a:pt x="11532848" y="6177123"/>
                </a:cubicBezTo>
                <a:cubicBezTo>
                  <a:pt x="11532848" y="6177123"/>
                  <a:pt x="11532848" y="6177123"/>
                  <a:pt x="11539950" y="6173573"/>
                </a:cubicBezTo>
                <a:cubicBezTo>
                  <a:pt x="11539950" y="6173573"/>
                  <a:pt x="11539950" y="6173573"/>
                  <a:pt x="11554153" y="6184225"/>
                </a:cubicBezTo>
                <a:cubicBezTo>
                  <a:pt x="11557704" y="6180674"/>
                  <a:pt x="11557704" y="6180674"/>
                  <a:pt x="11561255" y="6180674"/>
                </a:cubicBezTo>
                <a:cubicBezTo>
                  <a:pt x="11561255" y="6180674"/>
                  <a:pt x="11561255" y="6180674"/>
                  <a:pt x="11547052" y="6166471"/>
                </a:cubicBezTo>
                <a:cubicBezTo>
                  <a:pt x="11547052" y="6166471"/>
                  <a:pt x="11547052" y="6166471"/>
                  <a:pt x="11547052" y="6162920"/>
                </a:cubicBezTo>
                <a:cubicBezTo>
                  <a:pt x="11550602" y="6155819"/>
                  <a:pt x="11539950" y="6145166"/>
                  <a:pt x="11529297" y="6148717"/>
                </a:cubicBezTo>
                <a:close/>
                <a:moveTo>
                  <a:pt x="11750205" y="6142479"/>
                </a:moveTo>
                <a:cubicBezTo>
                  <a:pt x="11753748" y="6166663"/>
                  <a:pt x="11753748" y="6166663"/>
                  <a:pt x="11753748" y="6166663"/>
                </a:cubicBezTo>
                <a:cubicBezTo>
                  <a:pt x="11746663" y="6183937"/>
                  <a:pt x="11746663" y="6183937"/>
                  <a:pt x="11746663" y="6183937"/>
                </a:cubicBezTo>
                <a:lnTo>
                  <a:pt x="11753748" y="6190846"/>
                </a:lnTo>
                <a:cubicBezTo>
                  <a:pt x="11760832" y="6173572"/>
                  <a:pt x="11760832" y="6173572"/>
                  <a:pt x="11760832" y="6173572"/>
                </a:cubicBezTo>
                <a:cubicBezTo>
                  <a:pt x="11785626" y="6159753"/>
                  <a:pt x="11785626" y="6159753"/>
                  <a:pt x="11785626" y="6159753"/>
                </a:cubicBezTo>
                <a:cubicBezTo>
                  <a:pt x="11785626" y="6159753"/>
                  <a:pt x="11782084" y="6156298"/>
                  <a:pt x="11778543" y="6156298"/>
                </a:cubicBezTo>
                <a:cubicBezTo>
                  <a:pt x="11760832" y="6163208"/>
                  <a:pt x="11760832" y="6163208"/>
                  <a:pt x="11760832" y="6163208"/>
                </a:cubicBezTo>
                <a:cubicBezTo>
                  <a:pt x="11757290" y="6145933"/>
                  <a:pt x="11757290" y="6145933"/>
                  <a:pt x="11757290" y="6145933"/>
                </a:cubicBezTo>
                <a:cubicBezTo>
                  <a:pt x="11753748" y="6142479"/>
                  <a:pt x="11753748" y="6142479"/>
                  <a:pt x="11750205" y="6142479"/>
                </a:cubicBezTo>
                <a:close/>
                <a:moveTo>
                  <a:pt x="11715224" y="6138449"/>
                </a:moveTo>
                <a:cubicBezTo>
                  <a:pt x="11718717" y="6138449"/>
                  <a:pt x="11722211" y="6138449"/>
                  <a:pt x="11725705" y="6141808"/>
                </a:cubicBezTo>
                <a:cubicBezTo>
                  <a:pt x="11725705" y="6141808"/>
                  <a:pt x="11729197" y="6141808"/>
                  <a:pt x="11729197" y="6145167"/>
                </a:cubicBezTo>
                <a:cubicBezTo>
                  <a:pt x="11729197" y="6148525"/>
                  <a:pt x="11725705" y="6151884"/>
                  <a:pt x="11722211" y="6151884"/>
                </a:cubicBezTo>
                <a:cubicBezTo>
                  <a:pt x="11722211" y="6151884"/>
                  <a:pt x="11722211" y="6151884"/>
                  <a:pt x="11711731" y="6148525"/>
                </a:cubicBezTo>
                <a:lnTo>
                  <a:pt x="11711731" y="6145167"/>
                </a:lnTo>
                <a:cubicBezTo>
                  <a:pt x="11711731" y="6145167"/>
                  <a:pt x="11711731" y="6145167"/>
                  <a:pt x="11715224" y="6138449"/>
                </a:cubicBezTo>
                <a:close/>
                <a:moveTo>
                  <a:pt x="11582079" y="6137944"/>
                </a:moveTo>
                <a:cubicBezTo>
                  <a:pt x="11589134" y="6134417"/>
                  <a:pt x="11596187" y="6141472"/>
                  <a:pt x="11596187" y="6148525"/>
                </a:cubicBezTo>
                <a:cubicBezTo>
                  <a:pt x="11596187" y="6155579"/>
                  <a:pt x="11589134" y="6162632"/>
                  <a:pt x="11582079" y="6162632"/>
                </a:cubicBezTo>
                <a:cubicBezTo>
                  <a:pt x="11575026" y="6162632"/>
                  <a:pt x="11567972" y="6159106"/>
                  <a:pt x="11567972" y="6152052"/>
                </a:cubicBezTo>
                <a:cubicBezTo>
                  <a:pt x="11567972" y="6152052"/>
                  <a:pt x="11567972" y="6152052"/>
                  <a:pt x="11567972" y="6148525"/>
                </a:cubicBezTo>
                <a:cubicBezTo>
                  <a:pt x="11567972" y="6141472"/>
                  <a:pt x="11575026" y="6137944"/>
                  <a:pt x="11582079" y="6137944"/>
                </a:cubicBezTo>
                <a:close/>
                <a:moveTo>
                  <a:pt x="11670081" y="6131730"/>
                </a:moveTo>
                <a:cubicBezTo>
                  <a:pt x="11670081" y="6131730"/>
                  <a:pt x="11670081" y="6131730"/>
                  <a:pt x="11673440" y="6142210"/>
                </a:cubicBezTo>
                <a:cubicBezTo>
                  <a:pt x="11673440" y="6142210"/>
                  <a:pt x="11673440" y="6142210"/>
                  <a:pt x="11676799" y="6149197"/>
                </a:cubicBezTo>
                <a:cubicBezTo>
                  <a:pt x="11673440" y="6149197"/>
                  <a:pt x="11666722" y="6149197"/>
                  <a:pt x="11663363" y="6149197"/>
                </a:cubicBezTo>
                <a:lnTo>
                  <a:pt x="11666722" y="6142210"/>
                </a:lnTo>
                <a:cubicBezTo>
                  <a:pt x="11666722" y="6142210"/>
                  <a:pt x="11666722" y="6142210"/>
                  <a:pt x="11670081" y="6131730"/>
                </a:cubicBezTo>
                <a:close/>
                <a:moveTo>
                  <a:pt x="11578609" y="6131214"/>
                </a:moveTo>
                <a:cubicBezTo>
                  <a:pt x="11568195" y="6131214"/>
                  <a:pt x="11561254" y="6138242"/>
                  <a:pt x="11561254" y="6148784"/>
                </a:cubicBezTo>
                <a:cubicBezTo>
                  <a:pt x="11561254" y="6152297"/>
                  <a:pt x="11561254" y="6152297"/>
                  <a:pt x="11561254" y="6152297"/>
                </a:cubicBezTo>
                <a:cubicBezTo>
                  <a:pt x="11561254" y="6162839"/>
                  <a:pt x="11571666" y="6173381"/>
                  <a:pt x="11582079" y="6169867"/>
                </a:cubicBezTo>
                <a:cubicBezTo>
                  <a:pt x="11595963" y="6169867"/>
                  <a:pt x="11602904" y="6162839"/>
                  <a:pt x="11602904" y="6148784"/>
                </a:cubicBezTo>
                <a:cubicBezTo>
                  <a:pt x="11602904" y="6138242"/>
                  <a:pt x="11592492" y="6127700"/>
                  <a:pt x="11578609" y="6131214"/>
                </a:cubicBezTo>
                <a:close/>
                <a:moveTo>
                  <a:pt x="11708922" y="6127700"/>
                </a:moveTo>
                <a:cubicBezTo>
                  <a:pt x="11708922" y="6127700"/>
                  <a:pt x="11708922" y="6127700"/>
                  <a:pt x="11705380" y="6145454"/>
                </a:cubicBezTo>
                <a:cubicBezTo>
                  <a:pt x="11705380" y="6145454"/>
                  <a:pt x="11705380" y="6145454"/>
                  <a:pt x="11698296" y="6166759"/>
                </a:cubicBezTo>
                <a:cubicBezTo>
                  <a:pt x="11701837" y="6170310"/>
                  <a:pt x="11705380" y="6170310"/>
                  <a:pt x="11708922" y="6170310"/>
                </a:cubicBezTo>
                <a:lnTo>
                  <a:pt x="11712464" y="6156107"/>
                </a:lnTo>
                <a:cubicBezTo>
                  <a:pt x="11712464" y="6156107"/>
                  <a:pt x="11712464" y="6156107"/>
                  <a:pt x="11719548" y="6156107"/>
                </a:cubicBezTo>
                <a:cubicBezTo>
                  <a:pt x="11719548" y="6156107"/>
                  <a:pt x="11719548" y="6156107"/>
                  <a:pt x="11723090" y="6173861"/>
                </a:cubicBezTo>
                <a:cubicBezTo>
                  <a:pt x="11726632" y="6177412"/>
                  <a:pt x="11726632" y="6177412"/>
                  <a:pt x="11730175" y="6177412"/>
                </a:cubicBezTo>
                <a:cubicBezTo>
                  <a:pt x="11730175" y="6177412"/>
                  <a:pt x="11730175" y="6177412"/>
                  <a:pt x="11726632" y="6159658"/>
                </a:cubicBezTo>
                <a:cubicBezTo>
                  <a:pt x="11733717" y="6156107"/>
                  <a:pt x="11737259" y="6149005"/>
                  <a:pt x="11737259" y="6145454"/>
                </a:cubicBezTo>
                <a:cubicBezTo>
                  <a:pt x="11737259" y="6138353"/>
                  <a:pt x="11733717" y="6134802"/>
                  <a:pt x="11730175" y="6134802"/>
                </a:cubicBezTo>
                <a:cubicBezTo>
                  <a:pt x="11723090" y="6131251"/>
                  <a:pt x="11716006" y="6127700"/>
                  <a:pt x="11708922" y="6127700"/>
                </a:cubicBezTo>
                <a:close/>
                <a:moveTo>
                  <a:pt x="11666295" y="6120982"/>
                </a:moveTo>
                <a:cubicBezTo>
                  <a:pt x="11666295" y="6120982"/>
                  <a:pt x="11666295" y="6120982"/>
                  <a:pt x="11659211" y="6142066"/>
                </a:cubicBezTo>
                <a:cubicBezTo>
                  <a:pt x="11659211" y="6142066"/>
                  <a:pt x="11659211" y="6142066"/>
                  <a:pt x="11648585" y="6163149"/>
                </a:cubicBezTo>
                <a:cubicBezTo>
                  <a:pt x="11652127" y="6163149"/>
                  <a:pt x="11652127" y="6163149"/>
                  <a:pt x="11655669" y="6163149"/>
                </a:cubicBezTo>
                <a:lnTo>
                  <a:pt x="11659211" y="6156121"/>
                </a:lnTo>
                <a:cubicBezTo>
                  <a:pt x="11666295" y="6156121"/>
                  <a:pt x="11669838" y="6156121"/>
                  <a:pt x="11676922" y="6156121"/>
                </a:cubicBezTo>
                <a:cubicBezTo>
                  <a:pt x="11676922" y="6156121"/>
                  <a:pt x="11676922" y="6156121"/>
                  <a:pt x="11680464" y="6163149"/>
                </a:cubicBezTo>
                <a:cubicBezTo>
                  <a:pt x="11684006" y="6163149"/>
                  <a:pt x="11684006" y="6166663"/>
                  <a:pt x="11687548" y="6166663"/>
                </a:cubicBezTo>
                <a:cubicBezTo>
                  <a:pt x="11687548" y="6166663"/>
                  <a:pt x="11687548" y="6166663"/>
                  <a:pt x="11680464" y="6142066"/>
                </a:cubicBezTo>
                <a:cubicBezTo>
                  <a:pt x="11680464" y="6142066"/>
                  <a:pt x="11680464" y="6142066"/>
                  <a:pt x="11676922" y="6120982"/>
                </a:cubicBezTo>
                <a:cubicBezTo>
                  <a:pt x="11676922" y="6120982"/>
                  <a:pt x="11676922" y="6120982"/>
                  <a:pt x="11666295" y="6120982"/>
                </a:cubicBezTo>
                <a:close/>
                <a:moveTo>
                  <a:pt x="11645898" y="6120982"/>
                </a:moveTo>
                <a:cubicBezTo>
                  <a:pt x="11628187" y="6120982"/>
                  <a:pt x="11621103" y="6120982"/>
                  <a:pt x="11606934" y="6124453"/>
                </a:cubicBezTo>
                <a:cubicBezTo>
                  <a:pt x="11606934" y="6131394"/>
                  <a:pt x="11606934" y="6131394"/>
                  <a:pt x="11606934" y="6131394"/>
                </a:cubicBezTo>
                <a:lnTo>
                  <a:pt x="11621103" y="6127924"/>
                </a:lnTo>
                <a:cubicBezTo>
                  <a:pt x="11624645" y="6162632"/>
                  <a:pt x="11624645" y="6162632"/>
                  <a:pt x="11624645" y="6162632"/>
                </a:cubicBezTo>
                <a:cubicBezTo>
                  <a:pt x="11635271" y="6162632"/>
                  <a:pt x="11635271" y="6162632"/>
                  <a:pt x="11635271" y="6162632"/>
                </a:cubicBezTo>
                <a:cubicBezTo>
                  <a:pt x="11631729" y="6127924"/>
                  <a:pt x="11631729" y="6127924"/>
                  <a:pt x="11631729" y="6127924"/>
                </a:cubicBezTo>
                <a:cubicBezTo>
                  <a:pt x="11645898" y="6127924"/>
                  <a:pt x="11645898" y="6127924"/>
                  <a:pt x="11645898" y="6127924"/>
                </a:cubicBezTo>
                <a:cubicBezTo>
                  <a:pt x="11645898" y="6120982"/>
                  <a:pt x="11645898" y="6120982"/>
                  <a:pt x="11645898" y="6120982"/>
                </a:cubicBezTo>
                <a:close/>
                <a:moveTo>
                  <a:pt x="11196257" y="6120981"/>
                </a:moveTo>
                <a:cubicBezTo>
                  <a:pt x="11214171" y="6120981"/>
                  <a:pt x="11221336" y="6138448"/>
                  <a:pt x="11221336" y="6155913"/>
                </a:cubicBezTo>
                <a:lnTo>
                  <a:pt x="11167595" y="6155913"/>
                </a:lnTo>
                <a:cubicBezTo>
                  <a:pt x="11167595" y="6138448"/>
                  <a:pt x="11178343" y="6120981"/>
                  <a:pt x="11196257" y="6120981"/>
                </a:cubicBezTo>
                <a:close/>
                <a:moveTo>
                  <a:pt x="11648585" y="6114265"/>
                </a:moveTo>
                <a:cubicBezTo>
                  <a:pt x="11711759" y="6114265"/>
                  <a:pt x="11767914" y="6135224"/>
                  <a:pt x="11813539" y="6170156"/>
                </a:cubicBezTo>
                <a:cubicBezTo>
                  <a:pt x="11820558" y="6177143"/>
                  <a:pt x="11820558" y="6180636"/>
                  <a:pt x="11817049" y="6184129"/>
                </a:cubicBezTo>
                <a:cubicBezTo>
                  <a:pt x="11817049" y="6184129"/>
                  <a:pt x="11817049" y="6184129"/>
                  <a:pt x="11788972" y="6215569"/>
                </a:cubicBezTo>
                <a:cubicBezTo>
                  <a:pt x="11785462" y="6219061"/>
                  <a:pt x="11781952" y="6219061"/>
                  <a:pt x="11774933" y="6215569"/>
                </a:cubicBezTo>
                <a:cubicBezTo>
                  <a:pt x="11739837" y="6187623"/>
                  <a:pt x="11694210" y="6170156"/>
                  <a:pt x="11648585" y="6170156"/>
                </a:cubicBezTo>
                <a:cubicBezTo>
                  <a:pt x="11599450" y="6170156"/>
                  <a:pt x="11557334" y="6187623"/>
                  <a:pt x="11522236" y="6215569"/>
                </a:cubicBezTo>
                <a:cubicBezTo>
                  <a:pt x="11515217" y="6219061"/>
                  <a:pt x="11511708" y="6219061"/>
                  <a:pt x="11508198" y="6215569"/>
                </a:cubicBezTo>
                <a:cubicBezTo>
                  <a:pt x="11508198" y="6215569"/>
                  <a:pt x="11508198" y="6215569"/>
                  <a:pt x="11480121" y="6184129"/>
                </a:cubicBezTo>
                <a:cubicBezTo>
                  <a:pt x="11476611" y="6180636"/>
                  <a:pt x="11476611" y="6177143"/>
                  <a:pt x="11483630" y="6170156"/>
                </a:cubicBezTo>
                <a:cubicBezTo>
                  <a:pt x="11529256" y="6135224"/>
                  <a:pt x="11585411" y="6114265"/>
                  <a:pt x="11648585" y="6114265"/>
                </a:cubicBezTo>
                <a:close/>
                <a:moveTo>
                  <a:pt x="11196481" y="6114264"/>
                </a:moveTo>
                <a:cubicBezTo>
                  <a:pt x="11172113" y="6114264"/>
                  <a:pt x="11158189" y="6131778"/>
                  <a:pt x="11158189" y="6163304"/>
                </a:cubicBezTo>
                <a:cubicBezTo>
                  <a:pt x="11158189" y="6191326"/>
                  <a:pt x="11168632" y="6212343"/>
                  <a:pt x="11199962" y="6212343"/>
                </a:cubicBezTo>
                <a:cubicBezTo>
                  <a:pt x="11206924" y="6212343"/>
                  <a:pt x="11220848" y="6208840"/>
                  <a:pt x="11227810" y="6205337"/>
                </a:cubicBezTo>
                <a:lnTo>
                  <a:pt x="11227810" y="6194829"/>
                </a:lnTo>
                <a:cubicBezTo>
                  <a:pt x="11220848" y="6198332"/>
                  <a:pt x="11210404" y="6201834"/>
                  <a:pt x="11199962" y="6201834"/>
                </a:cubicBezTo>
                <a:cubicBezTo>
                  <a:pt x="11179076" y="6201834"/>
                  <a:pt x="11168632" y="6184320"/>
                  <a:pt x="11168632" y="6166807"/>
                </a:cubicBezTo>
                <a:cubicBezTo>
                  <a:pt x="11168632" y="6166807"/>
                  <a:pt x="11168632" y="6166807"/>
                  <a:pt x="11234772" y="6166807"/>
                </a:cubicBezTo>
                <a:cubicBezTo>
                  <a:pt x="11234772" y="6166807"/>
                  <a:pt x="11234772" y="6166807"/>
                  <a:pt x="11234772" y="6159801"/>
                </a:cubicBezTo>
                <a:cubicBezTo>
                  <a:pt x="11234772" y="6135281"/>
                  <a:pt x="11224329" y="6114264"/>
                  <a:pt x="11196481" y="6114264"/>
                </a:cubicBezTo>
                <a:close/>
                <a:moveTo>
                  <a:pt x="10947253" y="6077988"/>
                </a:moveTo>
                <a:lnTo>
                  <a:pt x="10947253" y="6088736"/>
                </a:lnTo>
                <a:lnTo>
                  <a:pt x="10986216" y="6088736"/>
                </a:lnTo>
                <a:lnTo>
                  <a:pt x="10986216" y="6208312"/>
                </a:lnTo>
                <a:lnTo>
                  <a:pt x="10999652" y="6208312"/>
                </a:lnTo>
                <a:lnTo>
                  <a:pt x="10999652" y="6088736"/>
                </a:lnTo>
                <a:lnTo>
                  <a:pt x="11038614" y="6088736"/>
                </a:lnTo>
                <a:lnTo>
                  <a:pt x="11038614" y="6077988"/>
                </a:lnTo>
                <a:close/>
                <a:moveTo>
                  <a:pt x="11060111" y="6067239"/>
                </a:moveTo>
                <a:lnTo>
                  <a:pt x="11060111" y="6208312"/>
                </a:lnTo>
                <a:cubicBezTo>
                  <a:pt x="11060111" y="6208312"/>
                  <a:pt x="11060111" y="6208312"/>
                  <a:pt x="11070476" y="6208312"/>
                </a:cubicBezTo>
                <a:cubicBezTo>
                  <a:pt x="11070476" y="6208312"/>
                  <a:pt x="11070476" y="6208312"/>
                  <a:pt x="11070476" y="6158936"/>
                </a:cubicBezTo>
                <a:cubicBezTo>
                  <a:pt x="11070476" y="6141302"/>
                  <a:pt x="11077385" y="6120142"/>
                  <a:pt x="11098115" y="6120142"/>
                </a:cubicBezTo>
                <a:cubicBezTo>
                  <a:pt x="11118844" y="6120142"/>
                  <a:pt x="11118844" y="6134249"/>
                  <a:pt x="11118844" y="6151883"/>
                </a:cubicBezTo>
                <a:cubicBezTo>
                  <a:pt x="11118844" y="6151883"/>
                  <a:pt x="11118844" y="6151883"/>
                  <a:pt x="11118844" y="6208312"/>
                </a:cubicBezTo>
                <a:cubicBezTo>
                  <a:pt x="11118844" y="6208312"/>
                  <a:pt x="11118844" y="6208312"/>
                  <a:pt x="11132662" y="6208312"/>
                </a:cubicBezTo>
                <a:cubicBezTo>
                  <a:pt x="11132662" y="6208312"/>
                  <a:pt x="11132662" y="6208312"/>
                  <a:pt x="11132662" y="6151883"/>
                </a:cubicBezTo>
                <a:cubicBezTo>
                  <a:pt x="11132662" y="6127195"/>
                  <a:pt x="11125753" y="6113088"/>
                  <a:pt x="11101569" y="6113088"/>
                </a:cubicBezTo>
                <a:cubicBezTo>
                  <a:pt x="11087750" y="6113088"/>
                  <a:pt x="11077385" y="6120142"/>
                  <a:pt x="11070476" y="6130722"/>
                </a:cubicBezTo>
                <a:cubicBezTo>
                  <a:pt x="11070476" y="6130722"/>
                  <a:pt x="11070476" y="6130722"/>
                  <a:pt x="11070476" y="6067239"/>
                </a:cubicBezTo>
                <a:cubicBezTo>
                  <a:pt x="11070476" y="6067239"/>
                  <a:pt x="11070476" y="6067239"/>
                  <a:pt x="11060111" y="6067239"/>
                </a:cubicBezTo>
                <a:close/>
                <a:moveTo>
                  <a:pt x="11638739" y="6043056"/>
                </a:moveTo>
                <a:cubicBezTo>
                  <a:pt x="11628222" y="6060677"/>
                  <a:pt x="11624716" y="6078298"/>
                  <a:pt x="11624716" y="6095919"/>
                </a:cubicBezTo>
                <a:cubicBezTo>
                  <a:pt x="11621210" y="6095919"/>
                  <a:pt x="11603681" y="6099443"/>
                  <a:pt x="11600176" y="6099443"/>
                </a:cubicBezTo>
                <a:cubicBezTo>
                  <a:pt x="11596669" y="6081822"/>
                  <a:pt x="11586152" y="6064201"/>
                  <a:pt x="11575635" y="6053629"/>
                </a:cubicBezTo>
                <a:cubicBezTo>
                  <a:pt x="11575635" y="6053629"/>
                  <a:pt x="11575635" y="6053629"/>
                  <a:pt x="11572129" y="6053629"/>
                </a:cubicBezTo>
                <a:cubicBezTo>
                  <a:pt x="11565117" y="6053629"/>
                  <a:pt x="11558106" y="6057153"/>
                  <a:pt x="11551094" y="6057153"/>
                </a:cubicBezTo>
                <a:cubicBezTo>
                  <a:pt x="11551094" y="6057153"/>
                  <a:pt x="11551094" y="6057153"/>
                  <a:pt x="11551094" y="6060677"/>
                </a:cubicBezTo>
                <a:cubicBezTo>
                  <a:pt x="11547588" y="6067726"/>
                  <a:pt x="11547588" y="6074774"/>
                  <a:pt x="11547588" y="6085346"/>
                </a:cubicBezTo>
                <a:cubicBezTo>
                  <a:pt x="11547588" y="6095919"/>
                  <a:pt x="11547588" y="6102967"/>
                  <a:pt x="11551094" y="6113540"/>
                </a:cubicBezTo>
                <a:cubicBezTo>
                  <a:pt x="11547588" y="6113540"/>
                  <a:pt x="11530059" y="6120588"/>
                  <a:pt x="11530059" y="6120588"/>
                </a:cubicBezTo>
                <a:cubicBezTo>
                  <a:pt x="11519542" y="6106491"/>
                  <a:pt x="11505518" y="6092395"/>
                  <a:pt x="11491495" y="6085346"/>
                </a:cubicBezTo>
                <a:cubicBezTo>
                  <a:pt x="11484484" y="6085346"/>
                  <a:pt x="11477472" y="6092395"/>
                  <a:pt x="11470460" y="6095919"/>
                </a:cubicBezTo>
                <a:cubicBezTo>
                  <a:pt x="11470460" y="6113540"/>
                  <a:pt x="11473966" y="6131161"/>
                  <a:pt x="11484484" y="6148781"/>
                </a:cubicBezTo>
                <a:cubicBezTo>
                  <a:pt x="11480978" y="6148781"/>
                  <a:pt x="11470460" y="6159354"/>
                  <a:pt x="11466954" y="6159354"/>
                </a:cubicBezTo>
                <a:cubicBezTo>
                  <a:pt x="11456437" y="6148781"/>
                  <a:pt x="11438908" y="6138209"/>
                  <a:pt x="11421379" y="6134685"/>
                </a:cubicBezTo>
                <a:cubicBezTo>
                  <a:pt x="11414367" y="6138209"/>
                  <a:pt x="11407356" y="6145257"/>
                  <a:pt x="11403850" y="6148781"/>
                </a:cubicBezTo>
                <a:cubicBezTo>
                  <a:pt x="11403850" y="6148781"/>
                  <a:pt x="11403850" y="6148781"/>
                  <a:pt x="11403850" y="6152305"/>
                </a:cubicBezTo>
                <a:cubicBezTo>
                  <a:pt x="11407356" y="6166403"/>
                  <a:pt x="11417873" y="6184023"/>
                  <a:pt x="11431896" y="6198120"/>
                </a:cubicBezTo>
                <a:cubicBezTo>
                  <a:pt x="11428390" y="6198120"/>
                  <a:pt x="11417873" y="6215741"/>
                  <a:pt x="11417873" y="6215741"/>
                </a:cubicBezTo>
                <a:cubicBezTo>
                  <a:pt x="11400344" y="6208692"/>
                  <a:pt x="11382815" y="6201644"/>
                  <a:pt x="11365286" y="6201644"/>
                </a:cubicBezTo>
                <a:cubicBezTo>
                  <a:pt x="11361780" y="6208692"/>
                  <a:pt x="11354768" y="6215741"/>
                  <a:pt x="11354768" y="6222789"/>
                </a:cubicBezTo>
                <a:cubicBezTo>
                  <a:pt x="11361780" y="6236886"/>
                  <a:pt x="11375803" y="6250982"/>
                  <a:pt x="11389827" y="6261556"/>
                </a:cubicBezTo>
                <a:cubicBezTo>
                  <a:pt x="11389827" y="6265080"/>
                  <a:pt x="11382815" y="6279176"/>
                  <a:pt x="11382815" y="6282700"/>
                </a:cubicBezTo>
                <a:cubicBezTo>
                  <a:pt x="11365286" y="6275652"/>
                  <a:pt x="11344251" y="6275652"/>
                  <a:pt x="11330228" y="6282700"/>
                </a:cubicBezTo>
                <a:cubicBezTo>
                  <a:pt x="11326722" y="6289749"/>
                  <a:pt x="11323216" y="6296797"/>
                  <a:pt x="11323216" y="6303845"/>
                </a:cubicBezTo>
                <a:cubicBezTo>
                  <a:pt x="11333733" y="6317942"/>
                  <a:pt x="11351262" y="6324990"/>
                  <a:pt x="11368791" y="6332039"/>
                </a:cubicBezTo>
                <a:cubicBezTo>
                  <a:pt x="11368791" y="6335563"/>
                  <a:pt x="11365286" y="6349659"/>
                  <a:pt x="11365286" y="6353183"/>
                </a:cubicBezTo>
                <a:cubicBezTo>
                  <a:pt x="11347757" y="6353183"/>
                  <a:pt x="11330228" y="6360232"/>
                  <a:pt x="11316205" y="6367281"/>
                </a:cubicBezTo>
                <a:cubicBezTo>
                  <a:pt x="11316205" y="6367281"/>
                  <a:pt x="11316205" y="6367281"/>
                  <a:pt x="11312698" y="6367281"/>
                </a:cubicBezTo>
                <a:cubicBezTo>
                  <a:pt x="11312698" y="6370805"/>
                  <a:pt x="11312698" y="6374329"/>
                  <a:pt x="11312698" y="6381377"/>
                </a:cubicBezTo>
                <a:cubicBezTo>
                  <a:pt x="11312698" y="6384901"/>
                  <a:pt x="11312698" y="6388425"/>
                  <a:pt x="11312698" y="6391950"/>
                </a:cubicBezTo>
                <a:cubicBezTo>
                  <a:pt x="11312698" y="6391950"/>
                  <a:pt x="11312698" y="6391950"/>
                  <a:pt x="11316205" y="6391950"/>
                </a:cubicBezTo>
                <a:cubicBezTo>
                  <a:pt x="11330228" y="6402523"/>
                  <a:pt x="11347757" y="6406047"/>
                  <a:pt x="11365286" y="6406047"/>
                </a:cubicBezTo>
                <a:cubicBezTo>
                  <a:pt x="11365286" y="6409571"/>
                  <a:pt x="11368791" y="6427192"/>
                  <a:pt x="11368791" y="6427192"/>
                </a:cubicBezTo>
                <a:cubicBezTo>
                  <a:pt x="11351262" y="6434240"/>
                  <a:pt x="11333733" y="6444812"/>
                  <a:pt x="11323216" y="6455385"/>
                </a:cubicBezTo>
                <a:cubicBezTo>
                  <a:pt x="11323216" y="6455385"/>
                  <a:pt x="11323216" y="6455385"/>
                  <a:pt x="11323216" y="6458909"/>
                </a:cubicBezTo>
                <a:cubicBezTo>
                  <a:pt x="11323216" y="6462434"/>
                  <a:pt x="11326722" y="6473006"/>
                  <a:pt x="11330228" y="6480054"/>
                </a:cubicBezTo>
                <a:cubicBezTo>
                  <a:pt x="11347757" y="6483578"/>
                  <a:pt x="11365286" y="6483578"/>
                  <a:pt x="11382815" y="6480054"/>
                </a:cubicBezTo>
                <a:cubicBezTo>
                  <a:pt x="11382815" y="6480054"/>
                  <a:pt x="11389827" y="6497675"/>
                  <a:pt x="11393332" y="6501200"/>
                </a:cubicBezTo>
                <a:cubicBezTo>
                  <a:pt x="11375803" y="6508248"/>
                  <a:pt x="11361780" y="6522344"/>
                  <a:pt x="11354768" y="6536441"/>
                </a:cubicBezTo>
                <a:cubicBezTo>
                  <a:pt x="11354768" y="6536441"/>
                  <a:pt x="11354768" y="6536441"/>
                  <a:pt x="11354768" y="6539965"/>
                </a:cubicBezTo>
                <a:cubicBezTo>
                  <a:pt x="11358274" y="6543489"/>
                  <a:pt x="11361780" y="6554062"/>
                  <a:pt x="11365286" y="6557586"/>
                </a:cubicBezTo>
                <a:cubicBezTo>
                  <a:pt x="11382815" y="6557586"/>
                  <a:pt x="11400344" y="6554062"/>
                  <a:pt x="11417873" y="6543489"/>
                </a:cubicBezTo>
                <a:cubicBezTo>
                  <a:pt x="11417873" y="6547014"/>
                  <a:pt x="11428390" y="6561110"/>
                  <a:pt x="11431896" y="6564635"/>
                </a:cubicBezTo>
                <a:cubicBezTo>
                  <a:pt x="11417873" y="6575207"/>
                  <a:pt x="11410861" y="6592827"/>
                  <a:pt x="11403850" y="6610449"/>
                </a:cubicBezTo>
                <a:cubicBezTo>
                  <a:pt x="11410861" y="6613973"/>
                  <a:pt x="11414367" y="6621021"/>
                  <a:pt x="11421379" y="6624545"/>
                </a:cubicBezTo>
                <a:cubicBezTo>
                  <a:pt x="11438908" y="6621021"/>
                  <a:pt x="11456437" y="6613973"/>
                  <a:pt x="11466954" y="6599877"/>
                </a:cubicBezTo>
                <a:cubicBezTo>
                  <a:pt x="11470460" y="6599877"/>
                  <a:pt x="11484484" y="6613973"/>
                  <a:pt x="11484484" y="6613973"/>
                </a:cubicBezTo>
                <a:cubicBezTo>
                  <a:pt x="11477472" y="6628069"/>
                  <a:pt x="11473966" y="6649215"/>
                  <a:pt x="11473966" y="6663311"/>
                </a:cubicBezTo>
                <a:cubicBezTo>
                  <a:pt x="11473966" y="6663311"/>
                  <a:pt x="11473966" y="6666836"/>
                  <a:pt x="11473966" y="6666836"/>
                </a:cubicBezTo>
                <a:cubicBezTo>
                  <a:pt x="11477472" y="6670360"/>
                  <a:pt x="11484484" y="6673884"/>
                  <a:pt x="11491495" y="6677408"/>
                </a:cubicBezTo>
                <a:cubicBezTo>
                  <a:pt x="11491495" y="6677408"/>
                  <a:pt x="11491495" y="6677408"/>
                  <a:pt x="11495001" y="6677408"/>
                </a:cubicBezTo>
                <a:cubicBezTo>
                  <a:pt x="11509024" y="6670360"/>
                  <a:pt x="11523047" y="6656263"/>
                  <a:pt x="11530059" y="6638642"/>
                </a:cubicBezTo>
                <a:cubicBezTo>
                  <a:pt x="11533564" y="6642166"/>
                  <a:pt x="11547588" y="6645691"/>
                  <a:pt x="11551094" y="6649215"/>
                </a:cubicBezTo>
                <a:cubicBezTo>
                  <a:pt x="11547588" y="6656263"/>
                  <a:pt x="11547588" y="6666836"/>
                  <a:pt x="11547588" y="6673884"/>
                </a:cubicBezTo>
                <a:cubicBezTo>
                  <a:pt x="11547588" y="6684456"/>
                  <a:pt x="11547588" y="6691505"/>
                  <a:pt x="11551094" y="6702078"/>
                </a:cubicBezTo>
                <a:cubicBezTo>
                  <a:pt x="11558106" y="6705602"/>
                  <a:pt x="11565117" y="6705602"/>
                  <a:pt x="11572129" y="6709126"/>
                </a:cubicBezTo>
                <a:cubicBezTo>
                  <a:pt x="11572129" y="6709126"/>
                  <a:pt x="11572129" y="6709126"/>
                  <a:pt x="11575635" y="6709126"/>
                </a:cubicBezTo>
                <a:cubicBezTo>
                  <a:pt x="11586152" y="6695029"/>
                  <a:pt x="11596669" y="6677408"/>
                  <a:pt x="11600176" y="6663311"/>
                </a:cubicBezTo>
                <a:cubicBezTo>
                  <a:pt x="11603681" y="6663311"/>
                  <a:pt x="11621210" y="6663311"/>
                  <a:pt x="11624716" y="6663311"/>
                </a:cubicBezTo>
                <a:cubicBezTo>
                  <a:pt x="11624716" y="6684456"/>
                  <a:pt x="11628222" y="6702078"/>
                  <a:pt x="11638739" y="6716174"/>
                </a:cubicBezTo>
                <a:cubicBezTo>
                  <a:pt x="11645751" y="6716174"/>
                  <a:pt x="11656268" y="6716174"/>
                  <a:pt x="11659774" y="6716174"/>
                </a:cubicBezTo>
                <a:cubicBezTo>
                  <a:pt x="11659774" y="6716174"/>
                  <a:pt x="11659774" y="6716174"/>
                  <a:pt x="11663280" y="6716174"/>
                </a:cubicBezTo>
                <a:cubicBezTo>
                  <a:pt x="11670291" y="6702078"/>
                  <a:pt x="11677303" y="6684456"/>
                  <a:pt x="11677303" y="6663311"/>
                </a:cubicBezTo>
                <a:cubicBezTo>
                  <a:pt x="11677303" y="6663311"/>
                  <a:pt x="11694832" y="6663311"/>
                  <a:pt x="11698339" y="6663311"/>
                </a:cubicBezTo>
                <a:cubicBezTo>
                  <a:pt x="11701844" y="6677408"/>
                  <a:pt x="11712361" y="6695029"/>
                  <a:pt x="11722879" y="6709126"/>
                </a:cubicBezTo>
                <a:cubicBezTo>
                  <a:pt x="11722879" y="6709126"/>
                  <a:pt x="11722879" y="6709126"/>
                  <a:pt x="11726385" y="6709126"/>
                </a:cubicBezTo>
                <a:cubicBezTo>
                  <a:pt x="11733396" y="6705602"/>
                  <a:pt x="11740408" y="6705602"/>
                  <a:pt x="11747420" y="6702078"/>
                </a:cubicBezTo>
                <a:cubicBezTo>
                  <a:pt x="11750925" y="6691505"/>
                  <a:pt x="11750925" y="6684456"/>
                  <a:pt x="11750925" y="6673884"/>
                </a:cubicBezTo>
                <a:cubicBezTo>
                  <a:pt x="11750925" y="6666836"/>
                  <a:pt x="11750925" y="6656263"/>
                  <a:pt x="11747420" y="6649215"/>
                </a:cubicBezTo>
                <a:cubicBezTo>
                  <a:pt x="11750925" y="6645691"/>
                  <a:pt x="11764949" y="6638642"/>
                  <a:pt x="11768454" y="6638642"/>
                </a:cubicBezTo>
                <a:cubicBezTo>
                  <a:pt x="11778972" y="6656263"/>
                  <a:pt x="11789490" y="6666836"/>
                  <a:pt x="11807019" y="6677408"/>
                </a:cubicBezTo>
                <a:cubicBezTo>
                  <a:pt x="11814030" y="6673884"/>
                  <a:pt x="11821042" y="6670360"/>
                  <a:pt x="11824547" y="6666836"/>
                </a:cubicBezTo>
                <a:cubicBezTo>
                  <a:pt x="11824547" y="6666836"/>
                  <a:pt x="11824547" y="6666836"/>
                  <a:pt x="11828054" y="6666836"/>
                </a:cubicBezTo>
                <a:cubicBezTo>
                  <a:pt x="11828054" y="6666836"/>
                  <a:pt x="11828054" y="6663311"/>
                  <a:pt x="11828054" y="6663311"/>
                </a:cubicBezTo>
                <a:cubicBezTo>
                  <a:pt x="11828054" y="6645691"/>
                  <a:pt x="11821042" y="6628069"/>
                  <a:pt x="11814030" y="6613973"/>
                </a:cubicBezTo>
                <a:cubicBezTo>
                  <a:pt x="11814030" y="6610449"/>
                  <a:pt x="11828054" y="6599877"/>
                  <a:pt x="11831559" y="6599877"/>
                </a:cubicBezTo>
                <a:cubicBezTo>
                  <a:pt x="11842076" y="6610449"/>
                  <a:pt x="11859606" y="6621021"/>
                  <a:pt x="11877135" y="6624545"/>
                </a:cubicBezTo>
                <a:cubicBezTo>
                  <a:pt x="11884146" y="6621021"/>
                  <a:pt x="11891158" y="6613973"/>
                  <a:pt x="11894664" y="6610449"/>
                </a:cubicBezTo>
                <a:cubicBezTo>
                  <a:pt x="11894664" y="6610449"/>
                  <a:pt x="11894664" y="6610449"/>
                  <a:pt x="11894664" y="6606925"/>
                </a:cubicBezTo>
                <a:cubicBezTo>
                  <a:pt x="11891158" y="6592827"/>
                  <a:pt x="11880641" y="6575207"/>
                  <a:pt x="11866617" y="6561110"/>
                </a:cubicBezTo>
                <a:cubicBezTo>
                  <a:pt x="11870123" y="6561110"/>
                  <a:pt x="11880641" y="6547014"/>
                  <a:pt x="11880641" y="6543489"/>
                </a:cubicBezTo>
                <a:cubicBezTo>
                  <a:pt x="11898170" y="6554062"/>
                  <a:pt x="11915699" y="6557586"/>
                  <a:pt x="11933228" y="6557586"/>
                </a:cubicBezTo>
                <a:cubicBezTo>
                  <a:pt x="11936734" y="6550538"/>
                  <a:pt x="11940239" y="6543489"/>
                  <a:pt x="11943746" y="6539965"/>
                </a:cubicBezTo>
                <a:cubicBezTo>
                  <a:pt x="11943746" y="6539965"/>
                  <a:pt x="11943746" y="6539965"/>
                  <a:pt x="11943746" y="6536441"/>
                </a:cubicBezTo>
                <a:cubicBezTo>
                  <a:pt x="11936734" y="6522344"/>
                  <a:pt x="11922710" y="6508248"/>
                  <a:pt x="11908688" y="6497675"/>
                </a:cubicBezTo>
                <a:cubicBezTo>
                  <a:pt x="11908688" y="6497675"/>
                  <a:pt x="11915699" y="6480054"/>
                  <a:pt x="11915699" y="6480054"/>
                </a:cubicBezTo>
                <a:cubicBezTo>
                  <a:pt x="11933228" y="6483578"/>
                  <a:pt x="11950757" y="6483578"/>
                  <a:pt x="11968286" y="6480054"/>
                </a:cubicBezTo>
                <a:cubicBezTo>
                  <a:pt x="11968286" y="6480054"/>
                  <a:pt x="11968286" y="6480054"/>
                  <a:pt x="11968286" y="6476530"/>
                </a:cubicBezTo>
                <a:cubicBezTo>
                  <a:pt x="11971792" y="6473006"/>
                  <a:pt x="11975298" y="6462434"/>
                  <a:pt x="11975298" y="6455385"/>
                </a:cubicBezTo>
                <a:cubicBezTo>
                  <a:pt x="11961275" y="6441288"/>
                  <a:pt x="11947251" y="6434240"/>
                  <a:pt x="11929722" y="6427192"/>
                </a:cubicBezTo>
                <a:cubicBezTo>
                  <a:pt x="11929722" y="6427192"/>
                  <a:pt x="11929722" y="6409571"/>
                  <a:pt x="11933228" y="6406047"/>
                </a:cubicBezTo>
                <a:cubicBezTo>
                  <a:pt x="11950757" y="6406047"/>
                  <a:pt x="11968286" y="6402523"/>
                  <a:pt x="11982310" y="6391950"/>
                </a:cubicBezTo>
                <a:cubicBezTo>
                  <a:pt x="11985815" y="6388425"/>
                  <a:pt x="11985815" y="6384901"/>
                  <a:pt x="11985815" y="6381377"/>
                </a:cubicBezTo>
                <a:cubicBezTo>
                  <a:pt x="11985815" y="6377853"/>
                  <a:pt x="11985815" y="6374329"/>
                  <a:pt x="11982310" y="6370805"/>
                </a:cubicBezTo>
                <a:cubicBezTo>
                  <a:pt x="11982310" y="6370805"/>
                  <a:pt x="11982310" y="6370805"/>
                  <a:pt x="11982310" y="6367281"/>
                </a:cubicBezTo>
                <a:cubicBezTo>
                  <a:pt x="11968286" y="6360232"/>
                  <a:pt x="11950757" y="6353183"/>
                  <a:pt x="11933228" y="6353183"/>
                </a:cubicBezTo>
                <a:cubicBezTo>
                  <a:pt x="11933228" y="6353183"/>
                  <a:pt x="11929722" y="6335563"/>
                  <a:pt x="11929722" y="6332039"/>
                </a:cubicBezTo>
                <a:cubicBezTo>
                  <a:pt x="11947251" y="6328515"/>
                  <a:pt x="11964780" y="6317942"/>
                  <a:pt x="11975298" y="6307370"/>
                </a:cubicBezTo>
                <a:cubicBezTo>
                  <a:pt x="11975298" y="6307370"/>
                  <a:pt x="11975298" y="6307370"/>
                  <a:pt x="11975298" y="6303845"/>
                </a:cubicBezTo>
                <a:cubicBezTo>
                  <a:pt x="11975298" y="6296797"/>
                  <a:pt x="11971792" y="6289749"/>
                  <a:pt x="11968286" y="6282700"/>
                </a:cubicBezTo>
                <a:cubicBezTo>
                  <a:pt x="11950757" y="6279176"/>
                  <a:pt x="11933228" y="6279176"/>
                  <a:pt x="11915699" y="6282700"/>
                </a:cubicBezTo>
                <a:cubicBezTo>
                  <a:pt x="11915699" y="6279176"/>
                  <a:pt x="11908688" y="6265080"/>
                  <a:pt x="11908688" y="6261556"/>
                </a:cubicBezTo>
                <a:cubicBezTo>
                  <a:pt x="11922710" y="6250982"/>
                  <a:pt x="11936734" y="6240410"/>
                  <a:pt x="11943746" y="6222789"/>
                </a:cubicBezTo>
                <a:cubicBezTo>
                  <a:pt x="11943746" y="6215741"/>
                  <a:pt x="11936734" y="6208692"/>
                  <a:pt x="11933228" y="6205168"/>
                </a:cubicBezTo>
                <a:cubicBezTo>
                  <a:pt x="11933228" y="6205168"/>
                  <a:pt x="11933228" y="6205168"/>
                  <a:pt x="11933228" y="6201644"/>
                </a:cubicBezTo>
                <a:cubicBezTo>
                  <a:pt x="11915699" y="6201644"/>
                  <a:pt x="11898170" y="6208692"/>
                  <a:pt x="11880641" y="6215741"/>
                </a:cubicBezTo>
                <a:cubicBezTo>
                  <a:pt x="11880641" y="6215741"/>
                  <a:pt x="11870123" y="6201644"/>
                  <a:pt x="11866617" y="6198120"/>
                </a:cubicBezTo>
                <a:cubicBezTo>
                  <a:pt x="11880641" y="6184023"/>
                  <a:pt x="11891158" y="6169927"/>
                  <a:pt x="11894664" y="6152305"/>
                </a:cubicBezTo>
                <a:cubicBezTo>
                  <a:pt x="11891158" y="6145257"/>
                  <a:pt x="11884146" y="6138209"/>
                  <a:pt x="11877135" y="6134685"/>
                </a:cubicBezTo>
                <a:cubicBezTo>
                  <a:pt x="11859606" y="6138209"/>
                  <a:pt x="11845583" y="6148781"/>
                  <a:pt x="11831559" y="6162879"/>
                </a:cubicBezTo>
                <a:cubicBezTo>
                  <a:pt x="11828054" y="6159354"/>
                  <a:pt x="11814030" y="6148781"/>
                  <a:pt x="11814030" y="6148781"/>
                </a:cubicBezTo>
                <a:cubicBezTo>
                  <a:pt x="11821042" y="6131161"/>
                  <a:pt x="11828054" y="6113540"/>
                  <a:pt x="11828054" y="6095919"/>
                </a:cubicBezTo>
                <a:cubicBezTo>
                  <a:pt x="11821042" y="6092395"/>
                  <a:pt x="11814030" y="6085346"/>
                  <a:pt x="11807019" y="6085346"/>
                </a:cubicBezTo>
                <a:cubicBezTo>
                  <a:pt x="11792995" y="6092395"/>
                  <a:pt x="11778972" y="6106491"/>
                  <a:pt x="11768454" y="6120588"/>
                </a:cubicBezTo>
                <a:cubicBezTo>
                  <a:pt x="11764949" y="6120588"/>
                  <a:pt x="11750925" y="6113540"/>
                  <a:pt x="11747420" y="6113540"/>
                </a:cubicBezTo>
                <a:cubicBezTo>
                  <a:pt x="11750925" y="6102967"/>
                  <a:pt x="11750925" y="6095919"/>
                  <a:pt x="11750925" y="6085346"/>
                </a:cubicBezTo>
                <a:cubicBezTo>
                  <a:pt x="11750925" y="6074774"/>
                  <a:pt x="11750925" y="6067726"/>
                  <a:pt x="11747420" y="6060677"/>
                </a:cubicBezTo>
                <a:cubicBezTo>
                  <a:pt x="11747420" y="6060677"/>
                  <a:pt x="11747420" y="6060677"/>
                  <a:pt x="11747420" y="6057153"/>
                </a:cubicBezTo>
                <a:cubicBezTo>
                  <a:pt x="11740408" y="6057153"/>
                  <a:pt x="11733396" y="6053629"/>
                  <a:pt x="11726385" y="6053629"/>
                </a:cubicBezTo>
                <a:cubicBezTo>
                  <a:pt x="11726385" y="6053629"/>
                  <a:pt x="11726385" y="6053629"/>
                  <a:pt x="11722879" y="6053629"/>
                </a:cubicBezTo>
                <a:cubicBezTo>
                  <a:pt x="11712361" y="6064201"/>
                  <a:pt x="11701844" y="6081822"/>
                  <a:pt x="11698339" y="6099443"/>
                </a:cubicBezTo>
                <a:cubicBezTo>
                  <a:pt x="11694832" y="6099443"/>
                  <a:pt x="11677303" y="6095919"/>
                  <a:pt x="11673798" y="6095919"/>
                </a:cubicBezTo>
                <a:cubicBezTo>
                  <a:pt x="11673798" y="6078298"/>
                  <a:pt x="11670291" y="6060677"/>
                  <a:pt x="11659774" y="6043056"/>
                </a:cubicBezTo>
                <a:cubicBezTo>
                  <a:pt x="11652763" y="6043056"/>
                  <a:pt x="11645751" y="6043056"/>
                  <a:pt x="11638739" y="6043056"/>
                </a:cubicBezTo>
                <a:close/>
                <a:moveTo>
                  <a:pt x="0" y="0"/>
                </a:moveTo>
                <a:lnTo>
                  <a:pt x="12192000" y="0"/>
                </a:lnTo>
                <a:lnTo>
                  <a:pt x="12192000" y="6858000"/>
                </a:lnTo>
                <a:lnTo>
                  <a:pt x="0" y="6858000"/>
                </a:lnTo>
                <a:close/>
              </a:path>
            </a:pathLst>
          </a:custGeom>
          <a:solidFill>
            <a:srgbClr val="48595D">
              <a:alpha val="70000"/>
            </a:srgbClr>
          </a:solidFill>
        </p:spPr>
        <p:txBody>
          <a:bodyPr wrap="square" tIns="0" bIns="1371600" anchor="b">
            <a:noAutofit/>
          </a:bodyPr>
          <a:lstStyle>
            <a:lvl1pPr marL="342900" indent="0" algn="l">
              <a:buNone/>
              <a:defRPr sz="4950" b="1" cap="all" baseline="0">
                <a:solidFill>
                  <a:schemeClr val="bg1">
                    <a:alpha val="0"/>
                  </a:schemeClr>
                </a:solidFill>
                <a:latin typeface="+mj-lt"/>
              </a:defRPr>
            </a:lvl1pPr>
            <a:lvl2pPr marL="0" indent="0" algn="ctr">
              <a:buNone/>
              <a:defRPr sz="1500">
                <a:solidFill>
                  <a:schemeClr val="bg1"/>
                </a:solidFill>
              </a:defRPr>
            </a:lvl2pPr>
            <a:lvl3pPr>
              <a:defRPr sz="1350"/>
            </a:lvl3pPr>
            <a:lvl4pPr>
              <a:defRPr sz="1200"/>
            </a:lvl4pPr>
            <a:lvl5pPr>
              <a:defRPr sz="1200"/>
            </a:lvl5pPr>
          </a:lstStyle>
          <a:p>
            <a:pPr lvl="0"/>
            <a:r>
              <a:rPr lang="en-US" dirty="0"/>
              <a:t> </a:t>
            </a:r>
          </a:p>
        </p:txBody>
      </p:sp>
      <p:sp>
        <p:nvSpPr>
          <p:cNvPr id="20" name="Subtitle 2">
            <a:extLst>
              <a:ext uri="{FF2B5EF4-FFF2-40B4-BE49-F238E27FC236}">
                <a16:creationId xmlns:a16="http://schemas.microsoft.com/office/drawing/2014/main" id="{3A65FA18-26F9-4DF9-BC04-CBF7083ECA8E}"/>
              </a:ext>
            </a:extLst>
          </p:cNvPr>
          <p:cNvSpPr>
            <a:spLocks noGrp="1"/>
          </p:cNvSpPr>
          <p:nvPr>
            <p:ph type="subTitle" idx="1"/>
          </p:nvPr>
        </p:nvSpPr>
        <p:spPr>
          <a:xfrm>
            <a:off x="296333" y="3345532"/>
            <a:ext cx="4986867" cy="1975764"/>
          </a:xfrm>
        </p:spPr>
        <p:txBody>
          <a:bodyPr>
            <a:normAutofit/>
          </a:bodyPr>
          <a:lstStyle>
            <a:lvl1pPr marL="0" indent="0" algn="l">
              <a:buNone/>
              <a:defRPr sz="2475">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6" name="Text Placeholder 11">
            <a:extLst>
              <a:ext uri="{FF2B5EF4-FFF2-40B4-BE49-F238E27FC236}">
                <a16:creationId xmlns:a16="http://schemas.microsoft.com/office/drawing/2014/main" id="{920966B7-D1BD-4B62-9DEB-FE17AF3EED72}"/>
              </a:ext>
            </a:extLst>
          </p:cNvPr>
          <p:cNvSpPr>
            <a:spLocks noGrp="1"/>
          </p:cNvSpPr>
          <p:nvPr>
            <p:ph type="body" sz="quarter" idx="14" hasCustomPrompt="1"/>
          </p:nvPr>
        </p:nvSpPr>
        <p:spPr>
          <a:xfrm>
            <a:off x="296333" y="2141538"/>
            <a:ext cx="5906347"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3300" b="1" cap="all" baseline="0">
                <a:solidFill>
                  <a:schemeClr val="bg1"/>
                </a:solidFill>
                <a:latin typeface="+mj-lt"/>
              </a:defRPr>
            </a:lvl1pPr>
            <a:lvl2pPr marL="0" indent="0">
              <a:buNone/>
              <a:defRPr sz="1500">
                <a:solidFill>
                  <a:schemeClr val="bg1"/>
                </a:solidFill>
              </a:defRPr>
            </a:lvl2pPr>
            <a:lvl3pPr>
              <a:defRPr sz="1350"/>
            </a:lvl3pPr>
            <a:lvl4pPr>
              <a:defRPr sz="1200"/>
            </a:lvl4pPr>
            <a:lvl5pPr>
              <a:defRPr sz="1200"/>
            </a:lvl5pPr>
          </a:lstStyle>
          <a:p>
            <a:pPr lvl="0"/>
            <a:r>
              <a:rPr lang="en-US" dirty="0"/>
              <a:t>Title</a:t>
            </a:r>
          </a:p>
        </p:txBody>
      </p:sp>
    </p:spTree>
    <p:extLst>
      <p:ext uri="{BB962C8B-B14F-4D97-AF65-F5344CB8AC3E}">
        <p14:creationId xmlns:p14="http://schemas.microsoft.com/office/powerpoint/2010/main" val="12377026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692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png"/><Relationship Id="rId2" Type="http://schemas.openxmlformats.org/officeDocument/2006/relationships/slideLayout" Target="../slideLayouts/slideLayout26.xml"/><Relationship Id="rId16"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3.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image" Target="../media/image4.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heme" Target="../theme/theme4.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8.xml"/><Relationship Id="rId7" Type="http://schemas.openxmlformats.org/officeDocument/2006/relationships/theme" Target="../theme/theme5.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theme" Target="../theme/theme6.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A30972-1C67-4E6A-8DF8-FA31811F32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a:extLst>
              <a:ext uri="{FF2B5EF4-FFF2-40B4-BE49-F238E27FC236}">
                <a16:creationId xmlns:a16="http://schemas.microsoft.com/office/drawing/2014/main" id="{94A7C4A0-AF15-4181-A8AA-DD88418E93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a:extLst>
              <a:ext uri="{FF2B5EF4-FFF2-40B4-BE49-F238E27FC236}">
                <a16:creationId xmlns:a16="http://schemas.microsoft.com/office/drawing/2014/main" id="{81EBF25C-41FB-46AD-9289-6BF20A26C5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403BEF16-CB3B-49A0-80E5-C0FA697B6EC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4CA0E4A-24D2-4B23-B7EF-DD664DC1CD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A94E25-127B-4C48-AF96-44BA7B823777}" type="slidenum">
              <a:rPr lang="en-US" smtClean="0"/>
              <a:t>‹#›</a:t>
            </a:fld>
            <a:endParaRPr lang="en-US" dirty="0"/>
          </a:p>
        </p:txBody>
      </p:sp>
      <p:sp>
        <p:nvSpPr>
          <p:cNvPr id="7" name="Rectangle 6" hidden="1">
            <a:extLst>
              <a:ext uri="{FF2B5EF4-FFF2-40B4-BE49-F238E27FC236}">
                <a16:creationId xmlns:a16="http://schemas.microsoft.com/office/drawing/2014/main" id="{3AC13BC4-26FC-48BA-BD55-B5F6F84290EA}"/>
              </a:ext>
            </a:extLst>
          </p:cNvPr>
          <p:cNvSpPr/>
          <p:nvPr userDrawn="1"/>
        </p:nvSpPr>
        <p:spPr>
          <a:xfrm>
            <a:off x="12192000" y="0"/>
            <a:ext cx="5613400" cy="6586418"/>
          </a:xfrm>
          <a:prstGeom prst="rect">
            <a:avLst/>
          </a:prstGeom>
        </p:spPr>
        <p:txBody>
          <a:bodyPr wrap="square">
            <a:spAutoFit/>
          </a:bodyPr>
          <a:lstStyle/>
          <a:p>
            <a:pPr algn="l">
              <a:spcBef>
                <a:spcPts val="600"/>
              </a:spcBef>
              <a:spcAft>
                <a:spcPts val="600"/>
              </a:spcAft>
            </a:pPr>
            <a:r>
              <a:rPr lang="en-US" b="0" i="0" dirty="0">
                <a:solidFill>
                  <a:srgbClr val="222222"/>
                </a:solidFill>
                <a:effectLst/>
                <a:latin typeface="Arial" panose="020B0604020202020204" pitchFamily="34" charset="0"/>
              </a:rPr>
              <a:t>As we discussed, I’m hoping to get this buttoned up as quickly as possible. What are you thinking for turn-around?</a:t>
            </a:r>
          </a:p>
          <a:p>
            <a:pPr algn="l">
              <a:spcBef>
                <a:spcPts val="600"/>
              </a:spcBef>
              <a:spcAft>
                <a:spcPts val="600"/>
              </a:spcAft>
            </a:pPr>
            <a:r>
              <a:rPr lang="en-US" b="0" i="0" dirty="0">
                <a:solidFill>
                  <a:srgbClr val="222222"/>
                </a:solidFill>
                <a:effectLst/>
                <a:latin typeface="Arial" panose="020B0604020202020204" pitchFamily="34" charset="0"/>
              </a:rPr>
              <a:t> </a:t>
            </a:r>
          </a:p>
          <a:p>
            <a:pPr algn="l">
              <a:spcBef>
                <a:spcPts val="600"/>
              </a:spcBef>
              <a:spcAft>
                <a:spcPts val="600"/>
              </a:spcAft>
            </a:pPr>
            <a:r>
              <a:rPr lang="en-US" b="0" i="0" dirty="0">
                <a:solidFill>
                  <a:srgbClr val="000000"/>
                </a:solidFill>
                <a:effectLst/>
                <a:latin typeface="Arial" panose="020B0604020202020204" pitchFamily="34" charset="0"/>
              </a:rPr>
              <a:t>• revise any of the “how-to” text on the first pages</a:t>
            </a:r>
            <a:endParaRPr lang="en-US" b="0" i="0" dirty="0">
              <a:solidFill>
                <a:srgbClr val="222222"/>
              </a:solidFill>
              <a:effectLst/>
              <a:latin typeface="Arial" panose="020B0604020202020204" pitchFamily="34" charset="0"/>
            </a:endParaRPr>
          </a:p>
          <a:p>
            <a:pPr algn="l">
              <a:spcBef>
                <a:spcPts val="600"/>
              </a:spcBef>
              <a:spcAft>
                <a:spcPts val="600"/>
              </a:spcAft>
            </a:pPr>
            <a:r>
              <a:rPr lang="en-US" b="0" i="0" dirty="0">
                <a:solidFill>
                  <a:srgbClr val="000000"/>
                </a:solidFill>
                <a:effectLst/>
                <a:latin typeface="Arial" panose="020B0604020202020204" pitchFamily="34" charset="0"/>
              </a:rPr>
              <a:t>• make sure the template is properly set up for both Macs and PCs – Should there be 2 versions of the PPT, one for Mac, one for PC?</a:t>
            </a:r>
            <a:endParaRPr lang="en-US" b="0" i="0" dirty="0">
              <a:solidFill>
                <a:srgbClr val="222222"/>
              </a:solidFill>
              <a:effectLst/>
              <a:latin typeface="Arial" panose="020B0604020202020204" pitchFamily="34" charset="0"/>
            </a:endParaRPr>
          </a:p>
          <a:p>
            <a:pPr algn="l">
              <a:spcBef>
                <a:spcPts val="600"/>
              </a:spcBef>
              <a:spcAft>
                <a:spcPts val="600"/>
              </a:spcAft>
            </a:pPr>
            <a:r>
              <a:rPr lang="en-US" b="0" i="0" dirty="0">
                <a:solidFill>
                  <a:srgbClr val="000000"/>
                </a:solidFill>
                <a:effectLst/>
                <a:latin typeface="Arial" panose="020B0604020202020204" pitchFamily="34" charset="0"/>
              </a:rPr>
              <a:t>• create text placeholders within each slide</a:t>
            </a:r>
            <a:endParaRPr lang="en-US" b="0" i="0" dirty="0">
              <a:solidFill>
                <a:srgbClr val="222222"/>
              </a:solidFill>
              <a:effectLst/>
              <a:latin typeface="Arial" panose="020B0604020202020204" pitchFamily="34" charset="0"/>
            </a:endParaRPr>
          </a:p>
          <a:p>
            <a:pPr algn="l">
              <a:spcBef>
                <a:spcPts val="600"/>
              </a:spcBef>
              <a:spcAft>
                <a:spcPts val="600"/>
              </a:spcAft>
            </a:pPr>
            <a:r>
              <a:rPr lang="en-US" b="0" i="0" dirty="0">
                <a:solidFill>
                  <a:srgbClr val="000000"/>
                </a:solidFill>
                <a:effectLst/>
                <a:latin typeface="Arial" panose="020B0604020202020204" pitchFamily="34" charset="0"/>
              </a:rPr>
              <a:t>• how to create certain visual effects such as the transparent photo overlays (the process is different from Mac to PC)</a:t>
            </a:r>
            <a:endParaRPr lang="en-US" b="0" i="0" dirty="0">
              <a:solidFill>
                <a:srgbClr val="222222"/>
              </a:solidFill>
              <a:effectLst/>
              <a:latin typeface="Arial" panose="020B0604020202020204" pitchFamily="34" charset="0"/>
            </a:endParaRPr>
          </a:p>
          <a:p>
            <a:pPr algn="l">
              <a:spcBef>
                <a:spcPts val="600"/>
              </a:spcBef>
              <a:spcAft>
                <a:spcPts val="600"/>
              </a:spcAft>
            </a:pPr>
            <a:r>
              <a:rPr lang="en-US" b="0" i="0" dirty="0">
                <a:solidFill>
                  <a:srgbClr val="000000"/>
                </a:solidFill>
                <a:effectLst/>
                <a:latin typeface="Arial" panose="020B0604020202020204" pitchFamily="34" charset="0"/>
              </a:rPr>
              <a:t>• creating new generic infographics (such as bar charts and tables) so that we make it easy for users to create their own in a proper style</a:t>
            </a:r>
            <a:endParaRPr lang="en-US" b="0" i="0" dirty="0">
              <a:solidFill>
                <a:srgbClr val="222222"/>
              </a:solidFill>
              <a:effectLst/>
              <a:latin typeface="Arial" panose="020B0604020202020204" pitchFamily="34" charset="0"/>
            </a:endParaRPr>
          </a:p>
          <a:p>
            <a:pPr algn="l">
              <a:spcBef>
                <a:spcPts val="600"/>
              </a:spcBef>
              <a:spcAft>
                <a:spcPts val="600"/>
              </a:spcAft>
            </a:pPr>
            <a:r>
              <a:rPr lang="en-US" b="0" i="0" dirty="0">
                <a:solidFill>
                  <a:srgbClr val="000000"/>
                </a:solidFill>
                <a:effectLst/>
                <a:latin typeface="Arial" panose="020B0604020202020204" pitchFamily="34" charset="0"/>
              </a:rPr>
              <a:t>• need your advice on fonts – I’m thinking we should only use the “free option” fonts? (see attached)</a:t>
            </a:r>
            <a:endParaRPr lang="en-US" b="0" i="0" dirty="0">
              <a:solidFill>
                <a:srgbClr val="222222"/>
              </a:solidFill>
              <a:effectLst/>
              <a:latin typeface="Arial" panose="020B0604020202020204" pitchFamily="34" charset="0"/>
            </a:endParaRPr>
          </a:p>
          <a:p>
            <a:pPr algn="l">
              <a:spcBef>
                <a:spcPts val="600"/>
              </a:spcBef>
              <a:spcAft>
                <a:spcPts val="600"/>
              </a:spcAft>
            </a:pPr>
            <a:r>
              <a:rPr lang="en-US" b="0" i="0" dirty="0">
                <a:solidFill>
                  <a:srgbClr val="222222"/>
                </a:solidFill>
                <a:effectLst/>
                <a:latin typeface="Arial" panose="020B0604020202020204" pitchFamily="34" charset="0"/>
              </a:rPr>
              <a:t>• make sure all colors are the proper CMYK breakdown colors for Rotary (on the way)</a:t>
            </a:r>
          </a:p>
        </p:txBody>
      </p:sp>
      <p:grpSp>
        <p:nvGrpSpPr>
          <p:cNvPr id="8" name="Group 7" hidden="1">
            <a:extLst>
              <a:ext uri="{FF2B5EF4-FFF2-40B4-BE49-F238E27FC236}">
                <a16:creationId xmlns:a16="http://schemas.microsoft.com/office/drawing/2014/main" id="{804F3FBD-3E3A-4798-A75B-C9FEFA1BF809}"/>
              </a:ext>
            </a:extLst>
          </p:cNvPr>
          <p:cNvGrpSpPr/>
          <p:nvPr userDrawn="1"/>
        </p:nvGrpSpPr>
        <p:grpSpPr>
          <a:xfrm>
            <a:off x="0" y="6984999"/>
            <a:ext cx="10083800" cy="304209"/>
            <a:chOff x="0" y="-1013285"/>
            <a:chExt cx="12192000" cy="885694"/>
          </a:xfrm>
        </p:grpSpPr>
        <p:sp>
          <p:nvSpPr>
            <p:cNvPr id="9" name="Rectangle 8">
              <a:extLst>
                <a:ext uri="{FF2B5EF4-FFF2-40B4-BE49-F238E27FC236}">
                  <a16:creationId xmlns:a16="http://schemas.microsoft.com/office/drawing/2014/main" id="{F2F52BFC-C5AE-430C-A1DE-3AA417850141}"/>
                </a:ext>
              </a:extLst>
            </p:cNvPr>
            <p:cNvSpPr/>
            <p:nvPr userDrawn="1"/>
          </p:nvSpPr>
          <p:spPr>
            <a:xfrm>
              <a:off x="0" y="-1013285"/>
              <a:ext cx="1724431" cy="885694"/>
            </a:xfrm>
            <a:prstGeom prst="rect">
              <a:avLst/>
            </a:prstGeom>
            <a:solidFill>
              <a:srgbClr val="4859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2,89,93</a:t>
              </a:r>
            </a:p>
          </p:txBody>
        </p:sp>
        <p:sp>
          <p:nvSpPr>
            <p:cNvPr id="10" name="Rectangle 9">
              <a:extLst>
                <a:ext uri="{FF2B5EF4-FFF2-40B4-BE49-F238E27FC236}">
                  <a16:creationId xmlns:a16="http://schemas.microsoft.com/office/drawing/2014/main" id="{E172C24F-CD6F-466D-9F22-DEAB6D3D48CA}"/>
                </a:ext>
              </a:extLst>
            </p:cNvPr>
            <p:cNvSpPr/>
            <p:nvPr userDrawn="1"/>
          </p:nvSpPr>
          <p:spPr>
            <a:xfrm>
              <a:off x="2093514" y="-1013285"/>
              <a:ext cx="1724431" cy="885694"/>
            </a:xfrm>
            <a:prstGeom prst="rect">
              <a:avLst/>
            </a:prstGeom>
            <a:solidFill>
              <a:srgbClr val="00B2B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0,178,177</a:t>
              </a:r>
            </a:p>
          </p:txBody>
        </p:sp>
        <p:sp>
          <p:nvSpPr>
            <p:cNvPr id="11" name="Rectangle 10">
              <a:extLst>
                <a:ext uri="{FF2B5EF4-FFF2-40B4-BE49-F238E27FC236}">
                  <a16:creationId xmlns:a16="http://schemas.microsoft.com/office/drawing/2014/main" id="{769599F9-3B73-4368-98A9-9DF824ECE483}"/>
                </a:ext>
              </a:extLst>
            </p:cNvPr>
            <p:cNvSpPr/>
            <p:nvPr userDrawn="1"/>
          </p:nvSpPr>
          <p:spPr>
            <a:xfrm>
              <a:off x="4187028" y="-1013285"/>
              <a:ext cx="1724431" cy="885694"/>
            </a:xfrm>
            <a:prstGeom prst="rect">
              <a:avLst/>
            </a:prstGeom>
            <a:solidFill>
              <a:srgbClr val="01B0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176,227</a:t>
              </a:r>
            </a:p>
          </p:txBody>
        </p:sp>
        <p:sp>
          <p:nvSpPr>
            <p:cNvPr id="12" name="Rectangle 11">
              <a:extLst>
                <a:ext uri="{FF2B5EF4-FFF2-40B4-BE49-F238E27FC236}">
                  <a16:creationId xmlns:a16="http://schemas.microsoft.com/office/drawing/2014/main" id="{A64D2A59-F06E-4454-835D-B1B119399FF0}"/>
                </a:ext>
              </a:extLst>
            </p:cNvPr>
            <p:cNvSpPr/>
            <p:nvPr userDrawn="1"/>
          </p:nvSpPr>
          <p:spPr>
            <a:xfrm>
              <a:off x="6280542" y="-1013285"/>
              <a:ext cx="1724431" cy="885694"/>
            </a:xfrm>
            <a:prstGeom prst="rect">
              <a:avLst/>
            </a:prstGeom>
            <a:solidFill>
              <a:srgbClr val="006F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0,111,211</a:t>
              </a:r>
            </a:p>
          </p:txBody>
        </p:sp>
        <p:sp>
          <p:nvSpPr>
            <p:cNvPr id="13" name="Rectangle 12">
              <a:extLst>
                <a:ext uri="{FF2B5EF4-FFF2-40B4-BE49-F238E27FC236}">
                  <a16:creationId xmlns:a16="http://schemas.microsoft.com/office/drawing/2014/main" id="{C1B62E1E-3C53-4822-A67E-EEBA9A88892C}"/>
                </a:ext>
              </a:extLst>
            </p:cNvPr>
            <p:cNvSpPr/>
            <p:nvPr userDrawn="1"/>
          </p:nvSpPr>
          <p:spPr>
            <a:xfrm>
              <a:off x="8374056" y="-1013285"/>
              <a:ext cx="1724431" cy="885694"/>
            </a:xfrm>
            <a:prstGeom prst="rect">
              <a:avLst/>
            </a:prstGeom>
            <a:solidFill>
              <a:srgbClr val="7D17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5,23,158</a:t>
              </a:r>
            </a:p>
          </p:txBody>
        </p:sp>
        <p:sp>
          <p:nvSpPr>
            <p:cNvPr id="14" name="Rectangle 13">
              <a:extLst>
                <a:ext uri="{FF2B5EF4-FFF2-40B4-BE49-F238E27FC236}">
                  <a16:creationId xmlns:a16="http://schemas.microsoft.com/office/drawing/2014/main" id="{DD450576-31D2-4B6E-8BCF-0CBCAD997009}"/>
                </a:ext>
              </a:extLst>
            </p:cNvPr>
            <p:cNvSpPr/>
            <p:nvPr userDrawn="1"/>
          </p:nvSpPr>
          <p:spPr>
            <a:xfrm>
              <a:off x="10467569" y="-1013285"/>
              <a:ext cx="1724431" cy="885694"/>
            </a:xfrm>
            <a:prstGeom prst="rect">
              <a:avLst/>
            </a:prstGeom>
            <a:solidFill>
              <a:srgbClr val="EB06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35,6,117</a:t>
              </a:r>
            </a:p>
          </p:txBody>
        </p:sp>
      </p:grpSp>
      <p:sp>
        <p:nvSpPr>
          <p:cNvPr id="15" name="Rotary Logo simple" hidden="1">
            <a:extLst>
              <a:ext uri="{FF2B5EF4-FFF2-40B4-BE49-F238E27FC236}">
                <a16:creationId xmlns:a16="http://schemas.microsoft.com/office/drawing/2014/main" id="{CBE37952-D34A-45B0-8DCF-EBD057553886}"/>
              </a:ext>
            </a:extLst>
          </p:cNvPr>
          <p:cNvSpPr>
            <a:spLocks/>
          </p:cNvSpPr>
          <p:nvPr userDrawn="1"/>
        </p:nvSpPr>
        <p:spPr bwMode="auto">
          <a:xfrm>
            <a:off x="12939394" y="6041015"/>
            <a:ext cx="1751014" cy="664585"/>
          </a:xfrm>
          <a:custGeom>
            <a:avLst/>
            <a:gdLst>
              <a:gd name="connsiteX0" fmla="*/ 1869753 w 2378076"/>
              <a:gd name="connsiteY0" fmla="*/ 541874 h 902582"/>
              <a:gd name="connsiteX1" fmla="*/ 1745039 w 2378076"/>
              <a:gd name="connsiteY1" fmla="*/ 604157 h 902582"/>
              <a:gd name="connsiteX2" fmla="*/ 1736725 w 2378076"/>
              <a:gd name="connsiteY2" fmla="*/ 609819 h 902582"/>
              <a:gd name="connsiteX3" fmla="*/ 1736725 w 2378076"/>
              <a:gd name="connsiteY3" fmla="*/ 612651 h 902582"/>
              <a:gd name="connsiteX4" fmla="*/ 1742268 w 2378076"/>
              <a:gd name="connsiteY4" fmla="*/ 621144 h 902582"/>
              <a:gd name="connsiteX5" fmla="*/ 1886381 w 2378076"/>
              <a:gd name="connsiteY5" fmla="*/ 706075 h 902582"/>
              <a:gd name="connsiteX6" fmla="*/ 1894695 w 2378076"/>
              <a:gd name="connsiteY6" fmla="*/ 706075 h 902582"/>
              <a:gd name="connsiteX7" fmla="*/ 1897467 w 2378076"/>
              <a:gd name="connsiteY7" fmla="*/ 691920 h 902582"/>
              <a:gd name="connsiteX8" fmla="*/ 1889152 w 2378076"/>
              <a:gd name="connsiteY8" fmla="*/ 553198 h 902582"/>
              <a:gd name="connsiteX9" fmla="*/ 1883610 w 2378076"/>
              <a:gd name="connsiteY9" fmla="*/ 541874 h 902582"/>
              <a:gd name="connsiteX10" fmla="*/ 1869753 w 2378076"/>
              <a:gd name="connsiteY10" fmla="*/ 541874 h 902582"/>
              <a:gd name="connsiteX11" fmla="*/ 1982115 w 2378076"/>
              <a:gd name="connsiteY11" fmla="*/ 539043 h 902582"/>
              <a:gd name="connsiteX12" fmla="*/ 1976518 w 2378076"/>
              <a:gd name="connsiteY12" fmla="*/ 550344 h 902582"/>
              <a:gd name="connsiteX13" fmla="*/ 1965325 w 2378076"/>
              <a:gd name="connsiteY13" fmla="*/ 691605 h 902582"/>
              <a:gd name="connsiteX14" fmla="*/ 1968123 w 2378076"/>
              <a:gd name="connsiteY14" fmla="*/ 702906 h 902582"/>
              <a:gd name="connsiteX15" fmla="*/ 1979317 w 2378076"/>
              <a:gd name="connsiteY15" fmla="*/ 702906 h 902582"/>
              <a:gd name="connsiteX16" fmla="*/ 2124828 w 2378076"/>
              <a:gd name="connsiteY16" fmla="*/ 618149 h 902582"/>
              <a:gd name="connsiteX17" fmla="*/ 2130425 w 2378076"/>
              <a:gd name="connsiteY17" fmla="*/ 609674 h 902582"/>
              <a:gd name="connsiteX18" fmla="*/ 2119232 w 2378076"/>
              <a:gd name="connsiteY18" fmla="*/ 601198 h 902582"/>
              <a:gd name="connsiteX19" fmla="*/ 1996106 w 2378076"/>
              <a:gd name="connsiteY19" fmla="*/ 539043 h 902582"/>
              <a:gd name="connsiteX20" fmla="*/ 1982115 w 2378076"/>
              <a:gd name="connsiteY20" fmla="*/ 539043 h 902582"/>
              <a:gd name="connsiteX21" fmla="*/ 871538 w 2378076"/>
              <a:gd name="connsiteY21" fmla="*/ 485068 h 902582"/>
              <a:gd name="connsiteX22" fmla="*/ 814983 w 2378076"/>
              <a:gd name="connsiteY22" fmla="*/ 487862 h 902582"/>
              <a:gd name="connsiteX23" fmla="*/ 781050 w 2378076"/>
              <a:gd name="connsiteY23" fmla="*/ 521390 h 902582"/>
              <a:gd name="connsiteX24" fmla="*/ 806500 w 2378076"/>
              <a:gd name="connsiteY24" fmla="*/ 554918 h 902582"/>
              <a:gd name="connsiteX25" fmla="*/ 871538 w 2378076"/>
              <a:gd name="connsiteY25" fmla="*/ 543742 h 902582"/>
              <a:gd name="connsiteX26" fmla="*/ 871538 w 2378076"/>
              <a:gd name="connsiteY26" fmla="*/ 485068 h 902582"/>
              <a:gd name="connsiteX27" fmla="*/ 396876 w 2378076"/>
              <a:gd name="connsiteY27" fmla="*/ 389818 h 902582"/>
              <a:gd name="connsiteX28" fmla="*/ 341313 w 2378076"/>
              <a:gd name="connsiteY28" fmla="*/ 471575 h 902582"/>
              <a:gd name="connsiteX29" fmla="*/ 396876 w 2378076"/>
              <a:gd name="connsiteY29" fmla="*/ 553331 h 902582"/>
              <a:gd name="connsiteX30" fmla="*/ 452438 w 2378076"/>
              <a:gd name="connsiteY30" fmla="*/ 471575 h 902582"/>
              <a:gd name="connsiteX31" fmla="*/ 396876 w 2378076"/>
              <a:gd name="connsiteY31" fmla="*/ 389818 h 902582"/>
              <a:gd name="connsiteX32" fmla="*/ 1964442 w 2378076"/>
              <a:gd name="connsiteY32" fmla="*/ 378529 h 902582"/>
              <a:gd name="connsiteX33" fmla="*/ 1954322 w 2378076"/>
              <a:gd name="connsiteY33" fmla="*/ 385585 h 902582"/>
              <a:gd name="connsiteX34" fmla="*/ 1957114 w 2378076"/>
              <a:gd name="connsiteY34" fmla="*/ 408163 h 902582"/>
              <a:gd name="connsiteX35" fmla="*/ 1979448 w 2378076"/>
              <a:gd name="connsiteY35" fmla="*/ 450496 h 902582"/>
              <a:gd name="connsiteX36" fmla="*/ 1931987 w 2378076"/>
              <a:gd name="connsiteY36" fmla="*/ 498474 h 902582"/>
              <a:gd name="connsiteX37" fmla="*/ 1884527 w 2378076"/>
              <a:gd name="connsiteY37" fmla="*/ 450496 h 902582"/>
              <a:gd name="connsiteX38" fmla="*/ 1906861 w 2378076"/>
              <a:gd name="connsiteY38" fmla="*/ 408163 h 902582"/>
              <a:gd name="connsiteX39" fmla="*/ 1909653 w 2378076"/>
              <a:gd name="connsiteY39" fmla="*/ 385585 h 902582"/>
              <a:gd name="connsiteX40" fmla="*/ 1887319 w 2378076"/>
              <a:gd name="connsiteY40" fmla="*/ 382763 h 902582"/>
              <a:gd name="connsiteX41" fmla="*/ 1851025 w 2378076"/>
              <a:gd name="connsiteY41" fmla="*/ 450496 h 902582"/>
              <a:gd name="connsiteX42" fmla="*/ 1931987 w 2378076"/>
              <a:gd name="connsiteY42" fmla="*/ 529518 h 902582"/>
              <a:gd name="connsiteX43" fmla="*/ 2012950 w 2378076"/>
              <a:gd name="connsiteY43" fmla="*/ 450496 h 902582"/>
              <a:gd name="connsiteX44" fmla="*/ 1976656 w 2378076"/>
              <a:gd name="connsiteY44" fmla="*/ 379940 h 902582"/>
              <a:gd name="connsiteX45" fmla="*/ 1964442 w 2378076"/>
              <a:gd name="connsiteY45" fmla="*/ 378529 h 902582"/>
              <a:gd name="connsiteX46" fmla="*/ 2166711 w 2378076"/>
              <a:gd name="connsiteY46" fmla="*/ 358068 h 902582"/>
              <a:gd name="connsiteX47" fmla="*/ 2155485 w 2378076"/>
              <a:gd name="connsiteY47" fmla="*/ 360888 h 902582"/>
              <a:gd name="connsiteX48" fmla="*/ 2040419 w 2378076"/>
              <a:gd name="connsiteY48" fmla="*/ 439837 h 902582"/>
              <a:gd name="connsiteX49" fmla="*/ 2032000 w 2378076"/>
              <a:gd name="connsiteY49" fmla="*/ 451115 h 902582"/>
              <a:gd name="connsiteX50" fmla="*/ 2040419 w 2378076"/>
              <a:gd name="connsiteY50" fmla="*/ 462393 h 902582"/>
              <a:gd name="connsiteX51" fmla="*/ 2155485 w 2378076"/>
              <a:gd name="connsiteY51" fmla="*/ 541342 h 902582"/>
              <a:gd name="connsiteX52" fmla="*/ 2166711 w 2378076"/>
              <a:gd name="connsiteY52" fmla="*/ 544162 h 902582"/>
              <a:gd name="connsiteX53" fmla="*/ 2172324 w 2378076"/>
              <a:gd name="connsiteY53" fmla="*/ 535703 h 902582"/>
              <a:gd name="connsiteX54" fmla="*/ 2172324 w 2378076"/>
              <a:gd name="connsiteY54" fmla="*/ 366527 h 902582"/>
              <a:gd name="connsiteX55" fmla="*/ 2166711 w 2378076"/>
              <a:gd name="connsiteY55" fmla="*/ 358068 h 902582"/>
              <a:gd name="connsiteX56" fmla="*/ 1697038 w 2378076"/>
              <a:gd name="connsiteY56" fmla="*/ 358068 h 902582"/>
              <a:gd name="connsiteX57" fmla="*/ 1691482 w 2378076"/>
              <a:gd name="connsiteY57" fmla="*/ 366527 h 902582"/>
              <a:gd name="connsiteX58" fmla="*/ 1691482 w 2378076"/>
              <a:gd name="connsiteY58" fmla="*/ 535703 h 902582"/>
              <a:gd name="connsiteX59" fmla="*/ 1697038 w 2378076"/>
              <a:gd name="connsiteY59" fmla="*/ 544162 h 902582"/>
              <a:gd name="connsiteX60" fmla="*/ 1708151 w 2378076"/>
              <a:gd name="connsiteY60" fmla="*/ 541342 h 902582"/>
              <a:gd name="connsiteX61" fmla="*/ 1822054 w 2378076"/>
              <a:gd name="connsiteY61" fmla="*/ 462393 h 902582"/>
              <a:gd name="connsiteX62" fmla="*/ 1830388 w 2378076"/>
              <a:gd name="connsiteY62" fmla="*/ 451115 h 902582"/>
              <a:gd name="connsiteX63" fmla="*/ 1822054 w 2378076"/>
              <a:gd name="connsiteY63" fmla="*/ 439837 h 902582"/>
              <a:gd name="connsiteX64" fmla="*/ 1708151 w 2378076"/>
              <a:gd name="connsiteY64" fmla="*/ 363707 h 902582"/>
              <a:gd name="connsiteX65" fmla="*/ 1697038 w 2378076"/>
              <a:gd name="connsiteY65" fmla="*/ 358068 h 902582"/>
              <a:gd name="connsiteX66" fmla="*/ 1170028 w 2378076"/>
              <a:gd name="connsiteY66" fmla="*/ 343781 h 902582"/>
              <a:gd name="connsiteX67" fmla="*/ 1206276 w 2378076"/>
              <a:gd name="connsiteY67" fmla="*/ 343781 h 902582"/>
              <a:gd name="connsiteX68" fmla="*/ 1214641 w 2378076"/>
              <a:gd name="connsiteY68" fmla="*/ 349423 h 902582"/>
              <a:gd name="connsiteX69" fmla="*/ 1267619 w 2378076"/>
              <a:gd name="connsiteY69" fmla="*/ 541235 h 902582"/>
              <a:gd name="connsiteX70" fmla="*/ 1270407 w 2378076"/>
              <a:gd name="connsiteY70" fmla="*/ 541235 h 902582"/>
              <a:gd name="connsiteX71" fmla="*/ 1320597 w 2378076"/>
              <a:gd name="connsiteY71" fmla="*/ 349423 h 902582"/>
              <a:gd name="connsiteX72" fmla="*/ 1328962 w 2378076"/>
              <a:gd name="connsiteY72" fmla="*/ 343781 h 902582"/>
              <a:gd name="connsiteX73" fmla="*/ 1367998 w 2378076"/>
              <a:gd name="connsiteY73" fmla="*/ 343781 h 902582"/>
              <a:gd name="connsiteX74" fmla="*/ 1373575 w 2378076"/>
              <a:gd name="connsiteY74" fmla="*/ 346602 h 902582"/>
              <a:gd name="connsiteX75" fmla="*/ 1376363 w 2378076"/>
              <a:gd name="connsiteY75" fmla="*/ 355064 h 902582"/>
              <a:gd name="connsiteX76" fmla="*/ 1370786 w 2378076"/>
              <a:gd name="connsiteY76" fmla="*/ 383272 h 902582"/>
              <a:gd name="connsiteX77" fmla="*/ 1354057 w 2378076"/>
              <a:gd name="connsiteY77" fmla="*/ 439687 h 902582"/>
              <a:gd name="connsiteX78" fmla="*/ 1309444 w 2378076"/>
              <a:gd name="connsiteY78" fmla="*/ 614575 h 902582"/>
              <a:gd name="connsiteX79" fmla="*/ 1236948 w 2378076"/>
              <a:gd name="connsiteY79" fmla="*/ 685094 h 902582"/>
              <a:gd name="connsiteX80" fmla="*/ 1234159 w 2378076"/>
              <a:gd name="connsiteY80" fmla="*/ 685094 h 902582"/>
              <a:gd name="connsiteX81" fmla="*/ 1170028 w 2378076"/>
              <a:gd name="connsiteY81" fmla="*/ 676632 h 902582"/>
              <a:gd name="connsiteX82" fmla="*/ 1161663 w 2378076"/>
              <a:gd name="connsiteY82" fmla="*/ 668170 h 902582"/>
              <a:gd name="connsiteX83" fmla="*/ 1161663 w 2378076"/>
              <a:gd name="connsiteY83" fmla="*/ 642783 h 902582"/>
              <a:gd name="connsiteX84" fmla="*/ 1164452 w 2378076"/>
              <a:gd name="connsiteY84" fmla="*/ 637141 h 902582"/>
              <a:gd name="connsiteX85" fmla="*/ 1172817 w 2378076"/>
              <a:gd name="connsiteY85" fmla="*/ 634320 h 902582"/>
              <a:gd name="connsiteX86" fmla="*/ 1220218 w 2378076"/>
              <a:gd name="connsiteY86" fmla="*/ 637141 h 902582"/>
              <a:gd name="connsiteX87" fmla="*/ 1253677 w 2378076"/>
              <a:gd name="connsiteY87" fmla="*/ 611754 h 902582"/>
              <a:gd name="connsiteX88" fmla="*/ 1253677 w 2378076"/>
              <a:gd name="connsiteY88" fmla="*/ 608933 h 902582"/>
              <a:gd name="connsiteX89" fmla="*/ 1259254 w 2378076"/>
              <a:gd name="connsiteY89" fmla="*/ 597650 h 902582"/>
              <a:gd name="connsiteX90" fmla="*/ 1248101 w 2378076"/>
              <a:gd name="connsiteY90" fmla="*/ 597650 h 902582"/>
              <a:gd name="connsiteX91" fmla="*/ 1214641 w 2378076"/>
              <a:gd name="connsiteY91" fmla="*/ 569443 h 902582"/>
              <a:gd name="connsiteX92" fmla="*/ 1158875 w 2378076"/>
              <a:gd name="connsiteY92" fmla="*/ 355064 h 902582"/>
              <a:gd name="connsiteX93" fmla="*/ 1161663 w 2378076"/>
              <a:gd name="connsiteY93" fmla="*/ 346602 h 902582"/>
              <a:gd name="connsiteX94" fmla="*/ 1170028 w 2378076"/>
              <a:gd name="connsiteY94" fmla="*/ 343781 h 902582"/>
              <a:gd name="connsiteX95" fmla="*/ 1116013 w 2378076"/>
              <a:gd name="connsiteY95" fmla="*/ 340606 h 902582"/>
              <a:gd name="connsiteX96" fmla="*/ 1124347 w 2378076"/>
              <a:gd name="connsiteY96" fmla="*/ 343432 h 902582"/>
              <a:gd name="connsiteX97" fmla="*/ 1127125 w 2378076"/>
              <a:gd name="connsiteY97" fmla="*/ 349085 h 902582"/>
              <a:gd name="connsiteX98" fmla="*/ 1127125 w 2378076"/>
              <a:gd name="connsiteY98" fmla="*/ 385824 h 902582"/>
              <a:gd name="connsiteX99" fmla="*/ 1118791 w 2378076"/>
              <a:gd name="connsiteY99" fmla="*/ 394302 h 902582"/>
              <a:gd name="connsiteX100" fmla="*/ 1049337 w 2378076"/>
              <a:gd name="connsiteY100" fmla="*/ 425389 h 902582"/>
              <a:gd name="connsiteX101" fmla="*/ 1049337 w 2378076"/>
              <a:gd name="connsiteY101" fmla="*/ 589303 h 902582"/>
              <a:gd name="connsiteX102" fmla="*/ 1041003 w 2378076"/>
              <a:gd name="connsiteY102" fmla="*/ 597781 h 902582"/>
              <a:gd name="connsiteX103" fmla="*/ 1002109 w 2378076"/>
              <a:gd name="connsiteY103" fmla="*/ 597781 h 902582"/>
              <a:gd name="connsiteX104" fmla="*/ 993775 w 2378076"/>
              <a:gd name="connsiteY104" fmla="*/ 589303 h 902582"/>
              <a:gd name="connsiteX105" fmla="*/ 993775 w 2378076"/>
              <a:gd name="connsiteY105" fmla="*/ 351911 h 902582"/>
              <a:gd name="connsiteX106" fmla="*/ 1002109 w 2378076"/>
              <a:gd name="connsiteY106" fmla="*/ 343432 h 902582"/>
              <a:gd name="connsiteX107" fmla="*/ 1041003 w 2378076"/>
              <a:gd name="connsiteY107" fmla="*/ 343432 h 902582"/>
              <a:gd name="connsiteX108" fmla="*/ 1049337 w 2378076"/>
              <a:gd name="connsiteY108" fmla="*/ 351911 h 902582"/>
              <a:gd name="connsiteX109" fmla="*/ 1049337 w 2378076"/>
              <a:gd name="connsiteY109" fmla="*/ 368867 h 902582"/>
              <a:gd name="connsiteX110" fmla="*/ 1116013 w 2378076"/>
              <a:gd name="connsiteY110" fmla="*/ 340606 h 902582"/>
              <a:gd name="connsiteX111" fmla="*/ 843157 w 2378076"/>
              <a:gd name="connsiteY111" fmla="*/ 335843 h 902582"/>
              <a:gd name="connsiteX112" fmla="*/ 930276 w 2378076"/>
              <a:gd name="connsiteY112" fmla="*/ 423390 h 902582"/>
              <a:gd name="connsiteX113" fmla="*/ 930276 w 2378076"/>
              <a:gd name="connsiteY113" fmla="*/ 592835 h 902582"/>
              <a:gd name="connsiteX114" fmla="*/ 927466 w 2378076"/>
              <a:gd name="connsiteY114" fmla="*/ 601307 h 902582"/>
              <a:gd name="connsiteX115" fmla="*/ 919035 w 2378076"/>
              <a:gd name="connsiteY115" fmla="*/ 604131 h 902582"/>
              <a:gd name="connsiteX116" fmla="*/ 879691 w 2378076"/>
              <a:gd name="connsiteY116" fmla="*/ 587187 h 902582"/>
              <a:gd name="connsiteX117" fmla="*/ 798192 w 2378076"/>
              <a:gd name="connsiteY117" fmla="*/ 604131 h 902582"/>
              <a:gd name="connsiteX118" fmla="*/ 722313 w 2378076"/>
              <a:gd name="connsiteY118" fmla="*/ 522233 h 902582"/>
              <a:gd name="connsiteX119" fmla="*/ 809433 w 2378076"/>
              <a:gd name="connsiteY119" fmla="*/ 445983 h 902582"/>
              <a:gd name="connsiteX120" fmla="*/ 871260 w 2378076"/>
              <a:gd name="connsiteY120" fmla="*/ 440334 h 902582"/>
              <a:gd name="connsiteX121" fmla="*/ 871260 w 2378076"/>
              <a:gd name="connsiteY121" fmla="*/ 423390 h 902582"/>
              <a:gd name="connsiteX122" fmla="*/ 840346 w 2378076"/>
              <a:gd name="connsiteY122" fmla="*/ 392325 h 902582"/>
              <a:gd name="connsiteX123" fmla="*/ 750416 w 2378076"/>
              <a:gd name="connsiteY123" fmla="*/ 397973 h 902582"/>
              <a:gd name="connsiteX124" fmla="*/ 744796 w 2378076"/>
              <a:gd name="connsiteY124" fmla="*/ 395149 h 902582"/>
              <a:gd name="connsiteX125" fmla="*/ 741985 w 2378076"/>
              <a:gd name="connsiteY125" fmla="*/ 389501 h 902582"/>
              <a:gd name="connsiteX126" fmla="*/ 739175 w 2378076"/>
              <a:gd name="connsiteY126" fmla="*/ 355612 h 902582"/>
              <a:gd name="connsiteX127" fmla="*/ 747606 w 2378076"/>
              <a:gd name="connsiteY127" fmla="*/ 347140 h 902582"/>
              <a:gd name="connsiteX128" fmla="*/ 843157 w 2378076"/>
              <a:gd name="connsiteY128" fmla="*/ 335843 h 902582"/>
              <a:gd name="connsiteX129" fmla="*/ 396875 w 2378076"/>
              <a:gd name="connsiteY129" fmla="*/ 335843 h 902582"/>
              <a:gd name="connsiteX130" fmla="*/ 511175 w 2378076"/>
              <a:gd name="connsiteY130" fmla="*/ 469987 h 902582"/>
              <a:gd name="connsiteX131" fmla="*/ 396875 w 2378076"/>
              <a:gd name="connsiteY131" fmla="*/ 604131 h 902582"/>
              <a:gd name="connsiteX132" fmla="*/ 282575 w 2378076"/>
              <a:gd name="connsiteY132" fmla="*/ 469987 h 902582"/>
              <a:gd name="connsiteX133" fmla="*/ 396875 w 2378076"/>
              <a:gd name="connsiteY133" fmla="*/ 335843 h 902582"/>
              <a:gd name="connsiteX134" fmla="*/ 103585 w 2378076"/>
              <a:gd name="connsiteY134" fmla="*/ 300918 h 902582"/>
              <a:gd name="connsiteX135" fmla="*/ 61913 w 2378076"/>
              <a:gd name="connsiteY135" fmla="*/ 303759 h 902582"/>
              <a:gd name="connsiteX136" fmla="*/ 61913 w 2378076"/>
              <a:gd name="connsiteY136" fmla="*/ 406027 h 902582"/>
              <a:gd name="connsiteX137" fmla="*/ 123032 w 2378076"/>
              <a:gd name="connsiteY137" fmla="*/ 406027 h 902582"/>
              <a:gd name="connsiteX138" fmla="*/ 184151 w 2378076"/>
              <a:gd name="connsiteY138" fmla="*/ 354893 h 902582"/>
              <a:gd name="connsiteX139" fmla="*/ 125810 w 2378076"/>
              <a:gd name="connsiteY139" fmla="*/ 300918 h 902582"/>
              <a:gd name="connsiteX140" fmla="*/ 103585 w 2378076"/>
              <a:gd name="connsiteY140" fmla="*/ 300918 h 902582"/>
              <a:gd name="connsiteX141" fmla="*/ 614557 w 2378076"/>
              <a:gd name="connsiteY141" fmla="*/ 285043 h 902582"/>
              <a:gd name="connsiteX142" fmla="*/ 622912 w 2378076"/>
              <a:gd name="connsiteY142" fmla="*/ 285043 h 902582"/>
              <a:gd name="connsiteX143" fmla="*/ 625698 w 2378076"/>
              <a:gd name="connsiteY143" fmla="*/ 293524 h 902582"/>
              <a:gd name="connsiteX144" fmla="*/ 625698 w 2378076"/>
              <a:gd name="connsiteY144" fmla="*/ 344407 h 902582"/>
              <a:gd name="connsiteX145" fmla="*/ 684184 w 2378076"/>
              <a:gd name="connsiteY145" fmla="*/ 344407 h 902582"/>
              <a:gd name="connsiteX146" fmla="*/ 692540 w 2378076"/>
              <a:gd name="connsiteY146" fmla="*/ 352888 h 902582"/>
              <a:gd name="connsiteX147" fmla="*/ 692540 w 2378076"/>
              <a:gd name="connsiteY147" fmla="*/ 386811 h 902582"/>
              <a:gd name="connsiteX148" fmla="*/ 684184 w 2378076"/>
              <a:gd name="connsiteY148" fmla="*/ 395291 h 902582"/>
              <a:gd name="connsiteX149" fmla="*/ 625698 w 2378076"/>
              <a:gd name="connsiteY149" fmla="*/ 395291 h 902582"/>
              <a:gd name="connsiteX150" fmla="*/ 625698 w 2378076"/>
              <a:gd name="connsiteY150" fmla="*/ 499885 h 902582"/>
              <a:gd name="connsiteX151" fmla="*/ 650763 w 2378076"/>
              <a:gd name="connsiteY151" fmla="*/ 550769 h 902582"/>
              <a:gd name="connsiteX152" fmla="*/ 684184 w 2378076"/>
              <a:gd name="connsiteY152" fmla="*/ 547942 h 902582"/>
              <a:gd name="connsiteX153" fmla="*/ 692540 w 2378076"/>
              <a:gd name="connsiteY153" fmla="*/ 559249 h 902582"/>
              <a:gd name="connsiteX154" fmla="*/ 695325 w 2378076"/>
              <a:gd name="connsiteY154" fmla="*/ 590345 h 902582"/>
              <a:gd name="connsiteX155" fmla="*/ 686969 w 2378076"/>
              <a:gd name="connsiteY155" fmla="*/ 601652 h 902582"/>
              <a:gd name="connsiteX156" fmla="*/ 642408 w 2378076"/>
              <a:gd name="connsiteY156" fmla="*/ 607306 h 902582"/>
              <a:gd name="connsiteX157" fmla="*/ 567211 w 2378076"/>
              <a:gd name="connsiteY157" fmla="*/ 508366 h 902582"/>
              <a:gd name="connsiteX158" fmla="*/ 567211 w 2378076"/>
              <a:gd name="connsiteY158" fmla="*/ 395291 h 902582"/>
              <a:gd name="connsiteX159" fmla="*/ 544930 w 2378076"/>
              <a:gd name="connsiteY159" fmla="*/ 395291 h 902582"/>
              <a:gd name="connsiteX160" fmla="*/ 536575 w 2378076"/>
              <a:gd name="connsiteY160" fmla="*/ 386811 h 902582"/>
              <a:gd name="connsiteX161" fmla="*/ 536575 w 2378076"/>
              <a:gd name="connsiteY161" fmla="*/ 352888 h 902582"/>
              <a:gd name="connsiteX162" fmla="*/ 544930 w 2378076"/>
              <a:gd name="connsiteY162" fmla="*/ 344407 h 902582"/>
              <a:gd name="connsiteX163" fmla="*/ 567211 w 2378076"/>
              <a:gd name="connsiteY163" fmla="*/ 344407 h 902582"/>
              <a:gd name="connsiteX164" fmla="*/ 567211 w 2378076"/>
              <a:gd name="connsiteY164" fmla="*/ 302004 h 902582"/>
              <a:gd name="connsiteX165" fmla="*/ 575566 w 2378076"/>
              <a:gd name="connsiteY165" fmla="*/ 293524 h 902582"/>
              <a:gd name="connsiteX166" fmla="*/ 614557 w 2378076"/>
              <a:gd name="connsiteY166" fmla="*/ 285043 h 902582"/>
              <a:gd name="connsiteX167" fmla="*/ 117618 w 2378076"/>
              <a:gd name="connsiteY167" fmla="*/ 245356 h 902582"/>
              <a:gd name="connsiteX168" fmla="*/ 126019 w 2378076"/>
              <a:gd name="connsiteY168" fmla="*/ 245356 h 902582"/>
              <a:gd name="connsiteX169" fmla="*/ 246438 w 2378076"/>
              <a:gd name="connsiteY169" fmla="*/ 352493 h 902582"/>
              <a:gd name="connsiteX170" fmla="*/ 184828 w 2378076"/>
              <a:gd name="connsiteY170" fmla="*/ 445534 h 902582"/>
              <a:gd name="connsiteX171" fmla="*/ 249238 w 2378076"/>
              <a:gd name="connsiteY171" fmla="*/ 586504 h 902582"/>
              <a:gd name="connsiteX172" fmla="*/ 246438 w 2378076"/>
              <a:gd name="connsiteY172" fmla="*/ 594962 h 902582"/>
              <a:gd name="connsiteX173" fmla="*/ 238037 w 2378076"/>
              <a:gd name="connsiteY173" fmla="*/ 597781 h 902582"/>
              <a:gd name="connsiteX174" fmla="*/ 193230 w 2378076"/>
              <a:gd name="connsiteY174" fmla="*/ 597781 h 902582"/>
              <a:gd name="connsiteX175" fmla="*/ 184828 w 2378076"/>
              <a:gd name="connsiteY175" fmla="*/ 592142 h 902582"/>
              <a:gd name="connsiteX176" fmla="*/ 128820 w 2378076"/>
              <a:gd name="connsiteY176" fmla="*/ 462450 h 902582"/>
              <a:gd name="connsiteX177" fmla="*/ 61610 w 2378076"/>
              <a:gd name="connsiteY177" fmla="*/ 459631 h 902582"/>
              <a:gd name="connsiteX178" fmla="*/ 61610 w 2378076"/>
              <a:gd name="connsiteY178" fmla="*/ 589323 h 902582"/>
              <a:gd name="connsiteX179" fmla="*/ 50408 w 2378076"/>
              <a:gd name="connsiteY179" fmla="*/ 597781 h 902582"/>
              <a:gd name="connsiteX180" fmla="*/ 11202 w 2378076"/>
              <a:gd name="connsiteY180" fmla="*/ 597781 h 902582"/>
              <a:gd name="connsiteX181" fmla="*/ 0 w 2378076"/>
              <a:gd name="connsiteY181" fmla="*/ 589323 h 902582"/>
              <a:gd name="connsiteX182" fmla="*/ 0 w 2378076"/>
              <a:gd name="connsiteY182" fmla="*/ 262273 h 902582"/>
              <a:gd name="connsiteX183" fmla="*/ 8402 w 2378076"/>
              <a:gd name="connsiteY183" fmla="*/ 250995 h 902582"/>
              <a:gd name="connsiteX184" fmla="*/ 117618 w 2378076"/>
              <a:gd name="connsiteY184" fmla="*/ 245356 h 902582"/>
              <a:gd name="connsiteX185" fmla="*/ 1968123 w 2378076"/>
              <a:gd name="connsiteY185" fmla="*/ 200530 h 902582"/>
              <a:gd name="connsiteX186" fmla="*/ 1965325 w 2378076"/>
              <a:gd name="connsiteY186" fmla="*/ 211723 h 902582"/>
              <a:gd name="connsiteX187" fmla="*/ 1976518 w 2378076"/>
              <a:gd name="connsiteY187" fmla="*/ 348840 h 902582"/>
              <a:gd name="connsiteX188" fmla="*/ 1982115 w 2378076"/>
              <a:gd name="connsiteY188" fmla="*/ 362831 h 902582"/>
              <a:gd name="connsiteX189" fmla="*/ 1996106 w 2378076"/>
              <a:gd name="connsiteY189" fmla="*/ 360033 h 902582"/>
              <a:gd name="connsiteX190" fmla="*/ 2119232 w 2378076"/>
              <a:gd name="connsiteY190" fmla="*/ 301269 h 902582"/>
              <a:gd name="connsiteX191" fmla="*/ 2130425 w 2378076"/>
              <a:gd name="connsiteY191" fmla="*/ 292874 h 902582"/>
              <a:gd name="connsiteX192" fmla="*/ 2124828 w 2378076"/>
              <a:gd name="connsiteY192" fmla="*/ 284479 h 902582"/>
              <a:gd name="connsiteX193" fmla="*/ 1979317 w 2378076"/>
              <a:gd name="connsiteY193" fmla="*/ 200530 h 902582"/>
              <a:gd name="connsiteX194" fmla="*/ 1968123 w 2378076"/>
              <a:gd name="connsiteY194" fmla="*/ 200530 h 902582"/>
              <a:gd name="connsiteX195" fmla="*/ 1890255 w 2378076"/>
              <a:gd name="connsiteY195" fmla="*/ 199484 h 902582"/>
              <a:gd name="connsiteX196" fmla="*/ 1884658 w 2378076"/>
              <a:gd name="connsiteY196" fmla="*/ 200536 h 902582"/>
              <a:gd name="connsiteX197" fmla="*/ 1739147 w 2378076"/>
              <a:gd name="connsiteY197" fmla="*/ 284673 h 902582"/>
              <a:gd name="connsiteX198" fmla="*/ 1733550 w 2378076"/>
              <a:gd name="connsiteY198" fmla="*/ 293087 h 902582"/>
              <a:gd name="connsiteX199" fmla="*/ 1744743 w 2378076"/>
              <a:gd name="connsiteY199" fmla="*/ 301501 h 902582"/>
              <a:gd name="connsiteX200" fmla="*/ 1867869 w 2378076"/>
              <a:gd name="connsiteY200" fmla="*/ 363202 h 902582"/>
              <a:gd name="connsiteX201" fmla="*/ 1881860 w 2378076"/>
              <a:gd name="connsiteY201" fmla="*/ 363202 h 902582"/>
              <a:gd name="connsiteX202" fmla="*/ 1887457 w 2378076"/>
              <a:gd name="connsiteY202" fmla="*/ 351983 h 902582"/>
              <a:gd name="connsiteX203" fmla="*/ 1898650 w 2378076"/>
              <a:gd name="connsiteY203" fmla="*/ 214559 h 902582"/>
              <a:gd name="connsiteX204" fmla="*/ 1895852 w 2378076"/>
              <a:gd name="connsiteY204" fmla="*/ 200536 h 902582"/>
              <a:gd name="connsiteX205" fmla="*/ 1890255 w 2378076"/>
              <a:gd name="connsiteY205" fmla="*/ 199484 h 902582"/>
              <a:gd name="connsiteX206" fmla="*/ 1932782 w 2378076"/>
              <a:gd name="connsiteY206" fmla="*/ 151693 h 902582"/>
              <a:gd name="connsiteX207" fmla="*/ 2227264 w 2378076"/>
              <a:gd name="connsiteY207" fmla="*/ 449350 h 902582"/>
              <a:gd name="connsiteX208" fmla="*/ 1932782 w 2378076"/>
              <a:gd name="connsiteY208" fmla="*/ 747007 h 902582"/>
              <a:gd name="connsiteX209" fmla="*/ 1638300 w 2378076"/>
              <a:gd name="connsiteY209" fmla="*/ 449350 h 902582"/>
              <a:gd name="connsiteX210" fmla="*/ 1932782 w 2378076"/>
              <a:gd name="connsiteY210" fmla="*/ 151693 h 902582"/>
              <a:gd name="connsiteX211" fmla="*/ 1931988 w 2378076"/>
              <a:gd name="connsiteY211" fmla="*/ 108832 h 902582"/>
              <a:gd name="connsiteX212" fmla="*/ 1597025 w 2378076"/>
              <a:gd name="connsiteY212" fmla="*/ 447764 h 902582"/>
              <a:gd name="connsiteX213" fmla="*/ 1931988 w 2378076"/>
              <a:gd name="connsiteY213" fmla="*/ 786696 h 902582"/>
              <a:gd name="connsiteX214" fmla="*/ 2266951 w 2378076"/>
              <a:gd name="connsiteY214" fmla="*/ 447764 h 902582"/>
              <a:gd name="connsiteX215" fmla="*/ 1931988 w 2378076"/>
              <a:gd name="connsiteY215" fmla="*/ 108832 h 902582"/>
              <a:gd name="connsiteX216" fmla="*/ 1914436 w 2378076"/>
              <a:gd name="connsiteY216" fmla="*/ 2117 h 902582"/>
              <a:gd name="connsiteX217" fmla="*/ 1917229 w 2378076"/>
              <a:gd name="connsiteY217" fmla="*/ 2117 h 902582"/>
              <a:gd name="connsiteX218" fmla="*/ 1945160 w 2378076"/>
              <a:gd name="connsiteY218" fmla="*/ 2117 h 902582"/>
              <a:gd name="connsiteX219" fmla="*/ 1947953 w 2378076"/>
              <a:gd name="connsiteY219" fmla="*/ 2117 h 902582"/>
              <a:gd name="connsiteX220" fmla="*/ 1964711 w 2378076"/>
              <a:gd name="connsiteY220" fmla="*/ 69864 h 902582"/>
              <a:gd name="connsiteX221" fmla="*/ 1995434 w 2378076"/>
              <a:gd name="connsiteY221" fmla="*/ 75509 h 902582"/>
              <a:gd name="connsiteX222" fmla="*/ 2031743 w 2378076"/>
              <a:gd name="connsiteY222" fmla="*/ 13408 h 902582"/>
              <a:gd name="connsiteX223" fmla="*/ 2059673 w 2378076"/>
              <a:gd name="connsiteY223" fmla="*/ 19054 h 902582"/>
              <a:gd name="connsiteX224" fmla="*/ 2062466 w 2378076"/>
              <a:gd name="connsiteY224" fmla="*/ 19054 h 902582"/>
              <a:gd name="connsiteX225" fmla="*/ 2062466 w 2378076"/>
              <a:gd name="connsiteY225" fmla="*/ 21876 h 902582"/>
              <a:gd name="connsiteX226" fmla="*/ 2068052 w 2378076"/>
              <a:gd name="connsiteY226" fmla="*/ 55750 h 902582"/>
              <a:gd name="connsiteX227" fmla="*/ 2062466 w 2378076"/>
              <a:gd name="connsiteY227" fmla="*/ 92446 h 902582"/>
              <a:gd name="connsiteX228" fmla="*/ 2090396 w 2378076"/>
              <a:gd name="connsiteY228" fmla="*/ 103737 h 902582"/>
              <a:gd name="connsiteX229" fmla="*/ 2140670 w 2378076"/>
              <a:gd name="connsiteY229" fmla="*/ 55750 h 902582"/>
              <a:gd name="connsiteX230" fmla="*/ 2140670 w 2378076"/>
              <a:gd name="connsiteY230" fmla="*/ 52927 h 902582"/>
              <a:gd name="connsiteX231" fmla="*/ 2143463 w 2378076"/>
              <a:gd name="connsiteY231" fmla="*/ 55750 h 902582"/>
              <a:gd name="connsiteX232" fmla="*/ 2168600 w 2378076"/>
              <a:gd name="connsiteY232" fmla="*/ 69864 h 902582"/>
              <a:gd name="connsiteX233" fmla="*/ 2168600 w 2378076"/>
              <a:gd name="connsiteY233" fmla="*/ 72686 h 902582"/>
              <a:gd name="connsiteX234" fmla="*/ 2149049 w 2378076"/>
              <a:gd name="connsiteY234" fmla="*/ 140433 h 902582"/>
              <a:gd name="connsiteX235" fmla="*/ 2174186 w 2378076"/>
              <a:gd name="connsiteY235" fmla="*/ 157370 h 902582"/>
              <a:gd name="connsiteX236" fmla="*/ 2235633 w 2378076"/>
              <a:gd name="connsiteY236" fmla="*/ 123496 h 902582"/>
              <a:gd name="connsiteX237" fmla="*/ 2257977 w 2378076"/>
              <a:gd name="connsiteY237" fmla="*/ 143256 h 902582"/>
              <a:gd name="connsiteX238" fmla="*/ 2257977 w 2378076"/>
              <a:gd name="connsiteY238" fmla="*/ 146079 h 902582"/>
              <a:gd name="connsiteX239" fmla="*/ 2221667 w 2378076"/>
              <a:gd name="connsiteY239" fmla="*/ 208180 h 902582"/>
              <a:gd name="connsiteX240" fmla="*/ 2241219 w 2378076"/>
              <a:gd name="connsiteY240" fmla="*/ 230762 h 902582"/>
              <a:gd name="connsiteX241" fmla="*/ 2308251 w 2378076"/>
              <a:gd name="connsiteY241" fmla="*/ 213825 h 902582"/>
              <a:gd name="connsiteX242" fmla="*/ 2311044 w 2378076"/>
              <a:gd name="connsiteY242" fmla="*/ 213825 h 902582"/>
              <a:gd name="connsiteX243" fmla="*/ 2325009 w 2378076"/>
              <a:gd name="connsiteY243" fmla="*/ 239230 h 902582"/>
              <a:gd name="connsiteX244" fmla="*/ 2325009 w 2378076"/>
              <a:gd name="connsiteY244" fmla="*/ 242053 h 902582"/>
              <a:gd name="connsiteX245" fmla="*/ 2274735 w 2378076"/>
              <a:gd name="connsiteY245" fmla="*/ 292863 h 902582"/>
              <a:gd name="connsiteX246" fmla="*/ 2285907 w 2378076"/>
              <a:gd name="connsiteY246" fmla="*/ 321091 h 902582"/>
              <a:gd name="connsiteX247" fmla="*/ 2355732 w 2378076"/>
              <a:gd name="connsiteY247" fmla="*/ 321091 h 902582"/>
              <a:gd name="connsiteX248" fmla="*/ 2358525 w 2378076"/>
              <a:gd name="connsiteY248" fmla="*/ 321091 h 902582"/>
              <a:gd name="connsiteX249" fmla="*/ 2366904 w 2378076"/>
              <a:gd name="connsiteY249" fmla="*/ 349318 h 902582"/>
              <a:gd name="connsiteX250" fmla="*/ 2366904 w 2378076"/>
              <a:gd name="connsiteY250" fmla="*/ 352141 h 902582"/>
              <a:gd name="connsiteX251" fmla="*/ 2364111 w 2378076"/>
              <a:gd name="connsiteY251" fmla="*/ 352141 h 902582"/>
              <a:gd name="connsiteX252" fmla="*/ 2305458 w 2378076"/>
              <a:gd name="connsiteY252" fmla="*/ 388837 h 902582"/>
              <a:gd name="connsiteX253" fmla="*/ 2308251 w 2378076"/>
              <a:gd name="connsiteY253" fmla="*/ 417065 h 902582"/>
              <a:gd name="connsiteX254" fmla="*/ 2375283 w 2378076"/>
              <a:gd name="connsiteY254" fmla="*/ 436824 h 902582"/>
              <a:gd name="connsiteX255" fmla="*/ 2378076 w 2378076"/>
              <a:gd name="connsiteY255" fmla="*/ 436824 h 902582"/>
              <a:gd name="connsiteX256" fmla="*/ 2378076 w 2378076"/>
              <a:gd name="connsiteY256" fmla="*/ 450938 h 902582"/>
              <a:gd name="connsiteX257" fmla="*/ 2378076 w 2378076"/>
              <a:gd name="connsiteY257" fmla="*/ 467875 h 902582"/>
              <a:gd name="connsiteX258" fmla="*/ 2375283 w 2378076"/>
              <a:gd name="connsiteY258" fmla="*/ 467875 h 902582"/>
              <a:gd name="connsiteX259" fmla="*/ 2308251 w 2378076"/>
              <a:gd name="connsiteY259" fmla="*/ 487634 h 902582"/>
              <a:gd name="connsiteX260" fmla="*/ 2302665 w 2378076"/>
              <a:gd name="connsiteY260" fmla="*/ 515862 h 902582"/>
              <a:gd name="connsiteX261" fmla="*/ 2364111 w 2378076"/>
              <a:gd name="connsiteY261" fmla="*/ 552558 h 902582"/>
              <a:gd name="connsiteX262" fmla="*/ 2364111 w 2378076"/>
              <a:gd name="connsiteY262" fmla="*/ 555381 h 902582"/>
              <a:gd name="connsiteX263" fmla="*/ 2358525 w 2378076"/>
              <a:gd name="connsiteY263" fmla="*/ 583609 h 902582"/>
              <a:gd name="connsiteX264" fmla="*/ 2355732 w 2378076"/>
              <a:gd name="connsiteY264" fmla="*/ 583609 h 902582"/>
              <a:gd name="connsiteX265" fmla="*/ 2285907 w 2378076"/>
              <a:gd name="connsiteY265" fmla="*/ 583609 h 902582"/>
              <a:gd name="connsiteX266" fmla="*/ 2274735 w 2378076"/>
              <a:gd name="connsiteY266" fmla="*/ 611836 h 902582"/>
              <a:gd name="connsiteX267" fmla="*/ 2325009 w 2378076"/>
              <a:gd name="connsiteY267" fmla="*/ 659824 h 902582"/>
              <a:gd name="connsiteX268" fmla="*/ 2325009 w 2378076"/>
              <a:gd name="connsiteY268" fmla="*/ 662646 h 902582"/>
              <a:gd name="connsiteX269" fmla="*/ 2311044 w 2378076"/>
              <a:gd name="connsiteY269" fmla="*/ 688051 h 902582"/>
              <a:gd name="connsiteX270" fmla="*/ 2308251 w 2378076"/>
              <a:gd name="connsiteY270" fmla="*/ 690874 h 902582"/>
              <a:gd name="connsiteX271" fmla="*/ 2238425 w 2378076"/>
              <a:gd name="connsiteY271" fmla="*/ 671115 h 902582"/>
              <a:gd name="connsiteX272" fmla="*/ 2221667 w 2378076"/>
              <a:gd name="connsiteY272" fmla="*/ 696520 h 902582"/>
              <a:gd name="connsiteX273" fmla="*/ 2257977 w 2378076"/>
              <a:gd name="connsiteY273" fmla="*/ 758621 h 902582"/>
              <a:gd name="connsiteX274" fmla="*/ 2255184 w 2378076"/>
              <a:gd name="connsiteY274" fmla="*/ 758621 h 902582"/>
              <a:gd name="connsiteX275" fmla="*/ 2235633 w 2378076"/>
              <a:gd name="connsiteY275" fmla="*/ 781203 h 902582"/>
              <a:gd name="connsiteX276" fmla="*/ 2232839 w 2378076"/>
              <a:gd name="connsiteY276" fmla="*/ 781203 h 902582"/>
              <a:gd name="connsiteX277" fmla="*/ 2171393 w 2378076"/>
              <a:gd name="connsiteY277" fmla="*/ 744507 h 902582"/>
              <a:gd name="connsiteX278" fmla="*/ 2149049 w 2378076"/>
              <a:gd name="connsiteY278" fmla="*/ 764266 h 902582"/>
              <a:gd name="connsiteX279" fmla="*/ 2168600 w 2378076"/>
              <a:gd name="connsiteY279" fmla="*/ 829190 h 902582"/>
              <a:gd name="connsiteX280" fmla="*/ 2168600 w 2378076"/>
              <a:gd name="connsiteY280" fmla="*/ 832013 h 902582"/>
              <a:gd name="connsiteX281" fmla="*/ 2165807 w 2378076"/>
              <a:gd name="connsiteY281" fmla="*/ 834836 h 902582"/>
              <a:gd name="connsiteX282" fmla="*/ 2140670 w 2378076"/>
              <a:gd name="connsiteY282" fmla="*/ 848949 h 902582"/>
              <a:gd name="connsiteX283" fmla="*/ 2090396 w 2378076"/>
              <a:gd name="connsiteY283" fmla="*/ 798140 h 902582"/>
              <a:gd name="connsiteX284" fmla="*/ 2062466 w 2378076"/>
              <a:gd name="connsiteY284" fmla="*/ 809431 h 902582"/>
              <a:gd name="connsiteX285" fmla="*/ 2065259 w 2378076"/>
              <a:gd name="connsiteY285" fmla="*/ 846127 h 902582"/>
              <a:gd name="connsiteX286" fmla="*/ 2062466 w 2378076"/>
              <a:gd name="connsiteY286" fmla="*/ 882823 h 902582"/>
              <a:gd name="connsiteX287" fmla="*/ 2059673 w 2378076"/>
              <a:gd name="connsiteY287" fmla="*/ 882823 h 902582"/>
              <a:gd name="connsiteX288" fmla="*/ 2031743 w 2378076"/>
              <a:gd name="connsiteY288" fmla="*/ 891291 h 902582"/>
              <a:gd name="connsiteX289" fmla="*/ 1995434 w 2378076"/>
              <a:gd name="connsiteY289" fmla="*/ 829190 h 902582"/>
              <a:gd name="connsiteX290" fmla="*/ 1967504 w 2378076"/>
              <a:gd name="connsiteY290" fmla="*/ 832013 h 902582"/>
              <a:gd name="connsiteX291" fmla="*/ 1947953 w 2378076"/>
              <a:gd name="connsiteY291" fmla="*/ 902582 h 902582"/>
              <a:gd name="connsiteX292" fmla="*/ 1945160 w 2378076"/>
              <a:gd name="connsiteY292" fmla="*/ 902582 h 902582"/>
              <a:gd name="connsiteX293" fmla="*/ 1917229 w 2378076"/>
              <a:gd name="connsiteY293" fmla="*/ 902582 h 902582"/>
              <a:gd name="connsiteX294" fmla="*/ 1914436 w 2378076"/>
              <a:gd name="connsiteY294" fmla="*/ 902582 h 902582"/>
              <a:gd name="connsiteX295" fmla="*/ 1897678 w 2378076"/>
              <a:gd name="connsiteY295" fmla="*/ 832013 h 902582"/>
              <a:gd name="connsiteX296" fmla="*/ 1866955 w 2378076"/>
              <a:gd name="connsiteY296" fmla="*/ 829190 h 902582"/>
              <a:gd name="connsiteX297" fmla="*/ 1833439 w 2378076"/>
              <a:gd name="connsiteY297" fmla="*/ 891291 h 902582"/>
              <a:gd name="connsiteX298" fmla="*/ 1830646 w 2378076"/>
              <a:gd name="connsiteY298" fmla="*/ 891291 h 902582"/>
              <a:gd name="connsiteX299" fmla="*/ 1802716 w 2378076"/>
              <a:gd name="connsiteY299" fmla="*/ 882823 h 902582"/>
              <a:gd name="connsiteX300" fmla="*/ 1799923 w 2378076"/>
              <a:gd name="connsiteY300" fmla="*/ 882823 h 902582"/>
              <a:gd name="connsiteX301" fmla="*/ 1799923 w 2378076"/>
              <a:gd name="connsiteY301" fmla="*/ 880000 h 902582"/>
              <a:gd name="connsiteX302" fmla="*/ 1797130 w 2378076"/>
              <a:gd name="connsiteY302" fmla="*/ 846127 h 902582"/>
              <a:gd name="connsiteX303" fmla="*/ 1799923 w 2378076"/>
              <a:gd name="connsiteY303" fmla="*/ 809431 h 902582"/>
              <a:gd name="connsiteX304" fmla="*/ 1774786 w 2378076"/>
              <a:gd name="connsiteY304" fmla="*/ 798140 h 902582"/>
              <a:gd name="connsiteX305" fmla="*/ 1724512 w 2378076"/>
              <a:gd name="connsiteY305" fmla="*/ 848949 h 902582"/>
              <a:gd name="connsiteX306" fmla="*/ 1721719 w 2378076"/>
              <a:gd name="connsiteY306" fmla="*/ 851772 h 902582"/>
              <a:gd name="connsiteX307" fmla="*/ 1721719 w 2378076"/>
              <a:gd name="connsiteY307" fmla="*/ 848949 h 902582"/>
              <a:gd name="connsiteX308" fmla="*/ 1696582 w 2378076"/>
              <a:gd name="connsiteY308" fmla="*/ 834836 h 902582"/>
              <a:gd name="connsiteX309" fmla="*/ 1696582 w 2378076"/>
              <a:gd name="connsiteY309" fmla="*/ 832013 h 902582"/>
              <a:gd name="connsiteX310" fmla="*/ 1713340 w 2378076"/>
              <a:gd name="connsiteY310" fmla="*/ 764266 h 902582"/>
              <a:gd name="connsiteX311" fmla="*/ 1690996 w 2378076"/>
              <a:gd name="connsiteY311" fmla="*/ 744507 h 902582"/>
              <a:gd name="connsiteX312" fmla="*/ 1629549 w 2378076"/>
              <a:gd name="connsiteY312" fmla="*/ 781203 h 902582"/>
              <a:gd name="connsiteX313" fmla="*/ 1626756 w 2378076"/>
              <a:gd name="connsiteY313" fmla="*/ 781203 h 902582"/>
              <a:gd name="connsiteX314" fmla="*/ 1607205 w 2378076"/>
              <a:gd name="connsiteY314" fmla="*/ 761443 h 902582"/>
              <a:gd name="connsiteX315" fmla="*/ 1604412 w 2378076"/>
              <a:gd name="connsiteY315" fmla="*/ 758621 h 902582"/>
              <a:gd name="connsiteX316" fmla="*/ 1640722 w 2378076"/>
              <a:gd name="connsiteY316" fmla="*/ 696520 h 902582"/>
              <a:gd name="connsiteX317" fmla="*/ 1623963 w 2378076"/>
              <a:gd name="connsiteY317" fmla="*/ 671115 h 902582"/>
              <a:gd name="connsiteX318" fmla="*/ 1554138 w 2378076"/>
              <a:gd name="connsiteY318" fmla="*/ 690874 h 902582"/>
              <a:gd name="connsiteX319" fmla="*/ 1537380 w 2378076"/>
              <a:gd name="connsiteY319" fmla="*/ 665469 h 902582"/>
              <a:gd name="connsiteX320" fmla="*/ 1537380 w 2378076"/>
              <a:gd name="connsiteY320" fmla="*/ 662646 h 902582"/>
              <a:gd name="connsiteX321" fmla="*/ 1587654 w 2378076"/>
              <a:gd name="connsiteY321" fmla="*/ 611836 h 902582"/>
              <a:gd name="connsiteX322" fmla="*/ 1576482 w 2378076"/>
              <a:gd name="connsiteY322" fmla="*/ 583609 h 902582"/>
              <a:gd name="connsiteX323" fmla="*/ 1506657 w 2378076"/>
              <a:gd name="connsiteY323" fmla="*/ 583609 h 902582"/>
              <a:gd name="connsiteX324" fmla="*/ 1503864 w 2378076"/>
              <a:gd name="connsiteY324" fmla="*/ 583609 h 902582"/>
              <a:gd name="connsiteX325" fmla="*/ 1495485 w 2378076"/>
              <a:gd name="connsiteY325" fmla="*/ 555381 h 902582"/>
              <a:gd name="connsiteX326" fmla="*/ 1495485 w 2378076"/>
              <a:gd name="connsiteY326" fmla="*/ 552558 h 902582"/>
              <a:gd name="connsiteX327" fmla="*/ 1498278 w 2378076"/>
              <a:gd name="connsiteY327" fmla="*/ 552558 h 902582"/>
              <a:gd name="connsiteX328" fmla="*/ 1559724 w 2378076"/>
              <a:gd name="connsiteY328" fmla="*/ 515862 h 902582"/>
              <a:gd name="connsiteX329" fmla="*/ 1554138 w 2378076"/>
              <a:gd name="connsiteY329" fmla="*/ 484812 h 902582"/>
              <a:gd name="connsiteX330" fmla="*/ 1487106 w 2378076"/>
              <a:gd name="connsiteY330" fmla="*/ 467875 h 902582"/>
              <a:gd name="connsiteX331" fmla="*/ 1484313 w 2378076"/>
              <a:gd name="connsiteY331" fmla="*/ 467875 h 902582"/>
              <a:gd name="connsiteX332" fmla="*/ 1484313 w 2378076"/>
              <a:gd name="connsiteY332" fmla="*/ 465052 h 902582"/>
              <a:gd name="connsiteX333" fmla="*/ 1484313 w 2378076"/>
              <a:gd name="connsiteY333" fmla="*/ 450938 h 902582"/>
              <a:gd name="connsiteX334" fmla="*/ 1484313 w 2378076"/>
              <a:gd name="connsiteY334" fmla="*/ 436824 h 902582"/>
              <a:gd name="connsiteX335" fmla="*/ 1484313 w 2378076"/>
              <a:gd name="connsiteY335" fmla="*/ 434002 h 902582"/>
              <a:gd name="connsiteX336" fmla="*/ 1487106 w 2378076"/>
              <a:gd name="connsiteY336" fmla="*/ 434002 h 902582"/>
              <a:gd name="connsiteX337" fmla="*/ 1554138 w 2378076"/>
              <a:gd name="connsiteY337" fmla="*/ 417065 h 902582"/>
              <a:gd name="connsiteX338" fmla="*/ 1556931 w 2378076"/>
              <a:gd name="connsiteY338" fmla="*/ 386014 h 902582"/>
              <a:gd name="connsiteX339" fmla="*/ 1498278 w 2378076"/>
              <a:gd name="connsiteY339" fmla="*/ 352141 h 902582"/>
              <a:gd name="connsiteX340" fmla="*/ 1495485 w 2378076"/>
              <a:gd name="connsiteY340" fmla="*/ 349318 h 902582"/>
              <a:gd name="connsiteX341" fmla="*/ 1503864 w 2378076"/>
              <a:gd name="connsiteY341" fmla="*/ 321091 h 902582"/>
              <a:gd name="connsiteX342" fmla="*/ 1503864 w 2378076"/>
              <a:gd name="connsiteY342" fmla="*/ 318268 h 902582"/>
              <a:gd name="connsiteX343" fmla="*/ 1506657 w 2378076"/>
              <a:gd name="connsiteY343" fmla="*/ 318268 h 902582"/>
              <a:gd name="connsiteX344" fmla="*/ 1576482 w 2378076"/>
              <a:gd name="connsiteY344" fmla="*/ 318268 h 902582"/>
              <a:gd name="connsiteX345" fmla="*/ 1587654 w 2378076"/>
              <a:gd name="connsiteY345" fmla="*/ 292863 h 902582"/>
              <a:gd name="connsiteX346" fmla="*/ 1537380 w 2378076"/>
              <a:gd name="connsiteY346" fmla="*/ 242053 h 902582"/>
              <a:gd name="connsiteX347" fmla="*/ 1537380 w 2378076"/>
              <a:gd name="connsiteY347" fmla="*/ 239230 h 902582"/>
              <a:gd name="connsiteX348" fmla="*/ 1551345 w 2378076"/>
              <a:gd name="connsiteY348" fmla="*/ 213825 h 902582"/>
              <a:gd name="connsiteX349" fmla="*/ 1554138 w 2378076"/>
              <a:gd name="connsiteY349" fmla="*/ 213825 h 902582"/>
              <a:gd name="connsiteX350" fmla="*/ 1621170 w 2378076"/>
              <a:gd name="connsiteY350" fmla="*/ 230762 h 902582"/>
              <a:gd name="connsiteX351" fmla="*/ 1640722 w 2378076"/>
              <a:gd name="connsiteY351" fmla="*/ 208180 h 902582"/>
              <a:gd name="connsiteX352" fmla="*/ 1604412 w 2378076"/>
              <a:gd name="connsiteY352" fmla="*/ 146079 h 902582"/>
              <a:gd name="connsiteX353" fmla="*/ 1604412 w 2378076"/>
              <a:gd name="connsiteY353" fmla="*/ 143256 h 902582"/>
              <a:gd name="connsiteX354" fmla="*/ 1626756 w 2378076"/>
              <a:gd name="connsiteY354" fmla="*/ 123496 h 902582"/>
              <a:gd name="connsiteX355" fmla="*/ 1626756 w 2378076"/>
              <a:gd name="connsiteY355" fmla="*/ 120674 h 902582"/>
              <a:gd name="connsiteX356" fmla="*/ 1629549 w 2378076"/>
              <a:gd name="connsiteY356" fmla="*/ 120674 h 902582"/>
              <a:gd name="connsiteX357" fmla="*/ 1688203 w 2378076"/>
              <a:gd name="connsiteY357" fmla="*/ 157370 h 902582"/>
              <a:gd name="connsiteX358" fmla="*/ 1710547 w 2378076"/>
              <a:gd name="connsiteY358" fmla="*/ 140433 h 902582"/>
              <a:gd name="connsiteX359" fmla="*/ 1693789 w 2378076"/>
              <a:gd name="connsiteY359" fmla="*/ 72686 h 902582"/>
              <a:gd name="connsiteX360" fmla="*/ 1693789 w 2378076"/>
              <a:gd name="connsiteY360" fmla="*/ 69864 h 902582"/>
              <a:gd name="connsiteX361" fmla="*/ 1718926 w 2378076"/>
              <a:gd name="connsiteY361" fmla="*/ 52927 h 902582"/>
              <a:gd name="connsiteX362" fmla="*/ 1721719 w 2378076"/>
              <a:gd name="connsiteY362" fmla="*/ 52927 h 902582"/>
              <a:gd name="connsiteX363" fmla="*/ 1721719 w 2378076"/>
              <a:gd name="connsiteY363" fmla="*/ 55750 h 902582"/>
              <a:gd name="connsiteX364" fmla="*/ 1771993 w 2378076"/>
              <a:gd name="connsiteY364" fmla="*/ 103737 h 902582"/>
              <a:gd name="connsiteX365" fmla="*/ 1799923 w 2378076"/>
              <a:gd name="connsiteY365" fmla="*/ 92446 h 902582"/>
              <a:gd name="connsiteX366" fmla="*/ 1794337 w 2378076"/>
              <a:gd name="connsiteY366" fmla="*/ 55750 h 902582"/>
              <a:gd name="connsiteX367" fmla="*/ 1799923 w 2378076"/>
              <a:gd name="connsiteY367" fmla="*/ 21876 h 902582"/>
              <a:gd name="connsiteX368" fmla="*/ 1799923 w 2378076"/>
              <a:gd name="connsiteY368" fmla="*/ 19054 h 902582"/>
              <a:gd name="connsiteX369" fmla="*/ 1827853 w 2378076"/>
              <a:gd name="connsiteY369" fmla="*/ 13408 h 902582"/>
              <a:gd name="connsiteX370" fmla="*/ 1830646 w 2378076"/>
              <a:gd name="connsiteY370" fmla="*/ 10585 h 902582"/>
              <a:gd name="connsiteX371" fmla="*/ 1830646 w 2378076"/>
              <a:gd name="connsiteY371" fmla="*/ 13408 h 902582"/>
              <a:gd name="connsiteX372" fmla="*/ 1866955 w 2378076"/>
              <a:gd name="connsiteY372" fmla="*/ 75509 h 902582"/>
              <a:gd name="connsiteX373" fmla="*/ 1897678 w 2378076"/>
              <a:gd name="connsiteY373" fmla="*/ 69864 h 902582"/>
              <a:gd name="connsiteX374" fmla="*/ 1914436 w 2378076"/>
              <a:gd name="connsiteY374" fmla="*/ 2117 h 90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2378076" h="902582">
                <a:moveTo>
                  <a:pt x="1869753" y="541874"/>
                </a:moveTo>
                <a:cubicBezTo>
                  <a:pt x="1869753" y="541874"/>
                  <a:pt x="1869753" y="541874"/>
                  <a:pt x="1745039" y="604157"/>
                </a:cubicBezTo>
                <a:cubicBezTo>
                  <a:pt x="1742268" y="604157"/>
                  <a:pt x="1736725" y="606988"/>
                  <a:pt x="1736725" y="609819"/>
                </a:cubicBezTo>
                <a:cubicBezTo>
                  <a:pt x="1736725" y="612651"/>
                  <a:pt x="1736725" y="612651"/>
                  <a:pt x="1736725" y="612651"/>
                </a:cubicBezTo>
                <a:cubicBezTo>
                  <a:pt x="1736725" y="615482"/>
                  <a:pt x="1739496" y="618313"/>
                  <a:pt x="1742268" y="621144"/>
                </a:cubicBezTo>
                <a:cubicBezTo>
                  <a:pt x="1783839" y="666440"/>
                  <a:pt x="1825410" y="691920"/>
                  <a:pt x="1886381" y="706075"/>
                </a:cubicBezTo>
                <a:cubicBezTo>
                  <a:pt x="1889152" y="706075"/>
                  <a:pt x="1891924" y="708906"/>
                  <a:pt x="1894695" y="706075"/>
                </a:cubicBezTo>
                <a:cubicBezTo>
                  <a:pt x="1897467" y="703244"/>
                  <a:pt x="1900238" y="700413"/>
                  <a:pt x="1897467" y="691920"/>
                </a:cubicBezTo>
                <a:cubicBezTo>
                  <a:pt x="1897467" y="691920"/>
                  <a:pt x="1897467" y="691920"/>
                  <a:pt x="1889152" y="553198"/>
                </a:cubicBezTo>
                <a:cubicBezTo>
                  <a:pt x="1889152" y="547536"/>
                  <a:pt x="1886381" y="544705"/>
                  <a:pt x="1883610" y="541874"/>
                </a:cubicBezTo>
                <a:cubicBezTo>
                  <a:pt x="1878067" y="539043"/>
                  <a:pt x="1875295" y="539043"/>
                  <a:pt x="1869753" y="541874"/>
                </a:cubicBezTo>
                <a:close/>
                <a:moveTo>
                  <a:pt x="1982115" y="539043"/>
                </a:moveTo>
                <a:cubicBezTo>
                  <a:pt x="1979317" y="541868"/>
                  <a:pt x="1976518" y="547519"/>
                  <a:pt x="1976518" y="550344"/>
                </a:cubicBezTo>
                <a:cubicBezTo>
                  <a:pt x="1976518" y="550344"/>
                  <a:pt x="1976518" y="550344"/>
                  <a:pt x="1965325" y="691605"/>
                </a:cubicBezTo>
                <a:cubicBezTo>
                  <a:pt x="1965325" y="694430"/>
                  <a:pt x="1965325" y="700081"/>
                  <a:pt x="1968123" y="702906"/>
                </a:cubicBezTo>
                <a:cubicBezTo>
                  <a:pt x="1970922" y="705731"/>
                  <a:pt x="1973720" y="705731"/>
                  <a:pt x="1979317" y="702906"/>
                </a:cubicBezTo>
                <a:cubicBezTo>
                  <a:pt x="2038081" y="688780"/>
                  <a:pt x="2082854" y="663353"/>
                  <a:pt x="2124828" y="618149"/>
                </a:cubicBezTo>
                <a:cubicBezTo>
                  <a:pt x="2127627" y="615324"/>
                  <a:pt x="2130425" y="612499"/>
                  <a:pt x="2130425" y="609674"/>
                </a:cubicBezTo>
                <a:cubicBezTo>
                  <a:pt x="2127627" y="606849"/>
                  <a:pt x="2124828" y="604023"/>
                  <a:pt x="2119232" y="601198"/>
                </a:cubicBezTo>
                <a:cubicBezTo>
                  <a:pt x="2119232" y="601198"/>
                  <a:pt x="2119232" y="601198"/>
                  <a:pt x="1996106" y="539043"/>
                </a:cubicBezTo>
                <a:cubicBezTo>
                  <a:pt x="1990510" y="539043"/>
                  <a:pt x="1987711" y="539043"/>
                  <a:pt x="1982115" y="539043"/>
                </a:cubicBezTo>
                <a:close/>
                <a:moveTo>
                  <a:pt x="871538" y="485068"/>
                </a:moveTo>
                <a:lnTo>
                  <a:pt x="814983" y="487862"/>
                </a:lnTo>
                <a:cubicBezTo>
                  <a:pt x="792361" y="490656"/>
                  <a:pt x="781050" y="501832"/>
                  <a:pt x="781050" y="521390"/>
                </a:cubicBezTo>
                <a:cubicBezTo>
                  <a:pt x="781050" y="532566"/>
                  <a:pt x="783878" y="554918"/>
                  <a:pt x="806500" y="554918"/>
                </a:cubicBezTo>
                <a:cubicBezTo>
                  <a:pt x="834777" y="554918"/>
                  <a:pt x="871538" y="543742"/>
                  <a:pt x="871538" y="543742"/>
                </a:cubicBezTo>
                <a:cubicBezTo>
                  <a:pt x="871538" y="485068"/>
                  <a:pt x="871538" y="485068"/>
                  <a:pt x="871538" y="485068"/>
                </a:cubicBezTo>
                <a:close/>
                <a:moveTo>
                  <a:pt x="396876" y="389818"/>
                </a:moveTo>
                <a:cubicBezTo>
                  <a:pt x="355204" y="389818"/>
                  <a:pt x="341313" y="412372"/>
                  <a:pt x="341313" y="471575"/>
                </a:cubicBezTo>
                <a:cubicBezTo>
                  <a:pt x="341313" y="522320"/>
                  <a:pt x="349648" y="553331"/>
                  <a:pt x="396876" y="553331"/>
                </a:cubicBezTo>
                <a:cubicBezTo>
                  <a:pt x="444104" y="553331"/>
                  <a:pt x="452438" y="522320"/>
                  <a:pt x="452438" y="471575"/>
                </a:cubicBezTo>
                <a:cubicBezTo>
                  <a:pt x="452438" y="412372"/>
                  <a:pt x="435769" y="389818"/>
                  <a:pt x="396876" y="389818"/>
                </a:cubicBezTo>
                <a:close/>
                <a:moveTo>
                  <a:pt x="1964442" y="378529"/>
                </a:moveTo>
                <a:cubicBezTo>
                  <a:pt x="1960604" y="379235"/>
                  <a:pt x="1957114" y="381352"/>
                  <a:pt x="1954322" y="385585"/>
                </a:cubicBezTo>
                <a:cubicBezTo>
                  <a:pt x="1948738" y="394052"/>
                  <a:pt x="1951530" y="402518"/>
                  <a:pt x="1957114" y="408163"/>
                </a:cubicBezTo>
                <a:cubicBezTo>
                  <a:pt x="1971073" y="416629"/>
                  <a:pt x="1979448" y="433563"/>
                  <a:pt x="1979448" y="450496"/>
                </a:cubicBezTo>
                <a:cubicBezTo>
                  <a:pt x="1979448" y="475896"/>
                  <a:pt x="1957114" y="498474"/>
                  <a:pt x="1931987" y="498474"/>
                </a:cubicBezTo>
                <a:cubicBezTo>
                  <a:pt x="1906861" y="498474"/>
                  <a:pt x="1884527" y="475896"/>
                  <a:pt x="1884527" y="450496"/>
                </a:cubicBezTo>
                <a:cubicBezTo>
                  <a:pt x="1884527" y="433563"/>
                  <a:pt x="1892902" y="416629"/>
                  <a:pt x="1906861" y="408163"/>
                </a:cubicBezTo>
                <a:cubicBezTo>
                  <a:pt x="1912445" y="402518"/>
                  <a:pt x="1915237" y="394052"/>
                  <a:pt x="1909653" y="385585"/>
                </a:cubicBezTo>
                <a:cubicBezTo>
                  <a:pt x="1904069" y="377118"/>
                  <a:pt x="1895694" y="377118"/>
                  <a:pt x="1887319" y="382763"/>
                </a:cubicBezTo>
                <a:cubicBezTo>
                  <a:pt x="1864984" y="396874"/>
                  <a:pt x="1851025" y="422274"/>
                  <a:pt x="1851025" y="450496"/>
                </a:cubicBezTo>
                <a:cubicBezTo>
                  <a:pt x="1851025" y="492829"/>
                  <a:pt x="1887319" y="529518"/>
                  <a:pt x="1931987" y="529518"/>
                </a:cubicBezTo>
                <a:cubicBezTo>
                  <a:pt x="1976656" y="529518"/>
                  <a:pt x="2012950" y="492829"/>
                  <a:pt x="2012950" y="450496"/>
                </a:cubicBezTo>
                <a:cubicBezTo>
                  <a:pt x="2012950" y="422274"/>
                  <a:pt x="1998991" y="396874"/>
                  <a:pt x="1976656" y="379940"/>
                </a:cubicBezTo>
                <a:cubicBezTo>
                  <a:pt x="1972469" y="378529"/>
                  <a:pt x="1968281" y="377824"/>
                  <a:pt x="1964442" y="378529"/>
                </a:cubicBezTo>
                <a:close/>
                <a:moveTo>
                  <a:pt x="2166711" y="358068"/>
                </a:moveTo>
                <a:cubicBezTo>
                  <a:pt x="2163905" y="358068"/>
                  <a:pt x="2158292" y="358068"/>
                  <a:pt x="2155485" y="360888"/>
                </a:cubicBezTo>
                <a:cubicBezTo>
                  <a:pt x="2155485" y="360888"/>
                  <a:pt x="2155485" y="360888"/>
                  <a:pt x="2040419" y="439837"/>
                </a:cubicBezTo>
                <a:cubicBezTo>
                  <a:pt x="2034806" y="442656"/>
                  <a:pt x="2032000" y="448295"/>
                  <a:pt x="2032000" y="451115"/>
                </a:cubicBezTo>
                <a:cubicBezTo>
                  <a:pt x="2032000" y="456754"/>
                  <a:pt x="2034806" y="459574"/>
                  <a:pt x="2040419" y="462393"/>
                </a:cubicBezTo>
                <a:cubicBezTo>
                  <a:pt x="2040419" y="462393"/>
                  <a:pt x="2040419" y="462393"/>
                  <a:pt x="2155485" y="541342"/>
                </a:cubicBezTo>
                <a:cubicBezTo>
                  <a:pt x="2158292" y="544162"/>
                  <a:pt x="2161098" y="546981"/>
                  <a:pt x="2166711" y="544162"/>
                </a:cubicBezTo>
                <a:cubicBezTo>
                  <a:pt x="2169518" y="544162"/>
                  <a:pt x="2169518" y="541342"/>
                  <a:pt x="2172324" y="535703"/>
                </a:cubicBezTo>
                <a:cubicBezTo>
                  <a:pt x="2189163" y="476491"/>
                  <a:pt x="2189163" y="425739"/>
                  <a:pt x="2172324" y="366527"/>
                </a:cubicBezTo>
                <a:cubicBezTo>
                  <a:pt x="2172324" y="363707"/>
                  <a:pt x="2169518" y="358068"/>
                  <a:pt x="2166711" y="358068"/>
                </a:cubicBezTo>
                <a:close/>
                <a:moveTo>
                  <a:pt x="1697038" y="358068"/>
                </a:moveTo>
                <a:cubicBezTo>
                  <a:pt x="1694260" y="360888"/>
                  <a:pt x="1691482" y="363707"/>
                  <a:pt x="1691482" y="366527"/>
                </a:cubicBezTo>
                <a:cubicBezTo>
                  <a:pt x="1674813" y="428558"/>
                  <a:pt x="1674813" y="476491"/>
                  <a:pt x="1691482" y="535703"/>
                </a:cubicBezTo>
                <a:cubicBezTo>
                  <a:pt x="1691482" y="541342"/>
                  <a:pt x="1694260" y="544162"/>
                  <a:pt x="1697038" y="544162"/>
                </a:cubicBezTo>
                <a:cubicBezTo>
                  <a:pt x="1699816" y="546981"/>
                  <a:pt x="1702594" y="544162"/>
                  <a:pt x="1708151" y="541342"/>
                </a:cubicBezTo>
                <a:lnTo>
                  <a:pt x="1822054" y="462393"/>
                </a:lnTo>
                <a:cubicBezTo>
                  <a:pt x="1827610" y="459574"/>
                  <a:pt x="1830388" y="456754"/>
                  <a:pt x="1830388" y="451115"/>
                </a:cubicBezTo>
                <a:cubicBezTo>
                  <a:pt x="1830388" y="448295"/>
                  <a:pt x="1827610" y="442656"/>
                  <a:pt x="1822054" y="439837"/>
                </a:cubicBezTo>
                <a:cubicBezTo>
                  <a:pt x="1822054" y="439837"/>
                  <a:pt x="1822054" y="439837"/>
                  <a:pt x="1708151" y="363707"/>
                </a:cubicBezTo>
                <a:cubicBezTo>
                  <a:pt x="1705372" y="360888"/>
                  <a:pt x="1702594" y="358068"/>
                  <a:pt x="1697038" y="358068"/>
                </a:cubicBezTo>
                <a:close/>
                <a:moveTo>
                  <a:pt x="1170028" y="343781"/>
                </a:moveTo>
                <a:cubicBezTo>
                  <a:pt x="1170028" y="343781"/>
                  <a:pt x="1170028" y="343781"/>
                  <a:pt x="1206276" y="343781"/>
                </a:cubicBezTo>
                <a:cubicBezTo>
                  <a:pt x="1211853" y="343781"/>
                  <a:pt x="1214641" y="346602"/>
                  <a:pt x="1214641" y="349423"/>
                </a:cubicBezTo>
                <a:cubicBezTo>
                  <a:pt x="1214641" y="349423"/>
                  <a:pt x="1214641" y="349423"/>
                  <a:pt x="1267619" y="541235"/>
                </a:cubicBezTo>
                <a:cubicBezTo>
                  <a:pt x="1267619" y="541235"/>
                  <a:pt x="1267619" y="541235"/>
                  <a:pt x="1270407" y="541235"/>
                </a:cubicBezTo>
                <a:cubicBezTo>
                  <a:pt x="1270407" y="541235"/>
                  <a:pt x="1270407" y="541235"/>
                  <a:pt x="1320597" y="349423"/>
                </a:cubicBezTo>
                <a:cubicBezTo>
                  <a:pt x="1320597" y="346602"/>
                  <a:pt x="1326173" y="343781"/>
                  <a:pt x="1328962" y="343781"/>
                </a:cubicBezTo>
                <a:cubicBezTo>
                  <a:pt x="1328962" y="343781"/>
                  <a:pt x="1328962" y="343781"/>
                  <a:pt x="1367998" y="343781"/>
                </a:cubicBezTo>
                <a:cubicBezTo>
                  <a:pt x="1370786" y="343781"/>
                  <a:pt x="1373575" y="343781"/>
                  <a:pt x="1373575" y="346602"/>
                </a:cubicBezTo>
                <a:cubicBezTo>
                  <a:pt x="1376363" y="349423"/>
                  <a:pt x="1376363" y="352244"/>
                  <a:pt x="1376363" y="355064"/>
                </a:cubicBezTo>
                <a:cubicBezTo>
                  <a:pt x="1376363" y="355064"/>
                  <a:pt x="1376363" y="355064"/>
                  <a:pt x="1370786" y="383272"/>
                </a:cubicBezTo>
                <a:cubicBezTo>
                  <a:pt x="1365210" y="397376"/>
                  <a:pt x="1359633" y="417121"/>
                  <a:pt x="1354057" y="439687"/>
                </a:cubicBezTo>
                <a:cubicBezTo>
                  <a:pt x="1342903" y="490461"/>
                  <a:pt x="1323385" y="560980"/>
                  <a:pt x="1309444" y="614575"/>
                </a:cubicBezTo>
                <a:cubicBezTo>
                  <a:pt x="1298290" y="662528"/>
                  <a:pt x="1273196" y="685094"/>
                  <a:pt x="1236948" y="685094"/>
                </a:cubicBezTo>
                <a:cubicBezTo>
                  <a:pt x="1234159" y="685094"/>
                  <a:pt x="1234159" y="685094"/>
                  <a:pt x="1234159" y="685094"/>
                </a:cubicBezTo>
                <a:cubicBezTo>
                  <a:pt x="1211853" y="685094"/>
                  <a:pt x="1183970" y="682273"/>
                  <a:pt x="1170028" y="676632"/>
                </a:cubicBezTo>
                <a:cubicBezTo>
                  <a:pt x="1164452" y="676632"/>
                  <a:pt x="1161663" y="673811"/>
                  <a:pt x="1161663" y="668170"/>
                </a:cubicBezTo>
                <a:cubicBezTo>
                  <a:pt x="1161663" y="668170"/>
                  <a:pt x="1161663" y="668170"/>
                  <a:pt x="1161663" y="642783"/>
                </a:cubicBezTo>
                <a:cubicBezTo>
                  <a:pt x="1161663" y="639962"/>
                  <a:pt x="1161663" y="637141"/>
                  <a:pt x="1164452" y="637141"/>
                </a:cubicBezTo>
                <a:cubicBezTo>
                  <a:pt x="1167240" y="634320"/>
                  <a:pt x="1170028" y="631500"/>
                  <a:pt x="1172817" y="634320"/>
                </a:cubicBezTo>
                <a:cubicBezTo>
                  <a:pt x="1172817" y="634320"/>
                  <a:pt x="1172817" y="634320"/>
                  <a:pt x="1220218" y="637141"/>
                </a:cubicBezTo>
                <a:cubicBezTo>
                  <a:pt x="1248101" y="637141"/>
                  <a:pt x="1250889" y="620217"/>
                  <a:pt x="1253677" y="611754"/>
                </a:cubicBezTo>
                <a:cubicBezTo>
                  <a:pt x="1253677" y="611754"/>
                  <a:pt x="1253677" y="611754"/>
                  <a:pt x="1253677" y="608933"/>
                </a:cubicBezTo>
                <a:cubicBezTo>
                  <a:pt x="1256466" y="606113"/>
                  <a:pt x="1256466" y="603292"/>
                  <a:pt x="1259254" y="597650"/>
                </a:cubicBezTo>
                <a:cubicBezTo>
                  <a:pt x="1259254" y="597650"/>
                  <a:pt x="1259254" y="597650"/>
                  <a:pt x="1248101" y="597650"/>
                </a:cubicBezTo>
                <a:cubicBezTo>
                  <a:pt x="1228583" y="597650"/>
                  <a:pt x="1217429" y="580726"/>
                  <a:pt x="1214641" y="569443"/>
                </a:cubicBezTo>
                <a:cubicBezTo>
                  <a:pt x="1214641" y="569443"/>
                  <a:pt x="1214641" y="569443"/>
                  <a:pt x="1158875" y="355064"/>
                </a:cubicBezTo>
                <a:cubicBezTo>
                  <a:pt x="1158875" y="352244"/>
                  <a:pt x="1158875" y="349423"/>
                  <a:pt x="1161663" y="346602"/>
                </a:cubicBezTo>
                <a:cubicBezTo>
                  <a:pt x="1164452" y="343781"/>
                  <a:pt x="1167240" y="343781"/>
                  <a:pt x="1170028" y="343781"/>
                </a:cubicBezTo>
                <a:close/>
                <a:moveTo>
                  <a:pt x="1116013" y="340606"/>
                </a:moveTo>
                <a:cubicBezTo>
                  <a:pt x="1118791" y="340606"/>
                  <a:pt x="1121569" y="340606"/>
                  <a:pt x="1124347" y="343432"/>
                </a:cubicBezTo>
                <a:cubicBezTo>
                  <a:pt x="1127125" y="343432"/>
                  <a:pt x="1127125" y="346258"/>
                  <a:pt x="1127125" y="349085"/>
                </a:cubicBezTo>
                <a:cubicBezTo>
                  <a:pt x="1127125" y="349085"/>
                  <a:pt x="1127125" y="349085"/>
                  <a:pt x="1127125" y="385824"/>
                </a:cubicBezTo>
                <a:cubicBezTo>
                  <a:pt x="1127125" y="388650"/>
                  <a:pt x="1124347" y="394302"/>
                  <a:pt x="1118791" y="394302"/>
                </a:cubicBezTo>
                <a:cubicBezTo>
                  <a:pt x="1085453" y="397128"/>
                  <a:pt x="1060450" y="416911"/>
                  <a:pt x="1049337" y="425389"/>
                </a:cubicBezTo>
                <a:cubicBezTo>
                  <a:pt x="1049337" y="425389"/>
                  <a:pt x="1049337" y="425389"/>
                  <a:pt x="1049337" y="589303"/>
                </a:cubicBezTo>
                <a:cubicBezTo>
                  <a:pt x="1049337" y="594955"/>
                  <a:pt x="1046559" y="597781"/>
                  <a:pt x="1041003" y="597781"/>
                </a:cubicBezTo>
                <a:cubicBezTo>
                  <a:pt x="1041003" y="597781"/>
                  <a:pt x="1041003" y="597781"/>
                  <a:pt x="1002109" y="597781"/>
                </a:cubicBezTo>
                <a:cubicBezTo>
                  <a:pt x="996553" y="597781"/>
                  <a:pt x="993775" y="594955"/>
                  <a:pt x="993775" y="589303"/>
                </a:cubicBezTo>
                <a:cubicBezTo>
                  <a:pt x="993775" y="589303"/>
                  <a:pt x="993775" y="589303"/>
                  <a:pt x="993775" y="351911"/>
                </a:cubicBezTo>
                <a:cubicBezTo>
                  <a:pt x="993775" y="346258"/>
                  <a:pt x="996553" y="343432"/>
                  <a:pt x="1002109" y="343432"/>
                </a:cubicBezTo>
                <a:cubicBezTo>
                  <a:pt x="1002109" y="343432"/>
                  <a:pt x="1002109" y="343432"/>
                  <a:pt x="1041003" y="343432"/>
                </a:cubicBezTo>
                <a:cubicBezTo>
                  <a:pt x="1046559" y="343432"/>
                  <a:pt x="1049337" y="346258"/>
                  <a:pt x="1049337" y="351911"/>
                </a:cubicBezTo>
                <a:cubicBezTo>
                  <a:pt x="1049337" y="351911"/>
                  <a:pt x="1049337" y="351911"/>
                  <a:pt x="1049337" y="368867"/>
                </a:cubicBezTo>
                <a:cubicBezTo>
                  <a:pt x="1066006" y="357563"/>
                  <a:pt x="1091009" y="340606"/>
                  <a:pt x="1116013" y="340606"/>
                </a:cubicBezTo>
                <a:close/>
                <a:moveTo>
                  <a:pt x="843157" y="335843"/>
                </a:moveTo>
                <a:cubicBezTo>
                  <a:pt x="902173" y="335843"/>
                  <a:pt x="930276" y="364084"/>
                  <a:pt x="930276" y="423390"/>
                </a:cubicBezTo>
                <a:cubicBezTo>
                  <a:pt x="930276" y="592835"/>
                  <a:pt x="930276" y="592835"/>
                  <a:pt x="930276" y="592835"/>
                </a:cubicBezTo>
                <a:cubicBezTo>
                  <a:pt x="930276" y="595659"/>
                  <a:pt x="927466" y="598483"/>
                  <a:pt x="927466" y="601307"/>
                </a:cubicBezTo>
                <a:cubicBezTo>
                  <a:pt x="924656" y="604131"/>
                  <a:pt x="921845" y="604131"/>
                  <a:pt x="919035" y="604131"/>
                </a:cubicBezTo>
                <a:cubicBezTo>
                  <a:pt x="899363" y="601307"/>
                  <a:pt x="890932" y="595659"/>
                  <a:pt x="879691" y="587187"/>
                </a:cubicBezTo>
                <a:cubicBezTo>
                  <a:pt x="879691" y="587187"/>
                  <a:pt x="837536" y="604131"/>
                  <a:pt x="798192" y="604131"/>
                </a:cubicBezTo>
                <a:cubicBezTo>
                  <a:pt x="750416" y="604131"/>
                  <a:pt x="722313" y="575890"/>
                  <a:pt x="722313" y="522233"/>
                </a:cubicBezTo>
                <a:cubicBezTo>
                  <a:pt x="722313" y="471399"/>
                  <a:pt x="747606" y="448807"/>
                  <a:pt x="809433" y="445983"/>
                </a:cubicBezTo>
                <a:cubicBezTo>
                  <a:pt x="871260" y="440334"/>
                  <a:pt x="871260" y="440334"/>
                  <a:pt x="871260" y="440334"/>
                </a:cubicBezTo>
                <a:cubicBezTo>
                  <a:pt x="871260" y="423390"/>
                  <a:pt x="871260" y="423390"/>
                  <a:pt x="871260" y="423390"/>
                </a:cubicBezTo>
                <a:cubicBezTo>
                  <a:pt x="871260" y="403621"/>
                  <a:pt x="860018" y="392325"/>
                  <a:pt x="840346" y="392325"/>
                </a:cubicBezTo>
                <a:cubicBezTo>
                  <a:pt x="812243" y="392325"/>
                  <a:pt x="772899" y="397973"/>
                  <a:pt x="750416" y="397973"/>
                </a:cubicBezTo>
                <a:cubicBezTo>
                  <a:pt x="747606" y="397973"/>
                  <a:pt x="747606" y="397973"/>
                  <a:pt x="744796" y="395149"/>
                </a:cubicBezTo>
                <a:cubicBezTo>
                  <a:pt x="741985" y="395149"/>
                  <a:pt x="741985" y="392325"/>
                  <a:pt x="741985" y="389501"/>
                </a:cubicBezTo>
                <a:cubicBezTo>
                  <a:pt x="739175" y="355612"/>
                  <a:pt x="739175" y="355612"/>
                  <a:pt x="739175" y="355612"/>
                </a:cubicBezTo>
                <a:cubicBezTo>
                  <a:pt x="739175" y="352788"/>
                  <a:pt x="741985" y="347140"/>
                  <a:pt x="747606" y="347140"/>
                </a:cubicBezTo>
                <a:cubicBezTo>
                  <a:pt x="767278" y="344316"/>
                  <a:pt x="815054" y="335843"/>
                  <a:pt x="843157" y="335843"/>
                </a:cubicBezTo>
                <a:close/>
                <a:moveTo>
                  <a:pt x="396875" y="335843"/>
                </a:moveTo>
                <a:cubicBezTo>
                  <a:pt x="460001" y="335843"/>
                  <a:pt x="511175" y="395901"/>
                  <a:pt x="511175" y="469987"/>
                </a:cubicBezTo>
                <a:cubicBezTo>
                  <a:pt x="511175" y="544073"/>
                  <a:pt x="460001" y="604131"/>
                  <a:pt x="396875" y="604131"/>
                </a:cubicBezTo>
                <a:cubicBezTo>
                  <a:pt x="333749" y="604131"/>
                  <a:pt x="282575" y="544073"/>
                  <a:pt x="282575" y="469987"/>
                </a:cubicBezTo>
                <a:cubicBezTo>
                  <a:pt x="282575" y="395901"/>
                  <a:pt x="333749" y="335843"/>
                  <a:pt x="396875" y="335843"/>
                </a:cubicBezTo>
                <a:close/>
                <a:moveTo>
                  <a:pt x="103585" y="300918"/>
                </a:moveTo>
                <a:cubicBezTo>
                  <a:pt x="81360" y="300918"/>
                  <a:pt x="67470" y="300918"/>
                  <a:pt x="61913" y="303759"/>
                </a:cubicBezTo>
                <a:cubicBezTo>
                  <a:pt x="61913" y="406027"/>
                  <a:pt x="61913" y="406027"/>
                  <a:pt x="61913" y="406027"/>
                </a:cubicBezTo>
                <a:cubicBezTo>
                  <a:pt x="73026" y="406027"/>
                  <a:pt x="92473" y="408868"/>
                  <a:pt x="123032" y="406027"/>
                </a:cubicBezTo>
                <a:cubicBezTo>
                  <a:pt x="159148" y="406027"/>
                  <a:pt x="184151" y="386142"/>
                  <a:pt x="184151" y="354893"/>
                </a:cubicBezTo>
                <a:cubicBezTo>
                  <a:pt x="184151" y="329326"/>
                  <a:pt x="167482" y="300918"/>
                  <a:pt x="125810" y="300918"/>
                </a:cubicBezTo>
                <a:cubicBezTo>
                  <a:pt x="103585" y="300918"/>
                  <a:pt x="103585" y="300918"/>
                  <a:pt x="103585" y="300918"/>
                </a:cubicBezTo>
                <a:close/>
                <a:moveTo>
                  <a:pt x="614557" y="285043"/>
                </a:moveTo>
                <a:cubicBezTo>
                  <a:pt x="617342" y="285043"/>
                  <a:pt x="620127" y="285043"/>
                  <a:pt x="622912" y="285043"/>
                </a:cubicBezTo>
                <a:cubicBezTo>
                  <a:pt x="622912" y="287870"/>
                  <a:pt x="625698" y="290697"/>
                  <a:pt x="625698" y="293524"/>
                </a:cubicBezTo>
                <a:cubicBezTo>
                  <a:pt x="625698" y="344407"/>
                  <a:pt x="625698" y="344407"/>
                  <a:pt x="625698" y="344407"/>
                </a:cubicBezTo>
                <a:cubicBezTo>
                  <a:pt x="684184" y="344407"/>
                  <a:pt x="684184" y="344407"/>
                  <a:pt x="684184" y="344407"/>
                </a:cubicBezTo>
                <a:cubicBezTo>
                  <a:pt x="689755" y="344407"/>
                  <a:pt x="692540" y="347234"/>
                  <a:pt x="692540" y="352888"/>
                </a:cubicBezTo>
                <a:cubicBezTo>
                  <a:pt x="692540" y="386811"/>
                  <a:pt x="692540" y="386811"/>
                  <a:pt x="692540" y="386811"/>
                </a:cubicBezTo>
                <a:cubicBezTo>
                  <a:pt x="692540" y="392464"/>
                  <a:pt x="689755" y="395291"/>
                  <a:pt x="684184" y="395291"/>
                </a:cubicBezTo>
                <a:cubicBezTo>
                  <a:pt x="625698" y="395291"/>
                  <a:pt x="625698" y="395291"/>
                  <a:pt x="625698" y="395291"/>
                </a:cubicBezTo>
                <a:cubicBezTo>
                  <a:pt x="625698" y="499885"/>
                  <a:pt x="625698" y="499885"/>
                  <a:pt x="625698" y="499885"/>
                </a:cubicBezTo>
                <a:cubicBezTo>
                  <a:pt x="625698" y="536635"/>
                  <a:pt x="625698" y="550769"/>
                  <a:pt x="650763" y="550769"/>
                </a:cubicBezTo>
                <a:cubicBezTo>
                  <a:pt x="661904" y="550769"/>
                  <a:pt x="675829" y="547942"/>
                  <a:pt x="684184" y="547942"/>
                </a:cubicBezTo>
                <a:cubicBezTo>
                  <a:pt x="689755" y="547942"/>
                  <a:pt x="692540" y="553596"/>
                  <a:pt x="692540" y="559249"/>
                </a:cubicBezTo>
                <a:cubicBezTo>
                  <a:pt x="695325" y="590345"/>
                  <a:pt x="695325" y="590345"/>
                  <a:pt x="695325" y="590345"/>
                </a:cubicBezTo>
                <a:cubicBezTo>
                  <a:pt x="695325" y="595999"/>
                  <a:pt x="692540" y="598826"/>
                  <a:pt x="686969" y="601652"/>
                </a:cubicBezTo>
                <a:cubicBezTo>
                  <a:pt x="673044" y="601652"/>
                  <a:pt x="656334" y="607306"/>
                  <a:pt x="642408" y="607306"/>
                </a:cubicBezTo>
                <a:cubicBezTo>
                  <a:pt x="586706" y="607306"/>
                  <a:pt x="567211" y="584691"/>
                  <a:pt x="567211" y="508366"/>
                </a:cubicBezTo>
                <a:cubicBezTo>
                  <a:pt x="567211" y="395291"/>
                  <a:pt x="567211" y="395291"/>
                  <a:pt x="567211" y="395291"/>
                </a:cubicBezTo>
                <a:cubicBezTo>
                  <a:pt x="544930" y="395291"/>
                  <a:pt x="544930" y="395291"/>
                  <a:pt x="544930" y="395291"/>
                </a:cubicBezTo>
                <a:cubicBezTo>
                  <a:pt x="539360" y="395291"/>
                  <a:pt x="536575" y="392464"/>
                  <a:pt x="536575" y="386811"/>
                </a:cubicBezTo>
                <a:cubicBezTo>
                  <a:pt x="536575" y="352888"/>
                  <a:pt x="536575" y="352888"/>
                  <a:pt x="536575" y="352888"/>
                </a:cubicBezTo>
                <a:cubicBezTo>
                  <a:pt x="536575" y="347234"/>
                  <a:pt x="539360" y="344407"/>
                  <a:pt x="544930" y="344407"/>
                </a:cubicBezTo>
                <a:cubicBezTo>
                  <a:pt x="567211" y="344407"/>
                  <a:pt x="567211" y="344407"/>
                  <a:pt x="567211" y="344407"/>
                </a:cubicBezTo>
                <a:cubicBezTo>
                  <a:pt x="567211" y="302004"/>
                  <a:pt x="567211" y="302004"/>
                  <a:pt x="567211" y="302004"/>
                </a:cubicBezTo>
                <a:cubicBezTo>
                  <a:pt x="567211" y="299178"/>
                  <a:pt x="569996" y="296351"/>
                  <a:pt x="575566" y="293524"/>
                </a:cubicBezTo>
                <a:cubicBezTo>
                  <a:pt x="614557" y="285043"/>
                  <a:pt x="614557" y="285043"/>
                  <a:pt x="614557" y="285043"/>
                </a:cubicBezTo>
                <a:close/>
                <a:moveTo>
                  <a:pt x="117618" y="245356"/>
                </a:moveTo>
                <a:cubicBezTo>
                  <a:pt x="123219" y="245356"/>
                  <a:pt x="126019" y="245356"/>
                  <a:pt x="126019" y="245356"/>
                </a:cubicBezTo>
                <a:cubicBezTo>
                  <a:pt x="224034" y="245356"/>
                  <a:pt x="246438" y="304564"/>
                  <a:pt x="246438" y="352493"/>
                </a:cubicBezTo>
                <a:cubicBezTo>
                  <a:pt x="246438" y="394784"/>
                  <a:pt x="226835" y="425798"/>
                  <a:pt x="184828" y="445534"/>
                </a:cubicBezTo>
                <a:lnTo>
                  <a:pt x="249238" y="586504"/>
                </a:lnTo>
                <a:cubicBezTo>
                  <a:pt x="249238" y="589323"/>
                  <a:pt x="249238" y="592142"/>
                  <a:pt x="246438" y="594962"/>
                </a:cubicBezTo>
                <a:cubicBezTo>
                  <a:pt x="246438" y="597781"/>
                  <a:pt x="243637" y="597781"/>
                  <a:pt x="238037" y="597781"/>
                </a:cubicBezTo>
                <a:cubicBezTo>
                  <a:pt x="193230" y="597781"/>
                  <a:pt x="193230" y="597781"/>
                  <a:pt x="193230" y="597781"/>
                </a:cubicBezTo>
                <a:cubicBezTo>
                  <a:pt x="190429" y="597781"/>
                  <a:pt x="187629" y="597781"/>
                  <a:pt x="184828" y="592142"/>
                </a:cubicBezTo>
                <a:cubicBezTo>
                  <a:pt x="128820" y="462450"/>
                  <a:pt x="128820" y="462450"/>
                  <a:pt x="128820" y="462450"/>
                </a:cubicBezTo>
                <a:cubicBezTo>
                  <a:pt x="98015" y="462450"/>
                  <a:pt x="72811" y="459631"/>
                  <a:pt x="61610" y="459631"/>
                </a:cubicBezTo>
                <a:cubicBezTo>
                  <a:pt x="61610" y="589323"/>
                  <a:pt x="61610" y="589323"/>
                  <a:pt x="61610" y="589323"/>
                </a:cubicBezTo>
                <a:cubicBezTo>
                  <a:pt x="61610" y="594962"/>
                  <a:pt x="56009" y="597781"/>
                  <a:pt x="50408" y="597781"/>
                </a:cubicBezTo>
                <a:cubicBezTo>
                  <a:pt x="11202" y="597781"/>
                  <a:pt x="11202" y="597781"/>
                  <a:pt x="11202" y="597781"/>
                </a:cubicBezTo>
                <a:cubicBezTo>
                  <a:pt x="5601" y="597781"/>
                  <a:pt x="0" y="594962"/>
                  <a:pt x="0" y="589323"/>
                </a:cubicBezTo>
                <a:cubicBezTo>
                  <a:pt x="0" y="262273"/>
                  <a:pt x="0" y="262273"/>
                  <a:pt x="0" y="262273"/>
                </a:cubicBezTo>
                <a:cubicBezTo>
                  <a:pt x="0" y="256634"/>
                  <a:pt x="5601" y="250995"/>
                  <a:pt x="8402" y="250995"/>
                </a:cubicBezTo>
                <a:cubicBezTo>
                  <a:pt x="61610" y="245356"/>
                  <a:pt x="103616" y="245356"/>
                  <a:pt x="117618" y="245356"/>
                </a:cubicBezTo>
                <a:close/>
                <a:moveTo>
                  <a:pt x="1968123" y="200530"/>
                </a:moveTo>
                <a:cubicBezTo>
                  <a:pt x="1965325" y="203328"/>
                  <a:pt x="1965325" y="206126"/>
                  <a:pt x="1965325" y="211723"/>
                </a:cubicBezTo>
                <a:cubicBezTo>
                  <a:pt x="1965325" y="211723"/>
                  <a:pt x="1965325" y="211723"/>
                  <a:pt x="1976518" y="348840"/>
                </a:cubicBezTo>
                <a:cubicBezTo>
                  <a:pt x="1976518" y="354436"/>
                  <a:pt x="1979317" y="360033"/>
                  <a:pt x="1982115" y="362831"/>
                </a:cubicBezTo>
                <a:cubicBezTo>
                  <a:pt x="1984913" y="362831"/>
                  <a:pt x="1990510" y="362831"/>
                  <a:pt x="1996106" y="360033"/>
                </a:cubicBezTo>
                <a:cubicBezTo>
                  <a:pt x="1996106" y="360033"/>
                  <a:pt x="1996106" y="360033"/>
                  <a:pt x="2119232" y="301269"/>
                </a:cubicBezTo>
                <a:cubicBezTo>
                  <a:pt x="2124828" y="298470"/>
                  <a:pt x="2127627" y="298470"/>
                  <a:pt x="2130425" y="292874"/>
                </a:cubicBezTo>
                <a:cubicBezTo>
                  <a:pt x="2130425" y="290075"/>
                  <a:pt x="2127627" y="287277"/>
                  <a:pt x="2124828" y="284479"/>
                </a:cubicBezTo>
                <a:cubicBezTo>
                  <a:pt x="2082854" y="239706"/>
                  <a:pt x="2038081" y="214521"/>
                  <a:pt x="1979317" y="200530"/>
                </a:cubicBezTo>
                <a:cubicBezTo>
                  <a:pt x="1976518" y="197731"/>
                  <a:pt x="1970922" y="197731"/>
                  <a:pt x="1968123" y="200530"/>
                </a:cubicBezTo>
                <a:close/>
                <a:moveTo>
                  <a:pt x="1890255" y="199484"/>
                </a:moveTo>
                <a:cubicBezTo>
                  <a:pt x="1888156" y="199835"/>
                  <a:pt x="1886057" y="200536"/>
                  <a:pt x="1884658" y="200536"/>
                </a:cubicBezTo>
                <a:cubicBezTo>
                  <a:pt x="1825894" y="214559"/>
                  <a:pt x="1781121" y="239800"/>
                  <a:pt x="1739147" y="284673"/>
                </a:cubicBezTo>
                <a:cubicBezTo>
                  <a:pt x="1736348" y="287478"/>
                  <a:pt x="1733550" y="290282"/>
                  <a:pt x="1733550" y="293087"/>
                </a:cubicBezTo>
                <a:cubicBezTo>
                  <a:pt x="1736348" y="298696"/>
                  <a:pt x="1739147" y="301501"/>
                  <a:pt x="1744743" y="301501"/>
                </a:cubicBezTo>
                <a:cubicBezTo>
                  <a:pt x="1744743" y="301501"/>
                  <a:pt x="1744743" y="301501"/>
                  <a:pt x="1867869" y="363202"/>
                </a:cubicBezTo>
                <a:cubicBezTo>
                  <a:pt x="1873465" y="366006"/>
                  <a:pt x="1876264" y="366006"/>
                  <a:pt x="1881860" y="363202"/>
                </a:cubicBezTo>
                <a:cubicBezTo>
                  <a:pt x="1884658" y="360397"/>
                  <a:pt x="1887457" y="357592"/>
                  <a:pt x="1887457" y="351983"/>
                </a:cubicBezTo>
                <a:cubicBezTo>
                  <a:pt x="1887457" y="351983"/>
                  <a:pt x="1887457" y="351983"/>
                  <a:pt x="1898650" y="214559"/>
                </a:cubicBezTo>
                <a:cubicBezTo>
                  <a:pt x="1898650" y="206145"/>
                  <a:pt x="1895852" y="203340"/>
                  <a:pt x="1895852" y="200536"/>
                </a:cubicBezTo>
                <a:cubicBezTo>
                  <a:pt x="1894453" y="199134"/>
                  <a:pt x="1892354" y="199134"/>
                  <a:pt x="1890255" y="199484"/>
                </a:cubicBezTo>
                <a:close/>
                <a:moveTo>
                  <a:pt x="1932782" y="151693"/>
                </a:moveTo>
                <a:cubicBezTo>
                  <a:pt x="2095420" y="151693"/>
                  <a:pt x="2227264" y="284959"/>
                  <a:pt x="2227264" y="449350"/>
                </a:cubicBezTo>
                <a:cubicBezTo>
                  <a:pt x="2227264" y="613741"/>
                  <a:pt x="2095420" y="747007"/>
                  <a:pt x="1932782" y="747007"/>
                </a:cubicBezTo>
                <a:cubicBezTo>
                  <a:pt x="1770144" y="747007"/>
                  <a:pt x="1638300" y="613741"/>
                  <a:pt x="1638300" y="449350"/>
                </a:cubicBezTo>
                <a:cubicBezTo>
                  <a:pt x="1638300" y="284959"/>
                  <a:pt x="1770144" y="151693"/>
                  <a:pt x="1932782" y="151693"/>
                </a:cubicBezTo>
                <a:close/>
                <a:moveTo>
                  <a:pt x="1931988" y="108832"/>
                </a:moveTo>
                <a:cubicBezTo>
                  <a:pt x="1746993" y="108832"/>
                  <a:pt x="1597025" y="260577"/>
                  <a:pt x="1597025" y="447764"/>
                </a:cubicBezTo>
                <a:cubicBezTo>
                  <a:pt x="1597025" y="634951"/>
                  <a:pt x="1746993" y="786696"/>
                  <a:pt x="1931988" y="786696"/>
                </a:cubicBezTo>
                <a:cubicBezTo>
                  <a:pt x="2116983" y="786696"/>
                  <a:pt x="2266951" y="634951"/>
                  <a:pt x="2266951" y="447764"/>
                </a:cubicBezTo>
                <a:cubicBezTo>
                  <a:pt x="2266951" y="260577"/>
                  <a:pt x="2116983" y="108832"/>
                  <a:pt x="1931988" y="108832"/>
                </a:cubicBezTo>
                <a:close/>
                <a:moveTo>
                  <a:pt x="1914436" y="2117"/>
                </a:moveTo>
                <a:cubicBezTo>
                  <a:pt x="1914436" y="2117"/>
                  <a:pt x="1914436" y="2117"/>
                  <a:pt x="1917229" y="2117"/>
                </a:cubicBezTo>
                <a:cubicBezTo>
                  <a:pt x="1925608" y="-706"/>
                  <a:pt x="1936781" y="-706"/>
                  <a:pt x="1945160" y="2117"/>
                </a:cubicBezTo>
                <a:cubicBezTo>
                  <a:pt x="1945160" y="2117"/>
                  <a:pt x="1945160" y="2117"/>
                  <a:pt x="1947953" y="2117"/>
                </a:cubicBezTo>
                <a:cubicBezTo>
                  <a:pt x="1959125" y="21876"/>
                  <a:pt x="1964711" y="47281"/>
                  <a:pt x="1964711" y="69864"/>
                </a:cubicBezTo>
                <a:cubicBezTo>
                  <a:pt x="1970297" y="69864"/>
                  <a:pt x="1992641" y="72686"/>
                  <a:pt x="1995434" y="75509"/>
                </a:cubicBezTo>
                <a:cubicBezTo>
                  <a:pt x="2001020" y="50104"/>
                  <a:pt x="2014985" y="27522"/>
                  <a:pt x="2031743" y="13408"/>
                </a:cubicBezTo>
                <a:cubicBezTo>
                  <a:pt x="2042915" y="13408"/>
                  <a:pt x="2054087" y="16231"/>
                  <a:pt x="2059673" y="19054"/>
                </a:cubicBezTo>
                <a:cubicBezTo>
                  <a:pt x="2059673" y="19054"/>
                  <a:pt x="2059673" y="19054"/>
                  <a:pt x="2062466" y="19054"/>
                </a:cubicBezTo>
                <a:cubicBezTo>
                  <a:pt x="2062466" y="19054"/>
                  <a:pt x="2062466" y="19054"/>
                  <a:pt x="2062466" y="21876"/>
                </a:cubicBezTo>
                <a:cubicBezTo>
                  <a:pt x="2065259" y="33168"/>
                  <a:pt x="2068052" y="44459"/>
                  <a:pt x="2068052" y="55750"/>
                </a:cubicBezTo>
                <a:cubicBezTo>
                  <a:pt x="2068052" y="69864"/>
                  <a:pt x="2065259" y="81155"/>
                  <a:pt x="2062466" y="92446"/>
                </a:cubicBezTo>
                <a:cubicBezTo>
                  <a:pt x="2065259" y="95269"/>
                  <a:pt x="2087603" y="103737"/>
                  <a:pt x="2090396" y="103737"/>
                </a:cubicBezTo>
                <a:cubicBezTo>
                  <a:pt x="2104361" y="83977"/>
                  <a:pt x="2121119" y="64218"/>
                  <a:pt x="2140670" y="55750"/>
                </a:cubicBezTo>
                <a:cubicBezTo>
                  <a:pt x="2140670" y="55750"/>
                  <a:pt x="2140670" y="55750"/>
                  <a:pt x="2140670" y="52927"/>
                </a:cubicBezTo>
                <a:cubicBezTo>
                  <a:pt x="2140670" y="52927"/>
                  <a:pt x="2140670" y="52927"/>
                  <a:pt x="2143463" y="55750"/>
                </a:cubicBezTo>
                <a:cubicBezTo>
                  <a:pt x="2149049" y="58573"/>
                  <a:pt x="2160221" y="64218"/>
                  <a:pt x="2168600" y="69864"/>
                </a:cubicBezTo>
                <a:cubicBezTo>
                  <a:pt x="2168600" y="69864"/>
                  <a:pt x="2168600" y="72686"/>
                  <a:pt x="2168600" y="72686"/>
                </a:cubicBezTo>
                <a:cubicBezTo>
                  <a:pt x="2168600" y="95269"/>
                  <a:pt x="2163014" y="117851"/>
                  <a:pt x="2149049" y="140433"/>
                </a:cubicBezTo>
                <a:cubicBezTo>
                  <a:pt x="2151842" y="143256"/>
                  <a:pt x="2171393" y="157370"/>
                  <a:pt x="2174186" y="157370"/>
                </a:cubicBezTo>
                <a:cubicBezTo>
                  <a:pt x="2190944" y="140433"/>
                  <a:pt x="2213288" y="129142"/>
                  <a:pt x="2235633" y="123496"/>
                </a:cubicBezTo>
                <a:cubicBezTo>
                  <a:pt x="2244012" y="129142"/>
                  <a:pt x="2252391" y="137610"/>
                  <a:pt x="2257977" y="143256"/>
                </a:cubicBezTo>
                <a:cubicBezTo>
                  <a:pt x="2257977" y="143256"/>
                  <a:pt x="2257977" y="143256"/>
                  <a:pt x="2257977" y="146079"/>
                </a:cubicBezTo>
                <a:cubicBezTo>
                  <a:pt x="2252391" y="168661"/>
                  <a:pt x="2238425" y="191243"/>
                  <a:pt x="2221667" y="208180"/>
                </a:cubicBezTo>
                <a:cubicBezTo>
                  <a:pt x="2224461" y="211002"/>
                  <a:pt x="2238425" y="230762"/>
                  <a:pt x="2241219" y="230762"/>
                </a:cubicBezTo>
                <a:cubicBezTo>
                  <a:pt x="2260770" y="219471"/>
                  <a:pt x="2285907" y="213825"/>
                  <a:pt x="2308251" y="213825"/>
                </a:cubicBezTo>
                <a:cubicBezTo>
                  <a:pt x="2308251" y="213825"/>
                  <a:pt x="2308251" y="213825"/>
                  <a:pt x="2311044" y="213825"/>
                </a:cubicBezTo>
                <a:cubicBezTo>
                  <a:pt x="2316630" y="222293"/>
                  <a:pt x="2322216" y="233585"/>
                  <a:pt x="2325009" y="239230"/>
                </a:cubicBezTo>
                <a:cubicBezTo>
                  <a:pt x="2325009" y="239230"/>
                  <a:pt x="2325009" y="239230"/>
                  <a:pt x="2325009" y="242053"/>
                </a:cubicBezTo>
                <a:cubicBezTo>
                  <a:pt x="2313837" y="261812"/>
                  <a:pt x="2297079" y="281572"/>
                  <a:pt x="2274735" y="292863"/>
                </a:cubicBezTo>
                <a:cubicBezTo>
                  <a:pt x="2277528" y="295686"/>
                  <a:pt x="2285907" y="318268"/>
                  <a:pt x="2285907" y="321091"/>
                </a:cubicBezTo>
                <a:cubicBezTo>
                  <a:pt x="2311044" y="315445"/>
                  <a:pt x="2336181" y="312622"/>
                  <a:pt x="2355732" y="321091"/>
                </a:cubicBezTo>
                <a:cubicBezTo>
                  <a:pt x="2355732" y="321091"/>
                  <a:pt x="2355732" y="321091"/>
                  <a:pt x="2358525" y="321091"/>
                </a:cubicBezTo>
                <a:cubicBezTo>
                  <a:pt x="2361318" y="329559"/>
                  <a:pt x="2364111" y="340850"/>
                  <a:pt x="2366904" y="349318"/>
                </a:cubicBezTo>
                <a:cubicBezTo>
                  <a:pt x="2366904" y="349318"/>
                  <a:pt x="2366904" y="349318"/>
                  <a:pt x="2366904" y="352141"/>
                </a:cubicBezTo>
                <a:cubicBezTo>
                  <a:pt x="2366904" y="352141"/>
                  <a:pt x="2366904" y="352141"/>
                  <a:pt x="2364111" y="352141"/>
                </a:cubicBezTo>
                <a:cubicBezTo>
                  <a:pt x="2350146" y="369078"/>
                  <a:pt x="2327802" y="380369"/>
                  <a:pt x="2305458" y="388837"/>
                </a:cubicBezTo>
                <a:cubicBezTo>
                  <a:pt x="2305458" y="391660"/>
                  <a:pt x="2308251" y="414242"/>
                  <a:pt x="2308251" y="417065"/>
                </a:cubicBezTo>
                <a:cubicBezTo>
                  <a:pt x="2333388" y="417065"/>
                  <a:pt x="2358525" y="425533"/>
                  <a:pt x="2375283" y="436824"/>
                </a:cubicBezTo>
                <a:cubicBezTo>
                  <a:pt x="2375283" y="436824"/>
                  <a:pt x="2375283" y="436824"/>
                  <a:pt x="2378076" y="436824"/>
                </a:cubicBezTo>
                <a:cubicBezTo>
                  <a:pt x="2378076" y="442470"/>
                  <a:pt x="2378076" y="448115"/>
                  <a:pt x="2378076" y="450938"/>
                </a:cubicBezTo>
                <a:cubicBezTo>
                  <a:pt x="2378076" y="456584"/>
                  <a:pt x="2378076" y="462229"/>
                  <a:pt x="2378076" y="467875"/>
                </a:cubicBezTo>
                <a:cubicBezTo>
                  <a:pt x="2378076" y="467875"/>
                  <a:pt x="2378076" y="467875"/>
                  <a:pt x="2375283" y="467875"/>
                </a:cubicBezTo>
                <a:cubicBezTo>
                  <a:pt x="2358525" y="479166"/>
                  <a:pt x="2333388" y="487634"/>
                  <a:pt x="2308251" y="487634"/>
                </a:cubicBezTo>
                <a:cubicBezTo>
                  <a:pt x="2308251" y="490457"/>
                  <a:pt x="2305458" y="513039"/>
                  <a:pt x="2302665" y="515862"/>
                </a:cubicBezTo>
                <a:cubicBezTo>
                  <a:pt x="2327802" y="524330"/>
                  <a:pt x="2350146" y="535621"/>
                  <a:pt x="2364111" y="552558"/>
                </a:cubicBezTo>
                <a:cubicBezTo>
                  <a:pt x="2364111" y="552558"/>
                  <a:pt x="2364111" y="552558"/>
                  <a:pt x="2364111" y="555381"/>
                </a:cubicBezTo>
                <a:cubicBezTo>
                  <a:pt x="2364111" y="563849"/>
                  <a:pt x="2361318" y="575140"/>
                  <a:pt x="2358525" y="583609"/>
                </a:cubicBezTo>
                <a:cubicBezTo>
                  <a:pt x="2358525" y="583609"/>
                  <a:pt x="2358525" y="583609"/>
                  <a:pt x="2355732" y="583609"/>
                </a:cubicBezTo>
                <a:cubicBezTo>
                  <a:pt x="2333388" y="589254"/>
                  <a:pt x="2308251" y="589254"/>
                  <a:pt x="2285907" y="583609"/>
                </a:cubicBezTo>
                <a:cubicBezTo>
                  <a:pt x="2285907" y="586431"/>
                  <a:pt x="2274735" y="606191"/>
                  <a:pt x="2274735" y="611836"/>
                </a:cubicBezTo>
                <a:cubicBezTo>
                  <a:pt x="2294286" y="623127"/>
                  <a:pt x="2313837" y="642887"/>
                  <a:pt x="2325009" y="659824"/>
                </a:cubicBezTo>
                <a:cubicBezTo>
                  <a:pt x="2325009" y="659824"/>
                  <a:pt x="2325009" y="659824"/>
                  <a:pt x="2325009" y="662646"/>
                </a:cubicBezTo>
                <a:cubicBezTo>
                  <a:pt x="2322216" y="671115"/>
                  <a:pt x="2313837" y="682406"/>
                  <a:pt x="2311044" y="688051"/>
                </a:cubicBezTo>
                <a:cubicBezTo>
                  <a:pt x="2311044" y="688051"/>
                  <a:pt x="2311044" y="688051"/>
                  <a:pt x="2308251" y="690874"/>
                </a:cubicBezTo>
                <a:cubicBezTo>
                  <a:pt x="2285907" y="690874"/>
                  <a:pt x="2260770" y="682406"/>
                  <a:pt x="2238425" y="671115"/>
                </a:cubicBezTo>
                <a:cubicBezTo>
                  <a:pt x="2238425" y="673937"/>
                  <a:pt x="2224461" y="693697"/>
                  <a:pt x="2221667" y="696520"/>
                </a:cubicBezTo>
                <a:cubicBezTo>
                  <a:pt x="2238425" y="713456"/>
                  <a:pt x="2252391" y="736038"/>
                  <a:pt x="2257977" y="758621"/>
                </a:cubicBezTo>
                <a:cubicBezTo>
                  <a:pt x="2257977" y="758621"/>
                  <a:pt x="2257977" y="758621"/>
                  <a:pt x="2255184" y="758621"/>
                </a:cubicBezTo>
                <a:cubicBezTo>
                  <a:pt x="2252391" y="767089"/>
                  <a:pt x="2241219" y="775557"/>
                  <a:pt x="2235633" y="781203"/>
                </a:cubicBezTo>
                <a:cubicBezTo>
                  <a:pt x="2235633" y="781203"/>
                  <a:pt x="2235633" y="781203"/>
                  <a:pt x="2232839" y="781203"/>
                </a:cubicBezTo>
                <a:cubicBezTo>
                  <a:pt x="2213288" y="775557"/>
                  <a:pt x="2190944" y="761443"/>
                  <a:pt x="2171393" y="744507"/>
                </a:cubicBezTo>
                <a:cubicBezTo>
                  <a:pt x="2168600" y="747330"/>
                  <a:pt x="2151842" y="761443"/>
                  <a:pt x="2149049" y="764266"/>
                </a:cubicBezTo>
                <a:cubicBezTo>
                  <a:pt x="2160221" y="784026"/>
                  <a:pt x="2168600" y="809431"/>
                  <a:pt x="2168600" y="829190"/>
                </a:cubicBezTo>
                <a:cubicBezTo>
                  <a:pt x="2168600" y="832013"/>
                  <a:pt x="2168600" y="832013"/>
                  <a:pt x="2168600" y="832013"/>
                </a:cubicBezTo>
                <a:cubicBezTo>
                  <a:pt x="2168600" y="832013"/>
                  <a:pt x="2168600" y="832013"/>
                  <a:pt x="2165807" y="834836"/>
                </a:cubicBezTo>
                <a:cubicBezTo>
                  <a:pt x="2160221" y="840481"/>
                  <a:pt x="2149049" y="846127"/>
                  <a:pt x="2140670" y="848949"/>
                </a:cubicBezTo>
                <a:cubicBezTo>
                  <a:pt x="2121119" y="837658"/>
                  <a:pt x="2101568" y="820722"/>
                  <a:pt x="2090396" y="798140"/>
                </a:cubicBezTo>
                <a:cubicBezTo>
                  <a:pt x="2087603" y="800962"/>
                  <a:pt x="2065259" y="809431"/>
                  <a:pt x="2062466" y="809431"/>
                </a:cubicBezTo>
                <a:cubicBezTo>
                  <a:pt x="2065259" y="820722"/>
                  <a:pt x="2065259" y="834836"/>
                  <a:pt x="2065259" y="846127"/>
                </a:cubicBezTo>
                <a:cubicBezTo>
                  <a:pt x="2065259" y="857418"/>
                  <a:pt x="2065259" y="871532"/>
                  <a:pt x="2062466" y="882823"/>
                </a:cubicBezTo>
                <a:cubicBezTo>
                  <a:pt x="2062466" y="882823"/>
                  <a:pt x="2062466" y="882823"/>
                  <a:pt x="2059673" y="882823"/>
                </a:cubicBezTo>
                <a:cubicBezTo>
                  <a:pt x="2054087" y="885646"/>
                  <a:pt x="2040122" y="888468"/>
                  <a:pt x="2031743" y="891291"/>
                </a:cubicBezTo>
                <a:cubicBezTo>
                  <a:pt x="2014985" y="874354"/>
                  <a:pt x="2001020" y="851772"/>
                  <a:pt x="1995434" y="829190"/>
                </a:cubicBezTo>
                <a:cubicBezTo>
                  <a:pt x="1992641" y="829190"/>
                  <a:pt x="1970297" y="832013"/>
                  <a:pt x="1967504" y="832013"/>
                </a:cubicBezTo>
                <a:cubicBezTo>
                  <a:pt x="1964711" y="857418"/>
                  <a:pt x="1959125" y="882823"/>
                  <a:pt x="1947953" y="902582"/>
                </a:cubicBezTo>
                <a:cubicBezTo>
                  <a:pt x="1947953" y="902582"/>
                  <a:pt x="1947953" y="902582"/>
                  <a:pt x="1945160" y="902582"/>
                </a:cubicBezTo>
                <a:cubicBezTo>
                  <a:pt x="1939574" y="902582"/>
                  <a:pt x="1925608" y="902582"/>
                  <a:pt x="1917229" y="902582"/>
                </a:cubicBezTo>
                <a:cubicBezTo>
                  <a:pt x="1917229" y="902582"/>
                  <a:pt x="1917229" y="902582"/>
                  <a:pt x="1914436" y="902582"/>
                </a:cubicBezTo>
                <a:cubicBezTo>
                  <a:pt x="1903264" y="882823"/>
                  <a:pt x="1897678" y="857418"/>
                  <a:pt x="1897678" y="832013"/>
                </a:cubicBezTo>
                <a:cubicBezTo>
                  <a:pt x="1894885" y="832013"/>
                  <a:pt x="1869748" y="829190"/>
                  <a:pt x="1866955" y="829190"/>
                </a:cubicBezTo>
                <a:cubicBezTo>
                  <a:pt x="1861369" y="851772"/>
                  <a:pt x="1847404" y="874354"/>
                  <a:pt x="1833439" y="891291"/>
                </a:cubicBezTo>
                <a:cubicBezTo>
                  <a:pt x="1833439" y="891291"/>
                  <a:pt x="1833439" y="891291"/>
                  <a:pt x="1830646" y="891291"/>
                </a:cubicBezTo>
                <a:cubicBezTo>
                  <a:pt x="1822267" y="888468"/>
                  <a:pt x="1808302" y="885646"/>
                  <a:pt x="1802716" y="882823"/>
                </a:cubicBezTo>
                <a:cubicBezTo>
                  <a:pt x="1802716" y="882823"/>
                  <a:pt x="1802716" y="882823"/>
                  <a:pt x="1799923" y="882823"/>
                </a:cubicBezTo>
                <a:cubicBezTo>
                  <a:pt x="1799923" y="882823"/>
                  <a:pt x="1799923" y="882823"/>
                  <a:pt x="1799923" y="880000"/>
                </a:cubicBezTo>
                <a:cubicBezTo>
                  <a:pt x="1797130" y="871532"/>
                  <a:pt x="1797130" y="857418"/>
                  <a:pt x="1797130" y="846127"/>
                </a:cubicBezTo>
                <a:cubicBezTo>
                  <a:pt x="1797130" y="834836"/>
                  <a:pt x="1797130" y="820722"/>
                  <a:pt x="1799923" y="809431"/>
                </a:cubicBezTo>
                <a:cubicBezTo>
                  <a:pt x="1797130" y="809431"/>
                  <a:pt x="1777579" y="800962"/>
                  <a:pt x="1774786" y="798140"/>
                </a:cubicBezTo>
                <a:cubicBezTo>
                  <a:pt x="1760821" y="820722"/>
                  <a:pt x="1744063" y="837658"/>
                  <a:pt x="1724512" y="848949"/>
                </a:cubicBezTo>
                <a:cubicBezTo>
                  <a:pt x="1724512" y="848949"/>
                  <a:pt x="1724512" y="848949"/>
                  <a:pt x="1721719" y="851772"/>
                </a:cubicBezTo>
                <a:cubicBezTo>
                  <a:pt x="1721719" y="851772"/>
                  <a:pt x="1721719" y="851772"/>
                  <a:pt x="1721719" y="848949"/>
                </a:cubicBezTo>
                <a:cubicBezTo>
                  <a:pt x="1713340" y="846127"/>
                  <a:pt x="1702168" y="840481"/>
                  <a:pt x="1696582" y="834836"/>
                </a:cubicBezTo>
                <a:cubicBezTo>
                  <a:pt x="1696582" y="834836"/>
                  <a:pt x="1696582" y="832013"/>
                  <a:pt x="1696582" y="832013"/>
                </a:cubicBezTo>
                <a:cubicBezTo>
                  <a:pt x="1696582" y="809431"/>
                  <a:pt x="1702168" y="786848"/>
                  <a:pt x="1713340" y="764266"/>
                </a:cubicBezTo>
                <a:cubicBezTo>
                  <a:pt x="1710547" y="761443"/>
                  <a:pt x="1693789" y="747330"/>
                  <a:pt x="1690996" y="744507"/>
                </a:cubicBezTo>
                <a:cubicBezTo>
                  <a:pt x="1671445" y="764266"/>
                  <a:pt x="1649101" y="775557"/>
                  <a:pt x="1629549" y="781203"/>
                </a:cubicBezTo>
                <a:cubicBezTo>
                  <a:pt x="1629549" y="781203"/>
                  <a:pt x="1629549" y="781203"/>
                  <a:pt x="1626756" y="781203"/>
                </a:cubicBezTo>
                <a:cubicBezTo>
                  <a:pt x="1621170" y="775557"/>
                  <a:pt x="1609998" y="767089"/>
                  <a:pt x="1607205" y="761443"/>
                </a:cubicBezTo>
                <a:cubicBezTo>
                  <a:pt x="1607205" y="761443"/>
                  <a:pt x="1607205" y="761443"/>
                  <a:pt x="1604412" y="758621"/>
                </a:cubicBezTo>
                <a:cubicBezTo>
                  <a:pt x="1609998" y="736038"/>
                  <a:pt x="1623963" y="713456"/>
                  <a:pt x="1640722" y="696520"/>
                </a:cubicBezTo>
                <a:cubicBezTo>
                  <a:pt x="1637929" y="693697"/>
                  <a:pt x="1623963" y="673937"/>
                  <a:pt x="1623963" y="671115"/>
                </a:cubicBezTo>
                <a:cubicBezTo>
                  <a:pt x="1601619" y="685229"/>
                  <a:pt x="1576482" y="690874"/>
                  <a:pt x="1554138" y="690874"/>
                </a:cubicBezTo>
                <a:cubicBezTo>
                  <a:pt x="1548552" y="682406"/>
                  <a:pt x="1540173" y="671115"/>
                  <a:pt x="1537380" y="665469"/>
                </a:cubicBezTo>
                <a:cubicBezTo>
                  <a:pt x="1537380" y="665469"/>
                  <a:pt x="1537380" y="665469"/>
                  <a:pt x="1537380" y="662646"/>
                </a:cubicBezTo>
                <a:cubicBezTo>
                  <a:pt x="1548552" y="642887"/>
                  <a:pt x="1568103" y="623127"/>
                  <a:pt x="1587654" y="611836"/>
                </a:cubicBezTo>
                <a:cubicBezTo>
                  <a:pt x="1587654" y="609014"/>
                  <a:pt x="1576482" y="586431"/>
                  <a:pt x="1576482" y="583609"/>
                </a:cubicBezTo>
                <a:cubicBezTo>
                  <a:pt x="1554138" y="589254"/>
                  <a:pt x="1526208" y="592077"/>
                  <a:pt x="1506657" y="583609"/>
                </a:cubicBezTo>
                <a:cubicBezTo>
                  <a:pt x="1506657" y="583609"/>
                  <a:pt x="1506657" y="583609"/>
                  <a:pt x="1503864" y="583609"/>
                </a:cubicBezTo>
                <a:cubicBezTo>
                  <a:pt x="1501071" y="575140"/>
                  <a:pt x="1498278" y="563849"/>
                  <a:pt x="1495485" y="555381"/>
                </a:cubicBezTo>
                <a:cubicBezTo>
                  <a:pt x="1495485" y="555381"/>
                  <a:pt x="1495485" y="555381"/>
                  <a:pt x="1495485" y="552558"/>
                </a:cubicBezTo>
                <a:cubicBezTo>
                  <a:pt x="1495485" y="552558"/>
                  <a:pt x="1495485" y="552558"/>
                  <a:pt x="1498278" y="552558"/>
                </a:cubicBezTo>
                <a:cubicBezTo>
                  <a:pt x="1512243" y="535621"/>
                  <a:pt x="1534587" y="524330"/>
                  <a:pt x="1559724" y="515862"/>
                </a:cubicBezTo>
                <a:cubicBezTo>
                  <a:pt x="1556931" y="513039"/>
                  <a:pt x="1554138" y="490457"/>
                  <a:pt x="1554138" y="484812"/>
                </a:cubicBezTo>
                <a:cubicBezTo>
                  <a:pt x="1529001" y="484812"/>
                  <a:pt x="1503864" y="479166"/>
                  <a:pt x="1487106" y="467875"/>
                </a:cubicBezTo>
                <a:cubicBezTo>
                  <a:pt x="1487106" y="467875"/>
                  <a:pt x="1487106" y="467875"/>
                  <a:pt x="1484313" y="467875"/>
                </a:cubicBezTo>
                <a:cubicBezTo>
                  <a:pt x="1484313" y="467875"/>
                  <a:pt x="1484313" y="467875"/>
                  <a:pt x="1484313" y="465052"/>
                </a:cubicBezTo>
                <a:cubicBezTo>
                  <a:pt x="1484313" y="462229"/>
                  <a:pt x="1484313" y="456584"/>
                  <a:pt x="1484313" y="450938"/>
                </a:cubicBezTo>
                <a:cubicBezTo>
                  <a:pt x="1484313" y="445293"/>
                  <a:pt x="1484313" y="439647"/>
                  <a:pt x="1484313" y="436824"/>
                </a:cubicBezTo>
                <a:cubicBezTo>
                  <a:pt x="1484313" y="436824"/>
                  <a:pt x="1484313" y="436824"/>
                  <a:pt x="1484313" y="434002"/>
                </a:cubicBezTo>
                <a:cubicBezTo>
                  <a:pt x="1484313" y="434002"/>
                  <a:pt x="1484313" y="434002"/>
                  <a:pt x="1487106" y="434002"/>
                </a:cubicBezTo>
                <a:cubicBezTo>
                  <a:pt x="1503864" y="422710"/>
                  <a:pt x="1529001" y="417065"/>
                  <a:pt x="1554138" y="417065"/>
                </a:cubicBezTo>
                <a:cubicBezTo>
                  <a:pt x="1554138" y="414242"/>
                  <a:pt x="1556931" y="388837"/>
                  <a:pt x="1556931" y="386014"/>
                </a:cubicBezTo>
                <a:cubicBezTo>
                  <a:pt x="1534587" y="380369"/>
                  <a:pt x="1512243" y="366255"/>
                  <a:pt x="1498278" y="352141"/>
                </a:cubicBezTo>
                <a:cubicBezTo>
                  <a:pt x="1498278" y="352141"/>
                  <a:pt x="1498278" y="352141"/>
                  <a:pt x="1495485" y="349318"/>
                </a:cubicBezTo>
                <a:cubicBezTo>
                  <a:pt x="1498278" y="340850"/>
                  <a:pt x="1501071" y="329559"/>
                  <a:pt x="1503864" y="321091"/>
                </a:cubicBezTo>
                <a:cubicBezTo>
                  <a:pt x="1503864" y="321091"/>
                  <a:pt x="1503864" y="321091"/>
                  <a:pt x="1503864" y="318268"/>
                </a:cubicBezTo>
                <a:cubicBezTo>
                  <a:pt x="1503864" y="318268"/>
                  <a:pt x="1503864" y="318268"/>
                  <a:pt x="1506657" y="318268"/>
                </a:cubicBezTo>
                <a:cubicBezTo>
                  <a:pt x="1526208" y="312622"/>
                  <a:pt x="1551345" y="312622"/>
                  <a:pt x="1576482" y="318268"/>
                </a:cubicBezTo>
                <a:cubicBezTo>
                  <a:pt x="1576482" y="315445"/>
                  <a:pt x="1584861" y="295686"/>
                  <a:pt x="1587654" y="292863"/>
                </a:cubicBezTo>
                <a:cubicBezTo>
                  <a:pt x="1565310" y="278749"/>
                  <a:pt x="1548552" y="261812"/>
                  <a:pt x="1537380" y="242053"/>
                </a:cubicBezTo>
                <a:cubicBezTo>
                  <a:pt x="1537380" y="242053"/>
                  <a:pt x="1537380" y="242053"/>
                  <a:pt x="1537380" y="239230"/>
                </a:cubicBezTo>
                <a:cubicBezTo>
                  <a:pt x="1540173" y="230762"/>
                  <a:pt x="1545759" y="219471"/>
                  <a:pt x="1551345" y="213825"/>
                </a:cubicBezTo>
                <a:cubicBezTo>
                  <a:pt x="1551345" y="213825"/>
                  <a:pt x="1551345" y="213825"/>
                  <a:pt x="1554138" y="213825"/>
                </a:cubicBezTo>
                <a:cubicBezTo>
                  <a:pt x="1576482" y="213825"/>
                  <a:pt x="1601619" y="219471"/>
                  <a:pt x="1621170" y="230762"/>
                </a:cubicBezTo>
                <a:cubicBezTo>
                  <a:pt x="1623963" y="227939"/>
                  <a:pt x="1637929" y="208180"/>
                  <a:pt x="1640722" y="208180"/>
                </a:cubicBezTo>
                <a:cubicBezTo>
                  <a:pt x="1623963" y="188420"/>
                  <a:pt x="1609998" y="165838"/>
                  <a:pt x="1604412" y="146079"/>
                </a:cubicBezTo>
                <a:cubicBezTo>
                  <a:pt x="1604412" y="146079"/>
                  <a:pt x="1604412" y="146079"/>
                  <a:pt x="1604412" y="143256"/>
                </a:cubicBezTo>
                <a:cubicBezTo>
                  <a:pt x="1609998" y="134787"/>
                  <a:pt x="1618377" y="126319"/>
                  <a:pt x="1626756" y="123496"/>
                </a:cubicBezTo>
                <a:cubicBezTo>
                  <a:pt x="1626756" y="123496"/>
                  <a:pt x="1626756" y="123496"/>
                  <a:pt x="1626756" y="120674"/>
                </a:cubicBezTo>
                <a:cubicBezTo>
                  <a:pt x="1626756" y="120674"/>
                  <a:pt x="1626756" y="120674"/>
                  <a:pt x="1629549" y="120674"/>
                </a:cubicBezTo>
                <a:cubicBezTo>
                  <a:pt x="1649101" y="126319"/>
                  <a:pt x="1671445" y="140433"/>
                  <a:pt x="1688203" y="157370"/>
                </a:cubicBezTo>
                <a:cubicBezTo>
                  <a:pt x="1690996" y="154547"/>
                  <a:pt x="1707754" y="143256"/>
                  <a:pt x="1710547" y="140433"/>
                </a:cubicBezTo>
                <a:cubicBezTo>
                  <a:pt x="1699375" y="117851"/>
                  <a:pt x="1693789" y="95269"/>
                  <a:pt x="1693789" y="72686"/>
                </a:cubicBezTo>
                <a:cubicBezTo>
                  <a:pt x="1693789" y="72686"/>
                  <a:pt x="1693789" y="69864"/>
                  <a:pt x="1693789" y="69864"/>
                </a:cubicBezTo>
                <a:cubicBezTo>
                  <a:pt x="1702168" y="64218"/>
                  <a:pt x="1710547" y="58573"/>
                  <a:pt x="1718926" y="52927"/>
                </a:cubicBezTo>
                <a:cubicBezTo>
                  <a:pt x="1718926" y="52927"/>
                  <a:pt x="1718926" y="52927"/>
                  <a:pt x="1721719" y="52927"/>
                </a:cubicBezTo>
                <a:cubicBezTo>
                  <a:pt x="1721719" y="52927"/>
                  <a:pt x="1721719" y="52927"/>
                  <a:pt x="1721719" y="55750"/>
                </a:cubicBezTo>
                <a:cubicBezTo>
                  <a:pt x="1741270" y="64218"/>
                  <a:pt x="1758028" y="83977"/>
                  <a:pt x="1771993" y="103737"/>
                </a:cubicBezTo>
                <a:cubicBezTo>
                  <a:pt x="1774786" y="103737"/>
                  <a:pt x="1797130" y="92446"/>
                  <a:pt x="1799923" y="92446"/>
                </a:cubicBezTo>
                <a:cubicBezTo>
                  <a:pt x="1797130" y="81155"/>
                  <a:pt x="1794337" y="69864"/>
                  <a:pt x="1794337" y="55750"/>
                </a:cubicBezTo>
                <a:cubicBezTo>
                  <a:pt x="1794337" y="44459"/>
                  <a:pt x="1797130" y="33168"/>
                  <a:pt x="1799923" y="21876"/>
                </a:cubicBezTo>
                <a:cubicBezTo>
                  <a:pt x="1799923" y="21876"/>
                  <a:pt x="1799923" y="21876"/>
                  <a:pt x="1799923" y="19054"/>
                </a:cubicBezTo>
                <a:cubicBezTo>
                  <a:pt x="1808302" y="16231"/>
                  <a:pt x="1819474" y="13408"/>
                  <a:pt x="1827853" y="13408"/>
                </a:cubicBezTo>
                <a:cubicBezTo>
                  <a:pt x="1827853" y="13408"/>
                  <a:pt x="1827853" y="13408"/>
                  <a:pt x="1830646" y="10585"/>
                </a:cubicBezTo>
                <a:cubicBezTo>
                  <a:pt x="1830646" y="10585"/>
                  <a:pt x="1830646" y="10585"/>
                  <a:pt x="1830646" y="13408"/>
                </a:cubicBezTo>
                <a:cubicBezTo>
                  <a:pt x="1847404" y="27522"/>
                  <a:pt x="1858576" y="50104"/>
                  <a:pt x="1866955" y="75509"/>
                </a:cubicBezTo>
                <a:cubicBezTo>
                  <a:pt x="1869748" y="72686"/>
                  <a:pt x="1892092" y="69864"/>
                  <a:pt x="1897678" y="69864"/>
                </a:cubicBezTo>
                <a:cubicBezTo>
                  <a:pt x="1897678" y="47281"/>
                  <a:pt x="1903264" y="21876"/>
                  <a:pt x="1914436" y="21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46" name="Group 45">
            <a:extLst>
              <a:ext uri="{FF2B5EF4-FFF2-40B4-BE49-F238E27FC236}">
                <a16:creationId xmlns:a16="http://schemas.microsoft.com/office/drawing/2014/main" id="{246B794E-5CDF-486C-BB16-FB17144FE6EB}"/>
              </a:ext>
            </a:extLst>
          </p:cNvPr>
          <p:cNvGrpSpPr/>
          <p:nvPr userDrawn="1"/>
        </p:nvGrpSpPr>
        <p:grpSpPr>
          <a:xfrm>
            <a:off x="91018" y="6984916"/>
            <a:ext cx="4987750" cy="451900"/>
            <a:chOff x="91018" y="6984916"/>
            <a:chExt cx="4987750" cy="451900"/>
          </a:xfrm>
        </p:grpSpPr>
        <p:grpSp>
          <p:nvGrpSpPr>
            <p:cNvPr id="70" name="Group 69">
              <a:extLst>
                <a:ext uri="{FF2B5EF4-FFF2-40B4-BE49-F238E27FC236}">
                  <a16:creationId xmlns:a16="http://schemas.microsoft.com/office/drawing/2014/main" id="{149BFEB0-AA7C-4113-8CCE-423163CF04E0}"/>
                </a:ext>
              </a:extLst>
            </p:cNvPr>
            <p:cNvGrpSpPr/>
            <p:nvPr userDrawn="1"/>
          </p:nvGrpSpPr>
          <p:grpSpPr>
            <a:xfrm>
              <a:off x="1383401" y="6984916"/>
              <a:ext cx="3695367" cy="430863"/>
              <a:chOff x="1316510" y="6885708"/>
              <a:chExt cx="3695367" cy="430863"/>
            </a:xfrm>
          </p:grpSpPr>
          <p:sp>
            <p:nvSpPr>
              <p:cNvPr id="73" name="Rectangle 72">
                <a:extLst>
                  <a:ext uri="{FF2B5EF4-FFF2-40B4-BE49-F238E27FC236}">
                    <a16:creationId xmlns:a16="http://schemas.microsoft.com/office/drawing/2014/main" id="{0CDA0D59-9C48-4EC6-A43D-6CD41A11367B}"/>
                  </a:ext>
                </a:extLst>
              </p:cNvPr>
              <p:cNvSpPr/>
              <p:nvPr userDrawn="1"/>
            </p:nvSpPr>
            <p:spPr>
              <a:xfrm>
                <a:off x="1316510" y="6885708"/>
                <a:ext cx="893202" cy="202251"/>
              </a:xfrm>
              <a:prstGeom prst="rect">
                <a:avLst/>
              </a:prstGeom>
              <a:solidFill>
                <a:srgbClr val="17458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en-US" sz="700" dirty="0"/>
                  <a:t>Royal Blue</a:t>
                </a:r>
                <a:br>
                  <a:rPr lang="en-US" sz="700" dirty="0"/>
                </a:br>
                <a:r>
                  <a:rPr lang="en-US" sz="600" dirty="0"/>
                  <a:t>R23,G69,B143</a:t>
                </a:r>
                <a:endParaRPr lang="en-US" sz="700" dirty="0"/>
              </a:p>
            </p:txBody>
          </p:sp>
          <p:sp>
            <p:nvSpPr>
              <p:cNvPr id="74" name="Rectangle 73">
                <a:extLst>
                  <a:ext uri="{FF2B5EF4-FFF2-40B4-BE49-F238E27FC236}">
                    <a16:creationId xmlns:a16="http://schemas.microsoft.com/office/drawing/2014/main" id="{9C8F43D5-A3A0-4CA4-A48D-C1DA97474E37}"/>
                  </a:ext>
                </a:extLst>
              </p:cNvPr>
              <p:cNvSpPr/>
              <p:nvPr userDrawn="1"/>
            </p:nvSpPr>
            <p:spPr>
              <a:xfrm>
                <a:off x="2250565" y="6885708"/>
                <a:ext cx="893202" cy="202251"/>
              </a:xfrm>
              <a:prstGeom prst="rect">
                <a:avLst/>
              </a:prstGeom>
              <a:solidFill>
                <a:srgbClr val="005DA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a:t>Azure</a:t>
                </a:r>
                <a:br>
                  <a:rPr lang="en-US" sz="600" dirty="0"/>
                </a:br>
                <a:r>
                  <a:rPr lang="en-US" sz="600" dirty="0">
                    <a:solidFill>
                      <a:schemeClr val="bg1"/>
                    </a:solidFill>
                  </a:rPr>
                  <a:t>R0,G93,B170</a:t>
                </a:r>
              </a:p>
            </p:txBody>
          </p:sp>
          <p:sp>
            <p:nvSpPr>
              <p:cNvPr id="75" name="Rectangle 74">
                <a:extLst>
                  <a:ext uri="{FF2B5EF4-FFF2-40B4-BE49-F238E27FC236}">
                    <a16:creationId xmlns:a16="http://schemas.microsoft.com/office/drawing/2014/main" id="{495E0B98-5E73-4197-9D7D-35EB6E0A37AB}"/>
                  </a:ext>
                </a:extLst>
              </p:cNvPr>
              <p:cNvSpPr/>
              <p:nvPr userDrawn="1"/>
            </p:nvSpPr>
            <p:spPr>
              <a:xfrm>
                <a:off x="3184620" y="6885708"/>
                <a:ext cx="893202" cy="202251"/>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a:solidFill>
                      <a:schemeClr val="tx1"/>
                    </a:solidFill>
                  </a:rPr>
                  <a:t>Sky Blue </a:t>
                </a:r>
                <a:br>
                  <a:rPr lang="en-US" sz="600" dirty="0">
                    <a:solidFill>
                      <a:schemeClr val="tx1"/>
                    </a:solidFill>
                  </a:rPr>
                </a:br>
                <a:r>
                  <a:rPr lang="en-US" sz="600" dirty="0">
                    <a:solidFill>
                      <a:schemeClr val="tx1"/>
                    </a:solidFill>
                  </a:rPr>
                  <a:t>R1,G180,B231</a:t>
                </a:r>
              </a:p>
            </p:txBody>
          </p:sp>
          <p:sp>
            <p:nvSpPr>
              <p:cNvPr id="76" name="Rectangle 75">
                <a:extLst>
                  <a:ext uri="{FF2B5EF4-FFF2-40B4-BE49-F238E27FC236}">
                    <a16:creationId xmlns:a16="http://schemas.microsoft.com/office/drawing/2014/main" id="{71E96884-F4F6-4F83-AC43-4C4B5EBB857B}"/>
                  </a:ext>
                </a:extLst>
              </p:cNvPr>
              <p:cNvSpPr/>
              <p:nvPr userDrawn="1"/>
            </p:nvSpPr>
            <p:spPr>
              <a:xfrm>
                <a:off x="3184620" y="7114320"/>
                <a:ext cx="893202" cy="202251"/>
              </a:xfrm>
              <a:prstGeom prst="rect">
                <a:avLst/>
              </a:prstGeom>
              <a:solidFill>
                <a:srgbClr val="87217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a:t>Violet</a:t>
                </a:r>
                <a:br>
                  <a:rPr lang="en-US" sz="600" dirty="0"/>
                </a:br>
                <a:r>
                  <a:rPr lang="en-US" sz="600" dirty="0"/>
                  <a:t>R135,G33,B117</a:t>
                </a:r>
              </a:p>
            </p:txBody>
          </p:sp>
          <p:sp>
            <p:nvSpPr>
              <p:cNvPr id="77" name="Rectangle 76">
                <a:extLst>
                  <a:ext uri="{FF2B5EF4-FFF2-40B4-BE49-F238E27FC236}">
                    <a16:creationId xmlns:a16="http://schemas.microsoft.com/office/drawing/2014/main" id="{66406774-A8FD-4739-AB55-039AF6BAFEC9}"/>
                  </a:ext>
                </a:extLst>
              </p:cNvPr>
              <p:cNvSpPr/>
              <p:nvPr userDrawn="1"/>
            </p:nvSpPr>
            <p:spPr>
              <a:xfrm>
                <a:off x="4118675" y="7114320"/>
                <a:ext cx="893202" cy="202251"/>
              </a:xfrm>
              <a:prstGeom prst="rect">
                <a:avLst/>
              </a:prstGeom>
              <a:solidFill>
                <a:srgbClr val="FF76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a:t>Orange</a:t>
                </a:r>
                <a:br>
                  <a:rPr lang="en-US" sz="600" dirty="0"/>
                </a:br>
                <a:r>
                  <a:rPr lang="en-US" sz="600" dirty="0"/>
                  <a:t>R255,G118,B0</a:t>
                </a:r>
              </a:p>
            </p:txBody>
          </p:sp>
          <p:sp>
            <p:nvSpPr>
              <p:cNvPr id="78" name="Rectangle 77">
                <a:extLst>
                  <a:ext uri="{FF2B5EF4-FFF2-40B4-BE49-F238E27FC236}">
                    <a16:creationId xmlns:a16="http://schemas.microsoft.com/office/drawing/2014/main" id="{63FE7641-CFBD-41B8-837F-866CB9A4B765}"/>
                  </a:ext>
                </a:extLst>
              </p:cNvPr>
              <p:cNvSpPr/>
              <p:nvPr userDrawn="1"/>
            </p:nvSpPr>
            <p:spPr>
              <a:xfrm>
                <a:off x="4118675" y="6885708"/>
                <a:ext cx="893202" cy="202251"/>
              </a:xfrm>
              <a:prstGeom prst="rect">
                <a:avLst/>
              </a:prstGeom>
              <a:solidFill>
                <a:srgbClr val="F7A81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a:solidFill>
                      <a:schemeClr val="tx1"/>
                    </a:solidFill>
                  </a:rPr>
                  <a:t>Gold</a:t>
                </a:r>
                <a:br>
                  <a:rPr lang="en-US" sz="600" dirty="0">
                    <a:solidFill>
                      <a:schemeClr val="tx1"/>
                    </a:solidFill>
                  </a:rPr>
                </a:br>
                <a:r>
                  <a:rPr lang="en-US" sz="600" dirty="0">
                    <a:solidFill>
                      <a:schemeClr val="tx1"/>
                    </a:solidFill>
                  </a:rPr>
                  <a:t>R247,G168,B27</a:t>
                </a:r>
              </a:p>
            </p:txBody>
          </p:sp>
          <p:sp>
            <p:nvSpPr>
              <p:cNvPr id="79" name="Rectangle 78">
                <a:extLst>
                  <a:ext uri="{FF2B5EF4-FFF2-40B4-BE49-F238E27FC236}">
                    <a16:creationId xmlns:a16="http://schemas.microsoft.com/office/drawing/2014/main" id="{60A0AD2B-06D2-4090-B486-69D0A0E3B851}"/>
                  </a:ext>
                </a:extLst>
              </p:cNvPr>
              <p:cNvSpPr/>
              <p:nvPr userDrawn="1"/>
            </p:nvSpPr>
            <p:spPr>
              <a:xfrm>
                <a:off x="1316510" y="7114320"/>
                <a:ext cx="893202" cy="202251"/>
              </a:xfrm>
              <a:prstGeom prst="rect">
                <a:avLst/>
              </a:prstGeom>
              <a:solidFill>
                <a:srgbClr val="D91B5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a:solidFill>
                      <a:schemeClr val="bg1"/>
                    </a:solidFill>
                  </a:rPr>
                  <a:t>Cranberry</a:t>
                </a:r>
                <a:br>
                  <a:rPr lang="en-US" sz="600" dirty="0">
                    <a:solidFill>
                      <a:schemeClr val="bg1"/>
                    </a:solidFill>
                  </a:rPr>
                </a:br>
                <a:r>
                  <a:rPr lang="en-US" sz="600" dirty="0">
                    <a:solidFill>
                      <a:schemeClr val="bg1"/>
                    </a:solidFill>
                  </a:rPr>
                  <a:t>R217,G27, B92</a:t>
                </a:r>
              </a:p>
            </p:txBody>
          </p:sp>
          <p:sp>
            <p:nvSpPr>
              <p:cNvPr id="80" name="Rectangle 79">
                <a:extLst>
                  <a:ext uri="{FF2B5EF4-FFF2-40B4-BE49-F238E27FC236}">
                    <a16:creationId xmlns:a16="http://schemas.microsoft.com/office/drawing/2014/main" id="{18274E96-7854-449E-87EB-5581B010092B}"/>
                  </a:ext>
                </a:extLst>
              </p:cNvPr>
              <p:cNvSpPr/>
              <p:nvPr userDrawn="1"/>
            </p:nvSpPr>
            <p:spPr>
              <a:xfrm>
                <a:off x="2250565" y="7114320"/>
                <a:ext cx="893202" cy="202251"/>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700" dirty="0"/>
                  <a:t>Turquoise</a:t>
                </a:r>
                <a:br>
                  <a:rPr lang="en-US" sz="600" dirty="0"/>
                </a:br>
                <a:r>
                  <a:rPr lang="en-US" sz="600" dirty="0"/>
                  <a:t>R0,G153,B153</a:t>
                </a:r>
              </a:p>
            </p:txBody>
          </p:sp>
        </p:grpSp>
        <p:sp>
          <p:nvSpPr>
            <p:cNvPr id="71" name="TextBox 70">
              <a:extLst>
                <a:ext uri="{FF2B5EF4-FFF2-40B4-BE49-F238E27FC236}">
                  <a16:creationId xmlns:a16="http://schemas.microsoft.com/office/drawing/2014/main" id="{2560BAAB-A3C2-46BF-A7FA-BC05902CB8BC}"/>
                </a:ext>
              </a:extLst>
            </p:cNvPr>
            <p:cNvSpPr txBox="1"/>
            <p:nvPr userDrawn="1"/>
          </p:nvSpPr>
          <p:spPr>
            <a:xfrm>
              <a:off x="91018" y="6984916"/>
              <a:ext cx="1258357" cy="215444"/>
            </a:xfrm>
            <a:prstGeom prst="rect">
              <a:avLst/>
            </a:prstGeom>
            <a:noFill/>
          </p:spPr>
          <p:txBody>
            <a:bodyPr wrap="none" lIns="0" rIns="0" rtlCol="0">
              <a:spAutoFit/>
            </a:bodyPr>
            <a:lstStyle/>
            <a:p>
              <a:pPr algn="r"/>
              <a:r>
                <a:rPr lang="en-US" sz="800" b="1" dirty="0">
                  <a:solidFill>
                    <a:schemeClr val="tx1"/>
                  </a:solidFill>
                </a:rPr>
                <a:t>Rotary Leadership Colors</a:t>
              </a:r>
            </a:p>
          </p:txBody>
        </p:sp>
        <p:sp>
          <p:nvSpPr>
            <p:cNvPr id="72" name="TextBox 71">
              <a:extLst>
                <a:ext uri="{FF2B5EF4-FFF2-40B4-BE49-F238E27FC236}">
                  <a16:creationId xmlns:a16="http://schemas.microsoft.com/office/drawing/2014/main" id="{157B943F-E514-4244-B35D-4D3724D292D0}"/>
                </a:ext>
              </a:extLst>
            </p:cNvPr>
            <p:cNvSpPr txBox="1"/>
            <p:nvPr userDrawn="1"/>
          </p:nvSpPr>
          <p:spPr>
            <a:xfrm>
              <a:off x="462185" y="7221372"/>
              <a:ext cx="881652" cy="215444"/>
            </a:xfrm>
            <a:prstGeom prst="rect">
              <a:avLst/>
            </a:prstGeom>
            <a:noFill/>
          </p:spPr>
          <p:txBody>
            <a:bodyPr wrap="none" lIns="0" rIns="0" rtlCol="0">
              <a:spAutoFit/>
            </a:bodyPr>
            <a:lstStyle>
              <a:defPPr>
                <a:defRPr lang="en-US"/>
              </a:defPPr>
              <a:lvl1pPr algn="r">
                <a:defRPr sz="800" b="1"/>
              </a:lvl1pPr>
            </a:lstStyle>
            <a:p>
              <a:pPr lvl="0"/>
              <a:r>
                <a:rPr lang="en-US" dirty="0">
                  <a:solidFill>
                    <a:schemeClr val="tx1">
                      <a:lumMod val="65000"/>
                      <a:lumOff val="35000"/>
                    </a:schemeClr>
                  </a:solidFill>
                </a:rPr>
                <a:t>Secondary Colors</a:t>
              </a:r>
            </a:p>
          </p:txBody>
        </p:sp>
      </p:grpSp>
      <p:sp>
        <p:nvSpPr>
          <p:cNvPr id="144" name="Freeform: Shape 143" hidden="1">
            <a:extLst>
              <a:ext uri="{FF2B5EF4-FFF2-40B4-BE49-F238E27FC236}">
                <a16:creationId xmlns:a16="http://schemas.microsoft.com/office/drawing/2014/main" id="{77B988ED-1FB9-449B-8388-E97A219E2298}"/>
              </a:ext>
            </a:extLst>
          </p:cNvPr>
          <p:cNvSpPr/>
          <p:nvPr userDrawn="1"/>
        </p:nvSpPr>
        <p:spPr>
          <a:xfrm>
            <a:off x="2209799" y="-1027549"/>
            <a:ext cx="2114552" cy="800100"/>
          </a:xfrm>
          <a:custGeom>
            <a:avLst/>
            <a:gdLst>
              <a:gd name="connsiteX0" fmla="*/ 2068305 w 2114552"/>
              <a:gd name="connsiteY0" fmla="*/ 749732 h 800100"/>
              <a:gd name="connsiteX1" fmla="*/ 2068305 w 2114552"/>
              <a:gd name="connsiteY1" fmla="*/ 761609 h 800100"/>
              <a:gd name="connsiteX2" fmla="*/ 2076013 w 2114552"/>
              <a:gd name="connsiteY2" fmla="*/ 761609 h 800100"/>
              <a:gd name="connsiteX3" fmla="*/ 2083551 w 2114552"/>
              <a:gd name="connsiteY3" fmla="*/ 759961 h 800100"/>
              <a:gd name="connsiteX4" fmla="*/ 2085563 w 2114552"/>
              <a:gd name="connsiteY4" fmla="*/ 755598 h 800100"/>
              <a:gd name="connsiteX5" fmla="*/ 2084594 w 2114552"/>
              <a:gd name="connsiteY5" fmla="*/ 752471 h 800100"/>
              <a:gd name="connsiteX6" fmla="*/ 2081903 w 2114552"/>
              <a:gd name="connsiteY6" fmla="*/ 750411 h 800100"/>
              <a:gd name="connsiteX7" fmla="*/ 2075528 w 2114552"/>
              <a:gd name="connsiteY7" fmla="*/ 749732 h 800100"/>
              <a:gd name="connsiteX8" fmla="*/ 2061954 w 2114552"/>
              <a:gd name="connsiteY8" fmla="*/ 744400 h 800100"/>
              <a:gd name="connsiteX9" fmla="*/ 2075480 w 2114552"/>
              <a:gd name="connsiteY9" fmla="*/ 744400 h 800100"/>
              <a:gd name="connsiteX10" fmla="*/ 2085514 w 2114552"/>
              <a:gd name="connsiteY10" fmla="*/ 745491 h 800100"/>
              <a:gd name="connsiteX11" fmla="*/ 2090459 w 2114552"/>
              <a:gd name="connsiteY11" fmla="*/ 749296 h 800100"/>
              <a:gd name="connsiteX12" fmla="*/ 2092301 w 2114552"/>
              <a:gd name="connsiteY12" fmla="*/ 755065 h 800100"/>
              <a:gd name="connsiteX13" fmla="*/ 2089223 w 2114552"/>
              <a:gd name="connsiteY13" fmla="*/ 762579 h 800100"/>
              <a:gd name="connsiteX14" fmla="*/ 2081055 w 2114552"/>
              <a:gd name="connsiteY14" fmla="*/ 766166 h 800100"/>
              <a:gd name="connsiteX15" fmla="*/ 2084400 w 2114552"/>
              <a:gd name="connsiteY15" fmla="*/ 768251 h 800100"/>
              <a:gd name="connsiteX16" fmla="*/ 2090217 w 2114552"/>
              <a:gd name="connsiteY16" fmla="*/ 776055 h 800100"/>
              <a:gd name="connsiteX17" fmla="*/ 2095016 w 2114552"/>
              <a:gd name="connsiteY17" fmla="*/ 783763 h 800100"/>
              <a:gd name="connsiteX18" fmla="*/ 2087260 w 2114552"/>
              <a:gd name="connsiteY18" fmla="*/ 783763 h 800100"/>
              <a:gd name="connsiteX19" fmla="*/ 2083769 w 2114552"/>
              <a:gd name="connsiteY19" fmla="*/ 777558 h 800100"/>
              <a:gd name="connsiteX20" fmla="*/ 2077128 w 2114552"/>
              <a:gd name="connsiteY20" fmla="*/ 768396 h 800100"/>
              <a:gd name="connsiteX21" fmla="*/ 2072038 w 2114552"/>
              <a:gd name="connsiteY21" fmla="*/ 767039 h 800100"/>
              <a:gd name="connsiteX22" fmla="*/ 2068305 w 2114552"/>
              <a:gd name="connsiteY22" fmla="*/ 767039 h 800100"/>
              <a:gd name="connsiteX23" fmla="*/ 2068305 w 2114552"/>
              <a:gd name="connsiteY23" fmla="*/ 783763 h 800100"/>
              <a:gd name="connsiteX24" fmla="*/ 2061954 w 2114552"/>
              <a:gd name="connsiteY24" fmla="*/ 783763 h 800100"/>
              <a:gd name="connsiteX25" fmla="*/ 834048 w 2114552"/>
              <a:gd name="connsiteY25" fmla="*/ 741362 h 800100"/>
              <a:gd name="connsiteX26" fmla="*/ 784225 w 2114552"/>
              <a:gd name="connsiteY26" fmla="*/ 766474 h 800100"/>
              <a:gd name="connsiteX27" fmla="*/ 804985 w 2114552"/>
              <a:gd name="connsiteY27" fmla="*/ 787400 h 800100"/>
              <a:gd name="connsiteX28" fmla="*/ 838200 w 2114552"/>
              <a:gd name="connsiteY28" fmla="*/ 745547 h 800100"/>
              <a:gd name="connsiteX29" fmla="*/ 838200 w 2114552"/>
              <a:gd name="connsiteY29" fmla="*/ 741362 h 800100"/>
              <a:gd name="connsiteX30" fmla="*/ 834048 w 2114552"/>
              <a:gd name="connsiteY30" fmla="*/ 741362 h 800100"/>
              <a:gd name="connsiteX31" fmla="*/ 2078001 w 2114552"/>
              <a:gd name="connsiteY31" fmla="*/ 733008 h 800100"/>
              <a:gd name="connsiteX32" fmla="*/ 2062997 w 2114552"/>
              <a:gd name="connsiteY32" fmla="*/ 736959 h 800100"/>
              <a:gd name="connsiteX33" fmla="*/ 2051581 w 2114552"/>
              <a:gd name="connsiteY33" fmla="*/ 748254 h 800100"/>
              <a:gd name="connsiteX34" fmla="*/ 2047460 w 2114552"/>
              <a:gd name="connsiteY34" fmla="*/ 763548 h 800100"/>
              <a:gd name="connsiteX35" fmla="*/ 2051508 w 2114552"/>
              <a:gd name="connsiteY35" fmla="*/ 778697 h 800100"/>
              <a:gd name="connsiteX36" fmla="*/ 2062827 w 2114552"/>
              <a:gd name="connsiteY36" fmla="*/ 789993 h 800100"/>
              <a:gd name="connsiteX37" fmla="*/ 2078001 w 2114552"/>
              <a:gd name="connsiteY37" fmla="*/ 794041 h 800100"/>
              <a:gd name="connsiteX38" fmla="*/ 2093174 w 2114552"/>
              <a:gd name="connsiteY38" fmla="*/ 789993 h 800100"/>
              <a:gd name="connsiteX39" fmla="*/ 2104469 w 2114552"/>
              <a:gd name="connsiteY39" fmla="*/ 778697 h 800100"/>
              <a:gd name="connsiteX40" fmla="*/ 2108493 w 2114552"/>
              <a:gd name="connsiteY40" fmla="*/ 763548 h 800100"/>
              <a:gd name="connsiteX41" fmla="*/ 2104397 w 2114552"/>
              <a:gd name="connsiteY41" fmla="*/ 748254 h 800100"/>
              <a:gd name="connsiteX42" fmla="*/ 2092980 w 2114552"/>
              <a:gd name="connsiteY42" fmla="*/ 736959 h 800100"/>
              <a:gd name="connsiteX43" fmla="*/ 2078001 w 2114552"/>
              <a:gd name="connsiteY43" fmla="*/ 733008 h 800100"/>
              <a:gd name="connsiteX44" fmla="*/ 2078001 w 2114552"/>
              <a:gd name="connsiteY44" fmla="*/ 726948 h 800100"/>
              <a:gd name="connsiteX45" fmla="*/ 2095985 w 2114552"/>
              <a:gd name="connsiteY45" fmla="*/ 731675 h 800100"/>
              <a:gd name="connsiteX46" fmla="*/ 2109656 w 2114552"/>
              <a:gd name="connsiteY46" fmla="*/ 745200 h 800100"/>
              <a:gd name="connsiteX47" fmla="*/ 2114552 w 2114552"/>
              <a:gd name="connsiteY47" fmla="*/ 763548 h 800100"/>
              <a:gd name="connsiteX48" fmla="*/ 2109729 w 2114552"/>
              <a:gd name="connsiteY48" fmla="*/ 781727 h 800100"/>
              <a:gd name="connsiteX49" fmla="*/ 2096204 w 2114552"/>
              <a:gd name="connsiteY49" fmla="*/ 795277 h 800100"/>
              <a:gd name="connsiteX50" fmla="*/ 2078001 w 2114552"/>
              <a:gd name="connsiteY50" fmla="*/ 800100 h 800100"/>
              <a:gd name="connsiteX51" fmla="*/ 2059797 w 2114552"/>
              <a:gd name="connsiteY51" fmla="*/ 795277 h 800100"/>
              <a:gd name="connsiteX52" fmla="*/ 2046248 w 2114552"/>
              <a:gd name="connsiteY52" fmla="*/ 781727 h 800100"/>
              <a:gd name="connsiteX53" fmla="*/ 2041400 w 2114552"/>
              <a:gd name="connsiteY53" fmla="*/ 763548 h 800100"/>
              <a:gd name="connsiteX54" fmla="*/ 2046321 w 2114552"/>
              <a:gd name="connsiteY54" fmla="*/ 745200 h 800100"/>
              <a:gd name="connsiteX55" fmla="*/ 2060016 w 2114552"/>
              <a:gd name="connsiteY55" fmla="*/ 731675 h 800100"/>
              <a:gd name="connsiteX56" fmla="*/ 2078001 w 2114552"/>
              <a:gd name="connsiteY56" fmla="*/ 726948 h 800100"/>
              <a:gd name="connsiteX57" fmla="*/ 1058070 w 2114552"/>
              <a:gd name="connsiteY57" fmla="*/ 692149 h 800100"/>
              <a:gd name="connsiteX58" fmla="*/ 1020763 w 2114552"/>
              <a:gd name="connsiteY58" fmla="*/ 739774 h 800100"/>
              <a:gd name="connsiteX59" fmla="*/ 1058070 w 2114552"/>
              <a:gd name="connsiteY59" fmla="*/ 787399 h 800100"/>
              <a:gd name="connsiteX60" fmla="*/ 1095377 w 2114552"/>
              <a:gd name="connsiteY60" fmla="*/ 739774 h 800100"/>
              <a:gd name="connsiteX61" fmla="*/ 1058070 w 2114552"/>
              <a:gd name="connsiteY61" fmla="*/ 692149 h 800100"/>
              <a:gd name="connsiteX62" fmla="*/ 692151 w 2114552"/>
              <a:gd name="connsiteY62" fmla="*/ 692149 h 800100"/>
              <a:gd name="connsiteX63" fmla="*/ 658813 w 2114552"/>
              <a:gd name="connsiteY63" fmla="*/ 739774 h 800100"/>
              <a:gd name="connsiteX64" fmla="*/ 692151 w 2114552"/>
              <a:gd name="connsiteY64" fmla="*/ 787399 h 800100"/>
              <a:gd name="connsiteX65" fmla="*/ 725489 w 2114552"/>
              <a:gd name="connsiteY65" fmla="*/ 739774 h 800100"/>
              <a:gd name="connsiteX66" fmla="*/ 692151 w 2114552"/>
              <a:gd name="connsiteY66" fmla="*/ 692149 h 800100"/>
              <a:gd name="connsiteX67" fmla="*/ 323056 w 2114552"/>
              <a:gd name="connsiteY67" fmla="*/ 692149 h 800100"/>
              <a:gd name="connsiteX68" fmla="*/ 285749 w 2114552"/>
              <a:gd name="connsiteY68" fmla="*/ 739774 h 800100"/>
              <a:gd name="connsiteX69" fmla="*/ 323056 w 2114552"/>
              <a:gd name="connsiteY69" fmla="*/ 787399 h 800100"/>
              <a:gd name="connsiteX70" fmla="*/ 360363 w 2114552"/>
              <a:gd name="connsiteY70" fmla="*/ 739774 h 800100"/>
              <a:gd name="connsiteX71" fmla="*/ 323056 w 2114552"/>
              <a:gd name="connsiteY71" fmla="*/ 692149 h 800100"/>
              <a:gd name="connsiteX72" fmla="*/ 966943 w 2114552"/>
              <a:gd name="connsiteY72" fmla="*/ 685949 h 800100"/>
              <a:gd name="connsiteX73" fmla="*/ 981464 w 2114552"/>
              <a:gd name="connsiteY73" fmla="*/ 685949 h 800100"/>
              <a:gd name="connsiteX74" fmla="*/ 981464 w 2114552"/>
              <a:gd name="connsiteY74" fmla="*/ 799333 h 800100"/>
              <a:gd name="connsiteX75" fmla="*/ 966943 w 2114552"/>
              <a:gd name="connsiteY75" fmla="*/ 799333 h 800100"/>
              <a:gd name="connsiteX76" fmla="*/ 1136650 w 2114552"/>
              <a:gd name="connsiteY76" fmla="*/ 684212 h 800100"/>
              <a:gd name="connsiteX77" fmla="*/ 1148897 w 2114552"/>
              <a:gd name="connsiteY77" fmla="*/ 684212 h 800100"/>
              <a:gd name="connsiteX78" fmla="*/ 1148897 w 2114552"/>
              <a:gd name="connsiteY78" fmla="*/ 704791 h 800100"/>
              <a:gd name="connsiteX79" fmla="*/ 1185636 w 2114552"/>
              <a:gd name="connsiteY79" fmla="*/ 684212 h 800100"/>
              <a:gd name="connsiteX80" fmla="*/ 1222375 w 2114552"/>
              <a:gd name="connsiteY80" fmla="*/ 725369 h 800100"/>
              <a:gd name="connsiteX81" fmla="*/ 1222375 w 2114552"/>
              <a:gd name="connsiteY81" fmla="*/ 795337 h 800100"/>
              <a:gd name="connsiteX82" fmla="*/ 1210129 w 2114552"/>
              <a:gd name="connsiteY82" fmla="*/ 795337 h 800100"/>
              <a:gd name="connsiteX83" fmla="*/ 1210129 w 2114552"/>
              <a:gd name="connsiteY83" fmla="*/ 729485 h 800100"/>
              <a:gd name="connsiteX84" fmla="*/ 1185636 w 2114552"/>
              <a:gd name="connsiteY84" fmla="*/ 692443 h 800100"/>
              <a:gd name="connsiteX85" fmla="*/ 1152979 w 2114552"/>
              <a:gd name="connsiteY85" fmla="*/ 733601 h 800100"/>
              <a:gd name="connsiteX86" fmla="*/ 1152979 w 2114552"/>
              <a:gd name="connsiteY86" fmla="*/ 795337 h 800100"/>
              <a:gd name="connsiteX87" fmla="*/ 1136650 w 2114552"/>
              <a:gd name="connsiteY87" fmla="*/ 795337 h 800100"/>
              <a:gd name="connsiteX88" fmla="*/ 1136650 w 2114552"/>
              <a:gd name="connsiteY88" fmla="*/ 713022 h 800100"/>
              <a:gd name="connsiteX89" fmla="*/ 1136650 w 2114552"/>
              <a:gd name="connsiteY89" fmla="*/ 684212 h 800100"/>
              <a:gd name="connsiteX90" fmla="*/ 1054894 w 2114552"/>
              <a:gd name="connsiteY90" fmla="*/ 684212 h 800100"/>
              <a:gd name="connsiteX91" fmla="*/ 1106488 w 2114552"/>
              <a:gd name="connsiteY91" fmla="*/ 742156 h 800100"/>
              <a:gd name="connsiteX92" fmla="*/ 1054894 w 2114552"/>
              <a:gd name="connsiteY92" fmla="*/ 800100 h 800100"/>
              <a:gd name="connsiteX93" fmla="*/ 1003300 w 2114552"/>
              <a:gd name="connsiteY93" fmla="*/ 742156 h 800100"/>
              <a:gd name="connsiteX94" fmla="*/ 1054894 w 2114552"/>
              <a:gd name="connsiteY94" fmla="*/ 684212 h 800100"/>
              <a:gd name="connsiteX95" fmla="*/ 812499 w 2114552"/>
              <a:gd name="connsiteY95" fmla="*/ 684212 h 800100"/>
              <a:gd name="connsiteX96" fmla="*/ 854076 w 2114552"/>
              <a:gd name="connsiteY96" fmla="*/ 725601 h 800100"/>
              <a:gd name="connsiteX97" fmla="*/ 854076 w 2114552"/>
              <a:gd name="connsiteY97" fmla="*/ 775267 h 800100"/>
              <a:gd name="connsiteX98" fmla="*/ 854076 w 2114552"/>
              <a:gd name="connsiteY98" fmla="*/ 795961 h 800100"/>
              <a:gd name="connsiteX99" fmla="*/ 841603 w 2114552"/>
              <a:gd name="connsiteY99" fmla="*/ 795961 h 800100"/>
              <a:gd name="connsiteX100" fmla="*/ 841603 w 2114552"/>
              <a:gd name="connsiteY100" fmla="*/ 779406 h 800100"/>
              <a:gd name="connsiteX101" fmla="*/ 837445 w 2114552"/>
              <a:gd name="connsiteY101" fmla="*/ 779406 h 800100"/>
              <a:gd name="connsiteX102" fmla="*/ 804183 w 2114552"/>
              <a:gd name="connsiteY102" fmla="*/ 800100 h 800100"/>
              <a:gd name="connsiteX103" fmla="*/ 766763 w 2114552"/>
              <a:gd name="connsiteY103" fmla="*/ 766989 h 800100"/>
              <a:gd name="connsiteX104" fmla="*/ 837445 w 2114552"/>
              <a:gd name="connsiteY104" fmla="*/ 729739 h 800100"/>
              <a:gd name="connsiteX105" fmla="*/ 837445 w 2114552"/>
              <a:gd name="connsiteY105" fmla="*/ 721462 h 800100"/>
              <a:gd name="connsiteX106" fmla="*/ 812499 w 2114552"/>
              <a:gd name="connsiteY106" fmla="*/ 692490 h 800100"/>
              <a:gd name="connsiteX107" fmla="*/ 779236 w 2114552"/>
              <a:gd name="connsiteY107" fmla="*/ 704906 h 800100"/>
              <a:gd name="connsiteX108" fmla="*/ 779236 w 2114552"/>
              <a:gd name="connsiteY108" fmla="*/ 688351 h 800100"/>
              <a:gd name="connsiteX109" fmla="*/ 812499 w 2114552"/>
              <a:gd name="connsiteY109" fmla="*/ 684212 h 800100"/>
              <a:gd name="connsiteX110" fmla="*/ 527050 w 2114552"/>
              <a:gd name="connsiteY110" fmla="*/ 684212 h 800100"/>
              <a:gd name="connsiteX111" fmla="*/ 539523 w 2114552"/>
              <a:gd name="connsiteY111" fmla="*/ 684212 h 800100"/>
              <a:gd name="connsiteX112" fmla="*/ 539523 w 2114552"/>
              <a:gd name="connsiteY112" fmla="*/ 704791 h 800100"/>
              <a:gd name="connsiteX113" fmla="*/ 576943 w 2114552"/>
              <a:gd name="connsiteY113" fmla="*/ 684212 h 800100"/>
              <a:gd name="connsiteX114" fmla="*/ 614363 w 2114552"/>
              <a:gd name="connsiteY114" fmla="*/ 725369 h 800100"/>
              <a:gd name="connsiteX115" fmla="*/ 614363 w 2114552"/>
              <a:gd name="connsiteY115" fmla="*/ 795337 h 800100"/>
              <a:gd name="connsiteX116" fmla="*/ 601890 w 2114552"/>
              <a:gd name="connsiteY116" fmla="*/ 795337 h 800100"/>
              <a:gd name="connsiteX117" fmla="*/ 601890 w 2114552"/>
              <a:gd name="connsiteY117" fmla="*/ 729485 h 800100"/>
              <a:gd name="connsiteX118" fmla="*/ 576943 w 2114552"/>
              <a:gd name="connsiteY118" fmla="*/ 692443 h 800100"/>
              <a:gd name="connsiteX119" fmla="*/ 543681 w 2114552"/>
              <a:gd name="connsiteY119" fmla="*/ 733601 h 800100"/>
              <a:gd name="connsiteX120" fmla="*/ 543681 w 2114552"/>
              <a:gd name="connsiteY120" fmla="*/ 795337 h 800100"/>
              <a:gd name="connsiteX121" fmla="*/ 527050 w 2114552"/>
              <a:gd name="connsiteY121" fmla="*/ 795337 h 800100"/>
              <a:gd name="connsiteX122" fmla="*/ 527050 w 2114552"/>
              <a:gd name="connsiteY122" fmla="*/ 713022 h 800100"/>
              <a:gd name="connsiteX123" fmla="*/ 527050 w 2114552"/>
              <a:gd name="connsiteY123" fmla="*/ 684212 h 800100"/>
              <a:gd name="connsiteX124" fmla="*/ 406400 w 2114552"/>
              <a:gd name="connsiteY124" fmla="*/ 684212 h 800100"/>
              <a:gd name="connsiteX125" fmla="*/ 418873 w 2114552"/>
              <a:gd name="connsiteY125" fmla="*/ 684212 h 800100"/>
              <a:gd name="connsiteX126" fmla="*/ 418873 w 2114552"/>
              <a:gd name="connsiteY126" fmla="*/ 754573 h 800100"/>
              <a:gd name="connsiteX127" fmla="*/ 443820 w 2114552"/>
              <a:gd name="connsiteY127" fmla="*/ 787683 h 800100"/>
              <a:gd name="connsiteX128" fmla="*/ 477082 w 2114552"/>
              <a:gd name="connsiteY128" fmla="*/ 746295 h 800100"/>
              <a:gd name="connsiteX129" fmla="*/ 477082 w 2114552"/>
              <a:gd name="connsiteY129" fmla="*/ 684212 h 800100"/>
              <a:gd name="connsiteX130" fmla="*/ 493713 w 2114552"/>
              <a:gd name="connsiteY130" fmla="*/ 684212 h 800100"/>
              <a:gd name="connsiteX131" fmla="*/ 493713 w 2114552"/>
              <a:gd name="connsiteY131" fmla="*/ 771128 h 800100"/>
              <a:gd name="connsiteX132" fmla="*/ 493713 w 2114552"/>
              <a:gd name="connsiteY132" fmla="*/ 795961 h 800100"/>
              <a:gd name="connsiteX133" fmla="*/ 481240 w 2114552"/>
              <a:gd name="connsiteY133" fmla="*/ 795961 h 800100"/>
              <a:gd name="connsiteX134" fmla="*/ 481240 w 2114552"/>
              <a:gd name="connsiteY134" fmla="*/ 779406 h 800100"/>
              <a:gd name="connsiteX135" fmla="*/ 443820 w 2114552"/>
              <a:gd name="connsiteY135" fmla="*/ 800100 h 800100"/>
              <a:gd name="connsiteX136" fmla="*/ 406400 w 2114552"/>
              <a:gd name="connsiteY136" fmla="*/ 758711 h 800100"/>
              <a:gd name="connsiteX137" fmla="*/ 406400 w 2114552"/>
              <a:gd name="connsiteY137" fmla="*/ 684212 h 800100"/>
              <a:gd name="connsiteX138" fmla="*/ 325437 w 2114552"/>
              <a:gd name="connsiteY138" fmla="*/ 684212 h 800100"/>
              <a:gd name="connsiteX139" fmla="*/ 377825 w 2114552"/>
              <a:gd name="connsiteY139" fmla="*/ 742156 h 800100"/>
              <a:gd name="connsiteX140" fmla="*/ 325437 w 2114552"/>
              <a:gd name="connsiteY140" fmla="*/ 800100 h 800100"/>
              <a:gd name="connsiteX141" fmla="*/ 273049 w 2114552"/>
              <a:gd name="connsiteY141" fmla="*/ 742156 h 800100"/>
              <a:gd name="connsiteX142" fmla="*/ 325437 w 2114552"/>
              <a:gd name="connsiteY142" fmla="*/ 684212 h 800100"/>
              <a:gd name="connsiteX143" fmla="*/ 1724027 w 2114552"/>
              <a:gd name="connsiteY143" fmla="*/ 666750 h 800100"/>
              <a:gd name="connsiteX144" fmla="*/ 1720852 w 2114552"/>
              <a:gd name="connsiteY144" fmla="*/ 679450 h 800100"/>
              <a:gd name="connsiteX145" fmla="*/ 1716089 w 2114552"/>
              <a:gd name="connsiteY145" fmla="*/ 687388 h 800100"/>
              <a:gd name="connsiteX146" fmla="*/ 1733552 w 2114552"/>
              <a:gd name="connsiteY146" fmla="*/ 687388 h 800100"/>
              <a:gd name="connsiteX147" fmla="*/ 1728789 w 2114552"/>
              <a:gd name="connsiteY147" fmla="*/ 679450 h 800100"/>
              <a:gd name="connsiteX148" fmla="*/ 1728922 w 2114552"/>
              <a:gd name="connsiteY148" fmla="*/ 654050 h 800100"/>
              <a:gd name="connsiteX149" fmla="*/ 1728922 w 2114552"/>
              <a:gd name="connsiteY149" fmla="*/ 658202 h 800100"/>
              <a:gd name="connsiteX150" fmla="*/ 1737124 w 2114552"/>
              <a:gd name="connsiteY150" fmla="*/ 678962 h 800100"/>
              <a:gd name="connsiteX151" fmla="*/ 1749427 w 2114552"/>
              <a:gd name="connsiteY151" fmla="*/ 703873 h 800100"/>
              <a:gd name="connsiteX152" fmla="*/ 1737124 w 2114552"/>
              <a:gd name="connsiteY152" fmla="*/ 703873 h 800100"/>
              <a:gd name="connsiteX153" fmla="*/ 1737124 w 2114552"/>
              <a:gd name="connsiteY153" fmla="*/ 695569 h 800100"/>
              <a:gd name="connsiteX154" fmla="*/ 1712517 w 2114552"/>
              <a:gd name="connsiteY154" fmla="*/ 695569 h 800100"/>
              <a:gd name="connsiteX155" fmla="*/ 1712517 w 2114552"/>
              <a:gd name="connsiteY155" fmla="*/ 708025 h 800100"/>
              <a:gd name="connsiteX156" fmla="*/ 1700214 w 2114552"/>
              <a:gd name="connsiteY156" fmla="*/ 703873 h 800100"/>
              <a:gd name="connsiteX157" fmla="*/ 1712517 w 2114552"/>
              <a:gd name="connsiteY157" fmla="*/ 678962 h 800100"/>
              <a:gd name="connsiteX158" fmla="*/ 1716618 w 2114552"/>
              <a:gd name="connsiteY158" fmla="*/ 658202 h 800100"/>
              <a:gd name="connsiteX159" fmla="*/ 1728922 w 2114552"/>
              <a:gd name="connsiteY159" fmla="*/ 654050 h 800100"/>
              <a:gd name="connsiteX160" fmla="*/ 907733 w 2114552"/>
              <a:gd name="connsiteY160" fmla="*/ 654049 h 800100"/>
              <a:gd name="connsiteX161" fmla="*/ 907733 w 2114552"/>
              <a:gd name="connsiteY161" fmla="*/ 683259 h 800100"/>
              <a:gd name="connsiteX162" fmla="*/ 932498 w 2114552"/>
              <a:gd name="connsiteY162" fmla="*/ 683259 h 800100"/>
              <a:gd name="connsiteX163" fmla="*/ 932498 w 2114552"/>
              <a:gd name="connsiteY163" fmla="*/ 695778 h 800100"/>
              <a:gd name="connsiteX164" fmla="*/ 907733 w 2114552"/>
              <a:gd name="connsiteY164" fmla="*/ 695778 h 800100"/>
              <a:gd name="connsiteX165" fmla="*/ 907733 w 2114552"/>
              <a:gd name="connsiteY165" fmla="*/ 770889 h 800100"/>
              <a:gd name="connsiteX166" fmla="*/ 924243 w 2114552"/>
              <a:gd name="connsiteY166" fmla="*/ 787580 h 800100"/>
              <a:gd name="connsiteX167" fmla="*/ 936626 w 2114552"/>
              <a:gd name="connsiteY167" fmla="*/ 783408 h 800100"/>
              <a:gd name="connsiteX168" fmla="*/ 936626 w 2114552"/>
              <a:gd name="connsiteY168" fmla="*/ 795926 h 800100"/>
              <a:gd name="connsiteX169" fmla="*/ 920116 w 2114552"/>
              <a:gd name="connsiteY169" fmla="*/ 800099 h 800100"/>
              <a:gd name="connsiteX170" fmla="*/ 895351 w 2114552"/>
              <a:gd name="connsiteY170" fmla="*/ 762543 h 800100"/>
              <a:gd name="connsiteX171" fmla="*/ 895351 w 2114552"/>
              <a:gd name="connsiteY171" fmla="*/ 695778 h 800100"/>
              <a:gd name="connsiteX172" fmla="*/ 874713 w 2114552"/>
              <a:gd name="connsiteY172" fmla="*/ 695778 h 800100"/>
              <a:gd name="connsiteX173" fmla="*/ 874713 w 2114552"/>
              <a:gd name="connsiteY173" fmla="*/ 683259 h 800100"/>
              <a:gd name="connsiteX174" fmla="*/ 895351 w 2114552"/>
              <a:gd name="connsiteY174" fmla="*/ 683259 h 800100"/>
              <a:gd name="connsiteX175" fmla="*/ 895351 w 2114552"/>
              <a:gd name="connsiteY175" fmla="*/ 658222 h 800100"/>
              <a:gd name="connsiteX176" fmla="*/ 907733 w 2114552"/>
              <a:gd name="connsiteY176" fmla="*/ 654049 h 800100"/>
              <a:gd name="connsiteX177" fmla="*/ 1658542 w 2114552"/>
              <a:gd name="connsiteY177" fmla="*/ 650875 h 800100"/>
              <a:gd name="connsiteX178" fmla="*/ 1666745 w 2114552"/>
              <a:gd name="connsiteY178" fmla="*/ 650875 h 800100"/>
              <a:gd name="connsiteX179" fmla="*/ 1683149 w 2114552"/>
              <a:gd name="connsiteY179" fmla="*/ 688242 h 800100"/>
              <a:gd name="connsiteX180" fmla="*/ 1687250 w 2114552"/>
              <a:gd name="connsiteY180" fmla="*/ 655027 h 800100"/>
              <a:gd name="connsiteX181" fmla="*/ 1695452 w 2114552"/>
              <a:gd name="connsiteY181" fmla="*/ 655027 h 800100"/>
              <a:gd name="connsiteX182" fmla="*/ 1687250 w 2114552"/>
              <a:gd name="connsiteY182" fmla="*/ 704850 h 800100"/>
              <a:gd name="connsiteX183" fmla="*/ 1679048 w 2114552"/>
              <a:gd name="connsiteY183" fmla="*/ 704850 h 800100"/>
              <a:gd name="connsiteX184" fmla="*/ 1662643 w 2114552"/>
              <a:gd name="connsiteY184" fmla="*/ 671635 h 800100"/>
              <a:gd name="connsiteX185" fmla="*/ 1658542 w 2114552"/>
              <a:gd name="connsiteY185" fmla="*/ 700698 h 800100"/>
              <a:gd name="connsiteX186" fmla="*/ 1646239 w 2114552"/>
              <a:gd name="connsiteY186" fmla="*/ 700698 h 800100"/>
              <a:gd name="connsiteX187" fmla="*/ 1658542 w 2114552"/>
              <a:gd name="connsiteY187" fmla="*/ 650875 h 800100"/>
              <a:gd name="connsiteX188" fmla="*/ 1787526 w 2114552"/>
              <a:gd name="connsiteY188" fmla="*/ 646113 h 800100"/>
              <a:gd name="connsiteX189" fmla="*/ 1787526 w 2114552"/>
              <a:gd name="connsiteY189" fmla="*/ 654504 h 800100"/>
              <a:gd name="connsiteX190" fmla="*/ 1771016 w 2114552"/>
              <a:gd name="connsiteY190" fmla="*/ 658700 h 800100"/>
              <a:gd name="connsiteX191" fmla="*/ 1779271 w 2114552"/>
              <a:gd name="connsiteY191" fmla="*/ 700655 h 800100"/>
              <a:gd name="connsiteX192" fmla="*/ 1771016 w 2114552"/>
              <a:gd name="connsiteY192" fmla="*/ 704851 h 800100"/>
              <a:gd name="connsiteX193" fmla="*/ 1762761 w 2114552"/>
              <a:gd name="connsiteY193" fmla="*/ 662895 h 800100"/>
              <a:gd name="connsiteX194" fmla="*/ 1746251 w 2114552"/>
              <a:gd name="connsiteY194" fmla="*/ 662895 h 800100"/>
              <a:gd name="connsiteX195" fmla="*/ 1746251 w 2114552"/>
              <a:gd name="connsiteY195" fmla="*/ 654504 h 800100"/>
              <a:gd name="connsiteX196" fmla="*/ 1787526 w 2114552"/>
              <a:gd name="connsiteY196" fmla="*/ 646113 h 800100"/>
              <a:gd name="connsiteX197" fmla="*/ 1617029 w 2114552"/>
              <a:gd name="connsiteY197" fmla="*/ 646113 h 800100"/>
              <a:gd name="connsiteX198" fmla="*/ 1617029 w 2114552"/>
              <a:gd name="connsiteY198" fmla="*/ 654051 h 800100"/>
              <a:gd name="connsiteX199" fmla="*/ 1612901 w 2114552"/>
              <a:gd name="connsiteY199" fmla="*/ 658019 h 800100"/>
              <a:gd name="connsiteX200" fmla="*/ 1625284 w 2114552"/>
              <a:gd name="connsiteY200" fmla="*/ 661988 h 800100"/>
              <a:gd name="connsiteX201" fmla="*/ 1633539 w 2114552"/>
              <a:gd name="connsiteY201" fmla="*/ 658019 h 800100"/>
              <a:gd name="connsiteX202" fmla="*/ 1633539 w 2114552"/>
              <a:gd name="connsiteY202" fmla="*/ 654051 h 800100"/>
              <a:gd name="connsiteX203" fmla="*/ 1629412 w 2114552"/>
              <a:gd name="connsiteY203" fmla="*/ 650082 h 800100"/>
              <a:gd name="connsiteX204" fmla="*/ 1617029 w 2114552"/>
              <a:gd name="connsiteY204" fmla="*/ 646113 h 800100"/>
              <a:gd name="connsiteX205" fmla="*/ 966943 w 2114552"/>
              <a:gd name="connsiteY205" fmla="*/ 643885 h 800100"/>
              <a:gd name="connsiteX206" fmla="*/ 981464 w 2114552"/>
              <a:gd name="connsiteY206" fmla="*/ 643885 h 800100"/>
              <a:gd name="connsiteX207" fmla="*/ 981464 w 2114552"/>
              <a:gd name="connsiteY207" fmla="*/ 660066 h 800100"/>
              <a:gd name="connsiteX208" fmla="*/ 966943 w 2114552"/>
              <a:gd name="connsiteY208" fmla="*/ 660066 h 800100"/>
              <a:gd name="connsiteX209" fmla="*/ 1795464 w 2114552"/>
              <a:gd name="connsiteY209" fmla="*/ 641350 h 800100"/>
              <a:gd name="connsiteX210" fmla="*/ 1807711 w 2114552"/>
              <a:gd name="connsiteY210" fmla="*/ 641350 h 800100"/>
              <a:gd name="connsiteX211" fmla="*/ 1824039 w 2114552"/>
              <a:gd name="connsiteY211" fmla="*/ 687917 h 800100"/>
              <a:gd name="connsiteX212" fmla="*/ 1811793 w 2114552"/>
              <a:gd name="connsiteY212" fmla="*/ 692150 h 800100"/>
              <a:gd name="connsiteX213" fmla="*/ 1795464 w 2114552"/>
              <a:gd name="connsiteY213" fmla="*/ 641350 h 800100"/>
              <a:gd name="connsiteX214" fmla="*/ 177800 w 2114552"/>
              <a:gd name="connsiteY214" fmla="*/ 641349 h 800100"/>
              <a:gd name="connsiteX215" fmla="*/ 252413 w 2114552"/>
              <a:gd name="connsiteY215" fmla="*/ 641349 h 800100"/>
              <a:gd name="connsiteX216" fmla="*/ 252413 w 2114552"/>
              <a:gd name="connsiteY216" fmla="*/ 654049 h 800100"/>
              <a:gd name="connsiteX217" fmla="*/ 195262 w 2114552"/>
              <a:gd name="connsiteY217" fmla="*/ 654049 h 800100"/>
              <a:gd name="connsiteX218" fmla="*/ 195262 w 2114552"/>
              <a:gd name="connsiteY218" fmla="*/ 712787 h 800100"/>
              <a:gd name="connsiteX219" fmla="*/ 249238 w 2114552"/>
              <a:gd name="connsiteY219" fmla="*/ 712787 h 800100"/>
              <a:gd name="connsiteX220" fmla="*/ 249238 w 2114552"/>
              <a:gd name="connsiteY220" fmla="*/ 725487 h 800100"/>
              <a:gd name="connsiteX221" fmla="*/ 195262 w 2114552"/>
              <a:gd name="connsiteY221" fmla="*/ 725487 h 800100"/>
              <a:gd name="connsiteX222" fmla="*/ 195262 w 2114552"/>
              <a:gd name="connsiteY222" fmla="*/ 795337 h 800100"/>
              <a:gd name="connsiteX223" fmla="*/ 177800 w 2114552"/>
              <a:gd name="connsiteY223" fmla="*/ 795337 h 800100"/>
              <a:gd name="connsiteX224" fmla="*/ 1612770 w 2114552"/>
              <a:gd name="connsiteY224" fmla="*/ 633413 h 800100"/>
              <a:gd name="connsiteX225" fmla="*/ 1633275 w 2114552"/>
              <a:gd name="connsiteY225" fmla="*/ 641668 h 800100"/>
              <a:gd name="connsiteX226" fmla="*/ 1641477 w 2114552"/>
              <a:gd name="connsiteY226" fmla="*/ 654051 h 800100"/>
              <a:gd name="connsiteX227" fmla="*/ 1641477 w 2114552"/>
              <a:gd name="connsiteY227" fmla="*/ 658178 h 800100"/>
              <a:gd name="connsiteX228" fmla="*/ 1629174 w 2114552"/>
              <a:gd name="connsiteY228" fmla="*/ 670561 h 800100"/>
              <a:gd name="connsiteX229" fmla="*/ 1633275 w 2114552"/>
              <a:gd name="connsiteY229" fmla="*/ 695326 h 800100"/>
              <a:gd name="connsiteX230" fmla="*/ 1620972 w 2114552"/>
              <a:gd name="connsiteY230" fmla="*/ 691198 h 800100"/>
              <a:gd name="connsiteX231" fmla="*/ 1620972 w 2114552"/>
              <a:gd name="connsiteY231" fmla="*/ 670561 h 800100"/>
              <a:gd name="connsiteX232" fmla="*/ 1608668 w 2114552"/>
              <a:gd name="connsiteY232" fmla="*/ 666433 h 800100"/>
              <a:gd name="connsiteX233" fmla="*/ 1604567 w 2114552"/>
              <a:gd name="connsiteY233" fmla="*/ 682943 h 800100"/>
              <a:gd name="connsiteX234" fmla="*/ 1592264 w 2114552"/>
              <a:gd name="connsiteY234" fmla="*/ 678816 h 800100"/>
              <a:gd name="connsiteX235" fmla="*/ 1604567 w 2114552"/>
              <a:gd name="connsiteY235" fmla="*/ 658178 h 800100"/>
              <a:gd name="connsiteX236" fmla="*/ 1604567 w 2114552"/>
              <a:gd name="connsiteY236" fmla="*/ 654051 h 800100"/>
              <a:gd name="connsiteX237" fmla="*/ 1612770 w 2114552"/>
              <a:gd name="connsiteY237" fmla="*/ 633413 h 800100"/>
              <a:gd name="connsiteX238" fmla="*/ 1855109 w 2114552"/>
              <a:gd name="connsiteY238" fmla="*/ 630214 h 800100"/>
              <a:gd name="connsiteX239" fmla="*/ 1844903 w 2114552"/>
              <a:gd name="connsiteY239" fmla="*/ 632818 h 800100"/>
              <a:gd name="connsiteX240" fmla="*/ 1836739 w 2114552"/>
              <a:gd name="connsiteY240" fmla="*/ 645320 h 800100"/>
              <a:gd name="connsiteX241" fmla="*/ 1836739 w 2114552"/>
              <a:gd name="connsiteY241" fmla="*/ 653655 h 800100"/>
              <a:gd name="connsiteX242" fmla="*/ 1840821 w 2114552"/>
              <a:gd name="connsiteY242" fmla="*/ 657822 h 800100"/>
              <a:gd name="connsiteX243" fmla="*/ 1857150 w 2114552"/>
              <a:gd name="connsiteY243" fmla="*/ 661989 h 800100"/>
              <a:gd name="connsiteX244" fmla="*/ 1861232 w 2114552"/>
              <a:gd name="connsiteY244" fmla="*/ 657822 h 800100"/>
              <a:gd name="connsiteX245" fmla="*/ 1865314 w 2114552"/>
              <a:gd name="connsiteY245" fmla="*/ 645320 h 800100"/>
              <a:gd name="connsiteX246" fmla="*/ 1865314 w 2114552"/>
              <a:gd name="connsiteY246" fmla="*/ 636986 h 800100"/>
              <a:gd name="connsiteX247" fmla="*/ 1855109 w 2114552"/>
              <a:gd name="connsiteY247" fmla="*/ 630214 h 800100"/>
              <a:gd name="connsiteX248" fmla="*/ 726110 w 2114552"/>
              <a:gd name="connsiteY248" fmla="*/ 628649 h 800100"/>
              <a:gd name="connsiteX249" fmla="*/ 742951 w 2114552"/>
              <a:gd name="connsiteY249" fmla="*/ 628649 h 800100"/>
              <a:gd name="connsiteX250" fmla="*/ 742951 w 2114552"/>
              <a:gd name="connsiteY250" fmla="*/ 795917 h 800100"/>
              <a:gd name="connsiteX251" fmla="*/ 726110 w 2114552"/>
              <a:gd name="connsiteY251" fmla="*/ 795917 h 800100"/>
              <a:gd name="connsiteX252" fmla="*/ 726110 w 2114552"/>
              <a:gd name="connsiteY252" fmla="*/ 779190 h 800100"/>
              <a:gd name="connsiteX253" fmla="*/ 692427 w 2114552"/>
              <a:gd name="connsiteY253" fmla="*/ 800099 h 800100"/>
              <a:gd name="connsiteX254" fmla="*/ 646113 w 2114552"/>
              <a:gd name="connsiteY254" fmla="*/ 741555 h 800100"/>
              <a:gd name="connsiteX255" fmla="*/ 692427 w 2114552"/>
              <a:gd name="connsiteY255" fmla="*/ 683011 h 800100"/>
              <a:gd name="connsiteX256" fmla="*/ 726110 w 2114552"/>
              <a:gd name="connsiteY256" fmla="*/ 703920 h 800100"/>
              <a:gd name="connsiteX257" fmla="*/ 726110 w 2114552"/>
              <a:gd name="connsiteY257" fmla="*/ 628649 h 800100"/>
              <a:gd name="connsiteX258" fmla="*/ 1857377 w 2114552"/>
              <a:gd name="connsiteY258" fmla="*/ 622131 h 800100"/>
              <a:gd name="connsiteX259" fmla="*/ 1874839 w 2114552"/>
              <a:gd name="connsiteY259" fmla="*/ 633868 h 800100"/>
              <a:gd name="connsiteX260" fmla="*/ 1874839 w 2114552"/>
              <a:gd name="connsiteY260" fmla="*/ 646114 h 800100"/>
              <a:gd name="connsiteX261" fmla="*/ 1874839 w 2114552"/>
              <a:gd name="connsiteY261" fmla="*/ 658360 h 800100"/>
              <a:gd name="connsiteX262" fmla="*/ 1862139 w 2114552"/>
              <a:gd name="connsiteY262" fmla="*/ 666525 h 800100"/>
              <a:gd name="connsiteX263" fmla="*/ 1828272 w 2114552"/>
              <a:gd name="connsiteY263" fmla="*/ 658360 h 800100"/>
              <a:gd name="connsiteX264" fmla="*/ 1824039 w 2114552"/>
              <a:gd name="connsiteY264" fmla="*/ 646114 h 800100"/>
              <a:gd name="connsiteX265" fmla="*/ 1836739 w 2114552"/>
              <a:gd name="connsiteY265" fmla="*/ 625703 h 800100"/>
              <a:gd name="connsiteX266" fmla="*/ 1857377 w 2114552"/>
              <a:gd name="connsiteY266" fmla="*/ 622131 h 800100"/>
              <a:gd name="connsiteX267" fmla="*/ 1571138 w 2114552"/>
              <a:gd name="connsiteY267" fmla="*/ 612775 h 800100"/>
              <a:gd name="connsiteX268" fmla="*/ 1600201 w 2114552"/>
              <a:gd name="connsiteY268" fmla="*/ 629285 h 800100"/>
              <a:gd name="connsiteX269" fmla="*/ 1596049 w 2114552"/>
              <a:gd name="connsiteY269" fmla="*/ 637540 h 800100"/>
              <a:gd name="connsiteX270" fmla="*/ 1575290 w 2114552"/>
              <a:gd name="connsiteY270" fmla="*/ 625158 h 800100"/>
              <a:gd name="connsiteX271" fmla="*/ 1571138 w 2114552"/>
              <a:gd name="connsiteY271" fmla="*/ 633413 h 800100"/>
              <a:gd name="connsiteX272" fmla="*/ 1583593 w 2114552"/>
              <a:gd name="connsiteY272" fmla="*/ 641668 h 800100"/>
              <a:gd name="connsiteX273" fmla="*/ 1579442 w 2114552"/>
              <a:gd name="connsiteY273" fmla="*/ 649923 h 800100"/>
              <a:gd name="connsiteX274" fmla="*/ 1566986 w 2114552"/>
              <a:gd name="connsiteY274" fmla="*/ 641668 h 800100"/>
              <a:gd name="connsiteX275" fmla="*/ 1558682 w 2114552"/>
              <a:gd name="connsiteY275" fmla="*/ 654050 h 800100"/>
              <a:gd name="connsiteX276" fmla="*/ 1579442 w 2114552"/>
              <a:gd name="connsiteY276" fmla="*/ 666433 h 800100"/>
              <a:gd name="connsiteX277" fmla="*/ 1575290 w 2114552"/>
              <a:gd name="connsiteY277" fmla="*/ 674688 h 800100"/>
              <a:gd name="connsiteX278" fmla="*/ 1546226 w 2114552"/>
              <a:gd name="connsiteY278" fmla="*/ 654050 h 800100"/>
              <a:gd name="connsiteX279" fmla="*/ 1571138 w 2114552"/>
              <a:gd name="connsiteY279" fmla="*/ 612775 h 800100"/>
              <a:gd name="connsiteX280" fmla="*/ 1898969 w 2114552"/>
              <a:gd name="connsiteY280" fmla="*/ 579438 h 800100"/>
              <a:gd name="connsiteX281" fmla="*/ 1931989 w 2114552"/>
              <a:gd name="connsiteY281" fmla="*/ 616943 h 800100"/>
              <a:gd name="connsiteX282" fmla="*/ 1923734 w 2114552"/>
              <a:gd name="connsiteY282" fmla="*/ 625277 h 800100"/>
              <a:gd name="connsiteX283" fmla="*/ 1890714 w 2114552"/>
              <a:gd name="connsiteY283" fmla="*/ 612776 h 800100"/>
              <a:gd name="connsiteX284" fmla="*/ 1907224 w 2114552"/>
              <a:gd name="connsiteY284" fmla="*/ 637779 h 800100"/>
              <a:gd name="connsiteX285" fmla="*/ 1898969 w 2114552"/>
              <a:gd name="connsiteY285" fmla="*/ 646113 h 800100"/>
              <a:gd name="connsiteX286" fmla="*/ 1870076 w 2114552"/>
              <a:gd name="connsiteY286" fmla="*/ 604441 h 800100"/>
              <a:gd name="connsiteX287" fmla="*/ 1878331 w 2114552"/>
              <a:gd name="connsiteY287" fmla="*/ 600274 h 800100"/>
              <a:gd name="connsiteX288" fmla="*/ 1911351 w 2114552"/>
              <a:gd name="connsiteY288" fmla="*/ 608608 h 800100"/>
              <a:gd name="connsiteX289" fmla="*/ 1890714 w 2114552"/>
              <a:gd name="connsiteY289" fmla="*/ 587772 h 800100"/>
              <a:gd name="connsiteX290" fmla="*/ 1898969 w 2114552"/>
              <a:gd name="connsiteY290" fmla="*/ 579438 h 800100"/>
              <a:gd name="connsiteX291" fmla="*/ 1534626 w 2114552"/>
              <a:gd name="connsiteY291" fmla="*/ 579438 h 800100"/>
              <a:gd name="connsiteX292" fmla="*/ 1563689 w 2114552"/>
              <a:gd name="connsiteY292" fmla="*/ 604350 h 800100"/>
              <a:gd name="connsiteX293" fmla="*/ 1559537 w 2114552"/>
              <a:gd name="connsiteY293" fmla="*/ 612653 h 800100"/>
              <a:gd name="connsiteX294" fmla="*/ 1547081 w 2114552"/>
              <a:gd name="connsiteY294" fmla="*/ 604350 h 800100"/>
              <a:gd name="connsiteX295" fmla="*/ 1518018 w 2114552"/>
              <a:gd name="connsiteY295" fmla="*/ 633413 h 800100"/>
              <a:gd name="connsiteX296" fmla="*/ 1509714 w 2114552"/>
              <a:gd name="connsiteY296" fmla="*/ 625109 h 800100"/>
              <a:gd name="connsiteX297" fmla="*/ 1538778 w 2114552"/>
              <a:gd name="connsiteY297" fmla="*/ 596046 h 800100"/>
              <a:gd name="connsiteX298" fmla="*/ 1526322 w 2114552"/>
              <a:gd name="connsiteY298" fmla="*/ 583590 h 800100"/>
              <a:gd name="connsiteX299" fmla="*/ 1534626 w 2114552"/>
              <a:gd name="connsiteY299" fmla="*/ 579438 h 800100"/>
              <a:gd name="connsiteX300" fmla="*/ 1924051 w 2114552"/>
              <a:gd name="connsiteY300" fmla="*/ 566738 h 800100"/>
              <a:gd name="connsiteX301" fmla="*/ 1931989 w 2114552"/>
              <a:gd name="connsiteY301" fmla="*/ 579438 h 800100"/>
              <a:gd name="connsiteX302" fmla="*/ 1936751 w 2114552"/>
              <a:gd name="connsiteY302" fmla="*/ 587376 h 800100"/>
              <a:gd name="connsiteX303" fmla="*/ 1944689 w 2114552"/>
              <a:gd name="connsiteY303" fmla="*/ 579438 h 800100"/>
              <a:gd name="connsiteX304" fmla="*/ 1944689 w 2114552"/>
              <a:gd name="connsiteY304" fmla="*/ 574676 h 800100"/>
              <a:gd name="connsiteX305" fmla="*/ 1919742 w 2114552"/>
              <a:gd name="connsiteY305" fmla="*/ 558800 h 800100"/>
              <a:gd name="connsiteX306" fmla="*/ 1970089 w 2114552"/>
              <a:gd name="connsiteY306" fmla="*/ 571103 h 800100"/>
              <a:gd name="connsiteX307" fmla="*/ 1965894 w 2114552"/>
              <a:gd name="connsiteY307" fmla="*/ 579305 h 800100"/>
              <a:gd name="connsiteX308" fmla="*/ 1961698 w 2114552"/>
              <a:gd name="connsiteY308" fmla="*/ 579305 h 800100"/>
              <a:gd name="connsiteX309" fmla="*/ 1953307 w 2114552"/>
              <a:gd name="connsiteY309" fmla="*/ 579305 h 800100"/>
              <a:gd name="connsiteX310" fmla="*/ 1940720 w 2114552"/>
              <a:gd name="connsiteY310" fmla="*/ 595710 h 800100"/>
              <a:gd name="connsiteX311" fmla="*/ 1944916 w 2114552"/>
              <a:gd name="connsiteY311" fmla="*/ 603912 h 800100"/>
              <a:gd name="connsiteX312" fmla="*/ 1940720 w 2114552"/>
              <a:gd name="connsiteY312" fmla="*/ 608013 h 800100"/>
              <a:gd name="connsiteX313" fmla="*/ 1919742 w 2114552"/>
              <a:gd name="connsiteY313" fmla="*/ 579305 h 800100"/>
              <a:gd name="connsiteX314" fmla="*/ 1911351 w 2114552"/>
              <a:gd name="connsiteY314" fmla="*/ 567002 h 800100"/>
              <a:gd name="connsiteX315" fmla="*/ 1500586 w 2114552"/>
              <a:gd name="connsiteY315" fmla="*/ 541338 h 800100"/>
              <a:gd name="connsiteX316" fmla="*/ 1508920 w 2114552"/>
              <a:gd name="connsiteY316" fmla="*/ 549805 h 800100"/>
              <a:gd name="connsiteX317" fmla="*/ 1496419 w 2114552"/>
              <a:gd name="connsiteY317" fmla="*/ 583671 h 800100"/>
              <a:gd name="connsiteX318" fmla="*/ 1521422 w 2114552"/>
              <a:gd name="connsiteY318" fmla="*/ 562505 h 800100"/>
              <a:gd name="connsiteX319" fmla="*/ 1525589 w 2114552"/>
              <a:gd name="connsiteY319" fmla="*/ 570971 h 800100"/>
              <a:gd name="connsiteX320" fmla="*/ 1488084 w 2114552"/>
              <a:gd name="connsiteY320" fmla="*/ 604838 h 800100"/>
              <a:gd name="connsiteX321" fmla="*/ 1479750 w 2114552"/>
              <a:gd name="connsiteY321" fmla="*/ 596371 h 800100"/>
              <a:gd name="connsiteX322" fmla="*/ 1492252 w 2114552"/>
              <a:gd name="connsiteY322" fmla="*/ 562505 h 800100"/>
              <a:gd name="connsiteX323" fmla="*/ 1467249 w 2114552"/>
              <a:gd name="connsiteY323" fmla="*/ 579438 h 800100"/>
              <a:gd name="connsiteX324" fmla="*/ 1458914 w 2114552"/>
              <a:gd name="connsiteY324" fmla="*/ 570971 h 800100"/>
              <a:gd name="connsiteX325" fmla="*/ 1500586 w 2114552"/>
              <a:gd name="connsiteY325" fmla="*/ 541338 h 800100"/>
              <a:gd name="connsiteX326" fmla="*/ 1936752 w 2114552"/>
              <a:gd name="connsiteY326" fmla="*/ 528638 h 800100"/>
              <a:gd name="connsiteX327" fmla="*/ 1973264 w 2114552"/>
              <a:gd name="connsiteY327" fmla="*/ 550863 h 800100"/>
              <a:gd name="connsiteX328" fmla="*/ 1985965 w 2114552"/>
              <a:gd name="connsiteY328" fmla="*/ 528638 h 800100"/>
              <a:gd name="connsiteX329" fmla="*/ 1993902 w 2114552"/>
              <a:gd name="connsiteY329" fmla="*/ 533401 h 800100"/>
              <a:gd name="connsiteX330" fmla="*/ 1978027 w 2114552"/>
              <a:gd name="connsiteY330" fmla="*/ 561976 h 800100"/>
              <a:gd name="connsiteX331" fmla="*/ 1931989 w 2114552"/>
              <a:gd name="connsiteY331" fmla="*/ 538163 h 800100"/>
              <a:gd name="connsiteX332" fmla="*/ 1492829 w 2114552"/>
              <a:gd name="connsiteY332" fmla="*/ 525463 h 800100"/>
              <a:gd name="connsiteX333" fmla="*/ 1497014 w 2114552"/>
              <a:gd name="connsiteY333" fmla="*/ 533798 h 800100"/>
              <a:gd name="connsiteX334" fmla="*/ 1455161 w 2114552"/>
              <a:gd name="connsiteY334" fmla="*/ 558801 h 800100"/>
              <a:gd name="connsiteX335" fmla="*/ 1450976 w 2114552"/>
              <a:gd name="connsiteY335" fmla="*/ 550467 h 800100"/>
              <a:gd name="connsiteX336" fmla="*/ 1492829 w 2114552"/>
              <a:gd name="connsiteY336" fmla="*/ 525463 h 800100"/>
              <a:gd name="connsiteX337" fmla="*/ 1482542 w 2114552"/>
              <a:gd name="connsiteY337" fmla="*/ 485751 h 800100"/>
              <a:gd name="connsiteX338" fmla="*/ 1476320 w 2114552"/>
              <a:gd name="connsiteY338" fmla="*/ 488355 h 800100"/>
              <a:gd name="connsiteX339" fmla="*/ 1430696 w 2114552"/>
              <a:gd name="connsiteY339" fmla="*/ 500857 h 800100"/>
              <a:gd name="connsiteX340" fmla="*/ 1422401 w 2114552"/>
              <a:gd name="connsiteY340" fmla="*/ 517526 h 800100"/>
              <a:gd name="connsiteX341" fmla="*/ 1716883 w 2114552"/>
              <a:gd name="connsiteY341" fmla="*/ 717551 h 800100"/>
              <a:gd name="connsiteX342" fmla="*/ 2011364 w 2114552"/>
              <a:gd name="connsiteY342" fmla="*/ 513358 h 800100"/>
              <a:gd name="connsiteX343" fmla="*/ 2003069 w 2114552"/>
              <a:gd name="connsiteY343" fmla="*/ 500857 h 800100"/>
              <a:gd name="connsiteX344" fmla="*/ 1957445 w 2114552"/>
              <a:gd name="connsiteY344" fmla="*/ 488355 h 800100"/>
              <a:gd name="connsiteX345" fmla="*/ 1951224 w 2114552"/>
              <a:gd name="connsiteY345" fmla="*/ 485751 h 800100"/>
              <a:gd name="connsiteX346" fmla="*/ 1945002 w 2114552"/>
              <a:gd name="connsiteY346" fmla="*/ 492522 h 800100"/>
              <a:gd name="connsiteX347" fmla="*/ 1716883 w 2114552"/>
              <a:gd name="connsiteY347" fmla="*/ 646709 h 800100"/>
              <a:gd name="connsiteX348" fmla="*/ 1488763 w 2114552"/>
              <a:gd name="connsiteY348" fmla="*/ 492522 h 800100"/>
              <a:gd name="connsiteX349" fmla="*/ 1482542 w 2114552"/>
              <a:gd name="connsiteY349" fmla="*/ 485751 h 800100"/>
              <a:gd name="connsiteX350" fmla="*/ 1662749 w 2114552"/>
              <a:gd name="connsiteY350" fmla="*/ 478852 h 800100"/>
              <a:gd name="connsiteX351" fmla="*/ 1551306 w 2114552"/>
              <a:gd name="connsiteY351" fmla="*/ 533313 h 800100"/>
              <a:gd name="connsiteX352" fmla="*/ 1543051 w 2114552"/>
              <a:gd name="connsiteY352" fmla="*/ 537502 h 800100"/>
              <a:gd name="connsiteX353" fmla="*/ 1543051 w 2114552"/>
              <a:gd name="connsiteY353" fmla="*/ 541691 h 800100"/>
              <a:gd name="connsiteX354" fmla="*/ 1547179 w 2114552"/>
              <a:gd name="connsiteY354" fmla="*/ 545880 h 800100"/>
              <a:gd name="connsiteX355" fmla="*/ 1675132 w 2114552"/>
              <a:gd name="connsiteY355" fmla="*/ 621287 h 800100"/>
              <a:gd name="connsiteX356" fmla="*/ 1683387 w 2114552"/>
              <a:gd name="connsiteY356" fmla="*/ 621287 h 800100"/>
              <a:gd name="connsiteX357" fmla="*/ 1687514 w 2114552"/>
              <a:gd name="connsiteY357" fmla="*/ 608719 h 800100"/>
              <a:gd name="connsiteX358" fmla="*/ 1679259 w 2114552"/>
              <a:gd name="connsiteY358" fmla="*/ 487231 h 800100"/>
              <a:gd name="connsiteX359" fmla="*/ 1675132 w 2114552"/>
              <a:gd name="connsiteY359" fmla="*/ 478852 h 800100"/>
              <a:gd name="connsiteX360" fmla="*/ 1662749 w 2114552"/>
              <a:gd name="connsiteY360" fmla="*/ 478852 h 800100"/>
              <a:gd name="connsiteX361" fmla="*/ 1762761 w 2114552"/>
              <a:gd name="connsiteY361" fmla="*/ 474663 h 800100"/>
              <a:gd name="connsiteX362" fmla="*/ 1758634 w 2114552"/>
              <a:gd name="connsiteY362" fmla="*/ 487182 h 800100"/>
              <a:gd name="connsiteX363" fmla="*/ 1746251 w 2114552"/>
              <a:gd name="connsiteY363" fmla="*/ 608194 h 800100"/>
              <a:gd name="connsiteX364" fmla="*/ 1750379 w 2114552"/>
              <a:gd name="connsiteY364" fmla="*/ 620713 h 800100"/>
              <a:gd name="connsiteX365" fmla="*/ 1758634 w 2114552"/>
              <a:gd name="connsiteY365" fmla="*/ 620713 h 800100"/>
              <a:gd name="connsiteX366" fmla="*/ 1886587 w 2114552"/>
              <a:gd name="connsiteY366" fmla="*/ 545602 h 800100"/>
              <a:gd name="connsiteX367" fmla="*/ 1890714 w 2114552"/>
              <a:gd name="connsiteY367" fmla="*/ 537256 h 800100"/>
              <a:gd name="connsiteX368" fmla="*/ 1882459 w 2114552"/>
              <a:gd name="connsiteY368" fmla="*/ 528910 h 800100"/>
              <a:gd name="connsiteX369" fmla="*/ 1775144 w 2114552"/>
              <a:gd name="connsiteY369" fmla="*/ 474663 h 800100"/>
              <a:gd name="connsiteX370" fmla="*/ 1762761 w 2114552"/>
              <a:gd name="connsiteY370" fmla="*/ 474663 h 800100"/>
              <a:gd name="connsiteX371" fmla="*/ 725572 w 2114552"/>
              <a:gd name="connsiteY371" fmla="*/ 428624 h 800100"/>
              <a:gd name="connsiteX372" fmla="*/ 696913 w 2114552"/>
              <a:gd name="connsiteY372" fmla="*/ 457993 h 800100"/>
              <a:gd name="connsiteX373" fmla="*/ 717384 w 2114552"/>
              <a:gd name="connsiteY373" fmla="*/ 487362 h 800100"/>
              <a:gd name="connsiteX374" fmla="*/ 774701 w 2114552"/>
              <a:gd name="connsiteY374" fmla="*/ 478971 h 800100"/>
              <a:gd name="connsiteX375" fmla="*/ 774701 w 2114552"/>
              <a:gd name="connsiteY375" fmla="*/ 428624 h 800100"/>
              <a:gd name="connsiteX376" fmla="*/ 352426 w 2114552"/>
              <a:gd name="connsiteY376" fmla="*/ 346073 h 800100"/>
              <a:gd name="connsiteX377" fmla="*/ 303213 w 2114552"/>
              <a:gd name="connsiteY377" fmla="*/ 412562 h 800100"/>
              <a:gd name="connsiteX378" fmla="*/ 352426 w 2114552"/>
              <a:gd name="connsiteY378" fmla="*/ 487361 h 800100"/>
              <a:gd name="connsiteX379" fmla="*/ 401638 w 2114552"/>
              <a:gd name="connsiteY379" fmla="*/ 412562 h 800100"/>
              <a:gd name="connsiteX380" fmla="*/ 352426 w 2114552"/>
              <a:gd name="connsiteY380" fmla="*/ 346073 h 800100"/>
              <a:gd name="connsiteX381" fmla="*/ 1704770 w 2114552"/>
              <a:gd name="connsiteY381" fmla="*/ 341312 h 800100"/>
              <a:gd name="connsiteX382" fmla="*/ 1704770 w 2114552"/>
              <a:gd name="connsiteY382" fmla="*/ 353885 h 800100"/>
              <a:gd name="connsiteX383" fmla="*/ 1671639 w 2114552"/>
              <a:gd name="connsiteY383" fmla="*/ 399986 h 800100"/>
              <a:gd name="connsiteX384" fmla="*/ 1717193 w 2114552"/>
              <a:gd name="connsiteY384" fmla="*/ 446087 h 800100"/>
              <a:gd name="connsiteX385" fmla="*/ 1766889 w 2114552"/>
              <a:gd name="connsiteY385" fmla="*/ 399986 h 800100"/>
              <a:gd name="connsiteX386" fmla="*/ 1729617 w 2114552"/>
              <a:gd name="connsiteY386" fmla="*/ 353885 h 800100"/>
              <a:gd name="connsiteX387" fmla="*/ 1729617 w 2114552"/>
              <a:gd name="connsiteY387" fmla="*/ 341312 h 800100"/>
              <a:gd name="connsiteX388" fmla="*/ 1704770 w 2114552"/>
              <a:gd name="connsiteY388" fmla="*/ 341312 h 800100"/>
              <a:gd name="connsiteX389" fmla="*/ 1716883 w 2114552"/>
              <a:gd name="connsiteY389" fmla="*/ 328612 h 800100"/>
              <a:gd name="connsiteX390" fmla="*/ 1787527 w 2114552"/>
              <a:gd name="connsiteY390" fmla="*/ 400050 h 800100"/>
              <a:gd name="connsiteX391" fmla="*/ 1716883 w 2114552"/>
              <a:gd name="connsiteY391" fmla="*/ 471488 h 800100"/>
              <a:gd name="connsiteX392" fmla="*/ 1646239 w 2114552"/>
              <a:gd name="connsiteY392" fmla="*/ 400050 h 800100"/>
              <a:gd name="connsiteX393" fmla="*/ 1716883 w 2114552"/>
              <a:gd name="connsiteY393" fmla="*/ 328612 h 800100"/>
              <a:gd name="connsiteX394" fmla="*/ 1716883 w 2114552"/>
              <a:gd name="connsiteY394" fmla="*/ 320675 h 800100"/>
              <a:gd name="connsiteX395" fmla="*/ 1638301 w 2114552"/>
              <a:gd name="connsiteY395" fmla="*/ 400050 h 800100"/>
              <a:gd name="connsiteX396" fmla="*/ 1716883 w 2114552"/>
              <a:gd name="connsiteY396" fmla="*/ 479425 h 800100"/>
              <a:gd name="connsiteX397" fmla="*/ 1795465 w 2114552"/>
              <a:gd name="connsiteY397" fmla="*/ 400050 h 800100"/>
              <a:gd name="connsiteX398" fmla="*/ 1716883 w 2114552"/>
              <a:gd name="connsiteY398" fmla="*/ 320675 h 800100"/>
              <a:gd name="connsiteX399" fmla="*/ 1924004 w 2114552"/>
              <a:gd name="connsiteY399" fmla="*/ 317500 h 800100"/>
              <a:gd name="connsiteX400" fmla="*/ 1911592 w 2114552"/>
              <a:gd name="connsiteY400" fmla="*/ 321667 h 800100"/>
              <a:gd name="connsiteX401" fmla="*/ 1812301 w 2114552"/>
              <a:gd name="connsiteY401" fmla="*/ 388342 h 800100"/>
              <a:gd name="connsiteX402" fmla="*/ 1808164 w 2114552"/>
              <a:gd name="connsiteY402" fmla="*/ 400844 h 800100"/>
              <a:gd name="connsiteX403" fmla="*/ 1812301 w 2114552"/>
              <a:gd name="connsiteY403" fmla="*/ 409178 h 800100"/>
              <a:gd name="connsiteX404" fmla="*/ 1915729 w 2114552"/>
              <a:gd name="connsiteY404" fmla="*/ 480021 h 800100"/>
              <a:gd name="connsiteX405" fmla="*/ 1924004 w 2114552"/>
              <a:gd name="connsiteY405" fmla="*/ 480021 h 800100"/>
              <a:gd name="connsiteX406" fmla="*/ 1928141 w 2114552"/>
              <a:gd name="connsiteY406" fmla="*/ 471686 h 800100"/>
              <a:gd name="connsiteX407" fmla="*/ 1928141 w 2114552"/>
              <a:gd name="connsiteY407" fmla="*/ 325834 h 800100"/>
              <a:gd name="connsiteX408" fmla="*/ 1924004 w 2114552"/>
              <a:gd name="connsiteY408" fmla="*/ 317500 h 800100"/>
              <a:gd name="connsiteX409" fmla="*/ 1509762 w 2114552"/>
              <a:gd name="connsiteY409" fmla="*/ 317500 h 800100"/>
              <a:gd name="connsiteX410" fmla="*/ 1501487 w 2114552"/>
              <a:gd name="connsiteY410" fmla="*/ 325834 h 800100"/>
              <a:gd name="connsiteX411" fmla="*/ 1501487 w 2114552"/>
              <a:gd name="connsiteY411" fmla="*/ 475854 h 800100"/>
              <a:gd name="connsiteX412" fmla="*/ 1509762 w 2114552"/>
              <a:gd name="connsiteY412" fmla="*/ 480021 h 800100"/>
              <a:gd name="connsiteX413" fmla="*/ 1518036 w 2114552"/>
              <a:gd name="connsiteY413" fmla="*/ 480021 h 800100"/>
              <a:gd name="connsiteX414" fmla="*/ 1621464 w 2114552"/>
              <a:gd name="connsiteY414" fmla="*/ 409178 h 800100"/>
              <a:gd name="connsiteX415" fmla="*/ 1625601 w 2114552"/>
              <a:gd name="connsiteY415" fmla="*/ 400844 h 800100"/>
              <a:gd name="connsiteX416" fmla="*/ 1621464 w 2114552"/>
              <a:gd name="connsiteY416" fmla="*/ 388342 h 800100"/>
              <a:gd name="connsiteX417" fmla="*/ 1518036 w 2114552"/>
              <a:gd name="connsiteY417" fmla="*/ 321667 h 800100"/>
              <a:gd name="connsiteX418" fmla="*/ 1509762 w 2114552"/>
              <a:gd name="connsiteY418" fmla="*/ 317500 h 800100"/>
              <a:gd name="connsiteX419" fmla="*/ 1032821 w 2114552"/>
              <a:gd name="connsiteY419" fmla="*/ 304799 h 800100"/>
              <a:gd name="connsiteX420" fmla="*/ 1041062 w 2114552"/>
              <a:gd name="connsiteY420" fmla="*/ 304799 h 800100"/>
              <a:gd name="connsiteX421" fmla="*/ 1074028 w 2114552"/>
              <a:gd name="connsiteY421" fmla="*/ 304799 h 800100"/>
              <a:gd name="connsiteX422" fmla="*/ 1082270 w 2114552"/>
              <a:gd name="connsiteY422" fmla="*/ 308966 h 800100"/>
              <a:gd name="connsiteX423" fmla="*/ 1123477 w 2114552"/>
              <a:gd name="connsiteY423" fmla="*/ 479821 h 800100"/>
              <a:gd name="connsiteX424" fmla="*/ 1127598 w 2114552"/>
              <a:gd name="connsiteY424" fmla="*/ 479821 h 800100"/>
              <a:gd name="connsiteX425" fmla="*/ 1172926 w 2114552"/>
              <a:gd name="connsiteY425" fmla="*/ 308966 h 800100"/>
              <a:gd name="connsiteX426" fmla="*/ 1181168 w 2114552"/>
              <a:gd name="connsiteY426" fmla="*/ 304799 h 800100"/>
              <a:gd name="connsiteX427" fmla="*/ 1214134 w 2114552"/>
              <a:gd name="connsiteY427" fmla="*/ 304799 h 800100"/>
              <a:gd name="connsiteX428" fmla="*/ 1222375 w 2114552"/>
              <a:gd name="connsiteY428" fmla="*/ 304799 h 800100"/>
              <a:gd name="connsiteX429" fmla="*/ 1222375 w 2114552"/>
              <a:gd name="connsiteY429" fmla="*/ 313133 h 800100"/>
              <a:gd name="connsiteX430" fmla="*/ 1218254 w 2114552"/>
              <a:gd name="connsiteY430" fmla="*/ 338137 h 800100"/>
              <a:gd name="connsiteX431" fmla="*/ 1201771 w 2114552"/>
              <a:gd name="connsiteY431" fmla="*/ 388143 h 800100"/>
              <a:gd name="connsiteX432" fmla="*/ 1164685 w 2114552"/>
              <a:gd name="connsiteY432" fmla="*/ 542329 h 800100"/>
              <a:gd name="connsiteX433" fmla="*/ 1098753 w 2114552"/>
              <a:gd name="connsiteY433" fmla="*/ 604837 h 800100"/>
              <a:gd name="connsiteX434" fmla="*/ 1094632 w 2114552"/>
              <a:gd name="connsiteY434" fmla="*/ 604837 h 800100"/>
              <a:gd name="connsiteX435" fmla="*/ 1041062 w 2114552"/>
              <a:gd name="connsiteY435" fmla="*/ 600670 h 800100"/>
              <a:gd name="connsiteX436" fmla="*/ 1032821 w 2114552"/>
              <a:gd name="connsiteY436" fmla="*/ 592335 h 800100"/>
              <a:gd name="connsiteX437" fmla="*/ 1032821 w 2114552"/>
              <a:gd name="connsiteY437" fmla="*/ 567332 h 800100"/>
              <a:gd name="connsiteX438" fmla="*/ 1036942 w 2114552"/>
              <a:gd name="connsiteY438" fmla="*/ 563165 h 800100"/>
              <a:gd name="connsiteX439" fmla="*/ 1041062 w 2114552"/>
              <a:gd name="connsiteY439" fmla="*/ 558998 h 800100"/>
              <a:gd name="connsiteX440" fmla="*/ 1082270 w 2114552"/>
              <a:gd name="connsiteY440" fmla="*/ 563165 h 800100"/>
              <a:gd name="connsiteX441" fmla="*/ 1115236 w 2114552"/>
              <a:gd name="connsiteY441" fmla="*/ 538162 h 800100"/>
              <a:gd name="connsiteX442" fmla="*/ 1119357 w 2114552"/>
              <a:gd name="connsiteY442" fmla="*/ 529828 h 800100"/>
              <a:gd name="connsiteX443" fmla="*/ 1106994 w 2114552"/>
              <a:gd name="connsiteY443" fmla="*/ 529828 h 800100"/>
              <a:gd name="connsiteX444" fmla="*/ 1082270 w 2114552"/>
              <a:gd name="connsiteY444" fmla="*/ 504824 h 800100"/>
              <a:gd name="connsiteX445" fmla="*/ 1032821 w 2114552"/>
              <a:gd name="connsiteY445" fmla="*/ 313133 h 800100"/>
              <a:gd name="connsiteX446" fmla="*/ 1032821 w 2114552"/>
              <a:gd name="connsiteY446" fmla="*/ 304799 h 800100"/>
              <a:gd name="connsiteX447" fmla="*/ 994979 w 2114552"/>
              <a:gd name="connsiteY447" fmla="*/ 300037 h 800100"/>
              <a:gd name="connsiteX448" fmla="*/ 999140 w 2114552"/>
              <a:gd name="connsiteY448" fmla="*/ 304193 h 800100"/>
              <a:gd name="connsiteX449" fmla="*/ 1003300 w 2114552"/>
              <a:gd name="connsiteY449" fmla="*/ 308350 h 800100"/>
              <a:gd name="connsiteX450" fmla="*/ 1003300 w 2114552"/>
              <a:gd name="connsiteY450" fmla="*/ 341601 h 800100"/>
              <a:gd name="connsiteX451" fmla="*/ 994979 w 2114552"/>
              <a:gd name="connsiteY451" fmla="*/ 349913 h 800100"/>
              <a:gd name="connsiteX452" fmla="*/ 932574 w 2114552"/>
              <a:gd name="connsiteY452" fmla="*/ 374852 h 800100"/>
              <a:gd name="connsiteX453" fmla="*/ 932574 w 2114552"/>
              <a:gd name="connsiteY453" fmla="*/ 520324 h 800100"/>
              <a:gd name="connsiteX454" fmla="*/ 924254 w 2114552"/>
              <a:gd name="connsiteY454" fmla="*/ 528637 h 800100"/>
              <a:gd name="connsiteX455" fmla="*/ 890971 w 2114552"/>
              <a:gd name="connsiteY455" fmla="*/ 528637 h 800100"/>
              <a:gd name="connsiteX456" fmla="*/ 882650 w 2114552"/>
              <a:gd name="connsiteY456" fmla="*/ 520324 h 800100"/>
              <a:gd name="connsiteX457" fmla="*/ 882650 w 2114552"/>
              <a:gd name="connsiteY457" fmla="*/ 312506 h 800100"/>
              <a:gd name="connsiteX458" fmla="*/ 890971 w 2114552"/>
              <a:gd name="connsiteY458" fmla="*/ 304193 h 800100"/>
              <a:gd name="connsiteX459" fmla="*/ 924254 w 2114552"/>
              <a:gd name="connsiteY459" fmla="*/ 304193 h 800100"/>
              <a:gd name="connsiteX460" fmla="*/ 932574 w 2114552"/>
              <a:gd name="connsiteY460" fmla="*/ 312506 h 800100"/>
              <a:gd name="connsiteX461" fmla="*/ 932574 w 2114552"/>
              <a:gd name="connsiteY461" fmla="*/ 324975 h 800100"/>
              <a:gd name="connsiteX462" fmla="*/ 994979 w 2114552"/>
              <a:gd name="connsiteY462" fmla="*/ 300037 h 800100"/>
              <a:gd name="connsiteX463" fmla="*/ 750816 w 2114552"/>
              <a:gd name="connsiteY463" fmla="*/ 295274 h 800100"/>
              <a:gd name="connsiteX464" fmla="*/ 825501 w 2114552"/>
              <a:gd name="connsiteY464" fmla="*/ 374649 h 800100"/>
              <a:gd name="connsiteX465" fmla="*/ 825501 w 2114552"/>
              <a:gd name="connsiteY465" fmla="*/ 525044 h 800100"/>
              <a:gd name="connsiteX466" fmla="*/ 825501 w 2114552"/>
              <a:gd name="connsiteY466" fmla="*/ 529221 h 800100"/>
              <a:gd name="connsiteX467" fmla="*/ 817203 w 2114552"/>
              <a:gd name="connsiteY467" fmla="*/ 533399 h 800100"/>
              <a:gd name="connsiteX468" fmla="*/ 784010 w 2114552"/>
              <a:gd name="connsiteY468" fmla="*/ 516688 h 800100"/>
              <a:gd name="connsiteX469" fmla="*/ 709325 w 2114552"/>
              <a:gd name="connsiteY469" fmla="*/ 533399 h 800100"/>
              <a:gd name="connsiteX470" fmla="*/ 642938 w 2114552"/>
              <a:gd name="connsiteY470" fmla="*/ 462379 h 800100"/>
              <a:gd name="connsiteX471" fmla="*/ 717623 w 2114552"/>
              <a:gd name="connsiteY471" fmla="*/ 391360 h 800100"/>
              <a:gd name="connsiteX472" fmla="*/ 775711 w 2114552"/>
              <a:gd name="connsiteY472" fmla="*/ 387182 h 800100"/>
              <a:gd name="connsiteX473" fmla="*/ 775711 w 2114552"/>
              <a:gd name="connsiteY473" fmla="*/ 374649 h 800100"/>
              <a:gd name="connsiteX474" fmla="*/ 746667 w 2114552"/>
              <a:gd name="connsiteY474" fmla="*/ 345406 h 800100"/>
              <a:gd name="connsiteX475" fmla="*/ 667833 w 2114552"/>
              <a:gd name="connsiteY475" fmla="*/ 349583 h 800100"/>
              <a:gd name="connsiteX476" fmla="*/ 663684 w 2114552"/>
              <a:gd name="connsiteY476" fmla="*/ 349583 h 800100"/>
              <a:gd name="connsiteX477" fmla="*/ 659535 w 2114552"/>
              <a:gd name="connsiteY477" fmla="*/ 341228 h 800100"/>
              <a:gd name="connsiteX478" fmla="*/ 659535 w 2114552"/>
              <a:gd name="connsiteY478" fmla="*/ 311985 h 800100"/>
              <a:gd name="connsiteX479" fmla="*/ 667833 w 2114552"/>
              <a:gd name="connsiteY479" fmla="*/ 303629 h 800100"/>
              <a:gd name="connsiteX480" fmla="*/ 750816 w 2114552"/>
              <a:gd name="connsiteY480" fmla="*/ 295274 h 800100"/>
              <a:gd name="connsiteX481" fmla="*/ 354013 w 2114552"/>
              <a:gd name="connsiteY481" fmla="*/ 295273 h 800100"/>
              <a:gd name="connsiteX482" fmla="*/ 455613 w 2114552"/>
              <a:gd name="connsiteY482" fmla="*/ 414336 h 800100"/>
              <a:gd name="connsiteX483" fmla="*/ 354013 w 2114552"/>
              <a:gd name="connsiteY483" fmla="*/ 533399 h 800100"/>
              <a:gd name="connsiteX484" fmla="*/ 252413 w 2114552"/>
              <a:gd name="connsiteY484" fmla="*/ 414336 h 800100"/>
              <a:gd name="connsiteX485" fmla="*/ 354013 w 2114552"/>
              <a:gd name="connsiteY485" fmla="*/ 295273 h 800100"/>
              <a:gd name="connsiteX486" fmla="*/ 53975 w 2114552"/>
              <a:gd name="connsiteY486" fmla="*/ 266699 h 800100"/>
              <a:gd name="connsiteX487" fmla="*/ 53975 w 2114552"/>
              <a:gd name="connsiteY487" fmla="*/ 358774 h 800100"/>
              <a:gd name="connsiteX488" fmla="*/ 107480 w 2114552"/>
              <a:gd name="connsiteY488" fmla="*/ 358774 h 800100"/>
              <a:gd name="connsiteX489" fmla="*/ 165100 w 2114552"/>
              <a:gd name="connsiteY489" fmla="*/ 312737 h 800100"/>
              <a:gd name="connsiteX490" fmla="*/ 111595 w 2114552"/>
              <a:gd name="connsiteY490" fmla="*/ 266699 h 800100"/>
              <a:gd name="connsiteX491" fmla="*/ 91017 w 2114552"/>
              <a:gd name="connsiteY491" fmla="*/ 266699 h 800100"/>
              <a:gd name="connsiteX492" fmla="*/ 53975 w 2114552"/>
              <a:gd name="connsiteY492" fmla="*/ 266699 h 800100"/>
              <a:gd name="connsiteX493" fmla="*/ 546894 w 2114552"/>
              <a:gd name="connsiteY493" fmla="*/ 250824 h 800100"/>
              <a:gd name="connsiteX494" fmla="*/ 551050 w 2114552"/>
              <a:gd name="connsiteY494" fmla="*/ 250824 h 800100"/>
              <a:gd name="connsiteX495" fmla="*/ 555205 w 2114552"/>
              <a:gd name="connsiteY495" fmla="*/ 259135 h 800100"/>
              <a:gd name="connsiteX496" fmla="*/ 555205 w 2114552"/>
              <a:gd name="connsiteY496" fmla="*/ 304846 h 800100"/>
              <a:gd name="connsiteX497" fmla="*/ 609227 w 2114552"/>
              <a:gd name="connsiteY497" fmla="*/ 304846 h 800100"/>
              <a:gd name="connsiteX498" fmla="*/ 617538 w 2114552"/>
              <a:gd name="connsiteY498" fmla="*/ 313157 h 800100"/>
              <a:gd name="connsiteX499" fmla="*/ 617538 w 2114552"/>
              <a:gd name="connsiteY499" fmla="*/ 342245 h 800100"/>
              <a:gd name="connsiteX500" fmla="*/ 609227 w 2114552"/>
              <a:gd name="connsiteY500" fmla="*/ 350556 h 800100"/>
              <a:gd name="connsiteX501" fmla="*/ 555205 w 2114552"/>
              <a:gd name="connsiteY501" fmla="*/ 350556 h 800100"/>
              <a:gd name="connsiteX502" fmla="*/ 555205 w 2114552"/>
              <a:gd name="connsiteY502" fmla="*/ 441978 h 800100"/>
              <a:gd name="connsiteX503" fmla="*/ 580138 w 2114552"/>
              <a:gd name="connsiteY503" fmla="*/ 483533 h 800100"/>
              <a:gd name="connsiteX504" fmla="*/ 609227 w 2114552"/>
              <a:gd name="connsiteY504" fmla="*/ 483533 h 800100"/>
              <a:gd name="connsiteX505" fmla="*/ 617538 w 2114552"/>
              <a:gd name="connsiteY505" fmla="*/ 491844 h 800100"/>
              <a:gd name="connsiteX506" fmla="*/ 617538 w 2114552"/>
              <a:gd name="connsiteY506" fmla="*/ 520932 h 800100"/>
              <a:gd name="connsiteX507" fmla="*/ 609227 w 2114552"/>
              <a:gd name="connsiteY507" fmla="*/ 529244 h 800100"/>
              <a:gd name="connsiteX508" fmla="*/ 571827 w 2114552"/>
              <a:gd name="connsiteY508" fmla="*/ 533399 h 800100"/>
              <a:gd name="connsiteX509" fmla="*/ 505339 w 2114552"/>
              <a:gd name="connsiteY509" fmla="*/ 450289 h 800100"/>
              <a:gd name="connsiteX510" fmla="*/ 505339 w 2114552"/>
              <a:gd name="connsiteY510" fmla="*/ 350556 h 800100"/>
              <a:gd name="connsiteX511" fmla="*/ 484561 w 2114552"/>
              <a:gd name="connsiteY511" fmla="*/ 350556 h 800100"/>
              <a:gd name="connsiteX512" fmla="*/ 476250 w 2114552"/>
              <a:gd name="connsiteY512" fmla="*/ 342245 h 800100"/>
              <a:gd name="connsiteX513" fmla="*/ 476250 w 2114552"/>
              <a:gd name="connsiteY513" fmla="*/ 313157 h 800100"/>
              <a:gd name="connsiteX514" fmla="*/ 484561 w 2114552"/>
              <a:gd name="connsiteY514" fmla="*/ 304846 h 800100"/>
              <a:gd name="connsiteX515" fmla="*/ 505339 w 2114552"/>
              <a:gd name="connsiteY515" fmla="*/ 304846 h 800100"/>
              <a:gd name="connsiteX516" fmla="*/ 505339 w 2114552"/>
              <a:gd name="connsiteY516" fmla="*/ 267446 h 800100"/>
              <a:gd name="connsiteX517" fmla="*/ 509494 w 2114552"/>
              <a:gd name="connsiteY517" fmla="*/ 259135 h 800100"/>
              <a:gd name="connsiteX518" fmla="*/ 546894 w 2114552"/>
              <a:gd name="connsiteY518" fmla="*/ 250824 h 800100"/>
              <a:gd name="connsiteX519" fmla="*/ 103337 w 2114552"/>
              <a:gd name="connsiteY519" fmla="*/ 217487 h 800100"/>
              <a:gd name="connsiteX520" fmla="*/ 111604 w 2114552"/>
              <a:gd name="connsiteY520" fmla="*/ 217487 h 800100"/>
              <a:gd name="connsiteX521" fmla="*/ 219075 w 2114552"/>
              <a:gd name="connsiteY521" fmla="*/ 312906 h 800100"/>
              <a:gd name="connsiteX522" fmla="*/ 165340 w 2114552"/>
              <a:gd name="connsiteY522" fmla="*/ 391731 h 800100"/>
              <a:gd name="connsiteX523" fmla="*/ 219075 w 2114552"/>
              <a:gd name="connsiteY523" fmla="*/ 516191 h 800100"/>
              <a:gd name="connsiteX524" fmla="*/ 219075 w 2114552"/>
              <a:gd name="connsiteY524" fmla="*/ 524488 h 800100"/>
              <a:gd name="connsiteX525" fmla="*/ 210808 w 2114552"/>
              <a:gd name="connsiteY525" fmla="*/ 528637 h 800100"/>
              <a:gd name="connsiteX526" fmla="*/ 173607 w 2114552"/>
              <a:gd name="connsiteY526" fmla="*/ 528637 h 800100"/>
              <a:gd name="connsiteX527" fmla="*/ 165340 w 2114552"/>
              <a:gd name="connsiteY527" fmla="*/ 524488 h 800100"/>
              <a:gd name="connsiteX528" fmla="*/ 111604 w 2114552"/>
              <a:gd name="connsiteY528" fmla="*/ 408326 h 800100"/>
              <a:gd name="connsiteX529" fmla="*/ 53736 w 2114552"/>
              <a:gd name="connsiteY529" fmla="*/ 404177 h 800100"/>
              <a:gd name="connsiteX530" fmla="*/ 53736 w 2114552"/>
              <a:gd name="connsiteY530" fmla="*/ 520340 h 800100"/>
              <a:gd name="connsiteX531" fmla="*/ 45469 w 2114552"/>
              <a:gd name="connsiteY531" fmla="*/ 528637 h 800100"/>
              <a:gd name="connsiteX532" fmla="*/ 8267 w 2114552"/>
              <a:gd name="connsiteY532" fmla="*/ 528637 h 800100"/>
              <a:gd name="connsiteX533" fmla="*/ 0 w 2114552"/>
              <a:gd name="connsiteY533" fmla="*/ 520340 h 800100"/>
              <a:gd name="connsiteX534" fmla="*/ 0 w 2114552"/>
              <a:gd name="connsiteY534" fmla="*/ 229933 h 800100"/>
              <a:gd name="connsiteX535" fmla="*/ 8267 w 2114552"/>
              <a:gd name="connsiteY535" fmla="*/ 221636 h 800100"/>
              <a:gd name="connsiteX536" fmla="*/ 103337 w 2114552"/>
              <a:gd name="connsiteY536" fmla="*/ 217487 h 800100"/>
              <a:gd name="connsiteX537" fmla="*/ 1941299 w 2114552"/>
              <a:gd name="connsiteY537" fmla="*/ 180951 h 800100"/>
              <a:gd name="connsiteX538" fmla="*/ 1936665 w 2114552"/>
              <a:gd name="connsiteY538" fmla="*/ 183555 h 800100"/>
              <a:gd name="connsiteX539" fmla="*/ 1903714 w 2114552"/>
              <a:gd name="connsiteY539" fmla="*/ 221060 h 800100"/>
              <a:gd name="connsiteX540" fmla="*/ 1903714 w 2114552"/>
              <a:gd name="connsiteY540" fmla="*/ 237729 h 800100"/>
              <a:gd name="connsiteX541" fmla="*/ 1957260 w 2114552"/>
              <a:gd name="connsiteY541" fmla="*/ 450256 h 800100"/>
              <a:gd name="connsiteX542" fmla="*/ 1965498 w 2114552"/>
              <a:gd name="connsiteY542" fmla="*/ 462757 h 800100"/>
              <a:gd name="connsiteX543" fmla="*/ 2010806 w 2114552"/>
              <a:gd name="connsiteY543" fmla="*/ 475259 h 800100"/>
              <a:gd name="connsiteX544" fmla="*/ 2023163 w 2114552"/>
              <a:gd name="connsiteY544" fmla="*/ 471092 h 800100"/>
              <a:gd name="connsiteX545" fmla="*/ 1949022 w 2114552"/>
              <a:gd name="connsiteY545" fmla="*/ 187722 h 800100"/>
              <a:gd name="connsiteX546" fmla="*/ 1941299 w 2114552"/>
              <a:gd name="connsiteY546" fmla="*/ 180951 h 800100"/>
              <a:gd name="connsiteX547" fmla="*/ 1491989 w 2114552"/>
              <a:gd name="connsiteY547" fmla="*/ 180951 h 800100"/>
              <a:gd name="connsiteX548" fmla="*/ 1484185 w 2114552"/>
              <a:gd name="connsiteY548" fmla="*/ 187722 h 800100"/>
              <a:gd name="connsiteX549" fmla="*/ 1409272 w 2114552"/>
              <a:gd name="connsiteY549" fmla="*/ 471092 h 800100"/>
              <a:gd name="connsiteX550" fmla="*/ 1421758 w 2114552"/>
              <a:gd name="connsiteY550" fmla="*/ 475259 h 800100"/>
              <a:gd name="connsiteX551" fmla="*/ 1467538 w 2114552"/>
              <a:gd name="connsiteY551" fmla="*/ 462757 h 800100"/>
              <a:gd name="connsiteX552" fmla="*/ 1475862 w 2114552"/>
              <a:gd name="connsiteY552" fmla="*/ 450256 h 800100"/>
              <a:gd name="connsiteX553" fmla="*/ 1529965 w 2114552"/>
              <a:gd name="connsiteY553" fmla="*/ 237729 h 800100"/>
              <a:gd name="connsiteX554" fmla="*/ 1534127 w 2114552"/>
              <a:gd name="connsiteY554" fmla="*/ 221060 h 800100"/>
              <a:gd name="connsiteX555" fmla="*/ 1496671 w 2114552"/>
              <a:gd name="connsiteY555" fmla="*/ 183555 h 800100"/>
              <a:gd name="connsiteX556" fmla="*/ 1491989 w 2114552"/>
              <a:gd name="connsiteY556" fmla="*/ 180951 h 800100"/>
              <a:gd name="connsiteX557" fmla="*/ 1750379 w 2114552"/>
              <a:gd name="connsiteY557" fmla="*/ 174625 h 800100"/>
              <a:gd name="connsiteX558" fmla="*/ 1746251 w 2114552"/>
              <a:gd name="connsiteY558" fmla="*/ 187144 h 800100"/>
              <a:gd name="connsiteX559" fmla="*/ 1754506 w 2114552"/>
              <a:gd name="connsiteY559" fmla="*/ 308156 h 800100"/>
              <a:gd name="connsiteX560" fmla="*/ 1762761 w 2114552"/>
              <a:gd name="connsiteY560" fmla="*/ 320675 h 800100"/>
              <a:gd name="connsiteX561" fmla="*/ 1775144 w 2114552"/>
              <a:gd name="connsiteY561" fmla="*/ 320675 h 800100"/>
              <a:gd name="connsiteX562" fmla="*/ 1882459 w 2114552"/>
              <a:gd name="connsiteY562" fmla="*/ 266428 h 800100"/>
              <a:gd name="connsiteX563" fmla="*/ 1890714 w 2114552"/>
              <a:gd name="connsiteY563" fmla="*/ 258082 h 800100"/>
              <a:gd name="connsiteX564" fmla="*/ 1886587 w 2114552"/>
              <a:gd name="connsiteY564" fmla="*/ 249736 h 800100"/>
              <a:gd name="connsiteX565" fmla="*/ 1758634 w 2114552"/>
              <a:gd name="connsiteY565" fmla="*/ 174625 h 800100"/>
              <a:gd name="connsiteX566" fmla="*/ 1750379 w 2114552"/>
              <a:gd name="connsiteY566" fmla="*/ 174625 h 800100"/>
              <a:gd name="connsiteX567" fmla="*/ 1675132 w 2114552"/>
              <a:gd name="connsiteY567" fmla="*/ 174625 h 800100"/>
              <a:gd name="connsiteX568" fmla="*/ 1547179 w 2114552"/>
              <a:gd name="connsiteY568" fmla="*/ 249736 h 800100"/>
              <a:gd name="connsiteX569" fmla="*/ 1543051 w 2114552"/>
              <a:gd name="connsiteY569" fmla="*/ 258082 h 800100"/>
              <a:gd name="connsiteX570" fmla="*/ 1551306 w 2114552"/>
              <a:gd name="connsiteY570" fmla="*/ 266428 h 800100"/>
              <a:gd name="connsiteX571" fmla="*/ 1658622 w 2114552"/>
              <a:gd name="connsiteY571" fmla="*/ 320675 h 800100"/>
              <a:gd name="connsiteX572" fmla="*/ 1671004 w 2114552"/>
              <a:gd name="connsiteY572" fmla="*/ 320675 h 800100"/>
              <a:gd name="connsiteX573" fmla="*/ 1675132 w 2114552"/>
              <a:gd name="connsiteY573" fmla="*/ 312329 h 800100"/>
              <a:gd name="connsiteX574" fmla="*/ 1687514 w 2114552"/>
              <a:gd name="connsiteY574" fmla="*/ 187144 h 800100"/>
              <a:gd name="connsiteX575" fmla="*/ 1683387 w 2114552"/>
              <a:gd name="connsiteY575" fmla="*/ 174625 h 800100"/>
              <a:gd name="connsiteX576" fmla="*/ 1675132 w 2114552"/>
              <a:gd name="connsiteY576" fmla="*/ 174625 h 800100"/>
              <a:gd name="connsiteX577" fmla="*/ 1579247 w 2114552"/>
              <a:gd name="connsiteY577" fmla="*/ 133350 h 800100"/>
              <a:gd name="connsiteX578" fmla="*/ 1566864 w 2114552"/>
              <a:gd name="connsiteY578" fmla="*/ 142082 h 800100"/>
              <a:gd name="connsiteX579" fmla="*/ 1570992 w 2114552"/>
              <a:gd name="connsiteY579" fmla="*/ 142082 h 800100"/>
              <a:gd name="connsiteX580" fmla="*/ 1575119 w 2114552"/>
              <a:gd name="connsiteY580" fmla="*/ 150813 h 800100"/>
              <a:gd name="connsiteX581" fmla="*/ 1583375 w 2114552"/>
              <a:gd name="connsiteY581" fmla="*/ 146447 h 800100"/>
              <a:gd name="connsiteX582" fmla="*/ 1587502 w 2114552"/>
              <a:gd name="connsiteY582" fmla="*/ 142082 h 800100"/>
              <a:gd name="connsiteX583" fmla="*/ 1579247 w 2114552"/>
              <a:gd name="connsiteY583" fmla="*/ 133350 h 800100"/>
              <a:gd name="connsiteX584" fmla="*/ 1575142 w 2114552"/>
              <a:gd name="connsiteY584" fmla="*/ 124846 h 800100"/>
              <a:gd name="connsiteX585" fmla="*/ 1596120 w 2114552"/>
              <a:gd name="connsiteY585" fmla="*/ 141628 h 800100"/>
              <a:gd name="connsiteX586" fmla="*/ 1596120 w 2114552"/>
              <a:gd name="connsiteY586" fmla="*/ 145823 h 800100"/>
              <a:gd name="connsiteX587" fmla="*/ 1612902 w 2114552"/>
              <a:gd name="connsiteY587" fmla="*/ 162606 h 800100"/>
              <a:gd name="connsiteX588" fmla="*/ 1604511 w 2114552"/>
              <a:gd name="connsiteY588" fmla="*/ 166801 h 800100"/>
              <a:gd name="connsiteX589" fmla="*/ 1587729 w 2114552"/>
              <a:gd name="connsiteY589" fmla="*/ 154215 h 800100"/>
              <a:gd name="connsiteX590" fmla="*/ 1579338 w 2114552"/>
              <a:gd name="connsiteY590" fmla="*/ 158410 h 800100"/>
              <a:gd name="connsiteX591" fmla="*/ 1587729 w 2114552"/>
              <a:gd name="connsiteY591" fmla="*/ 175192 h 800100"/>
              <a:gd name="connsiteX592" fmla="*/ 1579338 w 2114552"/>
              <a:gd name="connsiteY592" fmla="*/ 179388 h 800100"/>
              <a:gd name="connsiteX593" fmla="*/ 1558360 w 2114552"/>
              <a:gd name="connsiteY593" fmla="*/ 141628 h 800100"/>
              <a:gd name="connsiteX594" fmla="*/ 1554164 w 2114552"/>
              <a:gd name="connsiteY594" fmla="*/ 137432 h 800100"/>
              <a:gd name="connsiteX595" fmla="*/ 1575142 w 2114552"/>
              <a:gd name="connsiteY595" fmla="*/ 124846 h 800100"/>
              <a:gd name="connsiteX596" fmla="*/ 1836161 w 2114552"/>
              <a:gd name="connsiteY596" fmla="*/ 117475 h 800100"/>
              <a:gd name="connsiteX597" fmla="*/ 1844532 w 2114552"/>
              <a:gd name="connsiteY597" fmla="*/ 121557 h 800100"/>
              <a:gd name="connsiteX598" fmla="*/ 1848717 w 2114552"/>
              <a:gd name="connsiteY598" fmla="*/ 141968 h 800100"/>
              <a:gd name="connsiteX599" fmla="*/ 1869644 w 2114552"/>
              <a:gd name="connsiteY599" fmla="*/ 133804 h 800100"/>
              <a:gd name="connsiteX600" fmla="*/ 1878014 w 2114552"/>
              <a:gd name="connsiteY600" fmla="*/ 137886 h 800100"/>
              <a:gd name="connsiteX601" fmla="*/ 1848717 w 2114552"/>
              <a:gd name="connsiteY601" fmla="*/ 154214 h 800100"/>
              <a:gd name="connsiteX602" fmla="*/ 1840347 w 2114552"/>
              <a:gd name="connsiteY602" fmla="*/ 174625 h 800100"/>
              <a:gd name="connsiteX603" fmla="*/ 1831976 w 2114552"/>
              <a:gd name="connsiteY603" fmla="*/ 166461 h 800100"/>
              <a:gd name="connsiteX604" fmla="*/ 1840347 w 2114552"/>
              <a:gd name="connsiteY604" fmla="*/ 146050 h 800100"/>
              <a:gd name="connsiteX605" fmla="*/ 1836161 w 2114552"/>
              <a:gd name="connsiteY605" fmla="*/ 117475 h 800100"/>
              <a:gd name="connsiteX606" fmla="*/ 1794829 w 2114552"/>
              <a:gd name="connsiteY606" fmla="*/ 112713 h 800100"/>
              <a:gd name="connsiteX607" fmla="*/ 1790701 w 2114552"/>
              <a:gd name="connsiteY607" fmla="*/ 120651 h 800100"/>
              <a:gd name="connsiteX608" fmla="*/ 1790701 w 2114552"/>
              <a:gd name="connsiteY608" fmla="*/ 124619 h 800100"/>
              <a:gd name="connsiteX609" fmla="*/ 1803084 w 2114552"/>
              <a:gd name="connsiteY609" fmla="*/ 128588 h 800100"/>
              <a:gd name="connsiteX610" fmla="*/ 1811339 w 2114552"/>
              <a:gd name="connsiteY610" fmla="*/ 120651 h 800100"/>
              <a:gd name="connsiteX611" fmla="*/ 1807212 w 2114552"/>
              <a:gd name="connsiteY611" fmla="*/ 116682 h 800100"/>
              <a:gd name="connsiteX612" fmla="*/ 1794829 w 2114552"/>
              <a:gd name="connsiteY612" fmla="*/ 112713 h 800100"/>
              <a:gd name="connsiteX613" fmla="*/ 1637508 w 2114552"/>
              <a:gd name="connsiteY613" fmla="*/ 112117 h 800100"/>
              <a:gd name="connsiteX614" fmla="*/ 1620839 w 2114552"/>
              <a:gd name="connsiteY614" fmla="*/ 124619 h 800100"/>
              <a:gd name="connsiteX615" fmla="*/ 1620839 w 2114552"/>
              <a:gd name="connsiteY615" fmla="*/ 128786 h 800100"/>
              <a:gd name="connsiteX616" fmla="*/ 1637508 w 2114552"/>
              <a:gd name="connsiteY616" fmla="*/ 141288 h 800100"/>
              <a:gd name="connsiteX617" fmla="*/ 1654177 w 2114552"/>
              <a:gd name="connsiteY617" fmla="*/ 124619 h 800100"/>
              <a:gd name="connsiteX618" fmla="*/ 1637508 w 2114552"/>
              <a:gd name="connsiteY618" fmla="*/ 112117 h 800100"/>
              <a:gd name="connsiteX619" fmla="*/ 1741489 w 2114552"/>
              <a:gd name="connsiteY619" fmla="*/ 104775 h 800100"/>
              <a:gd name="connsiteX620" fmla="*/ 1737520 w 2114552"/>
              <a:gd name="connsiteY620" fmla="*/ 117158 h 800100"/>
              <a:gd name="connsiteX621" fmla="*/ 1733551 w 2114552"/>
              <a:gd name="connsiteY621" fmla="*/ 125413 h 800100"/>
              <a:gd name="connsiteX622" fmla="*/ 1749426 w 2114552"/>
              <a:gd name="connsiteY622" fmla="*/ 125413 h 800100"/>
              <a:gd name="connsiteX623" fmla="*/ 1745457 w 2114552"/>
              <a:gd name="connsiteY623" fmla="*/ 117158 h 800100"/>
              <a:gd name="connsiteX624" fmla="*/ 1741489 w 2114552"/>
              <a:gd name="connsiteY624" fmla="*/ 104775 h 800100"/>
              <a:gd name="connsiteX625" fmla="*/ 1633407 w 2114552"/>
              <a:gd name="connsiteY625" fmla="*/ 104165 h 800100"/>
              <a:gd name="connsiteX626" fmla="*/ 1662114 w 2114552"/>
              <a:gd name="connsiteY626" fmla="*/ 124925 h 800100"/>
              <a:gd name="connsiteX627" fmla="*/ 1637508 w 2114552"/>
              <a:gd name="connsiteY627" fmla="*/ 149836 h 800100"/>
              <a:gd name="connsiteX628" fmla="*/ 1612901 w 2114552"/>
              <a:gd name="connsiteY628" fmla="*/ 129076 h 800100"/>
              <a:gd name="connsiteX629" fmla="*/ 1612901 w 2114552"/>
              <a:gd name="connsiteY629" fmla="*/ 124925 h 800100"/>
              <a:gd name="connsiteX630" fmla="*/ 1633407 w 2114552"/>
              <a:gd name="connsiteY630" fmla="*/ 104165 h 800100"/>
              <a:gd name="connsiteX631" fmla="*/ 1787382 w 2114552"/>
              <a:gd name="connsiteY631" fmla="*/ 100013 h 800100"/>
              <a:gd name="connsiteX632" fmla="*/ 1812494 w 2114552"/>
              <a:gd name="connsiteY632" fmla="*/ 108404 h 800100"/>
              <a:gd name="connsiteX633" fmla="*/ 1820864 w 2114552"/>
              <a:gd name="connsiteY633" fmla="*/ 120991 h 800100"/>
              <a:gd name="connsiteX634" fmla="*/ 1808308 w 2114552"/>
              <a:gd name="connsiteY634" fmla="*/ 137773 h 800100"/>
              <a:gd name="connsiteX635" fmla="*/ 1812494 w 2114552"/>
              <a:gd name="connsiteY635" fmla="*/ 158751 h 800100"/>
              <a:gd name="connsiteX636" fmla="*/ 1804123 w 2114552"/>
              <a:gd name="connsiteY636" fmla="*/ 154555 h 800100"/>
              <a:gd name="connsiteX637" fmla="*/ 1799938 w 2114552"/>
              <a:gd name="connsiteY637" fmla="*/ 133578 h 800100"/>
              <a:gd name="connsiteX638" fmla="*/ 1791567 w 2114552"/>
              <a:gd name="connsiteY638" fmla="*/ 133578 h 800100"/>
              <a:gd name="connsiteX639" fmla="*/ 1787382 w 2114552"/>
              <a:gd name="connsiteY639" fmla="*/ 150360 h 800100"/>
              <a:gd name="connsiteX640" fmla="*/ 1774826 w 2114552"/>
              <a:gd name="connsiteY640" fmla="*/ 146164 h 800100"/>
              <a:gd name="connsiteX641" fmla="*/ 1783197 w 2114552"/>
              <a:gd name="connsiteY641" fmla="*/ 120991 h 800100"/>
              <a:gd name="connsiteX642" fmla="*/ 1787382 w 2114552"/>
              <a:gd name="connsiteY642" fmla="*/ 100013 h 800100"/>
              <a:gd name="connsiteX643" fmla="*/ 1737015 w 2114552"/>
              <a:gd name="connsiteY643" fmla="*/ 92075 h 800100"/>
              <a:gd name="connsiteX644" fmla="*/ 1749571 w 2114552"/>
              <a:gd name="connsiteY644" fmla="*/ 92075 h 800100"/>
              <a:gd name="connsiteX645" fmla="*/ 1753757 w 2114552"/>
              <a:gd name="connsiteY645" fmla="*/ 116987 h 800100"/>
              <a:gd name="connsiteX646" fmla="*/ 1762127 w 2114552"/>
              <a:gd name="connsiteY646" fmla="*/ 146050 h 800100"/>
              <a:gd name="connsiteX647" fmla="*/ 1753757 w 2114552"/>
              <a:gd name="connsiteY647" fmla="*/ 141898 h 800100"/>
              <a:gd name="connsiteX648" fmla="*/ 1749571 w 2114552"/>
              <a:gd name="connsiteY648" fmla="*/ 133594 h 800100"/>
              <a:gd name="connsiteX649" fmla="*/ 1728645 w 2114552"/>
              <a:gd name="connsiteY649" fmla="*/ 133594 h 800100"/>
              <a:gd name="connsiteX650" fmla="*/ 1724460 w 2114552"/>
              <a:gd name="connsiteY650" fmla="*/ 141898 h 800100"/>
              <a:gd name="connsiteX651" fmla="*/ 1716089 w 2114552"/>
              <a:gd name="connsiteY651" fmla="*/ 141898 h 800100"/>
              <a:gd name="connsiteX652" fmla="*/ 1728645 w 2114552"/>
              <a:gd name="connsiteY652" fmla="*/ 116987 h 800100"/>
              <a:gd name="connsiteX653" fmla="*/ 1737015 w 2114552"/>
              <a:gd name="connsiteY653" fmla="*/ 92075 h 800100"/>
              <a:gd name="connsiteX654" fmla="*/ 1712914 w 2114552"/>
              <a:gd name="connsiteY654" fmla="*/ 92075 h 800100"/>
              <a:gd name="connsiteX655" fmla="*/ 1712914 w 2114552"/>
              <a:gd name="connsiteY655" fmla="*/ 100277 h 800100"/>
              <a:gd name="connsiteX656" fmla="*/ 1696173 w 2114552"/>
              <a:gd name="connsiteY656" fmla="*/ 100277 h 800100"/>
              <a:gd name="connsiteX657" fmla="*/ 1700358 w 2114552"/>
              <a:gd name="connsiteY657" fmla="*/ 141288 h 800100"/>
              <a:gd name="connsiteX658" fmla="*/ 1687802 w 2114552"/>
              <a:gd name="connsiteY658" fmla="*/ 141288 h 800100"/>
              <a:gd name="connsiteX659" fmla="*/ 1683617 w 2114552"/>
              <a:gd name="connsiteY659" fmla="*/ 100277 h 800100"/>
              <a:gd name="connsiteX660" fmla="*/ 1666876 w 2114552"/>
              <a:gd name="connsiteY660" fmla="*/ 104378 h 800100"/>
              <a:gd name="connsiteX661" fmla="*/ 1666876 w 2114552"/>
              <a:gd name="connsiteY661" fmla="*/ 96176 h 800100"/>
              <a:gd name="connsiteX662" fmla="*/ 1712914 w 2114552"/>
              <a:gd name="connsiteY662" fmla="*/ 92075 h 800100"/>
              <a:gd name="connsiteX663" fmla="*/ 1181630 w 2114552"/>
              <a:gd name="connsiteY663" fmla="*/ 92074 h 800100"/>
              <a:gd name="connsiteX664" fmla="*/ 1147763 w 2114552"/>
              <a:gd name="connsiteY664" fmla="*/ 133349 h 800100"/>
              <a:gd name="connsiteX665" fmla="*/ 1211263 w 2114552"/>
              <a:gd name="connsiteY665" fmla="*/ 133349 h 800100"/>
              <a:gd name="connsiteX666" fmla="*/ 1181630 w 2114552"/>
              <a:gd name="connsiteY666" fmla="*/ 92074 h 800100"/>
              <a:gd name="connsiteX667" fmla="*/ 1716089 w 2114552"/>
              <a:gd name="connsiteY667" fmla="*/ 84138 h 800100"/>
              <a:gd name="connsiteX668" fmla="*/ 1521183 w 2114552"/>
              <a:gd name="connsiteY668" fmla="*/ 150178 h 800100"/>
              <a:gd name="connsiteX669" fmla="*/ 1517036 w 2114552"/>
              <a:gd name="connsiteY669" fmla="*/ 166688 h 800100"/>
              <a:gd name="connsiteX670" fmla="*/ 1550212 w 2114552"/>
              <a:gd name="connsiteY670" fmla="*/ 203836 h 800100"/>
              <a:gd name="connsiteX671" fmla="*/ 1566799 w 2114552"/>
              <a:gd name="connsiteY671" fmla="*/ 203836 h 800100"/>
              <a:gd name="connsiteX672" fmla="*/ 1716089 w 2114552"/>
              <a:gd name="connsiteY672" fmla="*/ 150178 h 800100"/>
              <a:gd name="connsiteX673" fmla="*/ 1865379 w 2114552"/>
              <a:gd name="connsiteY673" fmla="*/ 203836 h 800100"/>
              <a:gd name="connsiteX674" fmla="*/ 1881967 w 2114552"/>
              <a:gd name="connsiteY674" fmla="*/ 203836 h 800100"/>
              <a:gd name="connsiteX675" fmla="*/ 1915142 w 2114552"/>
              <a:gd name="connsiteY675" fmla="*/ 166688 h 800100"/>
              <a:gd name="connsiteX676" fmla="*/ 1910995 w 2114552"/>
              <a:gd name="connsiteY676" fmla="*/ 150178 h 800100"/>
              <a:gd name="connsiteX677" fmla="*/ 1716089 w 2114552"/>
              <a:gd name="connsiteY677" fmla="*/ 84138 h 800100"/>
              <a:gd name="connsiteX678" fmla="*/ 1181894 w 2114552"/>
              <a:gd name="connsiteY678" fmla="*/ 84137 h 800100"/>
              <a:gd name="connsiteX679" fmla="*/ 1227138 w 2114552"/>
              <a:gd name="connsiteY679" fmla="*/ 137942 h 800100"/>
              <a:gd name="connsiteX680" fmla="*/ 1227138 w 2114552"/>
              <a:gd name="connsiteY680" fmla="*/ 146220 h 800100"/>
              <a:gd name="connsiteX681" fmla="*/ 1148989 w 2114552"/>
              <a:gd name="connsiteY681" fmla="*/ 146220 h 800100"/>
              <a:gd name="connsiteX682" fmla="*/ 1186007 w 2114552"/>
              <a:gd name="connsiteY682" fmla="*/ 187608 h 800100"/>
              <a:gd name="connsiteX683" fmla="*/ 1218912 w 2114552"/>
              <a:gd name="connsiteY683" fmla="*/ 179331 h 800100"/>
              <a:gd name="connsiteX684" fmla="*/ 1218912 w 2114552"/>
              <a:gd name="connsiteY684" fmla="*/ 191747 h 800100"/>
              <a:gd name="connsiteX685" fmla="*/ 1186007 w 2114552"/>
              <a:gd name="connsiteY685" fmla="*/ 200025 h 800100"/>
              <a:gd name="connsiteX686" fmla="*/ 1136650 w 2114552"/>
              <a:gd name="connsiteY686" fmla="*/ 142081 h 800100"/>
              <a:gd name="connsiteX687" fmla="*/ 1181894 w 2114552"/>
              <a:gd name="connsiteY687" fmla="*/ 84137 h 800100"/>
              <a:gd name="connsiteX688" fmla="*/ 887413 w 2114552"/>
              <a:gd name="connsiteY688" fmla="*/ 41274 h 800100"/>
              <a:gd name="connsiteX689" fmla="*/ 995363 w 2114552"/>
              <a:gd name="connsiteY689" fmla="*/ 41274 h 800100"/>
              <a:gd name="connsiteX690" fmla="*/ 995363 w 2114552"/>
              <a:gd name="connsiteY690" fmla="*/ 53974 h 800100"/>
              <a:gd name="connsiteX691" fmla="*/ 949326 w 2114552"/>
              <a:gd name="connsiteY691" fmla="*/ 53974 h 800100"/>
              <a:gd name="connsiteX692" fmla="*/ 949326 w 2114552"/>
              <a:gd name="connsiteY692" fmla="*/ 195262 h 800100"/>
              <a:gd name="connsiteX693" fmla="*/ 933451 w 2114552"/>
              <a:gd name="connsiteY693" fmla="*/ 195262 h 800100"/>
              <a:gd name="connsiteX694" fmla="*/ 933451 w 2114552"/>
              <a:gd name="connsiteY694" fmla="*/ 53974 h 800100"/>
              <a:gd name="connsiteX695" fmla="*/ 887413 w 2114552"/>
              <a:gd name="connsiteY695" fmla="*/ 53974 h 800100"/>
              <a:gd name="connsiteX696" fmla="*/ 1020763 w 2114552"/>
              <a:gd name="connsiteY696" fmla="*/ 28574 h 800100"/>
              <a:gd name="connsiteX697" fmla="*/ 1033010 w 2114552"/>
              <a:gd name="connsiteY697" fmla="*/ 28574 h 800100"/>
              <a:gd name="connsiteX698" fmla="*/ 1033010 w 2114552"/>
              <a:gd name="connsiteY698" fmla="*/ 103584 h 800100"/>
              <a:gd name="connsiteX699" fmla="*/ 1069749 w 2114552"/>
              <a:gd name="connsiteY699" fmla="*/ 82748 h 800100"/>
              <a:gd name="connsiteX700" fmla="*/ 1106488 w 2114552"/>
              <a:gd name="connsiteY700" fmla="*/ 128587 h 800100"/>
              <a:gd name="connsiteX701" fmla="*/ 1106488 w 2114552"/>
              <a:gd name="connsiteY701" fmla="*/ 195262 h 800100"/>
              <a:gd name="connsiteX702" fmla="*/ 1090160 w 2114552"/>
              <a:gd name="connsiteY702" fmla="*/ 195262 h 800100"/>
              <a:gd name="connsiteX703" fmla="*/ 1090160 w 2114552"/>
              <a:gd name="connsiteY703" fmla="*/ 128587 h 800100"/>
              <a:gd name="connsiteX704" fmla="*/ 1065667 w 2114552"/>
              <a:gd name="connsiteY704" fmla="*/ 91082 h 800100"/>
              <a:gd name="connsiteX705" fmla="*/ 1033010 w 2114552"/>
              <a:gd name="connsiteY705" fmla="*/ 136921 h 800100"/>
              <a:gd name="connsiteX706" fmla="*/ 1033010 w 2114552"/>
              <a:gd name="connsiteY706" fmla="*/ 195262 h 800100"/>
              <a:gd name="connsiteX707" fmla="*/ 1020763 w 2114552"/>
              <a:gd name="connsiteY707" fmla="*/ 195262 h 800100"/>
              <a:gd name="connsiteX708" fmla="*/ 1704456 w 2114552"/>
              <a:gd name="connsiteY708" fmla="*/ 0 h 800100"/>
              <a:gd name="connsiteX709" fmla="*/ 1729310 w 2114552"/>
              <a:gd name="connsiteY709" fmla="*/ 0 h 800100"/>
              <a:gd name="connsiteX710" fmla="*/ 1745880 w 2114552"/>
              <a:gd name="connsiteY710" fmla="*/ 62461 h 800100"/>
              <a:gd name="connsiteX711" fmla="*/ 1774877 w 2114552"/>
              <a:gd name="connsiteY711" fmla="*/ 66625 h 800100"/>
              <a:gd name="connsiteX712" fmla="*/ 1803873 w 2114552"/>
              <a:gd name="connsiteY712" fmla="*/ 12492 h 800100"/>
              <a:gd name="connsiteX713" fmla="*/ 1808016 w 2114552"/>
              <a:gd name="connsiteY713" fmla="*/ 12492 h 800100"/>
              <a:gd name="connsiteX714" fmla="*/ 1832870 w 2114552"/>
              <a:gd name="connsiteY714" fmla="*/ 16656 h 800100"/>
              <a:gd name="connsiteX715" fmla="*/ 1832870 w 2114552"/>
              <a:gd name="connsiteY715" fmla="*/ 20820 h 800100"/>
              <a:gd name="connsiteX716" fmla="*/ 1837012 w 2114552"/>
              <a:gd name="connsiteY716" fmla="*/ 49969 h 800100"/>
              <a:gd name="connsiteX717" fmla="*/ 1832870 w 2114552"/>
              <a:gd name="connsiteY717" fmla="*/ 83282 h 800100"/>
              <a:gd name="connsiteX718" fmla="*/ 1857724 w 2114552"/>
              <a:gd name="connsiteY718" fmla="*/ 91610 h 800100"/>
              <a:gd name="connsiteX719" fmla="*/ 1903291 w 2114552"/>
              <a:gd name="connsiteY719" fmla="*/ 49969 h 800100"/>
              <a:gd name="connsiteX720" fmla="*/ 1928145 w 2114552"/>
              <a:gd name="connsiteY720" fmla="*/ 62461 h 800100"/>
              <a:gd name="connsiteX721" fmla="*/ 1911575 w 2114552"/>
              <a:gd name="connsiteY721" fmla="*/ 124922 h 800100"/>
              <a:gd name="connsiteX722" fmla="*/ 1932287 w 2114552"/>
              <a:gd name="connsiteY722" fmla="*/ 141579 h 800100"/>
              <a:gd name="connsiteX723" fmla="*/ 1986138 w 2114552"/>
              <a:gd name="connsiteY723" fmla="*/ 108266 h 800100"/>
              <a:gd name="connsiteX724" fmla="*/ 2006850 w 2114552"/>
              <a:gd name="connsiteY724" fmla="*/ 129086 h 800100"/>
              <a:gd name="connsiteX725" fmla="*/ 1973711 w 2114552"/>
              <a:gd name="connsiteY725" fmla="*/ 183219 h 800100"/>
              <a:gd name="connsiteX726" fmla="*/ 1990281 w 2114552"/>
              <a:gd name="connsiteY726" fmla="*/ 204040 h 800100"/>
              <a:gd name="connsiteX727" fmla="*/ 2052416 w 2114552"/>
              <a:gd name="connsiteY727" fmla="*/ 187383 h 800100"/>
              <a:gd name="connsiteX728" fmla="*/ 2052416 w 2114552"/>
              <a:gd name="connsiteY728" fmla="*/ 191547 h 800100"/>
              <a:gd name="connsiteX729" fmla="*/ 2064844 w 2114552"/>
              <a:gd name="connsiteY729" fmla="*/ 212368 h 800100"/>
              <a:gd name="connsiteX730" fmla="*/ 2023420 w 2114552"/>
              <a:gd name="connsiteY730" fmla="*/ 258173 h 800100"/>
              <a:gd name="connsiteX731" fmla="*/ 2031705 w 2114552"/>
              <a:gd name="connsiteY731" fmla="*/ 283157 h 800100"/>
              <a:gd name="connsiteX732" fmla="*/ 2093840 w 2114552"/>
              <a:gd name="connsiteY732" fmla="*/ 283157 h 800100"/>
              <a:gd name="connsiteX733" fmla="*/ 2102125 w 2114552"/>
              <a:gd name="connsiteY733" fmla="*/ 308141 h 800100"/>
              <a:gd name="connsiteX734" fmla="*/ 2102125 w 2114552"/>
              <a:gd name="connsiteY734" fmla="*/ 312306 h 800100"/>
              <a:gd name="connsiteX735" fmla="*/ 2048274 w 2114552"/>
              <a:gd name="connsiteY735" fmla="*/ 341454 h 800100"/>
              <a:gd name="connsiteX736" fmla="*/ 2052416 w 2114552"/>
              <a:gd name="connsiteY736" fmla="*/ 366438 h 800100"/>
              <a:gd name="connsiteX737" fmla="*/ 2110410 w 2114552"/>
              <a:gd name="connsiteY737" fmla="*/ 383095 h 800100"/>
              <a:gd name="connsiteX738" fmla="*/ 2110410 w 2114552"/>
              <a:gd name="connsiteY738" fmla="*/ 387259 h 800100"/>
              <a:gd name="connsiteX739" fmla="*/ 2114552 w 2114552"/>
              <a:gd name="connsiteY739" fmla="*/ 399751 h 800100"/>
              <a:gd name="connsiteX740" fmla="*/ 2110410 w 2114552"/>
              <a:gd name="connsiteY740" fmla="*/ 412243 h 800100"/>
              <a:gd name="connsiteX741" fmla="*/ 2052416 w 2114552"/>
              <a:gd name="connsiteY741" fmla="*/ 428900 h 800100"/>
              <a:gd name="connsiteX742" fmla="*/ 2048274 w 2114552"/>
              <a:gd name="connsiteY742" fmla="*/ 453884 h 800100"/>
              <a:gd name="connsiteX743" fmla="*/ 2102125 w 2114552"/>
              <a:gd name="connsiteY743" fmla="*/ 487197 h 800100"/>
              <a:gd name="connsiteX744" fmla="*/ 2093840 w 2114552"/>
              <a:gd name="connsiteY744" fmla="*/ 512181 h 800100"/>
              <a:gd name="connsiteX745" fmla="*/ 2093840 w 2114552"/>
              <a:gd name="connsiteY745" fmla="*/ 516345 h 800100"/>
              <a:gd name="connsiteX746" fmla="*/ 2031705 w 2114552"/>
              <a:gd name="connsiteY746" fmla="*/ 516345 h 800100"/>
              <a:gd name="connsiteX747" fmla="*/ 2023420 w 2114552"/>
              <a:gd name="connsiteY747" fmla="*/ 537165 h 800100"/>
              <a:gd name="connsiteX748" fmla="*/ 2064844 w 2114552"/>
              <a:gd name="connsiteY748" fmla="*/ 582970 h 800100"/>
              <a:gd name="connsiteX749" fmla="*/ 2064844 w 2114552"/>
              <a:gd name="connsiteY749" fmla="*/ 587134 h 800100"/>
              <a:gd name="connsiteX750" fmla="*/ 2052416 w 2114552"/>
              <a:gd name="connsiteY750" fmla="*/ 607955 h 800100"/>
              <a:gd name="connsiteX751" fmla="*/ 1990281 w 2114552"/>
              <a:gd name="connsiteY751" fmla="*/ 591298 h 800100"/>
              <a:gd name="connsiteX752" fmla="*/ 1973711 w 2114552"/>
              <a:gd name="connsiteY752" fmla="*/ 612119 h 800100"/>
              <a:gd name="connsiteX753" fmla="*/ 2006850 w 2114552"/>
              <a:gd name="connsiteY753" fmla="*/ 666252 h 800100"/>
              <a:gd name="connsiteX754" fmla="*/ 2006850 w 2114552"/>
              <a:gd name="connsiteY754" fmla="*/ 670416 h 800100"/>
              <a:gd name="connsiteX755" fmla="*/ 1986138 w 2114552"/>
              <a:gd name="connsiteY755" fmla="*/ 687072 h 800100"/>
              <a:gd name="connsiteX756" fmla="*/ 1932287 w 2114552"/>
              <a:gd name="connsiteY756" fmla="*/ 657924 h 800100"/>
              <a:gd name="connsiteX757" fmla="*/ 1911575 w 2114552"/>
              <a:gd name="connsiteY757" fmla="*/ 674580 h 800100"/>
              <a:gd name="connsiteX758" fmla="*/ 1928145 w 2114552"/>
              <a:gd name="connsiteY758" fmla="*/ 732877 h 800100"/>
              <a:gd name="connsiteX759" fmla="*/ 1928145 w 2114552"/>
              <a:gd name="connsiteY759" fmla="*/ 737041 h 800100"/>
              <a:gd name="connsiteX760" fmla="*/ 1924002 w 2114552"/>
              <a:gd name="connsiteY760" fmla="*/ 737041 h 800100"/>
              <a:gd name="connsiteX761" fmla="*/ 1903291 w 2114552"/>
              <a:gd name="connsiteY761" fmla="*/ 749533 h 800100"/>
              <a:gd name="connsiteX762" fmla="*/ 1857724 w 2114552"/>
              <a:gd name="connsiteY762" fmla="*/ 703728 h 800100"/>
              <a:gd name="connsiteX763" fmla="*/ 1832870 w 2114552"/>
              <a:gd name="connsiteY763" fmla="*/ 716221 h 800100"/>
              <a:gd name="connsiteX764" fmla="*/ 1837012 w 2114552"/>
              <a:gd name="connsiteY764" fmla="*/ 745369 h 800100"/>
              <a:gd name="connsiteX765" fmla="*/ 1832870 w 2114552"/>
              <a:gd name="connsiteY765" fmla="*/ 778682 h 800100"/>
              <a:gd name="connsiteX766" fmla="*/ 1808016 w 2114552"/>
              <a:gd name="connsiteY766" fmla="*/ 787010 h 800100"/>
              <a:gd name="connsiteX767" fmla="*/ 1803873 w 2114552"/>
              <a:gd name="connsiteY767" fmla="*/ 787010 h 800100"/>
              <a:gd name="connsiteX768" fmla="*/ 1774877 w 2114552"/>
              <a:gd name="connsiteY768" fmla="*/ 732877 h 800100"/>
              <a:gd name="connsiteX769" fmla="*/ 1750022 w 2114552"/>
              <a:gd name="connsiteY769" fmla="*/ 732877 h 800100"/>
              <a:gd name="connsiteX770" fmla="*/ 1733453 w 2114552"/>
              <a:gd name="connsiteY770" fmla="*/ 795338 h 800100"/>
              <a:gd name="connsiteX771" fmla="*/ 1729310 w 2114552"/>
              <a:gd name="connsiteY771" fmla="*/ 795338 h 800100"/>
              <a:gd name="connsiteX772" fmla="*/ 1704456 w 2114552"/>
              <a:gd name="connsiteY772" fmla="*/ 795338 h 800100"/>
              <a:gd name="connsiteX773" fmla="*/ 1687886 w 2114552"/>
              <a:gd name="connsiteY773" fmla="*/ 732877 h 800100"/>
              <a:gd name="connsiteX774" fmla="*/ 1658890 w 2114552"/>
              <a:gd name="connsiteY774" fmla="*/ 732877 h 800100"/>
              <a:gd name="connsiteX775" fmla="*/ 1629893 w 2114552"/>
              <a:gd name="connsiteY775" fmla="*/ 787010 h 800100"/>
              <a:gd name="connsiteX776" fmla="*/ 1625751 w 2114552"/>
              <a:gd name="connsiteY776" fmla="*/ 787010 h 800100"/>
              <a:gd name="connsiteX777" fmla="*/ 1600896 w 2114552"/>
              <a:gd name="connsiteY777" fmla="*/ 778682 h 800100"/>
              <a:gd name="connsiteX778" fmla="*/ 1596754 w 2114552"/>
              <a:gd name="connsiteY778" fmla="*/ 745369 h 800100"/>
              <a:gd name="connsiteX779" fmla="*/ 1600896 w 2114552"/>
              <a:gd name="connsiteY779" fmla="*/ 716221 h 800100"/>
              <a:gd name="connsiteX780" fmla="*/ 1576042 w 2114552"/>
              <a:gd name="connsiteY780" fmla="*/ 703728 h 800100"/>
              <a:gd name="connsiteX781" fmla="*/ 1534618 w 2114552"/>
              <a:gd name="connsiteY781" fmla="*/ 749533 h 800100"/>
              <a:gd name="connsiteX782" fmla="*/ 1530476 w 2114552"/>
              <a:gd name="connsiteY782" fmla="*/ 749533 h 800100"/>
              <a:gd name="connsiteX783" fmla="*/ 1509764 w 2114552"/>
              <a:gd name="connsiteY783" fmla="*/ 737041 h 800100"/>
              <a:gd name="connsiteX784" fmla="*/ 1509764 w 2114552"/>
              <a:gd name="connsiteY784" fmla="*/ 732877 h 800100"/>
              <a:gd name="connsiteX785" fmla="*/ 1522191 w 2114552"/>
              <a:gd name="connsiteY785" fmla="*/ 674580 h 800100"/>
              <a:gd name="connsiteX786" fmla="*/ 1501479 w 2114552"/>
              <a:gd name="connsiteY786" fmla="*/ 657924 h 800100"/>
              <a:gd name="connsiteX787" fmla="*/ 1447628 w 2114552"/>
              <a:gd name="connsiteY787" fmla="*/ 687072 h 800100"/>
              <a:gd name="connsiteX788" fmla="*/ 1426916 w 2114552"/>
              <a:gd name="connsiteY788" fmla="*/ 670416 h 800100"/>
              <a:gd name="connsiteX789" fmla="*/ 1460055 w 2114552"/>
              <a:gd name="connsiteY789" fmla="*/ 616283 h 800100"/>
              <a:gd name="connsiteX790" fmla="*/ 1443486 w 2114552"/>
              <a:gd name="connsiteY790" fmla="*/ 591298 h 800100"/>
              <a:gd name="connsiteX791" fmla="*/ 1381350 w 2114552"/>
              <a:gd name="connsiteY791" fmla="*/ 607955 h 800100"/>
              <a:gd name="connsiteX792" fmla="*/ 1368923 w 2114552"/>
              <a:gd name="connsiteY792" fmla="*/ 587134 h 800100"/>
              <a:gd name="connsiteX793" fmla="*/ 1368923 w 2114552"/>
              <a:gd name="connsiteY793" fmla="*/ 582970 h 800100"/>
              <a:gd name="connsiteX794" fmla="*/ 1414489 w 2114552"/>
              <a:gd name="connsiteY794" fmla="*/ 541330 h 800100"/>
              <a:gd name="connsiteX795" fmla="*/ 1402062 w 2114552"/>
              <a:gd name="connsiteY795" fmla="*/ 516345 h 800100"/>
              <a:gd name="connsiteX796" fmla="*/ 1339926 w 2114552"/>
              <a:gd name="connsiteY796" fmla="*/ 516345 h 800100"/>
              <a:gd name="connsiteX797" fmla="*/ 1331641 w 2114552"/>
              <a:gd name="connsiteY797" fmla="*/ 491361 h 800100"/>
              <a:gd name="connsiteX798" fmla="*/ 1331641 w 2114552"/>
              <a:gd name="connsiteY798" fmla="*/ 487197 h 800100"/>
              <a:gd name="connsiteX799" fmla="*/ 1385492 w 2114552"/>
              <a:gd name="connsiteY799" fmla="*/ 453884 h 800100"/>
              <a:gd name="connsiteX800" fmla="*/ 1381350 w 2114552"/>
              <a:gd name="connsiteY800" fmla="*/ 428900 h 800100"/>
              <a:gd name="connsiteX801" fmla="*/ 1323357 w 2114552"/>
              <a:gd name="connsiteY801" fmla="*/ 412243 h 800100"/>
              <a:gd name="connsiteX802" fmla="*/ 1319214 w 2114552"/>
              <a:gd name="connsiteY802" fmla="*/ 412243 h 800100"/>
              <a:gd name="connsiteX803" fmla="*/ 1319214 w 2114552"/>
              <a:gd name="connsiteY803" fmla="*/ 399751 h 800100"/>
              <a:gd name="connsiteX804" fmla="*/ 1319214 w 2114552"/>
              <a:gd name="connsiteY804" fmla="*/ 383095 h 800100"/>
              <a:gd name="connsiteX805" fmla="*/ 1323357 w 2114552"/>
              <a:gd name="connsiteY805" fmla="*/ 383095 h 800100"/>
              <a:gd name="connsiteX806" fmla="*/ 1381350 w 2114552"/>
              <a:gd name="connsiteY806" fmla="*/ 366438 h 800100"/>
              <a:gd name="connsiteX807" fmla="*/ 1385492 w 2114552"/>
              <a:gd name="connsiteY807" fmla="*/ 341454 h 800100"/>
              <a:gd name="connsiteX808" fmla="*/ 1331641 w 2114552"/>
              <a:gd name="connsiteY808" fmla="*/ 308141 h 800100"/>
              <a:gd name="connsiteX809" fmla="*/ 1339926 w 2114552"/>
              <a:gd name="connsiteY809" fmla="*/ 283157 h 800100"/>
              <a:gd name="connsiteX810" fmla="*/ 1402062 w 2114552"/>
              <a:gd name="connsiteY810" fmla="*/ 283157 h 800100"/>
              <a:gd name="connsiteX811" fmla="*/ 1410347 w 2114552"/>
              <a:gd name="connsiteY811" fmla="*/ 258173 h 800100"/>
              <a:gd name="connsiteX812" fmla="*/ 1368923 w 2114552"/>
              <a:gd name="connsiteY812" fmla="*/ 212368 h 800100"/>
              <a:gd name="connsiteX813" fmla="*/ 1381350 w 2114552"/>
              <a:gd name="connsiteY813" fmla="*/ 187383 h 800100"/>
              <a:gd name="connsiteX814" fmla="*/ 1443486 w 2114552"/>
              <a:gd name="connsiteY814" fmla="*/ 204040 h 800100"/>
              <a:gd name="connsiteX815" fmla="*/ 1460055 w 2114552"/>
              <a:gd name="connsiteY815" fmla="*/ 183219 h 800100"/>
              <a:gd name="connsiteX816" fmla="*/ 1426916 w 2114552"/>
              <a:gd name="connsiteY816" fmla="*/ 129086 h 800100"/>
              <a:gd name="connsiteX817" fmla="*/ 1426916 w 2114552"/>
              <a:gd name="connsiteY817" fmla="*/ 124922 h 800100"/>
              <a:gd name="connsiteX818" fmla="*/ 1447628 w 2114552"/>
              <a:gd name="connsiteY818" fmla="*/ 108266 h 800100"/>
              <a:gd name="connsiteX819" fmla="*/ 1501479 w 2114552"/>
              <a:gd name="connsiteY819" fmla="*/ 137414 h 800100"/>
              <a:gd name="connsiteX820" fmla="*/ 1522191 w 2114552"/>
              <a:gd name="connsiteY820" fmla="*/ 124922 h 800100"/>
              <a:gd name="connsiteX821" fmla="*/ 1505621 w 2114552"/>
              <a:gd name="connsiteY821" fmla="*/ 62461 h 800100"/>
              <a:gd name="connsiteX822" fmla="*/ 1530476 w 2114552"/>
              <a:gd name="connsiteY822" fmla="*/ 49969 h 800100"/>
              <a:gd name="connsiteX823" fmla="*/ 1576042 w 2114552"/>
              <a:gd name="connsiteY823" fmla="*/ 91610 h 800100"/>
              <a:gd name="connsiteX824" fmla="*/ 1600896 w 2114552"/>
              <a:gd name="connsiteY824" fmla="*/ 83282 h 800100"/>
              <a:gd name="connsiteX825" fmla="*/ 1596754 w 2114552"/>
              <a:gd name="connsiteY825" fmla="*/ 49969 h 800100"/>
              <a:gd name="connsiteX826" fmla="*/ 1600896 w 2114552"/>
              <a:gd name="connsiteY826" fmla="*/ 20820 h 800100"/>
              <a:gd name="connsiteX827" fmla="*/ 1600896 w 2114552"/>
              <a:gd name="connsiteY827" fmla="*/ 16656 h 800100"/>
              <a:gd name="connsiteX828" fmla="*/ 1625751 w 2114552"/>
              <a:gd name="connsiteY828" fmla="*/ 12492 h 800100"/>
              <a:gd name="connsiteX829" fmla="*/ 1629893 w 2114552"/>
              <a:gd name="connsiteY829" fmla="*/ 12492 h 800100"/>
              <a:gd name="connsiteX830" fmla="*/ 1658890 w 2114552"/>
              <a:gd name="connsiteY830" fmla="*/ 66625 h 800100"/>
              <a:gd name="connsiteX831" fmla="*/ 1687886 w 2114552"/>
              <a:gd name="connsiteY831" fmla="*/ 62461 h 800100"/>
              <a:gd name="connsiteX832" fmla="*/ 1704456 w 2114552"/>
              <a:gd name="connsiteY832"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2114552" h="800100">
                <a:moveTo>
                  <a:pt x="2068305" y="749732"/>
                </a:moveTo>
                <a:lnTo>
                  <a:pt x="2068305" y="761609"/>
                </a:lnTo>
                <a:lnTo>
                  <a:pt x="2076013" y="761609"/>
                </a:lnTo>
                <a:cubicBezTo>
                  <a:pt x="2079697" y="761609"/>
                  <a:pt x="2082210" y="761060"/>
                  <a:pt x="2083551" y="759961"/>
                </a:cubicBezTo>
                <a:cubicBezTo>
                  <a:pt x="2084892" y="758862"/>
                  <a:pt x="2085563" y="757408"/>
                  <a:pt x="2085563" y="755598"/>
                </a:cubicBezTo>
                <a:cubicBezTo>
                  <a:pt x="2085563" y="754435"/>
                  <a:pt x="2085240" y="753392"/>
                  <a:pt x="2084594" y="752471"/>
                </a:cubicBezTo>
                <a:cubicBezTo>
                  <a:pt x="2083947" y="751550"/>
                  <a:pt x="2083050" y="750863"/>
                  <a:pt x="2081903" y="750411"/>
                </a:cubicBezTo>
                <a:cubicBezTo>
                  <a:pt x="2080756" y="749959"/>
                  <a:pt x="2078631" y="749732"/>
                  <a:pt x="2075528" y="749732"/>
                </a:cubicBezTo>
                <a:close/>
                <a:moveTo>
                  <a:pt x="2061954" y="744400"/>
                </a:moveTo>
                <a:lnTo>
                  <a:pt x="2075480" y="744400"/>
                </a:lnTo>
                <a:cubicBezTo>
                  <a:pt x="2080101" y="744400"/>
                  <a:pt x="2083446" y="744763"/>
                  <a:pt x="2085514" y="745491"/>
                </a:cubicBezTo>
                <a:cubicBezTo>
                  <a:pt x="2087583" y="746218"/>
                  <a:pt x="2089231" y="747486"/>
                  <a:pt x="2090459" y="749296"/>
                </a:cubicBezTo>
                <a:cubicBezTo>
                  <a:pt x="2091687" y="751106"/>
                  <a:pt x="2092301" y="753029"/>
                  <a:pt x="2092301" y="755065"/>
                </a:cubicBezTo>
                <a:cubicBezTo>
                  <a:pt x="2092301" y="757941"/>
                  <a:pt x="2091275" y="760446"/>
                  <a:pt x="2089223" y="762579"/>
                </a:cubicBezTo>
                <a:cubicBezTo>
                  <a:pt x="2087171" y="764712"/>
                  <a:pt x="2084448" y="765907"/>
                  <a:pt x="2081055" y="766166"/>
                </a:cubicBezTo>
                <a:cubicBezTo>
                  <a:pt x="2082444" y="766748"/>
                  <a:pt x="2083559" y="767443"/>
                  <a:pt x="2084400" y="768251"/>
                </a:cubicBezTo>
                <a:cubicBezTo>
                  <a:pt x="2085983" y="769802"/>
                  <a:pt x="2087922" y="772403"/>
                  <a:pt x="2090217" y="776055"/>
                </a:cubicBezTo>
                <a:lnTo>
                  <a:pt x="2095016" y="783763"/>
                </a:lnTo>
                <a:lnTo>
                  <a:pt x="2087260" y="783763"/>
                </a:lnTo>
                <a:lnTo>
                  <a:pt x="2083769" y="777558"/>
                </a:lnTo>
                <a:cubicBezTo>
                  <a:pt x="2081022" y="772678"/>
                  <a:pt x="2078808" y="769624"/>
                  <a:pt x="2077128" y="768396"/>
                </a:cubicBezTo>
                <a:cubicBezTo>
                  <a:pt x="2075965" y="767491"/>
                  <a:pt x="2074268" y="767039"/>
                  <a:pt x="2072038" y="767039"/>
                </a:cubicBezTo>
                <a:lnTo>
                  <a:pt x="2068305" y="767039"/>
                </a:lnTo>
                <a:lnTo>
                  <a:pt x="2068305" y="783763"/>
                </a:lnTo>
                <a:lnTo>
                  <a:pt x="2061954" y="783763"/>
                </a:lnTo>
                <a:close/>
                <a:moveTo>
                  <a:pt x="834048" y="741362"/>
                </a:moveTo>
                <a:cubicBezTo>
                  <a:pt x="813289" y="741362"/>
                  <a:pt x="784225" y="741362"/>
                  <a:pt x="784225" y="766474"/>
                </a:cubicBezTo>
                <a:cubicBezTo>
                  <a:pt x="784225" y="783215"/>
                  <a:pt x="792529" y="787400"/>
                  <a:pt x="804985" y="787400"/>
                </a:cubicBezTo>
                <a:cubicBezTo>
                  <a:pt x="838200" y="787400"/>
                  <a:pt x="838200" y="758103"/>
                  <a:pt x="838200" y="745547"/>
                </a:cubicBezTo>
                <a:lnTo>
                  <a:pt x="838200" y="741362"/>
                </a:lnTo>
                <a:cubicBezTo>
                  <a:pt x="834048" y="741362"/>
                  <a:pt x="834048" y="741362"/>
                  <a:pt x="834048" y="741362"/>
                </a:cubicBezTo>
                <a:close/>
                <a:moveTo>
                  <a:pt x="2078001" y="733008"/>
                </a:moveTo>
                <a:cubicBezTo>
                  <a:pt x="2072862" y="733008"/>
                  <a:pt x="2067861" y="734325"/>
                  <a:pt x="2062997" y="736959"/>
                </a:cubicBezTo>
                <a:cubicBezTo>
                  <a:pt x="2058133" y="739592"/>
                  <a:pt x="2054328" y="743358"/>
                  <a:pt x="2051581" y="748254"/>
                </a:cubicBezTo>
                <a:cubicBezTo>
                  <a:pt x="2048833" y="753150"/>
                  <a:pt x="2047460" y="758248"/>
                  <a:pt x="2047460" y="763548"/>
                </a:cubicBezTo>
                <a:cubicBezTo>
                  <a:pt x="2047460" y="768816"/>
                  <a:pt x="2048809" y="773866"/>
                  <a:pt x="2051508" y="778697"/>
                </a:cubicBezTo>
                <a:cubicBezTo>
                  <a:pt x="2054206" y="783529"/>
                  <a:pt x="2057980" y="787294"/>
                  <a:pt x="2062827" y="789993"/>
                </a:cubicBezTo>
                <a:cubicBezTo>
                  <a:pt x="2067675" y="792691"/>
                  <a:pt x="2072733" y="794041"/>
                  <a:pt x="2078001" y="794041"/>
                </a:cubicBezTo>
                <a:cubicBezTo>
                  <a:pt x="2083269" y="794041"/>
                  <a:pt x="2088326" y="792691"/>
                  <a:pt x="2093174" y="789993"/>
                </a:cubicBezTo>
                <a:cubicBezTo>
                  <a:pt x="2098022" y="787294"/>
                  <a:pt x="2101787" y="783529"/>
                  <a:pt x="2104469" y="778697"/>
                </a:cubicBezTo>
                <a:cubicBezTo>
                  <a:pt x="2107152" y="773866"/>
                  <a:pt x="2108493" y="768816"/>
                  <a:pt x="2108493" y="763548"/>
                </a:cubicBezTo>
                <a:cubicBezTo>
                  <a:pt x="2108493" y="758248"/>
                  <a:pt x="2107127" y="753150"/>
                  <a:pt x="2104397" y="748254"/>
                </a:cubicBezTo>
                <a:cubicBezTo>
                  <a:pt x="2101666" y="743358"/>
                  <a:pt x="2097860" y="739592"/>
                  <a:pt x="2092980" y="736959"/>
                </a:cubicBezTo>
                <a:cubicBezTo>
                  <a:pt x="2088100" y="734325"/>
                  <a:pt x="2083107" y="733008"/>
                  <a:pt x="2078001" y="733008"/>
                </a:cubicBezTo>
                <a:close/>
                <a:moveTo>
                  <a:pt x="2078001" y="726948"/>
                </a:moveTo>
                <a:cubicBezTo>
                  <a:pt x="2084141" y="726948"/>
                  <a:pt x="2090136" y="728524"/>
                  <a:pt x="2095985" y="731675"/>
                </a:cubicBezTo>
                <a:cubicBezTo>
                  <a:pt x="2101835" y="734825"/>
                  <a:pt x="2106392" y="739334"/>
                  <a:pt x="2109656" y="745200"/>
                </a:cubicBezTo>
                <a:cubicBezTo>
                  <a:pt x="2112920" y="751065"/>
                  <a:pt x="2114552" y="757181"/>
                  <a:pt x="2114552" y="763548"/>
                </a:cubicBezTo>
                <a:cubicBezTo>
                  <a:pt x="2114552" y="769850"/>
                  <a:pt x="2112944" y="775910"/>
                  <a:pt x="2109729" y="781727"/>
                </a:cubicBezTo>
                <a:cubicBezTo>
                  <a:pt x="2106513" y="787544"/>
                  <a:pt x="2102005" y="792061"/>
                  <a:pt x="2096204" y="795277"/>
                </a:cubicBezTo>
                <a:cubicBezTo>
                  <a:pt x="2090402" y="798492"/>
                  <a:pt x="2084335" y="800100"/>
                  <a:pt x="2078001" y="800100"/>
                </a:cubicBezTo>
                <a:cubicBezTo>
                  <a:pt x="2071666" y="800100"/>
                  <a:pt x="2065599" y="798492"/>
                  <a:pt x="2059797" y="795277"/>
                </a:cubicBezTo>
                <a:cubicBezTo>
                  <a:pt x="2053996" y="792061"/>
                  <a:pt x="2049480" y="787544"/>
                  <a:pt x="2046248" y="781727"/>
                </a:cubicBezTo>
                <a:cubicBezTo>
                  <a:pt x="2043016" y="775910"/>
                  <a:pt x="2041400" y="769850"/>
                  <a:pt x="2041400" y="763548"/>
                </a:cubicBezTo>
                <a:cubicBezTo>
                  <a:pt x="2041400" y="757181"/>
                  <a:pt x="2043041" y="751065"/>
                  <a:pt x="2046321" y="745200"/>
                </a:cubicBezTo>
                <a:cubicBezTo>
                  <a:pt x="2049601" y="739334"/>
                  <a:pt x="2054166" y="734825"/>
                  <a:pt x="2060016" y="731675"/>
                </a:cubicBezTo>
                <a:cubicBezTo>
                  <a:pt x="2065865" y="728524"/>
                  <a:pt x="2071860" y="726948"/>
                  <a:pt x="2078001" y="726948"/>
                </a:cubicBezTo>
                <a:close/>
                <a:moveTo>
                  <a:pt x="1058070" y="692149"/>
                </a:moveTo>
                <a:cubicBezTo>
                  <a:pt x="1037466" y="692149"/>
                  <a:pt x="1020763" y="713471"/>
                  <a:pt x="1020763" y="739774"/>
                </a:cubicBezTo>
                <a:cubicBezTo>
                  <a:pt x="1020763" y="766077"/>
                  <a:pt x="1037466" y="787399"/>
                  <a:pt x="1058070" y="787399"/>
                </a:cubicBezTo>
                <a:cubicBezTo>
                  <a:pt x="1078674" y="787399"/>
                  <a:pt x="1095377" y="766077"/>
                  <a:pt x="1095377" y="739774"/>
                </a:cubicBezTo>
                <a:cubicBezTo>
                  <a:pt x="1095377" y="713471"/>
                  <a:pt x="1078674" y="692149"/>
                  <a:pt x="1058070" y="692149"/>
                </a:cubicBezTo>
                <a:close/>
                <a:moveTo>
                  <a:pt x="692151" y="692149"/>
                </a:moveTo>
                <a:cubicBezTo>
                  <a:pt x="673739" y="692149"/>
                  <a:pt x="658813" y="713471"/>
                  <a:pt x="658813" y="739774"/>
                </a:cubicBezTo>
                <a:cubicBezTo>
                  <a:pt x="658813" y="766077"/>
                  <a:pt x="673739" y="787399"/>
                  <a:pt x="692151" y="787399"/>
                </a:cubicBezTo>
                <a:cubicBezTo>
                  <a:pt x="710563" y="787399"/>
                  <a:pt x="725489" y="766077"/>
                  <a:pt x="725489" y="739774"/>
                </a:cubicBezTo>
                <a:cubicBezTo>
                  <a:pt x="725489" y="713471"/>
                  <a:pt x="710563" y="692149"/>
                  <a:pt x="692151" y="692149"/>
                </a:cubicBezTo>
                <a:close/>
                <a:moveTo>
                  <a:pt x="323056" y="692149"/>
                </a:moveTo>
                <a:cubicBezTo>
                  <a:pt x="302452" y="692149"/>
                  <a:pt x="285749" y="713471"/>
                  <a:pt x="285749" y="739774"/>
                </a:cubicBezTo>
                <a:cubicBezTo>
                  <a:pt x="285749" y="766077"/>
                  <a:pt x="302452" y="787399"/>
                  <a:pt x="323056" y="787399"/>
                </a:cubicBezTo>
                <a:cubicBezTo>
                  <a:pt x="343660" y="787399"/>
                  <a:pt x="360363" y="766077"/>
                  <a:pt x="360363" y="739774"/>
                </a:cubicBezTo>
                <a:cubicBezTo>
                  <a:pt x="360363" y="713471"/>
                  <a:pt x="343660" y="692149"/>
                  <a:pt x="323056" y="692149"/>
                </a:cubicBezTo>
                <a:close/>
                <a:moveTo>
                  <a:pt x="966943" y="685949"/>
                </a:moveTo>
                <a:lnTo>
                  <a:pt x="981464" y="685949"/>
                </a:lnTo>
                <a:lnTo>
                  <a:pt x="981464" y="799333"/>
                </a:lnTo>
                <a:lnTo>
                  <a:pt x="966943" y="799333"/>
                </a:lnTo>
                <a:close/>
                <a:moveTo>
                  <a:pt x="1136650" y="684212"/>
                </a:moveTo>
                <a:cubicBezTo>
                  <a:pt x="1148897" y="684212"/>
                  <a:pt x="1148897" y="684212"/>
                  <a:pt x="1148897" y="684212"/>
                </a:cubicBezTo>
                <a:cubicBezTo>
                  <a:pt x="1148897" y="704791"/>
                  <a:pt x="1148897" y="704791"/>
                  <a:pt x="1148897" y="704791"/>
                </a:cubicBezTo>
                <a:cubicBezTo>
                  <a:pt x="1157061" y="696559"/>
                  <a:pt x="1165225" y="684212"/>
                  <a:pt x="1185636" y="684212"/>
                </a:cubicBezTo>
                <a:cubicBezTo>
                  <a:pt x="1214211" y="684212"/>
                  <a:pt x="1222375" y="700675"/>
                  <a:pt x="1222375" y="725369"/>
                </a:cubicBezTo>
                <a:cubicBezTo>
                  <a:pt x="1222375" y="795337"/>
                  <a:pt x="1222375" y="795337"/>
                  <a:pt x="1222375" y="795337"/>
                </a:cubicBezTo>
                <a:cubicBezTo>
                  <a:pt x="1210129" y="795337"/>
                  <a:pt x="1210129" y="795337"/>
                  <a:pt x="1210129" y="795337"/>
                </a:cubicBezTo>
                <a:cubicBezTo>
                  <a:pt x="1210129" y="729485"/>
                  <a:pt x="1210129" y="729485"/>
                  <a:pt x="1210129" y="729485"/>
                </a:cubicBezTo>
                <a:cubicBezTo>
                  <a:pt x="1210129" y="708906"/>
                  <a:pt x="1201964" y="692443"/>
                  <a:pt x="1185636" y="692443"/>
                </a:cubicBezTo>
                <a:cubicBezTo>
                  <a:pt x="1161143" y="692443"/>
                  <a:pt x="1152979" y="717138"/>
                  <a:pt x="1152979" y="733601"/>
                </a:cubicBezTo>
                <a:cubicBezTo>
                  <a:pt x="1152979" y="795337"/>
                  <a:pt x="1152979" y="795337"/>
                  <a:pt x="1152979" y="795337"/>
                </a:cubicBezTo>
                <a:cubicBezTo>
                  <a:pt x="1136650" y="795337"/>
                  <a:pt x="1136650" y="795337"/>
                  <a:pt x="1136650" y="795337"/>
                </a:cubicBezTo>
                <a:lnTo>
                  <a:pt x="1136650" y="713022"/>
                </a:lnTo>
                <a:cubicBezTo>
                  <a:pt x="1136650" y="704791"/>
                  <a:pt x="1136650" y="692443"/>
                  <a:pt x="1136650" y="684212"/>
                </a:cubicBezTo>
                <a:close/>
                <a:moveTo>
                  <a:pt x="1054894" y="684212"/>
                </a:moveTo>
                <a:cubicBezTo>
                  <a:pt x="1083389" y="684212"/>
                  <a:pt x="1106488" y="710154"/>
                  <a:pt x="1106488" y="742156"/>
                </a:cubicBezTo>
                <a:cubicBezTo>
                  <a:pt x="1106488" y="774158"/>
                  <a:pt x="1083389" y="800100"/>
                  <a:pt x="1054894" y="800100"/>
                </a:cubicBezTo>
                <a:cubicBezTo>
                  <a:pt x="1026399" y="800100"/>
                  <a:pt x="1003300" y="774158"/>
                  <a:pt x="1003300" y="742156"/>
                </a:cubicBezTo>
                <a:cubicBezTo>
                  <a:pt x="1003300" y="710154"/>
                  <a:pt x="1026399" y="684212"/>
                  <a:pt x="1054894" y="684212"/>
                </a:cubicBezTo>
                <a:close/>
                <a:moveTo>
                  <a:pt x="812499" y="684212"/>
                </a:moveTo>
                <a:cubicBezTo>
                  <a:pt x="841603" y="684212"/>
                  <a:pt x="854076" y="696629"/>
                  <a:pt x="854076" y="725601"/>
                </a:cubicBezTo>
                <a:cubicBezTo>
                  <a:pt x="854076" y="775267"/>
                  <a:pt x="854076" y="775267"/>
                  <a:pt x="854076" y="775267"/>
                </a:cubicBezTo>
                <a:cubicBezTo>
                  <a:pt x="854076" y="783545"/>
                  <a:pt x="854076" y="791822"/>
                  <a:pt x="854076" y="795961"/>
                </a:cubicBezTo>
                <a:cubicBezTo>
                  <a:pt x="841603" y="795961"/>
                  <a:pt x="841603" y="795961"/>
                  <a:pt x="841603" y="795961"/>
                </a:cubicBezTo>
                <a:lnTo>
                  <a:pt x="841603" y="779406"/>
                </a:lnTo>
                <a:cubicBezTo>
                  <a:pt x="837445" y="779406"/>
                  <a:pt x="837445" y="779406"/>
                  <a:pt x="837445" y="779406"/>
                </a:cubicBezTo>
                <a:cubicBezTo>
                  <a:pt x="833287" y="791822"/>
                  <a:pt x="816656" y="800100"/>
                  <a:pt x="804183" y="800100"/>
                </a:cubicBezTo>
                <a:cubicBezTo>
                  <a:pt x="770921" y="800100"/>
                  <a:pt x="766763" y="779406"/>
                  <a:pt x="766763" y="766989"/>
                </a:cubicBezTo>
                <a:cubicBezTo>
                  <a:pt x="766763" y="729739"/>
                  <a:pt x="808341" y="729739"/>
                  <a:pt x="837445" y="729739"/>
                </a:cubicBezTo>
                <a:cubicBezTo>
                  <a:pt x="837445" y="721462"/>
                  <a:pt x="837445" y="721462"/>
                  <a:pt x="837445" y="721462"/>
                </a:cubicBezTo>
                <a:cubicBezTo>
                  <a:pt x="837445" y="704906"/>
                  <a:pt x="833287" y="692490"/>
                  <a:pt x="812499" y="692490"/>
                </a:cubicBezTo>
                <a:cubicBezTo>
                  <a:pt x="800025" y="692490"/>
                  <a:pt x="791710" y="696629"/>
                  <a:pt x="779236" y="704906"/>
                </a:cubicBezTo>
                <a:cubicBezTo>
                  <a:pt x="779236" y="688351"/>
                  <a:pt x="779236" y="688351"/>
                  <a:pt x="779236" y="688351"/>
                </a:cubicBezTo>
                <a:cubicBezTo>
                  <a:pt x="787552" y="684212"/>
                  <a:pt x="804183" y="684212"/>
                  <a:pt x="812499" y="684212"/>
                </a:cubicBezTo>
                <a:close/>
                <a:moveTo>
                  <a:pt x="527050" y="684212"/>
                </a:moveTo>
                <a:cubicBezTo>
                  <a:pt x="539523" y="684212"/>
                  <a:pt x="539523" y="684212"/>
                  <a:pt x="539523" y="684212"/>
                </a:cubicBezTo>
                <a:cubicBezTo>
                  <a:pt x="539523" y="704791"/>
                  <a:pt x="539523" y="704791"/>
                  <a:pt x="539523" y="704791"/>
                </a:cubicBezTo>
                <a:cubicBezTo>
                  <a:pt x="547839" y="696559"/>
                  <a:pt x="556154" y="684212"/>
                  <a:pt x="576943" y="684212"/>
                </a:cubicBezTo>
                <a:cubicBezTo>
                  <a:pt x="606047" y="684212"/>
                  <a:pt x="614363" y="700675"/>
                  <a:pt x="614363" y="725369"/>
                </a:cubicBezTo>
                <a:cubicBezTo>
                  <a:pt x="614363" y="795337"/>
                  <a:pt x="614363" y="795337"/>
                  <a:pt x="614363" y="795337"/>
                </a:cubicBezTo>
                <a:cubicBezTo>
                  <a:pt x="601890" y="795337"/>
                  <a:pt x="601890" y="795337"/>
                  <a:pt x="601890" y="795337"/>
                </a:cubicBezTo>
                <a:cubicBezTo>
                  <a:pt x="601890" y="729485"/>
                  <a:pt x="601890" y="729485"/>
                  <a:pt x="601890" y="729485"/>
                </a:cubicBezTo>
                <a:cubicBezTo>
                  <a:pt x="601890" y="708906"/>
                  <a:pt x="593574" y="692443"/>
                  <a:pt x="576943" y="692443"/>
                </a:cubicBezTo>
                <a:cubicBezTo>
                  <a:pt x="551996" y="692443"/>
                  <a:pt x="543681" y="717138"/>
                  <a:pt x="543681" y="733601"/>
                </a:cubicBezTo>
                <a:cubicBezTo>
                  <a:pt x="543681" y="795337"/>
                  <a:pt x="543681" y="795337"/>
                  <a:pt x="543681" y="795337"/>
                </a:cubicBezTo>
                <a:cubicBezTo>
                  <a:pt x="527050" y="795337"/>
                  <a:pt x="527050" y="795337"/>
                  <a:pt x="527050" y="795337"/>
                </a:cubicBezTo>
                <a:lnTo>
                  <a:pt x="527050" y="713022"/>
                </a:lnTo>
                <a:cubicBezTo>
                  <a:pt x="527050" y="704791"/>
                  <a:pt x="527050" y="692443"/>
                  <a:pt x="527050" y="684212"/>
                </a:cubicBezTo>
                <a:close/>
                <a:moveTo>
                  <a:pt x="406400" y="684212"/>
                </a:moveTo>
                <a:cubicBezTo>
                  <a:pt x="418873" y="684212"/>
                  <a:pt x="418873" y="684212"/>
                  <a:pt x="418873" y="684212"/>
                </a:cubicBezTo>
                <a:cubicBezTo>
                  <a:pt x="418873" y="754573"/>
                  <a:pt x="418873" y="754573"/>
                  <a:pt x="418873" y="754573"/>
                </a:cubicBezTo>
                <a:cubicBezTo>
                  <a:pt x="418873" y="775267"/>
                  <a:pt x="427189" y="787683"/>
                  <a:pt x="443820" y="787683"/>
                </a:cubicBezTo>
                <a:cubicBezTo>
                  <a:pt x="468766" y="787683"/>
                  <a:pt x="477082" y="766989"/>
                  <a:pt x="477082" y="746295"/>
                </a:cubicBezTo>
                <a:cubicBezTo>
                  <a:pt x="477082" y="684212"/>
                  <a:pt x="477082" y="684212"/>
                  <a:pt x="477082" y="684212"/>
                </a:cubicBezTo>
                <a:cubicBezTo>
                  <a:pt x="493713" y="684212"/>
                  <a:pt x="493713" y="684212"/>
                  <a:pt x="493713" y="684212"/>
                </a:cubicBezTo>
                <a:lnTo>
                  <a:pt x="493713" y="771128"/>
                </a:lnTo>
                <a:cubicBezTo>
                  <a:pt x="493713" y="779406"/>
                  <a:pt x="493713" y="787683"/>
                  <a:pt x="493713" y="795961"/>
                </a:cubicBezTo>
                <a:cubicBezTo>
                  <a:pt x="481240" y="795961"/>
                  <a:pt x="481240" y="795961"/>
                  <a:pt x="481240" y="795961"/>
                </a:cubicBezTo>
                <a:cubicBezTo>
                  <a:pt x="481240" y="779406"/>
                  <a:pt x="481240" y="779406"/>
                  <a:pt x="481240" y="779406"/>
                </a:cubicBezTo>
                <a:cubicBezTo>
                  <a:pt x="472924" y="787683"/>
                  <a:pt x="464609" y="800100"/>
                  <a:pt x="443820" y="800100"/>
                </a:cubicBezTo>
                <a:cubicBezTo>
                  <a:pt x="414715" y="800100"/>
                  <a:pt x="406400" y="783545"/>
                  <a:pt x="406400" y="758711"/>
                </a:cubicBezTo>
                <a:cubicBezTo>
                  <a:pt x="406400" y="684212"/>
                  <a:pt x="406400" y="684212"/>
                  <a:pt x="406400" y="684212"/>
                </a:cubicBezTo>
                <a:close/>
                <a:moveTo>
                  <a:pt x="325437" y="684212"/>
                </a:moveTo>
                <a:cubicBezTo>
                  <a:pt x="354370" y="684212"/>
                  <a:pt x="377825" y="710154"/>
                  <a:pt x="377825" y="742156"/>
                </a:cubicBezTo>
                <a:cubicBezTo>
                  <a:pt x="377825" y="774158"/>
                  <a:pt x="354370" y="800100"/>
                  <a:pt x="325437" y="800100"/>
                </a:cubicBezTo>
                <a:cubicBezTo>
                  <a:pt x="296504" y="800100"/>
                  <a:pt x="273049" y="774158"/>
                  <a:pt x="273049" y="742156"/>
                </a:cubicBezTo>
                <a:cubicBezTo>
                  <a:pt x="273049" y="710154"/>
                  <a:pt x="296504" y="684212"/>
                  <a:pt x="325437" y="684212"/>
                </a:cubicBezTo>
                <a:close/>
                <a:moveTo>
                  <a:pt x="1724027" y="666750"/>
                </a:moveTo>
                <a:lnTo>
                  <a:pt x="1720852" y="679450"/>
                </a:lnTo>
                <a:lnTo>
                  <a:pt x="1716089" y="687388"/>
                </a:lnTo>
                <a:lnTo>
                  <a:pt x="1733552" y="687388"/>
                </a:lnTo>
                <a:lnTo>
                  <a:pt x="1728789" y="679450"/>
                </a:lnTo>
                <a:close/>
                <a:moveTo>
                  <a:pt x="1728922" y="654050"/>
                </a:moveTo>
                <a:cubicBezTo>
                  <a:pt x="1728922" y="658202"/>
                  <a:pt x="1728922" y="658202"/>
                  <a:pt x="1728922" y="658202"/>
                </a:cubicBezTo>
                <a:lnTo>
                  <a:pt x="1737124" y="678962"/>
                </a:lnTo>
                <a:cubicBezTo>
                  <a:pt x="1749427" y="703873"/>
                  <a:pt x="1749427" y="703873"/>
                  <a:pt x="1749427" y="703873"/>
                </a:cubicBezTo>
                <a:cubicBezTo>
                  <a:pt x="1745326" y="703873"/>
                  <a:pt x="1741225" y="703873"/>
                  <a:pt x="1737124" y="703873"/>
                </a:cubicBezTo>
                <a:cubicBezTo>
                  <a:pt x="1737124" y="695569"/>
                  <a:pt x="1737124" y="695569"/>
                  <a:pt x="1737124" y="695569"/>
                </a:cubicBezTo>
                <a:cubicBezTo>
                  <a:pt x="1712517" y="695569"/>
                  <a:pt x="1712517" y="695569"/>
                  <a:pt x="1712517" y="695569"/>
                </a:cubicBezTo>
                <a:cubicBezTo>
                  <a:pt x="1712517" y="708025"/>
                  <a:pt x="1712517" y="708025"/>
                  <a:pt x="1712517" y="708025"/>
                </a:cubicBezTo>
                <a:cubicBezTo>
                  <a:pt x="1708416" y="703873"/>
                  <a:pt x="1704315" y="703873"/>
                  <a:pt x="1700214" y="703873"/>
                </a:cubicBezTo>
                <a:cubicBezTo>
                  <a:pt x="1712517" y="678962"/>
                  <a:pt x="1712517" y="678962"/>
                  <a:pt x="1712517" y="678962"/>
                </a:cubicBezTo>
                <a:cubicBezTo>
                  <a:pt x="1716618" y="658202"/>
                  <a:pt x="1716618" y="658202"/>
                  <a:pt x="1716618" y="658202"/>
                </a:cubicBezTo>
                <a:cubicBezTo>
                  <a:pt x="1728922" y="654050"/>
                  <a:pt x="1728922" y="654050"/>
                  <a:pt x="1728922" y="654050"/>
                </a:cubicBezTo>
                <a:close/>
                <a:moveTo>
                  <a:pt x="907733" y="654049"/>
                </a:moveTo>
                <a:cubicBezTo>
                  <a:pt x="907733" y="683259"/>
                  <a:pt x="907733" y="683259"/>
                  <a:pt x="907733" y="683259"/>
                </a:cubicBezTo>
                <a:cubicBezTo>
                  <a:pt x="932498" y="683259"/>
                  <a:pt x="932498" y="683259"/>
                  <a:pt x="932498" y="683259"/>
                </a:cubicBezTo>
                <a:lnTo>
                  <a:pt x="932498" y="695778"/>
                </a:lnTo>
                <a:cubicBezTo>
                  <a:pt x="907733" y="695778"/>
                  <a:pt x="907733" y="695778"/>
                  <a:pt x="907733" y="695778"/>
                </a:cubicBezTo>
                <a:cubicBezTo>
                  <a:pt x="907733" y="770889"/>
                  <a:pt x="907733" y="770889"/>
                  <a:pt x="907733" y="770889"/>
                </a:cubicBezTo>
                <a:cubicBezTo>
                  <a:pt x="907733" y="779235"/>
                  <a:pt x="911861" y="787580"/>
                  <a:pt x="924243" y="787580"/>
                </a:cubicBezTo>
                <a:cubicBezTo>
                  <a:pt x="928371" y="787580"/>
                  <a:pt x="932498" y="787580"/>
                  <a:pt x="936626" y="783408"/>
                </a:cubicBezTo>
                <a:cubicBezTo>
                  <a:pt x="936626" y="795926"/>
                  <a:pt x="936626" y="795926"/>
                  <a:pt x="936626" y="795926"/>
                </a:cubicBezTo>
                <a:cubicBezTo>
                  <a:pt x="932498" y="800099"/>
                  <a:pt x="928371" y="800099"/>
                  <a:pt x="920116" y="800099"/>
                </a:cubicBezTo>
                <a:cubicBezTo>
                  <a:pt x="895351" y="800099"/>
                  <a:pt x="895351" y="783408"/>
                  <a:pt x="895351" y="762543"/>
                </a:cubicBezTo>
                <a:cubicBezTo>
                  <a:pt x="895351" y="695778"/>
                  <a:pt x="895351" y="695778"/>
                  <a:pt x="895351" y="695778"/>
                </a:cubicBezTo>
                <a:cubicBezTo>
                  <a:pt x="874713" y="695778"/>
                  <a:pt x="874713" y="695778"/>
                  <a:pt x="874713" y="695778"/>
                </a:cubicBezTo>
                <a:cubicBezTo>
                  <a:pt x="874713" y="683259"/>
                  <a:pt x="874713" y="683259"/>
                  <a:pt x="874713" y="683259"/>
                </a:cubicBezTo>
                <a:cubicBezTo>
                  <a:pt x="895351" y="683259"/>
                  <a:pt x="895351" y="683259"/>
                  <a:pt x="895351" y="683259"/>
                </a:cubicBezTo>
                <a:cubicBezTo>
                  <a:pt x="895351" y="658222"/>
                  <a:pt x="895351" y="658222"/>
                  <a:pt x="895351" y="658222"/>
                </a:cubicBezTo>
                <a:cubicBezTo>
                  <a:pt x="907733" y="654049"/>
                  <a:pt x="907733" y="654049"/>
                  <a:pt x="907733" y="654049"/>
                </a:cubicBezTo>
                <a:close/>
                <a:moveTo>
                  <a:pt x="1658542" y="650875"/>
                </a:moveTo>
                <a:cubicBezTo>
                  <a:pt x="1662643" y="650875"/>
                  <a:pt x="1662643" y="650875"/>
                  <a:pt x="1666745" y="650875"/>
                </a:cubicBezTo>
                <a:cubicBezTo>
                  <a:pt x="1666745" y="650875"/>
                  <a:pt x="1666745" y="650875"/>
                  <a:pt x="1683149" y="688242"/>
                </a:cubicBezTo>
                <a:cubicBezTo>
                  <a:pt x="1683149" y="688242"/>
                  <a:pt x="1683149" y="688242"/>
                  <a:pt x="1687250" y="655027"/>
                </a:cubicBezTo>
                <a:cubicBezTo>
                  <a:pt x="1687250" y="655027"/>
                  <a:pt x="1691351" y="655027"/>
                  <a:pt x="1695452" y="655027"/>
                </a:cubicBezTo>
                <a:cubicBezTo>
                  <a:pt x="1695452" y="655027"/>
                  <a:pt x="1695452" y="655027"/>
                  <a:pt x="1687250" y="704850"/>
                </a:cubicBezTo>
                <a:cubicBezTo>
                  <a:pt x="1687250" y="704850"/>
                  <a:pt x="1683149" y="704850"/>
                  <a:pt x="1679048" y="704850"/>
                </a:cubicBezTo>
                <a:cubicBezTo>
                  <a:pt x="1679048" y="704850"/>
                  <a:pt x="1679048" y="704850"/>
                  <a:pt x="1662643" y="671635"/>
                </a:cubicBezTo>
                <a:cubicBezTo>
                  <a:pt x="1662643" y="671635"/>
                  <a:pt x="1662643" y="671635"/>
                  <a:pt x="1658542" y="700698"/>
                </a:cubicBezTo>
                <a:cubicBezTo>
                  <a:pt x="1654441" y="700698"/>
                  <a:pt x="1650340" y="700698"/>
                  <a:pt x="1646239" y="700698"/>
                </a:cubicBezTo>
                <a:cubicBezTo>
                  <a:pt x="1646239" y="700698"/>
                  <a:pt x="1646239" y="700698"/>
                  <a:pt x="1658542" y="650875"/>
                </a:cubicBezTo>
                <a:close/>
                <a:moveTo>
                  <a:pt x="1787526" y="646113"/>
                </a:moveTo>
                <a:lnTo>
                  <a:pt x="1787526" y="654504"/>
                </a:lnTo>
                <a:cubicBezTo>
                  <a:pt x="1783399" y="658700"/>
                  <a:pt x="1779271" y="658700"/>
                  <a:pt x="1771016" y="658700"/>
                </a:cubicBezTo>
                <a:cubicBezTo>
                  <a:pt x="1771016" y="658700"/>
                  <a:pt x="1771016" y="658700"/>
                  <a:pt x="1779271" y="700655"/>
                </a:cubicBezTo>
                <a:cubicBezTo>
                  <a:pt x="1779271" y="700655"/>
                  <a:pt x="1779271" y="700655"/>
                  <a:pt x="1771016" y="704851"/>
                </a:cubicBezTo>
                <a:cubicBezTo>
                  <a:pt x="1771016" y="704851"/>
                  <a:pt x="1771016" y="704851"/>
                  <a:pt x="1762761" y="662895"/>
                </a:cubicBezTo>
                <a:cubicBezTo>
                  <a:pt x="1758634" y="662895"/>
                  <a:pt x="1754506" y="662895"/>
                  <a:pt x="1746251" y="662895"/>
                </a:cubicBezTo>
                <a:cubicBezTo>
                  <a:pt x="1746251" y="662895"/>
                  <a:pt x="1746251" y="662895"/>
                  <a:pt x="1746251" y="654504"/>
                </a:cubicBezTo>
                <a:cubicBezTo>
                  <a:pt x="1758634" y="654504"/>
                  <a:pt x="1771016" y="650309"/>
                  <a:pt x="1787526" y="646113"/>
                </a:cubicBezTo>
                <a:close/>
                <a:moveTo>
                  <a:pt x="1617029" y="646113"/>
                </a:moveTo>
                <a:cubicBezTo>
                  <a:pt x="1617029" y="654051"/>
                  <a:pt x="1617029" y="654051"/>
                  <a:pt x="1617029" y="654051"/>
                </a:cubicBezTo>
                <a:cubicBezTo>
                  <a:pt x="1612901" y="658019"/>
                  <a:pt x="1612901" y="658019"/>
                  <a:pt x="1612901" y="658019"/>
                </a:cubicBezTo>
                <a:cubicBezTo>
                  <a:pt x="1625284" y="661988"/>
                  <a:pt x="1625284" y="661988"/>
                  <a:pt x="1625284" y="661988"/>
                </a:cubicBezTo>
                <a:cubicBezTo>
                  <a:pt x="1629412" y="661988"/>
                  <a:pt x="1633539" y="658019"/>
                  <a:pt x="1633539" y="658019"/>
                </a:cubicBezTo>
                <a:cubicBezTo>
                  <a:pt x="1633539" y="658019"/>
                  <a:pt x="1633539" y="654051"/>
                  <a:pt x="1633539" y="654051"/>
                </a:cubicBezTo>
                <a:cubicBezTo>
                  <a:pt x="1633539" y="654051"/>
                  <a:pt x="1633539" y="650082"/>
                  <a:pt x="1629412" y="650082"/>
                </a:cubicBezTo>
                <a:cubicBezTo>
                  <a:pt x="1617029" y="646113"/>
                  <a:pt x="1617029" y="646113"/>
                  <a:pt x="1617029" y="646113"/>
                </a:cubicBezTo>
                <a:close/>
                <a:moveTo>
                  <a:pt x="966943" y="643885"/>
                </a:moveTo>
                <a:lnTo>
                  <a:pt x="981464" y="643885"/>
                </a:lnTo>
                <a:lnTo>
                  <a:pt x="981464" y="660066"/>
                </a:lnTo>
                <a:lnTo>
                  <a:pt x="966943" y="660066"/>
                </a:lnTo>
                <a:close/>
                <a:moveTo>
                  <a:pt x="1795464" y="641350"/>
                </a:moveTo>
                <a:cubicBezTo>
                  <a:pt x="1799546" y="641350"/>
                  <a:pt x="1803628" y="641350"/>
                  <a:pt x="1807711" y="641350"/>
                </a:cubicBezTo>
                <a:cubicBezTo>
                  <a:pt x="1807711" y="641350"/>
                  <a:pt x="1807711" y="641350"/>
                  <a:pt x="1824039" y="687917"/>
                </a:cubicBezTo>
                <a:cubicBezTo>
                  <a:pt x="1819957" y="687917"/>
                  <a:pt x="1815875" y="687917"/>
                  <a:pt x="1811793" y="692150"/>
                </a:cubicBezTo>
                <a:cubicBezTo>
                  <a:pt x="1811793" y="692150"/>
                  <a:pt x="1811793" y="692150"/>
                  <a:pt x="1795464" y="641350"/>
                </a:cubicBezTo>
                <a:close/>
                <a:moveTo>
                  <a:pt x="177800" y="641349"/>
                </a:moveTo>
                <a:lnTo>
                  <a:pt x="252413" y="641349"/>
                </a:lnTo>
                <a:lnTo>
                  <a:pt x="252413" y="654049"/>
                </a:lnTo>
                <a:lnTo>
                  <a:pt x="195262" y="654049"/>
                </a:lnTo>
                <a:lnTo>
                  <a:pt x="195262" y="712787"/>
                </a:lnTo>
                <a:lnTo>
                  <a:pt x="249238" y="712787"/>
                </a:lnTo>
                <a:lnTo>
                  <a:pt x="249238" y="725487"/>
                </a:lnTo>
                <a:lnTo>
                  <a:pt x="195262" y="725487"/>
                </a:lnTo>
                <a:lnTo>
                  <a:pt x="195262" y="795337"/>
                </a:lnTo>
                <a:lnTo>
                  <a:pt x="177800" y="795337"/>
                </a:lnTo>
                <a:close/>
                <a:moveTo>
                  <a:pt x="1612770" y="633413"/>
                </a:moveTo>
                <a:cubicBezTo>
                  <a:pt x="1633275" y="641668"/>
                  <a:pt x="1633275" y="641668"/>
                  <a:pt x="1633275" y="641668"/>
                </a:cubicBezTo>
                <a:cubicBezTo>
                  <a:pt x="1641477" y="645796"/>
                  <a:pt x="1641477" y="649923"/>
                  <a:pt x="1641477" y="654051"/>
                </a:cubicBezTo>
                <a:cubicBezTo>
                  <a:pt x="1641477" y="654051"/>
                  <a:pt x="1641477" y="658178"/>
                  <a:pt x="1641477" y="658178"/>
                </a:cubicBezTo>
                <a:cubicBezTo>
                  <a:pt x="1641477" y="662306"/>
                  <a:pt x="1637376" y="670561"/>
                  <a:pt x="1629174" y="670561"/>
                </a:cubicBezTo>
                <a:cubicBezTo>
                  <a:pt x="1633275" y="695326"/>
                  <a:pt x="1633275" y="695326"/>
                  <a:pt x="1633275" y="695326"/>
                </a:cubicBezTo>
                <a:cubicBezTo>
                  <a:pt x="1629174" y="695326"/>
                  <a:pt x="1625073" y="691198"/>
                  <a:pt x="1620972" y="691198"/>
                </a:cubicBezTo>
                <a:cubicBezTo>
                  <a:pt x="1620972" y="670561"/>
                  <a:pt x="1620972" y="670561"/>
                  <a:pt x="1620972" y="670561"/>
                </a:cubicBezTo>
                <a:cubicBezTo>
                  <a:pt x="1608668" y="666433"/>
                  <a:pt x="1608668" y="666433"/>
                  <a:pt x="1608668" y="666433"/>
                </a:cubicBezTo>
                <a:cubicBezTo>
                  <a:pt x="1604567" y="682943"/>
                  <a:pt x="1604567" y="682943"/>
                  <a:pt x="1604567" y="682943"/>
                </a:cubicBezTo>
                <a:cubicBezTo>
                  <a:pt x="1600466" y="682943"/>
                  <a:pt x="1596365" y="682943"/>
                  <a:pt x="1592264" y="678816"/>
                </a:cubicBezTo>
                <a:cubicBezTo>
                  <a:pt x="1604567" y="658178"/>
                  <a:pt x="1604567" y="658178"/>
                  <a:pt x="1604567" y="658178"/>
                </a:cubicBezTo>
                <a:cubicBezTo>
                  <a:pt x="1604567" y="654051"/>
                  <a:pt x="1604567" y="654051"/>
                  <a:pt x="1604567" y="654051"/>
                </a:cubicBezTo>
                <a:cubicBezTo>
                  <a:pt x="1612770" y="633413"/>
                  <a:pt x="1612770" y="633413"/>
                  <a:pt x="1612770" y="633413"/>
                </a:cubicBezTo>
                <a:close/>
                <a:moveTo>
                  <a:pt x="1855109" y="630214"/>
                </a:moveTo>
                <a:cubicBezTo>
                  <a:pt x="1851027" y="629693"/>
                  <a:pt x="1846945" y="630735"/>
                  <a:pt x="1844903" y="632818"/>
                </a:cubicBezTo>
                <a:cubicBezTo>
                  <a:pt x="1836739" y="636986"/>
                  <a:pt x="1836739" y="641153"/>
                  <a:pt x="1836739" y="645320"/>
                </a:cubicBezTo>
                <a:cubicBezTo>
                  <a:pt x="1836739" y="649487"/>
                  <a:pt x="1836739" y="653655"/>
                  <a:pt x="1836739" y="653655"/>
                </a:cubicBezTo>
                <a:cubicBezTo>
                  <a:pt x="1836739" y="653655"/>
                  <a:pt x="1836739" y="657822"/>
                  <a:pt x="1840821" y="657822"/>
                </a:cubicBezTo>
                <a:cubicBezTo>
                  <a:pt x="1844903" y="661989"/>
                  <a:pt x="1853068" y="661989"/>
                  <a:pt x="1857150" y="661989"/>
                </a:cubicBezTo>
                <a:cubicBezTo>
                  <a:pt x="1861232" y="657822"/>
                  <a:pt x="1861232" y="657822"/>
                  <a:pt x="1861232" y="657822"/>
                </a:cubicBezTo>
                <a:cubicBezTo>
                  <a:pt x="1865314" y="653655"/>
                  <a:pt x="1865314" y="649487"/>
                  <a:pt x="1865314" y="645320"/>
                </a:cubicBezTo>
                <a:cubicBezTo>
                  <a:pt x="1865314" y="645320"/>
                  <a:pt x="1865314" y="641153"/>
                  <a:pt x="1865314" y="636986"/>
                </a:cubicBezTo>
                <a:cubicBezTo>
                  <a:pt x="1863273" y="632818"/>
                  <a:pt x="1859191" y="630735"/>
                  <a:pt x="1855109" y="630214"/>
                </a:cubicBezTo>
                <a:close/>
                <a:moveTo>
                  <a:pt x="726110" y="628649"/>
                </a:moveTo>
                <a:cubicBezTo>
                  <a:pt x="742951" y="628649"/>
                  <a:pt x="742951" y="628649"/>
                  <a:pt x="742951" y="628649"/>
                </a:cubicBezTo>
                <a:lnTo>
                  <a:pt x="742951" y="795917"/>
                </a:lnTo>
                <a:cubicBezTo>
                  <a:pt x="726110" y="795917"/>
                  <a:pt x="726110" y="795917"/>
                  <a:pt x="726110" y="795917"/>
                </a:cubicBezTo>
                <a:cubicBezTo>
                  <a:pt x="726110" y="779190"/>
                  <a:pt x="726110" y="779190"/>
                  <a:pt x="726110" y="779190"/>
                </a:cubicBezTo>
                <a:cubicBezTo>
                  <a:pt x="717689" y="795917"/>
                  <a:pt x="709268" y="800099"/>
                  <a:pt x="692427" y="800099"/>
                </a:cubicBezTo>
                <a:cubicBezTo>
                  <a:pt x="658744" y="800099"/>
                  <a:pt x="646113" y="775009"/>
                  <a:pt x="646113" y="741555"/>
                </a:cubicBezTo>
                <a:cubicBezTo>
                  <a:pt x="646113" y="708101"/>
                  <a:pt x="658744" y="683011"/>
                  <a:pt x="692427" y="683011"/>
                </a:cubicBezTo>
                <a:cubicBezTo>
                  <a:pt x="713479" y="683011"/>
                  <a:pt x="726110" y="695556"/>
                  <a:pt x="726110" y="703920"/>
                </a:cubicBezTo>
                <a:cubicBezTo>
                  <a:pt x="726110" y="628649"/>
                  <a:pt x="726110" y="628649"/>
                  <a:pt x="726110" y="628649"/>
                </a:cubicBezTo>
                <a:close/>
                <a:moveTo>
                  <a:pt x="1857377" y="622131"/>
                </a:moveTo>
                <a:cubicBezTo>
                  <a:pt x="1864256" y="623662"/>
                  <a:pt x="1870606" y="627744"/>
                  <a:pt x="1874839" y="633868"/>
                </a:cubicBezTo>
                <a:cubicBezTo>
                  <a:pt x="1874839" y="637950"/>
                  <a:pt x="1874839" y="642032"/>
                  <a:pt x="1874839" y="646114"/>
                </a:cubicBezTo>
                <a:cubicBezTo>
                  <a:pt x="1874839" y="650196"/>
                  <a:pt x="1874839" y="654278"/>
                  <a:pt x="1874839" y="658360"/>
                </a:cubicBezTo>
                <a:cubicBezTo>
                  <a:pt x="1870606" y="662443"/>
                  <a:pt x="1870606" y="666525"/>
                  <a:pt x="1862139" y="666525"/>
                </a:cubicBezTo>
                <a:cubicBezTo>
                  <a:pt x="1853672" y="674689"/>
                  <a:pt x="1836739" y="670607"/>
                  <a:pt x="1828272" y="658360"/>
                </a:cubicBezTo>
                <a:cubicBezTo>
                  <a:pt x="1828272" y="654278"/>
                  <a:pt x="1824039" y="650196"/>
                  <a:pt x="1824039" y="646114"/>
                </a:cubicBezTo>
                <a:cubicBezTo>
                  <a:pt x="1824039" y="637950"/>
                  <a:pt x="1828272" y="629785"/>
                  <a:pt x="1836739" y="625703"/>
                </a:cubicBezTo>
                <a:cubicBezTo>
                  <a:pt x="1843089" y="621621"/>
                  <a:pt x="1850497" y="620601"/>
                  <a:pt x="1857377" y="622131"/>
                </a:cubicBezTo>
                <a:close/>
                <a:moveTo>
                  <a:pt x="1571138" y="612775"/>
                </a:moveTo>
                <a:cubicBezTo>
                  <a:pt x="1579442" y="616903"/>
                  <a:pt x="1591897" y="625158"/>
                  <a:pt x="1600201" y="629285"/>
                </a:cubicBezTo>
                <a:cubicBezTo>
                  <a:pt x="1600201" y="629285"/>
                  <a:pt x="1600201" y="629285"/>
                  <a:pt x="1596049" y="637540"/>
                </a:cubicBezTo>
                <a:cubicBezTo>
                  <a:pt x="1587745" y="633413"/>
                  <a:pt x="1583593" y="629285"/>
                  <a:pt x="1575290" y="625158"/>
                </a:cubicBezTo>
                <a:lnTo>
                  <a:pt x="1571138" y="633413"/>
                </a:lnTo>
                <a:cubicBezTo>
                  <a:pt x="1575290" y="637540"/>
                  <a:pt x="1579442" y="641668"/>
                  <a:pt x="1583593" y="641668"/>
                </a:cubicBezTo>
                <a:cubicBezTo>
                  <a:pt x="1583593" y="641668"/>
                  <a:pt x="1583593" y="641668"/>
                  <a:pt x="1579442" y="649923"/>
                </a:cubicBezTo>
                <a:cubicBezTo>
                  <a:pt x="1579442" y="649923"/>
                  <a:pt x="1579442" y="649923"/>
                  <a:pt x="1566986" y="641668"/>
                </a:cubicBezTo>
                <a:cubicBezTo>
                  <a:pt x="1566986" y="641668"/>
                  <a:pt x="1566986" y="641668"/>
                  <a:pt x="1558682" y="654050"/>
                </a:cubicBezTo>
                <a:cubicBezTo>
                  <a:pt x="1558682" y="654050"/>
                  <a:pt x="1558682" y="654050"/>
                  <a:pt x="1579442" y="666433"/>
                </a:cubicBezTo>
                <a:cubicBezTo>
                  <a:pt x="1579442" y="666433"/>
                  <a:pt x="1579442" y="666433"/>
                  <a:pt x="1575290" y="674688"/>
                </a:cubicBezTo>
                <a:cubicBezTo>
                  <a:pt x="1562834" y="666433"/>
                  <a:pt x="1554530" y="662305"/>
                  <a:pt x="1546226" y="654050"/>
                </a:cubicBezTo>
                <a:cubicBezTo>
                  <a:pt x="1546226" y="654050"/>
                  <a:pt x="1546226" y="654050"/>
                  <a:pt x="1571138" y="612775"/>
                </a:cubicBezTo>
                <a:close/>
                <a:moveTo>
                  <a:pt x="1898969" y="579438"/>
                </a:moveTo>
                <a:cubicBezTo>
                  <a:pt x="1898969" y="579438"/>
                  <a:pt x="1898969" y="579438"/>
                  <a:pt x="1931989" y="616943"/>
                </a:cubicBezTo>
                <a:cubicBezTo>
                  <a:pt x="1927862" y="621110"/>
                  <a:pt x="1927862" y="621110"/>
                  <a:pt x="1923734" y="625277"/>
                </a:cubicBezTo>
                <a:cubicBezTo>
                  <a:pt x="1923734" y="625277"/>
                  <a:pt x="1923734" y="625277"/>
                  <a:pt x="1890714" y="612776"/>
                </a:cubicBezTo>
                <a:cubicBezTo>
                  <a:pt x="1890714" y="612776"/>
                  <a:pt x="1890714" y="612776"/>
                  <a:pt x="1907224" y="637779"/>
                </a:cubicBezTo>
                <a:cubicBezTo>
                  <a:pt x="1903096" y="641946"/>
                  <a:pt x="1903096" y="641946"/>
                  <a:pt x="1898969" y="646113"/>
                </a:cubicBezTo>
                <a:cubicBezTo>
                  <a:pt x="1898969" y="646113"/>
                  <a:pt x="1898969" y="646113"/>
                  <a:pt x="1870076" y="604441"/>
                </a:cubicBezTo>
                <a:cubicBezTo>
                  <a:pt x="1874204" y="604441"/>
                  <a:pt x="1874204" y="600274"/>
                  <a:pt x="1878331" y="600274"/>
                </a:cubicBezTo>
                <a:cubicBezTo>
                  <a:pt x="1878331" y="600274"/>
                  <a:pt x="1878331" y="600274"/>
                  <a:pt x="1911351" y="608608"/>
                </a:cubicBezTo>
                <a:cubicBezTo>
                  <a:pt x="1911351" y="608608"/>
                  <a:pt x="1911351" y="608608"/>
                  <a:pt x="1890714" y="587772"/>
                </a:cubicBezTo>
                <a:cubicBezTo>
                  <a:pt x="1894841" y="583605"/>
                  <a:pt x="1894841" y="583605"/>
                  <a:pt x="1898969" y="579438"/>
                </a:cubicBezTo>
                <a:close/>
                <a:moveTo>
                  <a:pt x="1534626" y="579438"/>
                </a:moveTo>
                <a:cubicBezTo>
                  <a:pt x="1542930" y="587742"/>
                  <a:pt x="1551233" y="596046"/>
                  <a:pt x="1563689" y="604350"/>
                </a:cubicBezTo>
                <a:cubicBezTo>
                  <a:pt x="1559537" y="612653"/>
                  <a:pt x="1559537" y="612653"/>
                  <a:pt x="1559537" y="612653"/>
                </a:cubicBezTo>
                <a:cubicBezTo>
                  <a:pt x="1555385" y="608501"/>
                  <a:pt x="1551233" y="604350"/>
                  <a:pt x="1547081" y="604350"/>
                </a:cubicBezTo>
                <a:cubicBezTo>
                  <a:pt x="1518018" y="633413"/>
                  <a:pt x="1518018" y="633413"/>
                  <a:pt x="1518018" y="633413"/>
                </a:cubicBezTo>
                <a:cubicBezTo>
                  <a:pt x="1509714" y="625109"/>
                  <a:pt x="1509714" y="625109"/>
                  <a:pt x="1509714" y="625109"/>
                </a:cubicBezTo>
                <a:cubicBezTo>
                  <a:pt x="1538778" y="596046"/>
                  <a:pt x="1538778" y="596046"/>
                  <a:pt x="1538778" y="596046"/>
                </a:cubicBezTo>
                <a:cubicBezTo>
                  <a:pt x="1534626" y="591894"/>
                  <a:pt x="1530474" y="587742"/>
                  <a:pt x="1526322" y="583590"/>
                </a:cubicBezTo>
                <a:cubicBezTo>
                  <a:pt x="1534626" y="579438"/>
                  <a:pt x="1534626" y="579438"/>
                  <a:pt x="1534626" y="579438"/>
                </a:cubicBezTo>
                <a:close/>
                <a:moveTo>
                  <a:pt x="1924051" y="566738"/>
                </a:moveTo>
                <a:lnTo>
                  <a:pt x="1931989" y="579438"/>
                </a:lnTo>
                <a:lnTo>
                  <a:pt x="1936751" y="587376"/>
                </a:lnTo>
                <a:lnTo>
                  <a:pt x="1944689" y="579438"/>
                </a:lnTo>
                <a:lnTo>
                  <a:pt x="1944689" y="574676"/>
                </a:lnTo>
                <a:close/>
                <a:moveTo>
                  <a:pt x="1919742" y="558800"/>
                </a:moveTo>
                <a:cubicBezTo>
                  <a:pt x="1970089" y="571103"/>
                  <a:pt x="1970089" y="571103"/>
                  <a:pt x="1970089" y="571103"/>
                </a:cubicBezTo>
                <a:cubicBezTo>
                  <a:pt x="1970089" y="575204"/>
                  <a:pt x="1965894" y="575204"/>
                  <a:pt x="1965894" y="579305"/>
                </a:cubicBezTo>
                <a:cubicBezTo>
                  <a:pt x="1965894" y="579305"/>
                  <a:pt x="1965894" y="579305"/>
                  <a:pt x="1961698" y="579305"/>
                </a:cubicBezTo>
                <a:cubicBezTo>
                  <a:pt x="1953307" y="579305"/>
                  <a:pt x="1953307" y="579305"/>
                  <a:pt x="1953307" y="579305"/>
                </a:cubicBezTo>
                <a:cubicBezTo>
                  <a:pt x="1940720" y="595710"/>
                  <a:pt x="1940720" y="595710"/>
                  <a:pt x="1940720" y="595710"/>
                </a:cubicBezTo>
                <a:cubicBezTo>
                  <a:pt x="1944916" y="603912"/>
                  <a:pt x="1944916" y="603912"/>
                  <a:pt x="1944916" y="603912"/>
                </a:cubicBezTo>
                <a:cubicBezTo>
                  <a:pt x="1944916" y="603912"/>
                  <a:pt x="1940720" y="608013"/>
                  <a:pt x="1940720" y="608013"/>
                </a:cubicBezTo>
                <a:cubicBezTo>
                  <a:pt x="1919742" y="579305"/>
                  <a:pt x="1919742" y="579305"/>
                  <a:pt x="1919742" y="579305"/>
                </a:cubicBezTo>
                <a:cubicBezTo>
                  <a:pt x="1911351" y="567002"/>
                  <a:pt x="1911351" y="567002"/>
                  <a:pt x="1911351" y="567002"/>
                </a:cubicBezTo>
                <a:close/>
                <a:moveTo>
                  <a:pt x="1500586" y="541338"/>
                </a:moveTo>
                <a:cubicBezTo>
                  <a:pt x="1504753" y="545571"/>
                  <a:pt x="1504753" y="545571"/>
                  <a:pt x="1508920" y="549805"/>
                </a:cubicBezTo>
                <a:cubicBezTo>
                  <a:pt x="1508920" y="549805"/>
                  <a:pt x="1508920" y="549805"/>
                  <a:pt x="1496419" y="583671"/>
                </a:cubicBezTo>
                <a:cubicBezTo>
                  <a:pt x="1496419" y="583671"/>
                  <a:pt x="1496419" y="583671"/>
                  <a:pt x="1521422" y="562505"/>
                </a:cubicBezTo>
                <a:cubicBezTo>
                  <a:pt x="1521422" y="566738"/>
                  <a:pt x="1525589" y="566738"/>
                  <a:pt x="1525589" y="570971"/>
                </a:cubicBezTo>
                <a:cubicBezTo>
                  <a:pt x="1525589" y="570971"/>
                  <a:pt x="1525589" y="570971"/>
                  <a:pt x="1488084" y="604838"/>
                </a:cubicBezTo>
                <a:cubicBezTo>
                  <a:pt x="1483917" y="600605"/>
                  <a:pt x="1483917" y="600605"/>
                  <a:pt x="1479750" y="596371"/>
                </a:cubicBezTo>
                <a:cubicBezTo>
                  <a:pt x="1479750" y="596371"/>
                  <a:pt x="1479750" y="596371"/>
                  <a:pt x="1492252" y="562505"/>
                </a:cubicBezTo>
                <a:cubicBezTo>
                  <a:pt x="1492252" y="562505"/>
                  <a:pt x="1492252" y="562505"/>
                  <a:pt x="1467249" y="579438"/>
                </a:cubicBezTo>
                <a:cubicBezTo>
                  <a:pt x="1463081" y="575205"/>
                  <a:pt x="1463081" y="575205"/>
                  <a:pt x="1458914" y="570971"/>
                </a:cubicBezTo>
                <a:cubicBezTo>
                  <a:pt x="1458914" y="570971"/>
                  <a:pt x="1458914" y="570971"/>
                  <a:pt x="1500586" y="541338"/>
                </a:cubicBezTo>
                <a:close/>
                <a:moveTo>
                  <a:pt x="1936752" y="528638"/>
                </a:moveTo>
                <a:lnTo>
                  <a:pt x="1973264" y="550863"/>
                </a:lnTo>
                <a:lnTo>
                  <a:pt x="1985965" y="528638"/>
                </a:lnTo>
                <a:lnTo>
                  <a:pt x="1993902" y="533401"/>
                </a:lnTo>
                <a:lnTo>
                  <a:pt x="1978027" y="561976"/>
                </a:lnTo>
                <a:lnTo>
                  <a:pt x="1931989" y="538163"/>
                </a:lnTo>
                <a:close/>
                <a:moveTo>
                  <a:pt x="1492829" y="525463"/>
                </a:moveTo>
                <a:cubicBezTo>
                  <a:pt x="1492829" y="529630"/>
                  <a:pt x="1497014" y="529630"/>
                  <a:pt x="1497014" y="533798"/>
                </a:cubicBezTo>
                <a:cubicBezTo>
                  <a:pt x="1497014" y="533798"/>
                  <a:pt x="1497014" y="533798"/>
                  <a:pt x="1455161" y="558801"/>
                </a:cubicBezTo>
                <a:cubicBezTo>
                  <a:pt x="1450976" y="554634"/>
                  <a:pt x="1450976" y="550467"/>
                  <a:pt x="1450976" y="550467"/>
                </a:cubicBezTo>
                <a:cubicBezTo>
                  <a:pt x="1450976" y="550467"/>
                  <a:pt x="1450976" y="550467"/>
                  <a:pt x="1492829" y="525463"/>
                </a:cubicBezTo>
                <a:close/>
                <a:moveTo>
                  <a:pt x="1482542" y="485751"/>
                </a:moveTo>
                <a:cubicBezTo>
                  <a:pt x="1480468" y="485230"/>
                  <a:pt x="1478394" y="486272"/>
                  <a:pt x="1476320" y="488355"/>
                </a:cubicBezTo>
                <a:cubicBezTo>
                  <a:pt x="1430696" y="500857"/>
                  <a:pt x="1430696" y="500857"/>
                  <a:pt x="1430696" y="500857"/>
                </a:cubicBezTo>
                <a:cubicBezTo>
                  <a:pt x="1422401" y="505024"/>
                  <a:pt x="1422401" y="509191"/>
                  <a:pt x="1422401" y="517526"/>
                </a:cubicBezTo>
                <a:cubicBezTo>
                  <a:pt x="1468025" y="634207"/>
                  <a:pt x="1584159" y="717551"/>
                  <a:pt x="1716883" y="717551"/>
                </a:cubicBezTo>
                <a:cubicBezTo>
                  <a:pt x="1849607" y="717551"/>
                  <a:pt x="1965740" y="634207"/>
                  <a:pt x="2011364" y="513358"/>
                </a:cubicBezTo>
                <a:cubicBezTo>
                  <a:pt x="2011364" y="509191"/>
                  <a:pt x="2007217" y="505024"/>
                  <a:pt x="2003069" y="500857"/>
                </a:cubicBezTo>
                <a:cubicBezTo>
                  <a:pt x="1957445" y="488355"/>
                  <a:pt x="1957445" y="488355"/>
                  <a:pt x="1957445" y="488355"/>
                </a:cubicBezTo>
                <a:cubicBezTo>
                  <a:pt x="1955371" y="486272"/>
                  <a:pt x="1953297" y="485230"/>
                  <a:pt x="1951224" y="485751"/>
                </a:cubicBezTo>
                <a:cubicBezTo>
                  <a:pt x="1949150" y="486272"/>
                  <a:pt x="1947076" y="488355"/>
                  <a:pt x="1945002" y="492522"/>
                </a:cubicBezTo>
                <a:cubicBezTo>
                  <a:pt x="1907673" y="584201"/>
                  <a:pt x="1820573" y="646709"/>
                  <a:pt x="1716883" y="646709"/>
                </a:cubicBezTo>
                <a:cubicBezTo>
                  <a:pt x="1613192" y="646709"/>
                  <a:pt x="1526092" y="584201"/>
                  <a:pt x="1488763" y="492522"/>
                </a:cubicBezTo>
                <a:cubicBezTo>
                  <a:pt x="1486689" y="488355"/>
                  <a:pt x="1484616" y="486272"/>
                  <a:pt x="1482542" y="485751"/>
                </a:cubicBezTo>
                <a:close/>
                <a:moveTo>
                  <a:pt x="1662749" y="478852"/>
                </a:moveTo>
                <a:cubicBezTo>
                  <a:pt x="1551306" y="533313"/>
                  <a:pt x="1551306" y="533313"/>
                  <a:pt x="1551306" y="533313"/>
                </a:cubicBezTo>
                <a:cubicBezTo>
                  <a:pt x="1547179" y="533313"/>
                  <a:pt x="1543051" y="533313"/>
                  <a:pt x="1543051" y="537502"/>
                </a:cubicBezTo>
                <a:cubicBezTo>
                  <a:pt x="1543051" y="537502"/>
                  <a:pt x="1543051" y="537502"/>
                  <a:pt x="1543051" y="541691"/>
                </a:cubicBezTo>
                <a:cubicBezTo>
                  <a:pt x="1543051" y="541691"/>
                  <a:pt x="1543051" y="545880"/>
                  <a:pt x="1547179" y="545880"/>
                </a:cubicBezTo>
                <a:cubicBezTo>
                  <a:pt x="1584326" y="587773"/>
                  <a:pt x="1621474" y="608719"/>
                  <a:pt x="1675132" y="621287"/>
                </a:cubicBezTo>
                <a:cubicBezTo>
                  <a:pt x="1679259" y="625476"/>
                  <a:pt x="1683387" y="625476"/>
                  <a:pt x="1683387" y="621287"/>
                </a:cubicBezTo>
                <a:cubicBezTo>
                  <a:pt x="1687514" y="621287"/>
                  <a:pt x="1687514" y="617098"/>
                  <a:pt x="1687514" y="608719"/>
                </a:cubicBezTo>
                <a:cubicBezTo>
                  <a:pt x="1687514" y="608719"/>
                  <a:pt x="1679259" y="487231"/>
                  <a:pt x="1679259" y="487231"/>
                </a:cubicBezTo>
                <a:cubicBezTo>
                  <a:pt x="1679259" y="483042"/>
                  <a:pt x="1675132" y="478852"/>
                  <a:pt x="1675132" y="478852"/>
                </a:cubicBezTo>
                <a:cubicBezTo>
                  <a:pt x="1671004" y="474663"/>
                  <a:pt x="1666877" y="474663"/>
                  <a:pt x="1662749" y="478852"/>
                </a:cubicBezTo>
                <a:close/>
                <a:moveTo>
                  <a:pt x="1762761" y="474663"/>
                </a:moveTo>
                <a:cubicBezTo>
                  <a:pt x="1758634" y="478836"/>
                  <a:pt x="1758634" y="483009"/>
                  <a:pt x="1758634" y="487182"/>
                </a:cubicBezTo>
                <a:cubicBezTo>
                  <a:pt x="1746251" y="608194"/>
                  <a:pt x="1746251" y="608194"/>
                  <a:pt x="1746251" y="608194"/>
                </a:cubicBezTo>
                <a:cubicBezTo>
                  <a:pt x="1746251" y="612367"/>
                  <a:pt x="1746251" y="616540"/>
                  <a:pt x="1750379" y="620713"/>
                </a:cubicBezTo>
                <a:cubicBezTo>
                  <a:pt x="1750379" y="620713"/>
                  <a:pt x="1754506" y="620713"/>
                  <a:pt x="1758634" y="620713"/>
                </a:cubicBezTo>
                <a:cubicBezTo>
                  <a:pt x="1812291" y="608194"/>
                  <a:pt x="1849439" y="587330"/>
                  <a:pt x="1886587" y="545602"/>
                </a:cubicBezTo>
                <a:cubicBezTo>
                  <a:pt x="1890714" y="541429"/>
                  <a:pt x="1890714" y="541429"/>
                  <a:pt x="1890714" y="537256"/>
                </a:cubicBezTo>
                <a:cubicBezTo>
                  <a:pt x="1890714" y="533083"/>
                  <a:pt x="1886587" y="533083"/>
                  <a:pt x="1882459" y="528910"/>
                </a:cubicBezTo>
                <a:cubicBezTo>
                  <a:pt x="1775144" y="474663"/>
                  <a:pt x="1775144" y="474663"/>
                  <a:pt x="1775144" y="474663"/>
                </a:cubicBezTo>
                <a:cubicBezTo>
                  <a:pt x="1771016" y="474663"/>
                  <a:pt x="1766889" y="474663"/>
                  <a:pt x="1762761" y="474663"/>
                </a:cubicBezTo>
                <a:close/>
                <a:moveTo>
                  <a:pt x="725572" y="428624"/>
                </a:moveTo>
                <a:cubicBezTo>
                  <a:pt x="705101" y="432820"/>
                  <a:pt x="696913" y="441211"/>
                  <a:pt x="696913" y="457993"/>
                </a:cubicBezTo>
                <a:cubicBezTo>
                  <a:pt x="696913" y="470580"/>
                  <a:pt x="696913" y="487362"/>
                  <a:pt x="717384" y="487362"/>
                </a:cubicBezTo>
                <a:cubicBezTo>
                  <a:pt x="741948" y="487362"/>
                  <a:pt x="774701" y="478971"/>
                  <a:pt x="774701" y="478971"/>
                </a:cubicBezTo>
                <a:cubicBezTo>
                  <a:pt x="774701" y="428624"/>
                  <a:pt x="774701" y="428624"/>
                  <a:pt x="774701" y="428624"/>
                </a:cubicBezTo>
                <a:close/>
                <a:moveTo>
                  <a:pt x="352426" y="346073"/>
                </a:moveTo>
                <a:cubicBezTo>
                  <a:pt x="315516" y="346073"/>
                  <a:pt x="303213" y="362695"/>
                  <a:pt x="303213" y="412562"/>
                </a:cubicBezTo>
                <a:cubicBezTo>
                  <a:pt x="303213" y="462428"/>
                  <a:pt x="311415" y="487361"/>
                  <a:pt x="352426" y="487361"/>
                </a:cubicBezTo>
                <a:cubicBezTo>
                  <a:pt x="393436" y="487361"/>
                  <a:pt x="401638" y="458272"/>
                  <a:pt x="401638" y="412562"/>
                </a:cubicBezTo>
                <a:cubicBezTo>
                  <a:pt x="401638" y="362695"/>
                  <a:pt x="389335" y="346073"/>
                  <a:pt x="352426" y="346073"/>
                </a:cubicBezTo>
                <a:close/>
                <a:moveTo>
                  <a:pt x="1704770" y="341312"/>
                </a:moveTo>
                <a:cubicBezTo>
                  <a:pt x="1704770" y="341312"/>
                  <a:pt x="1704770" y="353885"/>
                  <a:pt x="1704770" y="353885"/>
                </a:cubicBezTo>
                <a:cubicBezTo>
                  <a:pt x="1684063" y="358076"/>
                  <a:pt x="1671639" y="379031"/>
                  <a:pt x="1671639" y="399986"/>
                </a:cubicBezTo>
                <a:cubicBezTo>
                  <a:pt x="1671639" y="425132"/>
                  <a:pt x="1692346" y="446087"/>
                  <a:pt x="1717193" y="446087"/>
                </a:cubicBezTo>
                <a:cubicBezTo>
                  <a:pt x="1742041" y="446087"/>
                  <a:pt x="1766889" y="425132"/>
                  <a:pt x="1766889" y="399986"/>
                </a:cubicBezTo>
                <a:cubicBezTo>
                  <a:pt x="1766889" y="379031"/>
                  <a:pt x="1750324" y="358076"/>
                  <a:pt x="1729617" y="353885"/>
                </a:cubicBezTo>
                <a:cubicBezTo>
                  <a:pt x="1729617" y="349694"/>
                  <a:pt x="1729617" y="341312"/>
                  <a:pt x="1729617" y="341312"/>
                </a:cubicBezTo>
                <a:cubicBezTo>
                  <a:pt x="1704770" y="341312"/>
                  <a:pt x="1704770" y="341312"/>
                  <a:pt x="1704770" y="341312"/>
                </a:cubicBezTo>
                <a:close/>
                <a:moveTo>
                  <a:pt x="1716883" y="328612"/>
                </a:moveTo>
                <a:cubicBezTo>
                  <a:pt x="1755899" y="328612"/>
                  <a:pt x="1787527" y="360596"/>
                  <a:pt x="1787527" y="400050"/>
                </a:cubicBezTo>
                <a:cubicBezTo>
                  <a:pt x="1787527" y="439504"/>
                  <a:pt x="1755899" y="471488"/>
                  <a:pt x="1716883" y="471488"/>
                </a:cubicBezTo>
                <a:cubicBezTo>
                  <a:pt x="1677867" y="471488"/>
                  <a:pt x="1646239" y="439504"/>
                  <a:pt x="1646239" y="400050"/>
                </a:cubicBezTo>
                <a:cubicBezTo>
                  <a:pt x="1646239" y="360596"/>
                  <a:pt x="1677867" y="328612"/>
                  <a:pt x="1716883" y="328612"/>
                </a:cubicBezTo>
                <a:close/>
                <a:moveTo>
                  <a:pt x="1716883" y="320675"/>
                </a:moveTo>
                <a:cubicBezTo>
                  <a:pt x="1673483" y="320675"/>
                  <a:pt x="1638301" y="356212"/>
                  <a:pt x="1638301" y="400050"/>
                </a:cubicBezTo>
                <a:cubicBezTo>
                  <a:pt x="1638301" y="443888"/>
                  <a:pt x="1673483" y="479425"/>
                  <a:pt x="1716883" y="479425"/>
                </a:cubicBezTo>
                <a:cubicBezTo>
                  <a:pt x="1760283" y="479425"/>
                  <a:pt x="1795465" y="443888"/>
                  <a:pt x="1795465" y="400050"/>
                </a:cubicBezTo>
                <a:cubicBezTo>
                  <a:pt x="1795465" y="356212"/>
                  <a:pt x="1760283" y="320675"/>
                  <a:pt x="1716883" y="320675"/>
                </a:cubicBezTo>
                <a:close/>
                <a:moveTo>
                  <a:pt x="1924004" y="317500"/>
                </a:moveTo>
                <a:cubicBezTo>
                  <a:pt x="1924004" y="317500"/>
                  <a:pt x="1919866" y="317500"/>
                  <a:pt x="1911592" y="321667"/>
                </a:cubicBezTo>
                <a:cubicBezTo>
                  <a:pt x="1812301" y="388342"/>
                  <a:pt x="1812301" y="388342"/>
                  <a:pt x="1812301" y="388342"/>
                </a:cubicBezTo>
                <a:cubicBezTo>
                  <a:pt x="1808164" y="392510"/>
                  <a:pt x="1808164" y="396677"/>
                  <a:pt x="1808164" y="400844"/>
                </a:cubicBezTo>
                <a:cubicBezTo>
                  <a:pt x="1808164" y="400844"/>
                  <a:pt x="1808164" y="405011"/>
                  <a:pt x="1812301" y="409178"/>
                </a:cubicBezTo>
                <a:lnTo>
                  <a:pt x="1915729" y="480021"/>
                </a:lnTo>
                <a:cubicBezTo>
                  <a:pt x="1915729" y="480021"/>
                  <a:pt x="1919866" y="484188"/>
                  <a:pt x="1924004" y="480021"/>
                </a:cubicBezTo>
                <a:cubicBezTo>
                  <a:pt x="1928141" y="480021"/>
                  <a:pt x="1928141" y="480021"/>
                  <a:pt x="1928141" y="471686"/>
                </a:cubicBezTo>
                <a:cubicBezTo>
                  <a:pt x="1944689" y="421680"/>
                  <a:pt x="1944689" y="375841"/>
                  <a:pt x="1928141" y="325834"/>
                </a:cubicBezTo>
                <a:cubicBezTo>
                  <a:pt x="1928141" y="321667"/>
                  <a:pt x="1928141" y="317500"/>
                  <a:pt x="1924004" y="317500"/>
                </a:cubicBezTo>
                <a:close/>
                <a:moveTo>
                  <a:pt x="1509762" y="317500"/>
                </a:moveTo>
                <a:cubicBezTo>
                  <a:pt x="1505625" y="317500"/>
                  <a:pt x="1505625" y="321667"/>
                  <a:pt x="1501487" y="325834"/>
                </a:cubicBezTo>
                <a:cubicBezTo>
                  <a:pt x="1489076" y="375841"/>
                  <a:pt x="1489076" y="421680"/>
                  <a:pt x="1501487" y="475854"/>
                </a:cubicBezTo>
                <a:cubicBezTo>
                  <a:pt x="1505625" y="475854"/>
                  <a:pt x="1505625" y="480021"/>
                  <a:pt x="1509762" y="480021"/>
                </a:cubicBezTo>
                <a:cubicBezTo>
                  <a:pt x="1509762" y="484188"/>
                  <a:pt x="1513899" y="480021"/>
                  <a:pt x="1518036" y="480021"/>
                </a:cubicBezTo>
                <a:cubicBezTo>
                  <a:pt x="1621464" y="409178"/>
                  <a:pt x="1621464" y="409178"/>
                  <a:pt x="1621464" y="409178"/>
                </a:cubicBezTo>
                <a:cubicBezTo>
                  <a:pt x="1625601" y="409178"/>
                  <a:pt x="1625601" y="405011"/>
                  <a:pt x="1625601" y="400844"/>
                </a:cubicBezTo>
                <a:cubicBezTo>
                  <a:pt x="1625601" y="396677"/>
                  <a:pt x="1625601" y="392510"/>
                  <a:pt x="1621464" y="388342"/>
                </a:cubicBezTo>
                <a:lnTo>
                  <a:pt x="1518036" y="321667"/>
                </a:lnTo>
                <a:cubicBezTo>
                  <a:pt x="1518036" y="317500"/>
                  <a:pt x="1513899" y="317500"/>
                  <a:pt x="1509762" y="317500"/>
                </a:cubicBezTo>
                <a:close/>
                <a:moveTo>
                  <a:pt x="1032821" y="304799"/>
                </a:moveTo>
                <a:cubicBezTo>
                  <a:pt x="1032821" y="304799"/>
                  <a:pt x="1036942" y="304799"/>
                  <a:pt x="1041062" y="304799"/>
                </a:cubicBezTo>
                <a:cubicBezTo>
                  <a:pt x="1041062" y="304799"/>
                  <a:pt x="1041062" y="304799"/>
                  <a:pt x="1074028" y="304799"/>
                </a:cubicBezTo>
                <a:cubicBezTo>
                  <a:pt x="1078149" y="304799"/>
                  <a:pt x="1078149" y="304799"/>
                  <a:pt x="1082270" y="308966"/>
                </a:cubicBezTo>
                <a:cubicBezTo>
                  <a:pt x="1082270" y="308966"/>
                  <a:pt x="1082270" y="308966"/>
                  <a:pt x="1123477" y="479821"/>
                </a:cubicBezTo>
                <a:cubicBezTo>
                  <a:pt x="1123477" y="479821"/>
                  <a:pt x="1123477" y="479821"/>
                  <a:pt x="1127598" y="479821"/>
                </a:cubicBezTo>
                <a:cubicBezTo>
                  <a:pt x="1127598" y="479821"/>
                  <a:pt x="1127598" y="479821"/>
                  <a:pt x="1172926" y="308966"/>
                </a:cubicBezTo>
                <a:cubicBezTo>
                  <a:pt x="1172926" y="304799"/>
                  <a:pt x="1177047" y="304799"/>
                  <a:pt x="1181168" y="304799"/>
                </a:cubicBezTo>
                <a:cubicBezTo>
                  <a:pt x="1181168" y="304799"/>
                  <a:pt x="1181168" y="304799"/>
                  <a:pt x="1214134" y="304799"/>
                </a:cubicBezTo>
                <a:cubicBezTo>
                  <a:pt x="1218254" y="304799"/>
                  <a:pt x="1218254" y="304799"/>
                  <a:pt x="1222375" y="304799"/>
                </a:cubicBezTo>
                <a:cubicBezTo>
                  <a:pt x="1222375" y="308966"/>
                  <a:pt x="1222375" y="308966"/>
                  <a:pt x="1222375" y="313133"/>
                </a:cubicBezTo>
                <a:cubicBezTo>
                  <a:pt x="1222375" y="313133"/>
                  <a:pt x="1222375" y="313133"/>
                  <a:pt x="1218254" y="338137"/>
                </a:cubicBezTo>
                <a:cubicBezTo>
                  <a:pt x="1214134" y="350638"/>
                  <a:pt x="1210013" y="367307"/>
                  <a:pt x="1201771" y="388143"/>
                </a:cubicBezTo>
                <a:cubicBezTo>
                  <a:pt x="1193530" y="433982"/>
                  <a:pt x="1177047" y="496490"/>
                  <a:pt x="1164685" y="542329"/>
                </a:cubicBezTo>
                <a:cubicBezTo>
                  <a:pt x="1152322" y="584001"/>
                  <a:pt x="1131719" y="604837"/>
                  <a:pt x="1098753" y="604837"/>
                </a:cubicBezTo>
                <a:cubicBezTo>
                  <a:pt x="1098753" y="604837"/>
                  <a:pt x="1098753" y="604837"/>
                  <a:pt x="1094632" y="604837"/>
                </a:cubicBezTo>
                <a:cubicBezTo>
                  <a:pt x="1078149" y="604837"/>
                  <a:pt x="1053425" y="600670"/>
                  <a:pt x="1041062" y="600670"/>
                </a:cubicBezTo>
                <a:cubicBezTo>
                  <a:pt x="1036942" y="596503"/>
                  <a:pt x="1032821" y="596503"/>
                  <a:pt x="1032821" y="592335"/>
                </a:cubicBezTo>
                <a:cubicBezTo>
                  <a:pt x="1032821" y="592335"/>
                  <a:pt x="1032821" y="592335"/>
                  <a:pt x="1032821" y="567332"/>
                </a:cubicBezTo>
                <a:cubicBezTo>
                  <a:pt x="1032821" y="567332"/>
                  <a:pt x="1032821" y="563165"/>
                  <a:pt x="1036942" y="563165"/>
                </a:cubicBezTo>
                <a:cubicBezTo>
                  <a:pt x="1036942" y="558998"/>
                  <a:pt x="1041062" y="558998"/>
                  <a:pt x="1041062" y="558998"/>
                </a:cubicBezTo>
                <a:cubicBezTo>
                  <a:pt x="1041062" y="558998"/>
                  <a:pt x="1041062" y="558998"/>
                  <a:pt x="1082270" y="563165"/>
                </a:cubicBezTo>
                <a:cubicBezTo>
                  <a:pt x="1106994" y="563165"/>
                  <a:pt x="1111115" y="550663"/>
                  <a:pt x="1115236" y="538162"/>
                </a:cubicBezTo>
                <a:cubicBezTo>
                  <a:pt x="1115236" y="533995"/>
                  <a:pt x="1115236" y="533995"/>
                  <a:pt x="1119357" y="529828"/>
                </a:cubicBezTo>
                <a:cubicBezTo>
                  <a:pt x="1119357" y="529828"/>
                  <a:pt x="1119357" y="529828"/>
                  <a:pt x="1106994" y="529828"/>
                </a:cubicBezTo>
                <a:cubicBezTo>
                  <a:pt x="1090511" y="529828"/>
                  <a:pt x="1082270" y="513159"/>
                  <a:pt x="1082270" y="504824"/>
                </a:cubicBezTo>
                <a:cubicBezTo>
                  <a:pt x="1082270" y="504824"/>
                  <a:pt x="1082270" y="504824"/>
                  <a:pt x="1032821" y="313133"/>
                </a:cubicBezTo>
                <a:cubicBezTo>
                  <a:pt x="1028700" y="308966"/>
                  <a:pt x="1032821" y="308966"/>
                  <a:pt x="1032821" y="304799"/>
                </a:cubicBezTo>
                <a:close/>
                <a:moveTo>
                  <a:pt x="994979" y="300037"/>
                </a:moveTo>
                <a:cubicBezTo>
                  <a:pt x="994979" y="300037"/>
                  <a:pt x="999140" y="300037"/>
                  <a:pt x="999140" y="304193"/>
                </a:cubicBezTo>
                <a:cubicBezTo>
                  <a:pt x="1003300" y="304193"/>
                  <a:pt x="1003300" y="308350"/>
                  <a:pt x="1003300" y="308350"/>
                </a:cubicBezTo>
                <a:cubicBezTo>
                  <a:pt x="1003300" y="308350"/>
                  <a:pt x="1003300" y="308350"/>
                  <a:pt x="1003300" y="341601"/>
                </a:cubicBezTo>
                <a:cubicBezTo>
                  <a:pt x="1003300" y="345757"/>
                  <a:pt x="999140" y="345757"/>
                  <a:pt x="994979" y="349913"/>
                </a:cubicBezTo>
                <a:cubicBezTo>
                  <a:pt x="965857" y="349913"/>
                  <a:pt x="940895" y="370695"/>
                  <a:pt x="932574" y="374852"/>
                </a:cubicBezTo>
                <a:cubicBezTo>
                  <a:pt x="932574" y="374852"/>
                  <a:pt x="932574" y="374852"/>
                  <a:pt x="932574" y="520324"/>
                </a:cubicBezTo>
                <a:cubicBezTo>
                  <a:pt x="932574" y="524481"/>
                  <a:pt x="928414" y="528637"/>
                  <a:pt x="924254" y="528637"/>
                </a:cubicBezTo>
                <a:cubicBezTo>
                  <a:pt x="924254" y="528637"/>
                  <a:pt x="924254" y="528637"/>
                  <a:pt x="890971" y="528637"/>
                </a:cubicBezTo>
                <a:cubicBezTo>
                  <a:pt x="886810" y="528637"/>
                  <a:pt x="882650" y="524481"/>
                  <a:pt x="882650" y="520324"/>
                </a:cubicBezTo>
                <a:cubicBezTo>
                  <a:pt x="882650" y="520324"/>
                  <a:pt x="882650" y="520324"/>
                  <a:pt x="882650" y="312506"/>
                </a:cubicBezTo>
                <a:cubicBezTo>
                  <a:pt x="882650" y="304193"/>
                  <a:pt x="886810" y="304193"/>
                  <a:pt x="890971" y="304193"/>
                </a:cubicBezTo>
                <a:cubicBezTo>
                  <a:pt x="890971" y="304193"/>
                  <a:pt x="890971" y="304193"/>
                  <a:pt x="924254" y="304193"/>
                </a:cubicBezTo>
                <a:cubicBezTo>
                  <a:pt x="928414" y="304193"/>
                  <a:pt x="932574" y="304193"/>
                  <a:pt x="932574" y="312506"/>
                </a:cubicBezTo>
                <a:cubicBezTo>
                  <a:pt x="932574" y="312506"/>
                  <a:pt x="932574" y="312506"/>
                  <a:pt x="932574" y="324975"/>
                </a:cubicBezTo>
                <a:cubicBezTo>
                  <a:pt x="949216" y="316662"/>
                  <a:pt x="970017" y="300037"/>
                  <a:pt x="994979" y="300037"/>
                </a:cubicBezTo>
                <a:close/>
                <a:moveTo>
                  <a:pt x="750816" y="295274"/>
                </a:moveTo>
                <a:cubicBezTo>
                  <a:pt x="800606" y="295274"/>
                  <a:pt x="825501" y="320340"/>
                  <a:pt x="825501" y="374649"/>
                </a:cubicBezTo>
                <a:cubicBezTo>
                  <a:pt x="825501" y="525044"/>
                  <a:pt x="825501" y="525044"/>
                  <a:pt x="825501" y="525044"/>
                </a:cubicBezTo>
                <a:cubicBezTo>
                  <a:pt x="825501" y="525044"/>
                  <a:pt x="825501" y="529221"/>
                  <a:pt x="825501" y="529221"/>
                </a:cubicBezTo>
                <a:cubicBezTo>
                  <a:pt x="821352" y="533399"/>
                  <a:pt x="821352" y="533399"/>
                  <a:pt x="817203" y="533399"/>
                </a:cubicBezTo>
                <a:cubicBezTo>
                  <a:pt x="800606" y="529221"/>
                  <a:pt x="792308" y="525044"/>
                  <a:pt x="784010" y="516688"/>
                </a:cubicBezTo>
                <a:cubicBezTo>
                  <a:pt x="784010" y="516688"/>
                  <a:pt x="742518" y="533399"/>
                  <a:pt x="709325" y="533399"/>
                </a:cubicBezTo>
                <a:cubicBezTo>
                  <a:pt x="667833" y="533399"/>
                  <a:pt x="642938" y="508333"/>
                  <a:pt x="642938" y="462379"/>
                </a:cubicBezTo>
                <a:cubicBezTo>
                  <a:pt x="642938" y="416425"/>
                  <a:pt x="667833" y="395537"/>
                  <a:pt x="717623" y="391360"/>
                </a:cubicBezTo>
                <a:cubicBezTo>
                  <a:pt x="775711" y="387182"/>
                  <a:pt x="775711" y="387182"/>
                  <a:pt x="775711" y="387182"/>
                </a:cubicBezTo>
                <a:cubicBezTo>
                  <a:pt x="775711" y="374649"/>
                  <a:pt x="775711" y="374649"/>
                  <a:pt x="775711" y="374649"/>
                </a:cubicBezTo>
                <a:cubicBezTo>
                  <a:pt x="775711" y="357939"/>
                  <a:pt x="763264" y="345406"/>
                  <a:pt x="746667" y="345406"/>
                </a:cubicBezTo>
                <a:cubicBezTo>
                  <a:pt x="721772" y="345406"/>
                  <a:pt x="688579" y="349583"/>
                  <a:pt x="667833" y="349583"/>
                </a:cubicBezTo>
                <a:cubicBezTo>
                  <a:pt x="667833" y="349583"/>
                  <a:pt x="663684" y="349583"/>
                  <a:pt x="663684" y="349583"/>
                </a:cubicBezTo>
                <a:cubicBezTo>
                  <a:pt x="659535" y="345406"/>
                  <a:pt x="659535" y="345406"/>
                  <a:pt x="659535" y="341228"/>
                </a:cubicBezTo>
                <a:cubicBezTo>
                  <a:pt x="659535" y="311985"/>
                  <a:pt x="659535" y="311985"/>
                  <a:pt x="659535" y="311985"/>
                </a:cubicBezTo>
                <a:cubicBezTo>
                  <a:pt x="659535" y="307807"/>
                  <a:pt x="663684" y="303629"/>
                  <a:pt x="667833" y="303629"/>
                </a:cubicBezTo>
                <a:cubicBezTo>
                  <a:pt x="684430" y="303629"/>
                  <a:pt x="725921" y="295274"/>
                  <a:pt x="750816" y="295274"/>
                </a:cubicBezTo>
                <a:close/>
                <a:moveTo>
                  <a:pt x="354013" y="295273"/>
                </a:moveTo>
                <a:cubicBezTo>
                  <a:pt x="410125" y="295273"/>
                  <a:pt x="455613" y="348579"/>
                  <a:pt x="455613" y="414336"/>
                </a:cubicBezTo>
                <a:cubicBezTo>
                  <a:pt x="455613" y="480093"/>
                  <a:pt x="410125" y="533399"/>
                  <a:pt x="354013" y="533399"/>
                </a:cubicBezTo>
                <a:cubicBezTo>
                  <a:pt x="297901" y="533399"/>
                  <a:pt x="252413" y="480093"/>
                  <a:pt x="252413" y="414336"/>
                </a:cubicBezTo>
                <a:cubicBezTo>
                  <a:pt x="252413" y="348579"/>
                  <a:pt x="297901" y="295273"/>
                  <a:pt x="354013" y="295273"/>
                </a:cubicBezTo>
                <a:close/>
                <a:moveTo>
                  <a:pt x="53975" y="266699"/>
                </a:moveTo>
                <a:cubicBezTo>
                  <a:pt x="53975" y="358774"/>
                  <a:pt x="53975" y="358774"/>
                  <a:pt x="53975" y="358774"/>
                </a:cubicBezTo>
                <a:cubicBezTo>
                  <a:pt x="62207" y="358774"/>
                  <a:pt x="82785" y="358774"/>
                  <a:pt x="107480" y="358774"/>
                </a:cubicBezTo>
                <a:cubicBezTo>
                  <a:pt x="144521" y="358774"/>
                  <a:pt x="165100" y="342033"/>
                  <a:pt x="165100" y="312737"/>
                </a:cubicBezTo>
                <a:cubicBezTo>
                  <a:pt x="165100" y="291810"/>
                  <a:pt x="148637" y="266699"/>
                  <a:pt x="111595" y="266699"/>
                </a:cubicBezTo>
                <a:cubicBezTo>
                  <a:pt x="91017" y="266699"/>
                  <a:pt x="91017" y="266699"/>
                  <a:pt x="91017" y="266699"/>
                </a:cubicBezTo>
                <a:cubicBezTo>
                  <a:pt x="70438" y="266699"/>
                  <a:pt x="62207" y="266699"/>
                  <a:pt x="53975" y="266699"/>
                </a:cubicBezTo>
                <a:close/>
                <a:moveTo>
                  <a:pt x="546894" y="250824"/>
                </a:moveTo>
                <a:cubicBezTo>
                  <a:pt x="546894" y="250824"/>
                  <a:pt x="551050" y="250824"/>
                  <a:pt x="551050" y="250824"/>
                </a:cubicBezTo>
                <a:cubicBezTo>
                  <a:pt x="555205" y="254980"/>
                  <a:pt x="555205" y="254980"/>
                  <a:pt x="555205" y="259135"/>
                </a:cubicBezTo>
                <a:cubicBezTo>
                  <a:pt x="555205" y="304846"/>
                  <a:pt x="555205" y="304846"/>
                  <a:pt x="555205" y="304846"/>
                </a:cubicBezTo>
                <a:cubicBezTo>
                  <a:pt x="609227" y="304846"/>
                  <a:pt x="609227" y="304846"/>
                  <a:pt x="609227" y="304846"/>
                </a:cubicBezTo>
                <a:cubicBezTo>
                  <a:pt x="613383" y="304846"/>
                  <a:pt x="617538" y="304846"/>
                  <a:pt x="617538" y="313157"/>
                </a:cubicBezTo>
                <a:cubicBezTo>
                  <a:pt x="617538" y="342245"/>
                  <a:pt x="617538" y="342245"/>
                  <a:pt x="617538" y="342245"/>
                </a:cubicBezTo>
                <a:cubicBezTo>
                  <a:pt x="617538" y="346401"/>
                  <a:pt x="613383" y="350556"/>
                  <a:pt x="609227" y="350556"/>
                </a:cubicBezTo>
                <a:cubicBezTo>
                  <a:pt x="555205" y="350556"/>
                  <a:pt x="555205" y="350556"/>
                  <a:pt x="555205" y="350556"/>
                </a:cubicBezTo>
                <a:cubicBezTo>
                  <a:pt x="555205" y="441978"/>
                  <a:pt x="555205" y="441978"/>
                  <a:pt x="555205" y="441978"/>
                </a:cubicBezTo>
                <a:cubicBezTo>
                  <a:pt x="555205" y="475222"/>
                  <a:pt x="555205" y="483533"/>
                  <a:pt x="580138" y="483533"/>
                </a:cubicBezTo>
                <a:cubicBezTo>
                  <a:pt x="588449" y="483533"/>
                  <a:pt x="600916" y="483533"/>
                  <a:pt x="609227" y="483533"/>
                </a:cubicBezTo>
                <a:cubicBezTo>
                  <a:pt x="613383" y="483533"/>
                  <a:pt x="617538" y="487688"/>
                  <a:pt x="617538" y="491844"/>
                </a:cubicBezTo>
                <a:cubicBezTo>
                  <a:pt x="617538" y="520932"/>
                  <a:pt x="617538" y="520932"/>
                  <a:pt x="617538" y="520932"/>
                </a:cubicBezTo>
                <a:cubicBezTo>
                  <a:pt x="617538" y="525088"/>
                  <a:pt x="613383" y="529244"/>
                  <a:pt x="609227" y="529244"/>
                </a:cubicBezTo>
                <a:cubicBezTo>
                  <a:pt x="596760" y="529244"/>
                  <a:pt x="584294" y="533399"/>
                  <a:pt x="571827" y="533399"/>
                </a:cubicBezTo>
                <a:cubicBezTo>
                  <a:pt x="521961" y="533399"/>
                  <a:pt x="505339" y="512621"/>
                  <a:pt x="505339" y="450289"/>
                </a:cubicBezTo>
                <a:cubicBezTo>
                  <a:pt x="505339" y="350556"/>
                  <a:pt x="505339" y="350556"/>
                  <a:pt x="505339" y="350556"/>
                </a:cubicBezTo>
                <a:cubicBezTo>
                  <a:pt x="484561" y="350556"/>
                  <a:pt x="484561" y="350556"/>
                  <a:pt x="484561" y="350556"/>
                </a:cubicBezTo>
                <a:cubicBezTo>
                  <a:pt x="480406" y="350556"/>
                  <a:pt x="476250" y="346401"/>
                  <a:pt x="476250" y="342245"/>
                </a:cubicBezTo>
                <a:cubicBezTo>
                  <a:pt x="476250" y="313157"/>
                  <a:pt x="476250" y="313157"/>
                  <a:pt x="476250" y="313157"/>
                </a:cubicBezTo>
                <a:cubicBezTo>
                  <a:pt x="476250" y="304846"/>
                  <a:pt x="480406" y="304846"/>
                  <a:pt x="484561" y="304846"/>
                </a:cubicBezTo>
                <a:cubicBezTo>
                  <a:pt x="505339" y="304846"/>
                  <a:pt x="505339" y="304846"/>
                  <a:pt x="505339" y="304846"/>
                </a:cubicBezTo>
                <a:cubicBezTo>
                  <a:pt x="505339" y="267446"/>
                  <a:pt x="505339" y="267446"/>
                  <a:pt x="505339" y="267446"/>
                </a:cubicBezTo>
                <a:cubicBezTo>
                  <a:pt x="505339" y="263291"/>
                  <a:pt x="505339" y="259135"/>
                  <a:pt x="509494" y="259135"/>
                </a:cubicBezTo>
                <a:cubicBezTo>
                  <a:pt x="546894" y="250824"/>
                  <a:pt x="546894" y="250824"/>
                  <a:pt x="546894" y="250824"/>
                </a:cubicBezTo>
                <a:close/>
                <a:moveTo>
                  <a:pt x="103337" y="217487"/>
                </a:moveTo>
                <a:cubicBezTo>
                  <a:pt x="107471" y="217487"/>
                  <a:pt x="111604" y="217487"/>
                  <a:pt x="111604" y="217487"/>
                </a:cubicBezTo>
                <a:cubicBezTo>
                  <a:pt x="198408" y="217487"/>
                  <a:pt x="219075" y="267271"/>
                  <a:pt x="219075" y="312906"/>
                </a:cubicBezTo>
                <a:cubicBezTo>
                  <a:pt x="219075" y="350244"/>
                  <a:pt x="202541" y="375136"/>
                  <a:pt x="165340" y="391731"/>
                </a:cubicBezTo>
                <a:lnTo>
                  <a:pt x="219075" y="516191"/>
                </a:lnTo>
                <a:cubicBezTo>
                  <a:pt x="219075" y="520340"/>
                  <a:pt x="219075" y="520340"/>
                  <a:pt x="219075" y="524488"/>
                </a:cubicBezTo>
                <a:cubicBezTo>
                  <a:pt x="219075" y="524488"/>
                  <a:pt x="214942" y="528637"/>
                  <a:pt x="210808" y="528637"/>
                </a:cubicBezTo>
                <a:cubicBezTo>
                  <a:pt x="173607" y="528637"/>
                  <a:pt x="173607" y="528637"/>
                  <a:pt x="173607" y="528637"/>
                </a:cubicBezTo>
                <a:cubicBezTo>
                  <a:pt x="169473" y="528637"/>
                  <a:pt x="165340" y="524488"/>
                  <a:pt x="165340" y="524488"/>
                </a:cubicBezTo>
                <a:cubicBezTo>
                  <a:pt x="111604" y="408326"/>
                  <a:pt x="111604" y="408326"/>
                  <a:pt x="111604" y="408326"/>
                </a:cubicBezTo>
                <a:cubicBezTo>
                  <a:pt x="86803" y="408326"/>
                  <a:pt x="66136" y="408326"/>
                  <a:pt x="53736" y="404177"/>
                </a:cubicBezTo>
                <a:cubicBezTo>
                  <a:pt x="53736" y="520340"/>
                  <a:pt x="53736" y="520340"/>
                  <a:pt x="53736" y="520340"/>
                </a:cubicBezTo>
                <a:cubicBezTo>
                  <a:pt x="53736" y="524488"/>
                  <a:pt x="49602" y="528637"/>
                  <a:pt x="45469" y="528637"/>
                </a:cubicBezTo>
                <a:cubicBezTo>
                  <a:pt x="8267" y="528637"/>
                  <a:pt x="8267" y="528637"/>
                  <a:pt x="8267" y="528637"/>
                </a:cubicBezTo>
                <a:cubicBezTo>
                  <a:pt x="4134" y="528637"/>
                  <a:pt x="0" y="524488"/>
                  <a:pt x="0" y="520340"/>
                </a:cubicBezTo>
                <a:cubicBezTo>
                  <a:pt x="0" y="229933"/>
                  <a:pt x="0" y="229933"/>
                  <a:pt x="0" y="229933"/>
                </a:cubicBezTo>
                <a:cubicBezTo>
                  <a:pt x="0" y="225784"/>
                  <a:pt x="4134" y="221636"/>
                  <a:pt x="8267" y="221636"/>
                </a:cubicBezTo>
                <a:cubicBezTo>
                  <a:pt x="53736" y="217487"/>
                  <a:pt x="90937" y="217487"/>
                  <a:pt x="103337" y="217487"/>
                </a:cubicBezTo>
                <a:close/>
                <a:moveTo>
                  <a:pt x="1941299" y="180951"/>
                </a:moveTo>
                <a:cubicBezTo>
                  <a:pt x="1938725" y="180430"/>
                  <a:pt x="1936665" y="181472"/>
                  <a:pt x="1936665" y="183555"/>
                </a:cubicBezTo>
                <a:cubicBezTo>
                  <a:pt x="1903714" y="221060"/>
                  <a:pt x="1903714" y="221060"/>
                  <a:pt x="1903714" y="221060"/>
                </a:cubicBezTo>
                <a:cubicBezTo>
                  <a:pt x="1895476" y="225227"/>
                  <a:pt x="1895476" y="233562"/>
                  <a:pt x="1903714" y="237729"/>
                </a:cubicBezTo>
                <a:cubicBezTo>
                  <a:pt x="1953141" y="291902"/>
                  <a:pt x="1973736" y="362745"/>
                  <a:pt x="1957260" y="450256"/>
                </a:cubicBezTo>
                <a:cubicBezTo>
                  <a:pt x="1957260" y="458590"/>
                  <a:pt x="1961379" y="462757"/>
                  <a:pt x="1965498" y="462757"/>
                </a:cubicBezTo>
                <a:cubicBezTo>
                  <a:pt x="2010806" y="475259"/>
                  <a:pt x="2010806" y="475259"/>
                  <a:pt x="2010806" y="475259"/>
                </a:cubicBezTo>
                <a:cubicBezTo>
                  <a:pt x="2019044" y="479426"/>
                  <a:pt x="2023163" y="475259"/>
                  <a:pt x="2023163" y="471092"/>
                </a:cubicBezTo>
                <a:cubicBezTo>
                  <a:pt x="2047876" y="362745"/>
                  <a:pt x="2014925" y="254398"/>
                  <a:pt x="1949022" y="187722"/>
                </a:cubicBezTo>
                <a:cubicBezTo>
                  <a:pt x="1946963" y="183555"/>
                  <a:pt x="1943873" y="181472"/>
                  <a:pt x="1941299" y="180951"/>
                </a:cubicBezTo>
                <a:close/>
                <a:moveTo>
                  <a:pt x="1491989" y="180951"/>
                </a:moveTo>
                <a:cubicBezTo>
                  <a:pt x="1489388" y="181472"/>
                  <a:pt x="1486266" y="183555"/>
                  <a:pt x="1484185" y="187722"/>
                </a:cubicBezTo>
                <a:cubicBezTo>
                  <a:pt x="1417596" y="254398"/>
                  <a:pt x="1384301" y="362745"/>
                  <a:pt x="1409272" y="471092"/>
                </a:cubicBezTo>
                <a:cubicBezTo>
                  <a:pt x="1409272" y="475259"/>
                  <a:pt x="1413434" y="479426"/>
                  <a:pt x="1421758" y="475259"/>
                </a:cubicBezTo>
                <a:cubicBezTo>
                  <a:pt x="1467538" y="462757"/>
                  <a:pt x="1467538" y="462757"/>
                  <a:pt x="1467538" y="462757"/>
                </a:cubicBezTo>
                <a:cubicBezTo>
                  <a:pt x="1471700" y="462757"/>
                  <a:pt x="1475862" y="458590"/>
                  <a:pt x="1475862" y="450256"/>
                </a:cubicBezTo>
                <a:cubicBezTo>
                  <a:pt x="1459214" y="362745"/>
                  <a:pt x="1480023" y="291902"/>
                  <a:pt x="1529965" y="237729"/>
                </a:cubicBezTo>
                <a:cubicBezTo>
                  <a:pt x="1538289" y="233562"/>
                  <a:pt x="1538289" y="225227"/>
                  <a:pt x="1534127" y="221060"/>
                </a:cubicBezTo>
                <a:cubicBezTo>
                  <a:pt x="1496671" y="183555"/>
                  <a:pt x="1496671" y="183555"/>
                  <a:pt x="1496671" y="183555"/>
                </a:cubicBezTo>
                <a:cubicBezTo>
                  <a:pt x="1496671" y="181472"/>
                  <a:pt x="1494590" y="180430"/>
                  <a:pt x="1491989" y="180951"/>
                </a:cubicBezTo>
                <a:close/>
                <a:moveTo>
                  <a:pt x="1750379" y="174625"/>
                </a:moveTo>
                <a:cubicBezTo>
                  <a:pt x="1746251" y="178798"/>
                  <a:pt x="1746251" y="182971"/>
                  <a:pt x="1746251" y="187144"/>
                </a:cubicBezTo>
                <a:cubicBezTo>
                  <a:pt x="1754506" y="308156"/>
                  <a:pt x="1754506" y="308156"/>
                  <a:pt x="1754506" y="308156"/>
                </a:cubicBezTo>
                <a:cubicBezTo>
                  <a:pt x="1758634" y="312329"/>
                  <a:pt x="1758634" y="316502"/>
                  <a:pt x="1762761" y="320675"/>
                </a:cubicBezTo>
                <a:cubicBezTo>
                  <a:pt x="1766889" y="320675"/>
                  <a:pt x="1771016" y="320675"/>
                  <a:pt x="1775144" y="320675"/>
                </a:cubicBezTo>
                <a:cubicBezTo>
                  <a:pt x="1882459" y="266428"/>
                  <a:pt x="1882459" y="266428"/>
                  <a:pt x="1882459" y="266428"/>
                </a:cubicBezTo>
                <a:cubicBezTo>
                  <a:pt x="1886587" y="262255"/>
                  <a:pt x="1890714" y="262255"/>
                  <a:pt x="1890714" y="258082"/>
                </a:cubicBezTo>
                <a:cubicBezTo>
                  <a:pt x="1890714" y="253909"/>
                  <a:pt x="1890714" y="253909"/>
                  <a:pt x="1886587" y="249736"/>
                </a:cubicBezTo>
                <a:cubicBezTo>
                  <a:pt x="1849439" y="208008"/>
                  <a:pt x="1812291" y="187144"/>
                  <a:pt x="1758634" y="174625"/>
                </a:cubicBezTo>
                <a:cubicBezTo>
                  <a:pt x="1754506" y="174625"/>
                  <a:pt x="1754506" y="174625"/>
                  <a:pt x="1750379" y="174625"/>
                </a:cubicBezTo>
                <a:close/>
                <a:moveTo>
                  <a:pt x="1675132" y="174625"/>
                </a:moveTo>
                <a:cubicBezTo>
                  <a:pt x="1621474" y="187144"/>
                  <a:pt x="1584326" y="212181"/>
                  <a:pt x="1547179" y="249736"/>
                </a:cubicBezTo>
                <a:cubicBezTo>
                  <a:pt x="1543051" y="253909"/>
                  <a:pt x="1543051" y="258082"/>
                  <a:pt x="1543051" y="258082"/>
                </a:cubicBezTo>
                <a:cubicBezTo>
                  <a:pt x="1543051" y="262255"/>
                  <a:pt x="1547179" y="266428"/>
                  <a:pt x="1551306" y="266428"/>
                </a:cubicBezTo>
                <a:cubicBezTo>
                  <a:pt x="1658622" y="320675"/>
                  <a:pt x="1658622" y="320675"/>
                  <a:pt x="1658622" y="320675"/>
                </a:cubicBezTo>
                <a:cubicBezTo>
                  <a:pt x="1662749" y="320675"/>
                  <a:pt x="1666877" y="320675"/>
                  <a:pt x="1671004" y="320675"/>
                </a:cubicBezTo>
                <a:cubicBezTo>
                  <a:pt x="1675132" y="320675"/>
                  <a:pt x="1675132" y="316502"/>
                  <a:pt x="1675132" y="312329"/>
                </a:cubicBezTo>
                <a:cubicBezTo>
                  <a:pt x="1687514" y="187144"/>
                  <a:pt x="1687514" y="187144"/>
                  <a:pt x="1687514" y="187144"/>
                </a:cubicBezTo>
                <a:cubicBezTo>
                  <a:pt x="1687514" y="182971"/>
                  <a:pt x="1683387" y="178798"/>
                  <a:pt x="1683387" y="174625"/>
                </a:cubicBezTo>
                <a:cubicBezTo>
                  <a:pt x="1679259" y="174625"/>
                  <a:pt x="1679259" y="174625"/>
                  <a:pt x="1675132" y="174625"/>
                </a:cubicBezTo>
                <a:close/>
                <a:moveTo>
                  <a:pt x="1579247" y="133350"/>
                </a:moveTo>
                <a:cubicBezTo>
                  <a:pt x="1575119" y="137716"/>
                  <a:pt x="1570992" y="137716"/>
                  <a:pt x="1566864" y="142082"/>
                </a:cubicBezTo>
                <a:cubicBezTo>
                  <a:pt x="1570992" y="142082"/>
                  <a:pt x="1570992" y="142082"/>
                  <a:pt x="1570992" y="142082"/>
                </a:cubicBezTo>
                <a:cubicBezTo>
                  <a:pt x="1575119" y="150813"/>
                  <a:pt x="1575119" y="150813"/>
                  <a:pt x="1575119" y="150813"/>
                </a:cubicBezTo>
                <a:cubicBezTo>
                  <a:pt x="1583375" y="146447"/>
                  <a:pt x="1583375" y="146447"/>
                  <a:pt x="1583375" y="146447"/>
                </a:cubicBezTo>
                <a:cubicBezTo>
                  <a:pt x="1587502" y="146447"/>
                  <a:pt x="1587502" y="146447"/>
                  <a:pt x="1587502" y="142082"/>
                </a:cubicBezTo>
                <a:cubicBezTo>
                  <a:pt x="1587502" y="137716"/>
                  <a:pt x="1583375" y="133350"/>
                  <a:pt x="1579247" y="133350"/>
                </a:cubicBezTo>
                <a:close/>
                <a:moveTo>
                  <a:pt x="1575142" y="124846"/>
                </a:moveTo>
                <a:cubicBezTo>
                  <a:pt x="1587729" y="120650"/>
                  <a:pt x="1600315" y="133237"/>
                  <a:pt x="1596120" y="141628"/>
                </a:cubicBezTo>
                <a:cubicBezTo>
                  <a:pt x="1596120" y="145823"/>
                  <a:pt x="1596120" y="145823"/>
                  <a:pt x="1596120" y="145823"/>
                </a:cubicBezTo>
                <a:cubicBezTo>
                  <a:pt x="1612902" y="162606"/>
                  <a:pt x="1612902" y="162606"/>
                  <a:pt x="1612902" y="162606"/>
                </a:cubicBezTo>
                <a:cubicBezTo>
                  <a:pt x="1608707" y="162606"/>
                  <a:pt x="1608707" y="162606"/>
                  <a:pt x="1604511" y="166801"/>
                </a:cubicBezTo>
                <a:cubicBezTo>
                  <a:pt x="1587729" y="154215"/>
                  <a:pt x="1587729" y="154215"/>
                  <a:pt x="1587729" y="154215"/>
                </a:cubicBezTo>
                <a:cubicBezTo>
                  <a:pt x="1579338" y="158410"/>
                  <a:pt x="1579338" y="158410"/>
                  <a:pt x="1579338" y="158410"/>
                </a:cubicBezTo>
                <a:cubicBezTo>
                  <a:pt x="1587729" y="175192"/>
                  <a:pt x="1587729" y="175192"/>
                  <a:pt x="1587729" y="175192"/>
                </a:cubicBezTo>
                <a:cubicBezTo>
                  <a:pt x="1583533" y="175192"/>
                  <a:pt x="1583533" y="179388"/>
                  <a:pt x="1579338" y="179388"/>
                </a:cubicBezTo>
                <a:lnTo>
                  <a:pt x="1558360" y="141628"/>
                </a:lnTo>
                <a:cubicBezTo>
                  <a:pt x="1554164" y="137432"/>
                  <a:pt x="1554164" y="137432"/>
                  <a:pt x="1554164" y="137432"/>
                </a:cubicBezTo>
                <a:cubicBezTo>
                  <a:pt x="1562555" y="133237"/>
                  <a:pt x="1570946" y="129041"/>
                  <a:pt x="1575142" y="124846"/>
                </a:cubicBezTo>
                <a:close/>
                <a:moveTo>
                  <a:pt x="1836161" y="117475"/>
                </a:moveTo>
                <a:cubicBezTo>
                  <a:pt x="1840347" y="117475"/>
                  <a:pt x="1840347" y="117475"/>
                  <a:pt x="1844532" y="121557"/>
                </a:cubicBezTo>
                <a:cubicBezTo>
                  <a:pt x="1844532" y="121557"/>
                  <a:pt x="1844532" y="121557"/>
                  <a:pt x="1848717" y="141968"/>
                </a:cubicBezTo>
                <a:cubicBezTo>
                  <a:pt x="1848717" y="141968"/>
                  <a:pt x="1848717" y="141968"/>
                  <a:pt x="1869644" y="133804"/>
                </a:cubicBezTo>
                <a:cubicBezTo>
                  <a:pt x="1873829" y="133804"/>
                  <a:pt x="1878014" y="137886"/>
                  <a:pt x="1878014" y="137886"/>
                </a:cubicBezTo>
                <a:cubicBezTo>
                  <a:pt x="1878014" y="137886"/>
                  <a:pt x="1878014" y="137886"/>
                  <a:pt x="1848717" y="154214"/>
                </a:cubicBezTo>
                <a:cubicBezTo>
                  <a:pt x="1848717" y="154214"/>
                  <a:pt x="1848717" y="154214"/>
                  <a:pt x="1840347" y="174625"/>
                </a:cubicBezTo>
                <a:lnTo>
                  <a:pt x="1831976" y="166461"/>
                </a:lnTo>
                <a:cubicBezTo>
                  <a:pt x="1831976" y="166461"/>
                  <a:pt x="1831976" y="166461"/>
                  <a:pt x="1840347" y="146050"/>
                </a:cubicBezTo>
                <a:cubicBezTo>
                  <a:pt x="1840347" y="146050"/>
                  <a:pt x="1840347" y="146050"/>
                  <a:pt x="1836161" y="117475"/>
                </a:cubicBezTo>
                <a:close/>
                <a:moveTo>
                  <a:pt x="1794829" y="112713"/>
                </a:moveTo>
                <a:cubicBezTo>
                  <a:pt x="1790701" y="120651"/>
                  <a:pt x="1790701" y="120651"/>
                  <a:pt x="1790701" y="120651"/>
                </a:cubicBezTo>
                <a:lnTo>
                  <a:pt x="1790701" y="124619"/>
                </a:lnTo>
                <a:cubicBezTo>
                  <a:pt x="1803084" y="128588"/>
                  <a:pt x="1803084" y="128588"/>
                  <a:pt x="1803084" y="128588"/>
                </a:cubicBezTo>
                <a:cubicBezTo>
                  <a:pt x="1807212" y="128588"/>
                  <a:pt x="1811339" y="124619"/>
                  <a:pt x="1811339" y="120651"/>
                </a:cubicBezTo>
                <a:cubicBezTo>
                  <a:pt x="1811339" y="116682"/>
                  <a:pt x="1807212" y="116682"/>
                  <a:pt x="1807212" y="116682"/>
                </a:cubicBezTo>
                <a:cubicBezTo>
                  <a:pt x="1803084" y="112713"/>
                  <a:pt x="1798956" y="112713"/>
                  <a:pt x="1794829" y="112713"/>
                </a:cubicBezTo>
                <a:close/>
                <a:moveTo>
                  <a:pt x="1637508" y="112117"/>
                </a:moveTo>
                <a:cubicBezTo>
                  <a:pt x="1629174" y="112117"/>
                  <a:pt x="1620839" y="116285"/>
                  <a:pt x="1620839" y="124619"/>
                </a:cubicBezTo>
                <a:cubicBezTo>
                  <a:pt x="1620839" y="128786"/>
                  <a:pt x="1620839" y="128786"/>
                  <a:pt x="1620839" y="128786"/>
                </a:cubicBezTo>
                <a:cubicBezTo>
                  <a:pt x="1620839" y="137121"/>
                  <a:pt x="1629174" y="141288"/>
                  <a:pt x="1637508" y="141288"/>
                </a:cubicBezTo>
                <a:cubicBezTo>
                  <a:pt x="1645843" y="141288"/>
                  <a:pt x="1654177" y="132954"/>
                  <a:pt x="1654177" y="124619"/>
                </a:cubicBezTo>
                <a:cubicBezTo>
                  <a:pt x="1654177" y="116285"/>
                  <a:pt x="1645843" y="107950"/>
                  <a:pt x="1637508" y="112117"/>
                </a:cubicBezTo>
                <a:close/>
                <a:moveTo>
                  <a:pt x="1741489" y="104775"/>
                </a:moveTo>
                <a:cubicBezTo>
                  <a:pt x="1737520" y="117158"/>
                  <a:pt x="1737520" y="117158"/>
                  <a:pt x="1737520" y="117158"/>
                </a:cubicBezTo>
                <a:lnTo>
                  <a:pt x="1733551" y="125413"/>
                </a:lnTo>
                <a:cubicBezTo>
                  <a:pt x="1737520" y="125413"/>
                  <a:pt x="1745457" y="125413"/>
                  <a:pt x="1749426" y="125413"/>
                </a:cubicBezTo>
                <a:cubicBezTo>
                  <a:pt x="1745457" y="117158"/>
                  <a:pt x="1745457" y="117158"/>
                  <a:pt x="1745457" y="117158"/>
                </a:cubicBezTo>
                <a:cubicBezTo>
                  <a:pt x="1741489" y="104775"/>
                  <a:pt x="1741489" y="104775"/>
                  <a:pt x="1741489" y="104775"/>
                </a:cubicBezTo>
                <a:close/>
                <a:moveTo>
                  <a:pt x="1633407" y="104165"/>
                </a:moveTo>
                <a:cubicBezTo>
                  <a:pt x="1649811" y="100013"/>
                  <a:pt x="1662114" y="112469"/>
                  <a:pt x="1662114" y="124925"/>
                </a:cubicBezTo>
                <a:cubicBezTo>
                  <a:pt x="1662114" y="141532"/>
                  <a:pt x="1653912" y="149836"/>
                  <a:pt x="1637508" y="149836"/>
                </a:cubicBezTo>
                <a:cubicBezTo>
                  <a:pt x="1625204" y="153988"/>
                  <a:pt x="1612901" y="141532"/>
                  <a:pt x="1612901" y="129076"/>
                </a:cubicBezTo>
                <a:cubicBezTo>
                  <a:pt x="1612901" y="129076"/>
                  <a:pt x="1612901" y="129076"/>
                  <a:pt x="1612901" y="124925"/>
                </a:cubicBezTo>
                <a:cubicBezTo>
                  <a:pt x="1612901" y="112469"/>
                  <a:pt x="1621103" y="104165"/>
                  <a:pt x="1633407" y="104165"/>
                </a:cubicBezTo>
                <a:close/>
                <a:moveTo>
                  <a:pt x="1787382" y="100013"/>
                </a:moveTo>
                <a:cubicBezTo>
                  <a:pt x="1795752" y="100013"/>
                  <a:pt x="1804123" y="104209"/>
                  <a:pt x="1812494" y="108404"/>
                </a:cubicBezTo>
                <a:cubicBezTo>
                  <a:pt x="1816679" y="108404"/>
                  <a:pt x="1820864" y="112600"/>
                  <a:pt x="1820864" y="120991"/>
                </a:cubicBezTo>
                <a:cubicBezTo>
                  <a:pt x="1820864" y="125186"/>
                  <a:pt x="1816679" y="133578"/>
                  <a:pt x="1808308" y="137773"/>
                </a:cubicBezTo>
                <a:cubicBezTo>
                  <a:pt x="1812494" y="158751"/>
                  <a:pt x="1812494" y="158751"/>
                  <a:pt x="1812494" y="158751"/>
                </a:cubicBezTo>
                <a:cubicBezTo>
                  <a:pt x="1808308" y="158751"/>
                  <a:pt x="1808308" y="158751"/>
                  <a:pt x="1804123" y="154555"/>
                </a:cubicBezTo>
                <a:cubicBezTo>
                  <a:pt x="1799938" y="133578"/>
                  <a:pt x="1799938" y="133578"/>
                  <a:pt x="1799938" y="133578"/>
                </a:cubicBezTo>
                <a:cubicBezTo>
                  <a:pt x="1791567" y="133578"/>
                  <a:pt x="1791567" y="133578"/>
                  <a:pt x="1791567" y="133578"/>
                </a:cubicBezTo>
                <a:lnTo>
                  <a:pt x="1787382" y="150360"/>
                </a:lnTo>
                <a:cubicBezTo>
                  <a:pt x="1783197" y="150360"/>
                  <a:pt x="1779011" y="150360"/>
                  <a:pt x="1774826" y="146164"/>
                </a:cubicBezTo>
                <a:cubicBezTo>
                  <a:pt x="1783197" y="120991"/>
                  <a:pt x="1783197" y="120991"/>
                  <a:pt x="1783197" y="120991"/>
                </a:cubicBezTo>
                <a:cubicBezTo>
                  <a:pt x="1787382" y="100013"/>
                  <a:pt x="1787382" y="100013"/>
                  <a:pt x="1787382" y="100013"/>
                </a:cubicBezTo>
                <a:close/>
                <a:moveTo>
                  <a:pt x="1737015" y="92075"/>
                </a:moveTo>
                <a:cubicBezTo>
                  <a:pt x="1749571" y="92075"/>
                  <a:pt x="1749571" y="92075"/>
                  <a:pt x="1749571" y="92075"/>
                </a:cubicBezTo>
                <a:cubicBezTo>
                  <a:pt x="1753757" y="116987"/>
                  <a:pt x="1753757" y="116987"/>
                  <a:pt x="1753757" y="116987"/>
                </a:cubicBezTo>
                <a:cubicBezTo>
                  <a:pt x="1762127" y="146050"/>
                  <a:pt x="1762127" y="146050"/>
                  <a:pt x="1762127" y="146050"/>
                </a:cubicBezTo>
                <a:cubicBezTo>
                  <a:pt x="1757942" y="146050"/>
                  <a:pt x="1757942" y="141898"/>
                  <a:pt x="1753757" y="141898"/>
                </a:cubicBezTo>
                <a:cubicBezTo>
                  <a:pt x="1749571" y="133594"/>
                  <a:pt x="1749571" y="133594"/>
                  <a:pt x="1749571" y="133594"/>
                </a:cubicBezTo>
                <a:cubicBezTo>
                  <a:pt x="1741201" y="133594"/>
                  <a:pt x="1737015" y="133594"/>
                  <a:pt x="1728645" y="133594"/>
                </a:cubicBezTo>
                <a:lnTo>
                  <a:pt x="1724460" y="141898"/>
                </a:lnTo>
                <a:cubicBezTo>
                  <a:pt x="1720274" y="141898"/>
                  <a:pt x="1720274" y="141898"/>
                  <a:pt x="1716089" y="141898"/>
                </a:cubicBezTo>
                <a:cubicBezTo>
                  <a:pt x="1728645" y="116987"/>
                  <a:pt x="1728645" y="116987"/>
                  <a:pt x="1728645" y="116987"/>
                </a:cubicBezTo>
                <a:cubicBezTo>
                  <a:pt x="1737015" y="92075"/>
                  <a:pt x="1737015" y="92075"/>
                  <a:pt x="1737015" y="92075"/>
                </a:cubicBezTo>
                <a:close/>
                <a:moveTo>
                  <a:pt x="1712914" y="92075"/>
                </a:moveTo>
                <a:cubicBezTo>
                  <a:pt x="1712914" y="92075"/>
                  <a:pt x="1712914" y="92075"/>
                  <a:pt x="1712914" y="100277"/>
                </a:cubicBezTo>
                <a:cubicBezTo>
                  <a:pt x="1712914" y="100277"/>
                  <a:pt x="1712914" y="100277"/>
                  <a:pt x="1696173" y="100277"/>
                </a:cubicBezTo>
                <a:cubicBezTo>
                  <a:pt x="1696173" y="100277"/>
                  <a:pt x="1696173" y="100277"/>
                  <a:pt x="1700358" y="141288"/>
                </a:cubicBezTo>
                <a:cubicBezTo>
                  <a:pt x="1700358" y="141288"/>
                  <a:pt x="1700358" y="141288"/>
                  <a:pt x="1687802" y="141288"/>
                </a:cubicBezTo>
                <a:cubicBezTo>
                  <a:pt x="1687802" y="141288"/>
                  <a:pt x="1687802" y="141288"/>
                  <a:pt x="1683617" y="100277"/>
                </a:cubicBezTo>
                <a:lnTo>
                  <a:pt x="1666876" y="104378"/>
                </a:lnTo>
                <a:cubicBezTo>
                  <a:pt x="1666876" y="104378"/>
                  <a:pt x="1666876" y="104378"/>
                  <a:pt x="1666876" y="96176"/>
                </a:cubicBezTo>
                <a:cubicBezTo>
                  <a:pt x="1683617" y="92075"/>
                  <a:pt x="1691988" y="92075"/>
                  <a:pt x="1712914" y="92075"/>
                </a:cubicBezTo>
                <a:close/>
                <a:moveTo>
                  <a:pt x="1181630" y="92074"/>
                </a:moveTo>
                <a:cubicBezTo>
                  <a:pt x="1160463" y="92074"/>
                  <a:pt x="1147763" y="112712"/>
                  <a:pt x="1147763" y="133349"/>
                </a:cubicBezTo>
                <a:lnTo>
                  <a:pt x="1211263" y="133349"/>
                </a:lnTo>
                <a:cubicBezTo>
                  <a:pt x="1211263" y="112712"/>
                  <a:pt x="1202796" y="92074"/>
                  <a:pt x="1181630" y="92074"/>
                </a:cubicBezTo>
                <a:close/>
                <a:moveTo>
                  <a:pt x="1716089" y="84138"/>
                </a:moveTo>
                <a:cubicBezTo>
                  <a:pt x="1641444" y="84138"/>
                  <a:pt x="1575093" y="108903"/>
                  <a:pt x="1521183" y="150178"/>
                </a:cubicBezTo>
                <a:cubicBezTo>
                  <a:pt x="1512889" y="158433"/>
                  <a:pt x="1512889" y="162561"/>
                  <a:pt x="1517036" y="166688"/>
                </a:cubicBezTo>
                <a:cubicBezTo>
                  <a:pt x="1550212" y="203836"/>
                  <a:pt x="1550212" y="203836"/>
                  <a:pt x="1550212" y="203836"/>
                </a:cubicBezTo>
                <a:cubicBezTo>
                  <a:pt x="1554359" y="207963"/>
                  <a:pt x="1558505" y="207963"/>
                  <a:pt x="1566799" y="203836"/>
                </a:cubicBezTo>
                <a:cubicBezTo>
                  <a:pt x="1608269" y="170816"/>
                  <a:pt x="1658032" y="150178"/>
                  <a:pt x="1716089" y="150178"/>
                </a:cubicBezTo>
                <a:cubicBezTo>
                  <a:pt x="1769999" y="150178"/>
                  <a:pt x="1823910" y="170816"/>
                  <a:pt x="1865379" y="203836"/>
                </a:cubicBezTo>
                <a:cubicBezTo>
                  <a:pt x="1873673" y="207963"/>
                  <a:pt x="1877820" y="207963"/>
                  <a:pt x="1881967" y="203836"/>
                </a:cubicBezTo>
                <a:cubicBezTo>
                  <a:pt x="1915142" y="166688"/>
                  <a:pt x="1915142" y="166688"/>
                  <a:pt x="1915142" y="166688"/>
                </a:cubicBezTo>
                <a:cubicBezTo>
                  <a:pt x="1919289" y="162561"/>
                  <a:pt x="1919289" y="158433"/>
                  <a:pt x="1910995" y="150178"/>
                </a:cubicBezTo>
                <a:cubicBezTo>
                  <a:pt x="1857085" y="108903"/>
                  <a:pt x="1790734" y="84138"/>
                  <a:pt x="1716089" y="84138"/>
                </a:cubicBezTo>
                <a:close/>
                <a:moveTo>
                  <a:pt x="1181894" y="84137"/>
                </a:moveTo>
                <a:cubicBezTo>
                  <a:pt x="1214799" y="84137"/>
                  <a:pt x="1227138" y="108970"/>
                  <a:pt x="1227138" y="137942"/>
                </a:cubicBezTo>
                <a:cubicBezTo>
                  <a:pt x="1227138" y="146220"/>
                  <a:pt x="1227138" y="146220"/>
                  <a:pt x="1227138" y="146220"/>
                </a:cubicBezTo>
                <a:cubicBezTo>
                  <a:pt x="1148989" y="146220"/>
                  <a:pt x="1148989" y="146220"/>
                  <a:pt x="1148989" y="146220"/>
                </a:cubicBezTo>
                <a:cubicBezTo>
                  <a:pt x="1148989" y="166914"/>
                  <a:pt x="1161329" y="187608"/>
                  <a:pt x="1186007" y="187608"/>
                </a:cubicBezTo>
                <a:cubicBezTo>
                  <a:pt x="1198346" y="187608"/>
                  <a:pt x="1210686" y="183470"/>
                  <a:pt x="1218912" y="179331"/>
                </a:cubicBezTo>
                <a:lnTo>
                  <a:pt x="1218912" y="191747"/>
                </a:lnTo>
                <a:cubicBezTo>
                  <a:pt x="1210686" y="195886"/>
                  <a:pt x="1194233" y="200025"/>
                  <a:pt x="1186007" y="200025"/>
                </a:cubicBezTo>
                <a:cubicBezTo>
                  <a:pt x="1148989" y="200025"/>
                  <a:pt x="1136650" y="175192"/>
                  <a:pt x="1136650" y="142081"/>
                </a:cubicBezTo>
                <a:cubicBezTo>
                  <a:pt x="1136650" y="104831"/>
                  <a:pt x="1153102" y="84137"/>
                  <a:pt x="1181894" y="84137"/>
                </a:cubicBezTo>
                <a:close/>
                <a:moveTo>
                  <a:pt x="887413" y="41274"/>
                </a:moveTo>
                <a:lnTo>
                  <a:pt x="995363" y="41274"/>
                </a:lnTo>
                <a:lnTo>
                  <a:pt x="995363" y="53974"/>
                </a:lnTo>
                <a:lnTo>
                  <a:pt x="949326" y="53974"/>
                </a:lnTo>
                <a:lnTo>
                  <a:pt x="949326" y="195262"/>
                </a:lnTo>
                <a:lnTo>
                  <a:pt x="933451" y="195262"/>
                </a:lnTo>
                <a:lnTo>
                  <a:pt x="933451" y="53974"/>
                </a:lnTo>
                <a:lnTo>
                  <a:pt x="887413" y="53974"/>
                </a:lnTo>
                <a:close/>
                <a:moveTo>
                  <a:pt x="1020763" y="28574"/>
                </a:moveTo>
                <a:cubicBezTo>
                  <a:pt x="1033010" y="28574"/>
                  <a:pt x="1033010" y="28574"/>
                  <a:pt x="1033010" y="28574"/>
                </a:cubicBezTo>
                <a:cubicBezTo>
                  <a:pt x="1033010" y="103584"/>
                  <a:pt x="1033010" y="103584"/>
                  <a:pt x="1033010" y="103584"/>
                </a:cubicBezTo>
                <a:cubicBezTo>
                  <a:pt x="1041174" y="91082"/>
                  <a:pt x="1053420" y="82748"/>
                  <a:pt x="1069749" y="82748"/>
                </a:cubicBezTo>
                <a:cubicBezTo>
                  <a:pt x="1098324" y="82748"/>
                  <a:pt x="1106488" y="99416"/>
                  <a:pt x="1106488" y="128587"/>
                </a:cubicBezTo>
                <a:cubicBezTo>
                  <a:pt x="1106488" y="195262"/>
                  <a:pt x="1106488" y="195262"/>
                  <a:pt x="1106488" y="195262"/>
                </a:cubicBezTo>
                <a:cubicBezTo>
                  <a:pt x="1090160" y="195262"/>
                  <a:pt x="1090160" y="195262"/>
                  <a:pt x="1090160" y="195262"/>
                </a:cubicBezTo>
                <a:cubicBezTo>
                  <a:pt x="1090160" y="128587"/>
                  <a:pt x="1090160" y="128587"/>
                  <a:pt x="1090160" y="128587"/>
                </a:cubicBezTo>
                <a:cubicBezTo>
                  <a:pt x="1090160" y="107751"/>
                  <a:pt x="1090160" y="91082"/>
                  <a:pt x="1065667" y="91082"/>
                </a:cubicBezTo>
                <a:cubicBezTo>
                  <a:pt x="1041174" y="91082"/>
                  <a:pt x="1033010" y="116085"/>
                  <a:pt x="1033010" y="136921"/>
                </a:cubicBezTo>
                <a:cubicBezTo>
                  <a:pt x="1033010" y="195262"/>
                  <a:pt x="1033010" y="195262"/>
                  <a:pt x="1033010" y="195262"/>
                </a:cubicBezTo>
                <a:cubicBezTo>
                  <a:pt x="1020763" y="195262"/>
                  <a:pt x="1020763" y="195262"/>
                  <a:pt x="1020763" y="195262"/>
                </a:cubicBezTo>
                <a:close/>
                <a:moveTo>
                  <a:pt x="1704456" y="0"/>
                </a:moveTo>
                <a:cubicBezTo>
                  <a:pt x="1712741" y="0"/>
                  <a:pt x="1721026" y="0"/>
                  <a:pt x="1729310" y="0"/>
                </a:cubicBezTo>
                <a:cubicBezTo>
                  <a:pt x="1741737" y="20820"/>
                  <a:pt x="1745880" y="41641"/>
                  <a:pt x="1745880" y="62461"/>
                </a:cubicBezTo>
                <a:cubicBezTo>
                  <a:pt x="1750022" y="62461"/>
                  <a:pt x="1770734" y="66625"/>
                  <a:pt x="1774877" y="66625"/>
                </a:cubicBezTo>
                <a:cubicBezTo>
                  <a:pt x="1779019" y="45805"/>
                  <a:pt x="1791446" y="24984"/>
                  <a:pt x="1803873" y="12492"/>
                </a:cubicBezTo>
                <a:cubicBezTo>
                  <a:pt x="1808016" y="12492"/>
                  <a:pt x="1808016" y="12492"/>
                  <a:pt x="1808016" y="12492"/>
                </a:cubicBezTo>
                <a:cubicBezTo>
                  <a:pt x="1816300" y="12492"/>
                  <a:pt x="1824585" y="16656"/>
                  <a:pt x="1832870" y="16656"/>
                </a:cubicBezTo>
                <a:cubicBezTo>
                  <a:pt x="1832870" y="20820"/>
                  <a:pt x="1832870" y="20820"/>
                  <a:pt x="1832870" y="20820"/>
                </a:cubicBezTo>
                <a:cubicBezTo>
                  <a:pt x="1837012" y="29149"/>
                  <a:pt x="1837012" y="37477"/>
                  <a:pt x="1837012" y="49969"/>
                </a:cubicBezTo>
                <a:cubicBezTo>
                  <a:pt x="1837012" y="62461"/>
                  <a:pt x="1837012" y="70789"/>
                  <a:pt x="1832870" y="83282"/>
                </a:cubicBezTo>
                <a:cubicBezTo>
                  <a:pt x="1837012" y="83282"/>
                  <a:pt x="1853582" y="91610"/>
                  <a:pt x="1857724" y="91610"/>
                </a:cubicBezTo>
                <a:cubicBezTo>
                  <a:pt x="1870151" y="74953"/>
                  <a:pt x="1886721" y="58297"/>
                  <a:pt x="1903291" y="49969"/>
                </a:cubicBezTo>
                <a:cubicBezTo>
                  <a:pt x="1911575" y="49969"/>
                  <a:pt x="1919860" y="58297"/>
                  <a:pt x="1928145" y="62461"/>
                </a:cubicBezTo>
                <a:cubicBezTo>
                  <a:pt x="1928145" y="83282"/>
                  <a:pt x="1919860" y="104102"/>
                  <a:pt x="1911575" y="124922"/>
                </a:cubicBezTo>
                <a:cubicBezTo>
                  <a:pt x="1911575" y="124922"/>
                  <a:pt x="1928145" y="137414"/>
                  <a:pt x="1932287" y="141579"/>
                </a:cubicBezTo>
                <a:cubicBezTo>
                  <a:pt x="1948857" y="124922"/>
                  <a:pt x="1965426" y="112430"/>
                  <a:pt x="1986138" y="108266"/>
                </a:cubicBezTo>
                <a:cubicBezTo>
                  <a:pt x="1994423" y="112430"/>
                  <a:pt x="2002708" y="120758"/>
                  <a:pt x="2006850" y="129086"/>
                </a:cubicBezTo>
                <a:cubicBezTo>
                  <a:pt x="2002708" y="149907"/>
                  <a:pt x="1990281" y="166563"/>
                  <a:pt x="1973711" y="183219"/>
                </a:cubicBezTo>
                <a:cubicBezTo>
                  <a:pt x="1977853" y="187383"/>
                  <a:pt x="1990281" y="204040"/>
                  <a:pt x="1990281" y="204040"/>
                </a:cubicBezTo>
                <a:cubicBezTo>
                  <a:pt x="2010993" y="195711"/>
                  <a:pt x="2031705" y="187383"/>
                  <a:pt x="2052416" y="187383"/>
                </a:cubicBezTo>
                <a:cubicBezTo>
                  <a:pt x="2052416" y="191547"/>
                  <a:pt x="2052416" y="191547"/>
                  <a:pt x="2052416" y="191547"/>
                </a:cubicBezTo>
                <a:cubicBezTo>
                  <a:pt x="2056559" y="195711"/>
                  <a:pt x="2064844" y="204040"/>
                  <a:pt x="2064844" y="212368"/>
                </a:cubicBezTo>
                <a:cubicBezTo>
                  <a:pt x="2056559" y="233188"/>
                  <a:pt x="2039989" y="245680"/>
                  <a:pt x="2023420" y="258173"/>
                </a:cubicBezTo>
                <a:cubicBezTo>
                  <a:pt x="2023420" y="262337"/>
                  <a:pt x="2031705" y="278993"/>
                  <a:pt x="2031705" y="283157"/>
                </a:cubicBezTo>
                <a:cubicBezTo>
                  <a:pt x="2052416" y="278993"/>
                  <a:pt x="2073128" y="278993"/>
                  <a:pt x="2093840" y="283157"/>
                </a:cubicBezTo>
                <a:cubicBezTo>
                  <a:pt x="2097983" y="291485"/>
                  <a:pt x="2102125" y="299813"/>
                  <a:pt x="2102125" y="308141"/>
                </a:cubicBezTo>
                <a:cubicBezTo>
                  <a:pt x="2102125" y="312306"/>
                  <a:pt x="2102125" y="312306"/>
                  <a:pt x="2102125" y="312306"/>
                </a:cubicBezTo>
                <a:cubicBezTo>
                  <a:pt x="2089698" y="324798"/>
                  <a:pt x="2068986" y="337290"/>
                  <a:pt x="2048274" y="341454"/>
                </a:cubicBezTo>
                <a:cubicBezTo>
                  <a:pt x="2048274" y="345618"/>
                  <a:pt x="2052416" y="366438"/>
                  <a:pt x="2052416" y="366438"/>
                </a:cubicBezTo>
                <a:cubicBezTo>
                  <a:pt x="2073128" y="366438"/>
                  <a:pt x="2093840" y="374767"/>
                  <a:pt x="2110410" y="383095"/>
                </a:cubicBezTo>
                <a:cubicBezTo>
                  <a:pt x="2110410" y="387259"/>
                  <a:pt x="2110410" y="387259"/>
                  <a:pt x="2110410" y="387259"/>
                </a:cubicBezTo>
                <a:cubicBezTo>
                  <a:pt x="2114552" y="391423"/>
                  <a:pt x="2114552" y="395587"/>
                  <a:pt x="2114552" y="399751"/>
                </a:cubicBezTo>
                <a:cubicBezTo>
                  <a:pt x="2114552" y="403915"/>
                  <a:pt x="2114552" y="408079"/>
                  <a:pt x="2110410" y="412243"/>
                </a:cubicBezTo>
                <a:cubicBezTo>
                  <a:pt x="2093840" y="424736"/>
                  <a:pt x="2073128" y="428900"/>
                  <a:pt x="2052416" y="428900"/>
                </a:cubicBezTo>
                <a:cubicBezTo>
                  <a:pt x="2048274" y="433064"/>
                  <a:pt x="2048274" y="453884"/>
                  <a:pt x="2048274" y="453884"/>
                </a:cubicBezTo>
                <a:cubicBezTo>
                  <a:pt x="2068986" y="462212"/>
                  <a:pt x="2085556" y="470540"/>
                  <a:pt x="2102125" y="487197"/>
                </a:cubicBezTo>
                <a:cubicBezTo>
                  <a:pt x="2102125" y="495525"/>
                  <a:pt x="2097983" y="508017"/>
                  <a:pt x="2093840" y="512181"/>
                </a:cubicBezTo>
                <a:cubicBezTo>
                  <a:pt x="2093840" y="516345"/>
                  <a:pt x="2093840" y="516345"/>
                  <a:pt x="2093840" y="516345"/>
                </a:cubicBezTo>
                <a:cubicBezTo>
                  <a:pt x="2073128" y="520509"/>
                  <a:pt x="2052416" y="520509"/>
                  <a:pt x="2031705" y="516345"/>
                </a:cubicBezTo>
                <a:cubicBezTo>
                  <a:pt x="2031705" y="516345"/>
                  <a:pt x="2023420" y="537165"/>
                  <a:pt x="2023420" y="537165"/>
                </a:cubicBezTo>
                <a:cubicBezTo>
                  <a:pt x="2039989" y="549658"/>
                  <a:pt x="2056559" y="566314"/>
                  <a:pt x="2064844" y="582970"/>
                </a:cubicBezTo>
                <a:cubicBezTo>
                  <a:pt x="2064844" y="587134"/>
                  <a:pt x="2064844" y="587134"/>
                  <a:pt x="2064844" y="587134"/>
                </a:cubicBezTo>
                <a:cubicBezTo>
                  <a:pt x="2060701" y="591298"/>
                  <a:pt x="2056559" y="599627"/>
                  <a:pt x="2052416" y="607955"/>
                </a:cubicBezTo>
                <a:cubicBezTo>
                  <a:pt x="2031705" y="607955"/>
                  <a:pt x="2010993" y="603791"/>
                  <a:pt x="1990281" y="591298"/>
                </a:cubicBezTo>
                <a:cubicBezTo>
                  <a:pt x="1990281" y="595463"/>
                  <a:pt x="1977853" y="612119"/>
                  <a:pt x="1973711" y="612119"/>
                </a:cubicBezTo>
                <a:cubicBezTo>
                  <a:pt x="1990281" y="628775"/>
                  <a:pt x="2002708" y="649595"/>
                  <a:pt x="2006850" y="666252"/>
                </a:cubicBezTo>
                <a:cubicBezTo>
                  <a:pt x="2006850" y="670416"/>
                  <a:pt x="2006850" y="670416"/>
                  <a:pt x="2006850" y="670416"/>
                </a:cubicBezTo>
                <a:cubicBezTo>
                  <a:pt x="2002708" y="674580"/>
                  <a:pt x="1994423" y="682908"/>
                  <a:pt x="1986138" y="687072"/>
                </a:cubicBezTo>
                <a:cubicBezTo>
                  <a:pt x="1965426" y="682908"/>
                  <a:pt x="1944714" y="670416"/>
                  <a:pt x="1932287" y="657924"/>
                </a:cubicBezTo>
                <a:cubicBezTo>
                  <a:pt x="1928145" y="657924"/>
                  <a:pt x="1911575" y="670416"/>
                  <a:pt x="1911575" y="674580"/>
                </a:cubicBezTo>
                <a:cubicBezTo>
                  <a:pt x="1919860" y="691236"/>
                  <a:pt x="1928145" y="712057"/>
                  <a:pt x="1928145" y="732877"/>
                </a:cubicBezTo>
                <a:cubicBezTo>
                  <a:pt x="1928145" y="732877"/>
                  <a:pt x="1928145" y="737041"/>
                  <a:pt x="1928145" y="737041"/>
                </a:cubicBezTo>
                <a:cubicBezTo>
                  <a:pt x="1924002" y="737041"/>
                  <a:pt x="1924002" y="737041"/>
                  <a:pt x="1924002" y="737041"/>
                </a:cubicBezTo>
                <a:cubicBezTo>
                  <a:pt x="1919860" y="741205"/>
                  <a:pt x="1911575" y="745369"/>
                  <a:pt x="1903291" y="749533"/>
                </a:cubicBezTo>
                <a:cubicBezTo>
                  <a:pt x="1882579" y="737041"/>
                  <a:pt x="1870151" y="724549"/>
                  <a:pt x="1857724" y="703728"/>
                </a:cubicBezTo>
                <a:cubicBezTo>
                  <a:pt x="1853582" y="703728"/>
                  <a:pt x="1837012" y="712057"/>
                  <a:pt x="1832870" y="716221"/>
                </a:cubicBezTo>
                <a:cubicBezTo>
                  <a:pt x="1837012" y="724549"/>
                  <a:pt x="1837012" y="737041"/>
                  <a:pt x="1837012" y="745369"/>
                </a:cubicBezTo>
                <a:cubicBezTo>
                  <a:pt x="1837012" y="757861"/>
                  <a:pt x="1837012" y="766190"/>
                  <a:pt x="1832870" y="778682"/>
                </a:cubicBezTo>
                <a:cubicBezTo>
                  <a:pt x="1824585" y="782846"/>
                  <a:pt x="1816300" y="782846"/>
                  <a:pt x="1808016" y="787010"/>
                </a:cubicBezTo>
                <a:cubicBezTo>
                  <a:pt x="1803873" y="787010"/>
                  <a:pt x="1803873" y="787010"/>
                  <a:pt x="1803873" y="787010"/>
                </a:cubicBezTo>
                <a:cubicBezTo>
                  <a:pt x="1791446" y="770354"/>
                  <a:pt x="1779019" y="749533"/>
                  <a:pt x="1774877" y="732877"/>
                </a:cubicBezTo>
                <a:cubicBezTo>
                  <a:pt x="1770734" y="732877"/>
                  <a:pt x="1750022" y="732877"/>
                  <a:pt x="1750022" y="732877"/>
                </a:cubicBezTo>
                <a:cubicBezTo>
                  <a:pt x="1750022" y="757861"/>
                  <a:pt x="1741737" y="778682"/>
                  <a:pt x="1733453" y="795338"/>
                </a:cubicBezTo>
                <a:cubicBezTo>
                  <a:pt x="1729310" y="795338"/>
                  <a:pt x="1729310" y="795338"/>
                  <a:pt x="1729310" y="795338"/>
                </a:cubicBezTo>
                <a:cubicBezTo>
                  <a:pt x="1725168" y="795338"/>
                  <a:pt x="1712741" y="795338"/>
                  <a:pt x="1704456" y="795338"/>
                </a:cubicBezTo>
                <a:cubicBezTo>
                  <a:pt x="1692029" y="778682"/>
                  <a:pt x="1687886" y="757861"/>
                  <a:pt x="1687886" y="732877"/>
                </a:cubicBezTo>
                <a:cubicBezTo>
                  <a:pt x="1683744" y="732877"/>
                  <a:pt x="1663032" y="732877"/>
                  <a:pt x="1658890" y="732877"/>
                </a:cubicBezTo>
                <a:cubicBezTo>
                  <a:pt x="1654747" y="749533"/>
                  <a:pt x="1642320" y="770354"/>
                  <a:pt x="1629893" y="787010"/>
                </a:cubicBezTo>
                <a:cubicBezTo>
                  <a:pt x="1625751" y="787010"/>
                  <a:pt x="1625751" y="787010"/>
                  <a:pt x="1625751" y="787010"/>
                </a:cubicBezTo>
                <a:cubicBezTo>
                  <a:pt x="1617466" y="782846"/>
                  <a:pt x="1609181" y="782846"/>
                  <a:pt x="1600896" y="778682"/>
                </a:cubicBezTo>
                <a:cubicBezTo>
                  <a:pt x="1596754" y="766190"/>
                  <a:pt x="1596754" y="757861"/>
                  <a:pt x="1596754" y="745369"/>
                </a:cubicBezTo>
                <a:cubicBezTo>
                  <a:pt x="1596754" y="737041"/>
                  <a:pt x="1596754" y="724549"/>
                  <a:pt x="1600896" y="716221"/>
                </a:cubicBezTo>
                <a:cubicBezTo>
                  <a:pt x="1596754" y="712057"/>
                  <a:pt x="1580184" y="707892"/>
                  <a:pt x="1576042" y="703728"/>
                </a:cubicBezTo>
                <a:cubicBezTo>
                  <a:pt x="1567757" y="724549"/>
                  <a:pt x="1551188" y="741205"/>
                  <a:pt x="1534618" y="749533"/>
                </a:cubicBezTo>
                <a:cubicBezTo>
                  <a:pt x="1530476" y="749533"/>
                  <a:pt x="1530476" y="749533"/>
                  <a:pt x="1530476" y="749533"/>
                </a:cubicBezTo>
                <a:cubicBezTo>
                  <a:pt x="1522191" y="745369"/>
                  <a:pt x="1513906" y="741205"/>
                  <a:pt x="1509764" y="737041"/>
                </a:cubicBezTo>
                <a:cubicBezTo>
                  <a:pt x="1509764" y="737041"/>
                  <a:pt x="1509764" y="732877"/>
                  <a:pt x="1509764" y="732877"/>
                </a:cubicBezTo>
                <a:cubicBezTo>
                  <a:pt x="1509764" y="716221"/>
                  <a:pt x="1513906" y="691236"/>
                  <a:pt x="1522191" y="674580"/>
                </a:cubicBezTo>
                <a:cubicBezTo>
                  <a:pt x="1522191" y="674580"/>
                  <a:pt x="1505621" y="657924"/>
                  <a:pt x="1501479" y="657924"/>
                </a:cubicBezTo>
                <a:cubicBezTo>
                  <a:pt x="1489052" y="674580"/>
                  <a:pt x="1468340" y="682908"/>
                  <a:pt x="1447628" y="687072"/>
                </a:cubicBezTo>
                <a:cubicBezTo>
                  <a:pt x="1439343" y="682908"/>
                  <a:pt x="1435201" y="674580"/>
                  <a:pt x="1426916" y="670416"/>
                </a:cubicBezTo>
                <a:cubicBezTo>
                  <a:pt x="1435201" y="649595"/>
                  <a:pt x="1443486" y="628775"/>
                  <a:pt x="1460055" y="616283"/>
                </a:cubicBezTo>
                <a:cubicBezTo>
                  <a:pt x="1455913" y="612119"/>
                  <a:pt x="1443486" y="595463"/>
                  <a:pt x="1443486" y="591298"/>
                </a:cubicBezTo>
                <a:cubicBezTo>
                  <a:pt x="1422774" y="603791"/>
                  <a:pt x="1402062" y="607955"/>
                  <a:pt x="1381350" y="607955"/>
                </a:cubicBezTo>
                <a:cubicBezTo>
                  <a:pt x="1377208" y="603791"/>
                  <a:pt x="1373065" y="591298"/>
                  <a:pt x="1368923" y="587134"/>
                </a:cubicBezTo>
                <a:cubicBezTo>
                  <a:pt x="1368923" y="582970"/>
                  <a:pt x="1368923" y="582970"/>
                  <a:pt x="1368923" y="582970"/>
                </a:cubicBezTo>
                <a:cubicBezTo>
                  <a:pt x="1377208" y="566314"/>
                  <a:pt x="1393777" y="549658"/>
                  <a:pt x="1414489" y="541330"/>
                </a:cubicBezTo>
                <a:cubicBezTo>
                  <a:pt x="1410347" y="537165"/>
                  <a:pt x="1402062" y="516345"/>
                  <a:pt x="1402062" y="516345"/>
                </a:cubicBezTo>
                <a:cubicBezTo>
                  <a:pt x="1381350" y="520509"/>
                  <a:pt x="1360638" y="520509"/>
                  <a:pt x="1339926" y="516345"/>
                </a:cubicBezTo>
                <a:cubicBezTo>
                  <a:pt x="1335784" y="508017"/>
                  <a:pt x="1331641" y="495525"/>
                  <a:pt x="1331641" y="491361"/>
                </a:cubicBezTo>
                <a:cubicBezTo>
                  <a:pt x="1331641" y="487197"/>
                  <a:pt x="1331641" y="487197"/>
                  <a:pt x="1331641" y="487197"/>
                </a:cubicBezTo>
                <a:cubicBezTo>
                  <a:pt x="1344068" y="474704"/>
                  <a:pt x="1364780" y="462212"/>
                  <a:pt x="1385492" y="453884"/>
                </a:cubicBezTo>
                <a:cubicBezTo>
                  <a:pt x="1385492" y="453884"/>
                  <a:pt x="1381350" y="433064"/>
                  <a:pt x="1381350" y="428900"/>
                </a:cubicBezTo>
                <a:cubicBezTo>
                  <a:pt x="1360638" y="428900"/>
                  <a:pt x="1339926" y="424736"/>
                  <a:pt x="1323357" y="412243"/>
                </a:cubicBezTo>
                <a:cubicBezTo>
                  <a:pt x="1319214" y="412243"/>
                  <a:pt x="1319214" y="412243"/>
                  <a:pt x="1319214" y="412243"/>
                </a:cubicBezTo>
                <a:cubicBezTo>
                  <a:pt x="1319214" y="408079"/>
                  <a:pt x="1319214" y="403915"/>
                  <a:pt x="1319214" y="399751"/>
                </a:cubicBezTo>
                <a:cubicBezTo>
                  <a:pt x="1319214" y="391423"/>
                  <a:pt x="1319214" y="387259"/>
                  <a:pt x="1319214" y="383095"/>
                </a:cubicBezTo>
                <a:cubicBezTo>
                  <a:pt x="1323357" y="383095"/>
                  <a:pt x="1323357" y="383095"/>
                  <a:pt x="1323357" y="383095"/>
                </a:cubicBezTo>
                <a:cubicBezTo>
                  <a:pt x="1339926" y="374767"/>
                  <a:pt x="1360638" y="366438"/>
                  <a:pt x="1381350" y="366438"/>
                </a:cubicBezTo>
                <a:cubicBezTo>
                  <a:pt x="1381350" y="362274"/>
                  <a:pt x="1385492" y="345618"/>
                  <a:pt x="1385492" y="341454"/>
                </a:cubicBezTo>
                <a:cubicBezTo>
                  <a:pt x="1364780" y="333126"/>
                  <a:pt x="1344068" y="324798"/>
                  <a:pt x="1331641" y="308141"/>
                </a:cubicBezTo>
                <a:cubicBezTo>
                  <a:pt x="1331641" y="299813"/>
                  <a:pt x="1335784" y="291485"/>
                  <a:pt x="1339926" y="283157"/>
                </a:cubicBezTo>
                <a:cubicBezTo>
                  <a:pt x="1356496" y="274829"/>
                  <a:pt x="1381350" y="274829"/>
                  <a:pt x="1402062" y="283157"/>
                </a:cubicBezTo>
                <a:cubicBezTo>
                  <a:pt x="1402062" y="278993"/>
                  <a:pt x="1410347" y="262337"/>
                  <a:pt x="1410347" y="258173"/>
                </a:cubicBezTo>
                <a:cubicBezTo>
                  <a:pt x="1393777" y="245680"/>
                  <a:pt x="1377208" y="229024"/>
                  <a:pt x="1368923" y="212368"/>
                </a:cubicBezTo>
                <a:cubicBezTo>
                  <a:pt x="1368923" y="204040"/>
                  <a:pt x="1377208" y="195711"/>
                  <a:pt x="1381350" y="187383"/>
                </a:cubicBezTo>
                <a:cubicBezTo>
                  <a:pt x="1402062" y="187383"/>
                  <a:pt x="1422774" y="195711"/>
                  <a:pt x="1443486" y="204040"/>
                </a:cubicBezTo>
                <a:cubicBezTo>
                  <a:pt x="1443486" y="204040"/>
                  <a:pt x="1455913" y="183219"/>
                  <a:pt x="1460055" y="183219"/>
                </a:cubicBezTo>
                <a:cubicBezTo>
                  <a:pt x="1443486" y="166563"/>
                  <a:pt x="1431059" y="145743"/>
                  <a:pt x="1426916" y="129086"/>
                </a:cubicBezTo>
                <a:cubicBezTo>
                  <a:pt x="1426916" y="124922"/>
                  <a:pt x="1426916" y="124922"/>
                  <a:pt x="1426916" y="124922"/>
                </a:cubicBezTo>
                <a:cubicBezTo>
                  <a:pt x="1431059" y="120758"/>
                  <a:pt x="1439343" y="112430"/>
                  <a:pt x="1447628" y="108266"/>
                </a:cubicBezTo>
                <a:cubicBezTo>
                  <a:pt x="1468340" y="112430"/>
                  <a:pt x="1489052" y="124922"/>
                  <a:pt x="1501479" y="137414"/>
                </a:cubicBezTo>
                <a:cubicBezTo>
                  <a:pt x="1505621" y="137414"/>
                  <a:pt x="1518049" y="124922"/>
                  <a:pt x="1522191" y="124922"/>
                </a:cubicBezTo>
                <a:cubicBezTo>
                  <a:pt x="1509764" y="104102"/>
                  <a:pt x="1505621" y="83282"/>
                  <a:pt x="1505621" y="62461"/>
                </a:cubicBezTo>
                <a:cubicBezTo>
                  <a:pt x="1513906" y="58297"/>
                  <a:pt x="1522191" y="49969"/>
                  <a:pt x="1530476" y="49969"/>
                </a:cubicBezTo>
                <a:cubicBezTo>
                  <a:pt x="1547045" y="58297"/>
                  <a:pt x="1563615" y="74953"/>
                  <a:pt x="1576042" y="91610"/>
                </a:cubicBezTo>
                <a:cubicBezTo>
                  <a:pt x="1576042" y="91610"/>
                  <a:pt x="1596754" y="83282"/>
                  <a:pt x="1600896" y="83282"/>
                </a:cubicBezTo>
                <a:cubicBezTo>
                  <a:pt x="1596754" y="70789"/>
                  <a:pt x="1596754" y="62461"/>
                  <a:pt x="1596754" y="49969"/>
                </a:cubicBezTo>
                <a:cubicBezTo>
                  <a:pt x="1596754" y="37477"/>
                  <a:pt x="1596754" y="29149"/>
                  <a:pt x="1600896" y="20820"/>
                </a:cubicBezTo>
                <a:cubicBezTo>
                  <a:pt x="1600896" y="16656"/>
                  <a:pt x="1600896" y="16656"/>
                  <a:pt x="1600896" y="16656"/>
                </a:cubicBezTo>
                <a:cubicBezTo>
                  <a:pt x="1609181" y="16656"/>
                  <a:pt x="1617466" y="12492"/>
                  <a:pt x="1625751" y="12492"/>
                </a:cubicBezTo>
                <a:cubicBezTo>
                  <a:pt x="1629893" y="12492"/>
                  <a:pt x="1629893" y="12492"/>
                  <a:pt x="1629893" y="12492"/>
                </a:cubicBezTo>
                <a:cubicBezTo>
                  <a:pt x="1642320" y="24984"/>
                  <a:pt x="1654747" y="45805"/>
                  <a:pt x="1658890" y="66625"/>
                </a:cubicBezTo>
                <a:cubicBezTo>
                  <a:pt x="1663032" y="66625"/>
                  <a:pt x="1683744" y="62461"/>
                  <a:pt x="1687886" y="62461"/>
                </a:cubicBezTo>
                <a:cubicBezTo>
                  <a:pt x="1687886" y="41641"/>
                  <a:pt x="1692029" y="20820"/>
                  <a:pt x="1704456" y="0"/>
                </a:cubicBezTo>
                <a:close/>
              </a:path>
            </a:pathLst>
          </a:custGeom>
          <a:solidFill>
            <a:srgbClr val="8BD4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sp>
        <p:nvSpPr>
          <p:cNvPr id="145" name="Freeform: Shape 144" hidden="1">
            <a:extLst>
              <a:ext uri="{FF2B5EF4-FFF2-40B4-BE49-F238E27FC236}">
                <a16:creationId xmlns:a16="http://schemas.microsoft.com/office/drawing/2014/main" id="{1274828A-9669-4F9D-82E2-5BF5C078FD1A}"/>
              </a:ext>
            </a:extLst>
          </p:cNvPr>
          <p:cNvSpPr/>
          <p:nvPr userDrawn="1"/>
        </p:nvSpPr>
        <p:spPr>
          <a:xfrm>
            <a:off x="4889269" y="-1027549"/>
            <a:ext cx="1789604" cy="677148"/>
          </a:xfrm>
          <a:custGeom>
            <a:avLst/>
            <a:gdLst>
              <a:gd name="connsiteX0" fmla="*/ 2068305 w 2114552"/>
              <a:gd name="connsiteY0" fmla="*/ 749732 h 800100"/>
              <a:gd name="connsiteX1" fmla="*/ 2068305 w 2114552"/>
              <a:gd name="connsiteY1" fmla="*/ 761609 h 800100"/>
              <a:gd name="connsiteX2" fmla="*/ 2076013 w 2114552"/>
              <a:gd name="connsiteY2" fmla="*/ 761609 h 800100"/>
              <a:gd name="connsiteX3" fmla="*/ 2083551 w 2114552"/>
              <a:gd name="connsiteY3" fmla="*/ 759961 h 800100"/>
              <a:gd name="connsiteX4" fmla="*/ 2085563 w 2114552"/>
              <a:gd name="connsiteY4" fmla="*/ 755598 h 800100"/>
              <a:gd name="connsiteX5" fmla="*/ 2084594 w 2114552"/>
              <a:gd name="connsiteY5" fmla="*/ 752471 h 800100"/>
              <a:gd name="connsiteX6" fmla="*/ 2081903 w 2114552"/>
              <a:gd name="connsiteY6" fmla="*/ 750411 h 800100"/>
              <a:gd name="connsiteX7" fmla="*/ 2075528 w 2114552"/>
              <a:gd name="connsiteY7" fmla="*/ 749732 h 800100"/>
              <a:gd name="connsiteX8" fmla="*/ 2061954 w 2114552"/>
              <a:gd name="connsiteY8" fmla="*/ 744400 h 800100"/>
              <a:gd name="connsiteX9" fmla="*/ 2075480 w 2114552"/>
              <a:gd name="connsiteY9" fmla="*/ 744400 h 800100"/>
              <a:gd name="connsiteX10" fmla="*/ 2085514 w 2114552"/>
              <a:gd name="connsiteY10" fmla="*/ 745491 h 800100"/>
              <a:gd name="connsiteX11" fmla="*/ 2090459 w 2114552"/>
              <a:gd name="connsiteY11" fmla="*/ 749296 h 800100"/>
              <a:gd name="connsiteX12" fmla="*/ 2092301 w 2114552"/>
              <a:gd name="connsiteY12" fmla="*/ 755065 h 800100"/>
              <a:gd name="connsiteX13" fmla="*/ 2089223 w 2114552"/>
              <a:gd name="connsiteY13" fmla="*/ 762579 h 800100"/>
              <a:gd name="connsiteX14" fmla="*/ 2081055 w 2114552"/>
              <a:gd name="connsiteY14" fmla="*/ 766166 h 800100"/>
              <a:gd name="connsiteX15" fmla="*/ 2084400 w 2114552"/>
              <a:gd name="connsiteY15" fmla="*/ 768251 h 800100"/>
              <a:gd name="connsiteX16" fmla="*/ 2090217 w 2114552"/>
              <a:gd name="connsiteY16" fmla="*/ 776055 h 800100"/>
              <a:gd name="connsiteX17" fmla="*/ 2095016 w 2114552"/>
              <a:gd name="connsiteY17" fmla="*/ 783763 h 800100"/>
              <a:gd name="connsiteX18" fmla="*/ 2087260 w 2114552"/>
              <a:gd name="connsiteY18" fmla="*/ 783763 h 800100"/>
              <a:gd name="connsiteX19" fmla="*/ 2083769 w 2114552"/>
              <a:gd name="connsiteY19" fmla="*/ 777558 h 800100"/>
              <a:gd name="connsiteX20" fmla="*/ 2077128 w 2114552"/>
              <a:gd name="connsiteY20" fmla="*/ 768396 h 800100"/>
              <a:gd name="connsiteX21" fmla="*/ 2072038 w 2114552"/>
              <a:gd name="connsiteY21" fmla="*/ 767039 h 800100"/>
              <a:gd name="connsiteX22" fmla="*/ 2068305 w 2114552"/>
              <a:gd name="connsiteY22" fmla="*/ 767039 h 800100"/>
              <a:gd name="connsiteX23" fmla="*/ 2068305 w 2114552"/>
              <a:gd name="connsiteY23" fmla="*/ 783763 h 800100"/>
              <a:gd name="connsiteX24" fmla="*/ 2061954 w 2114552"/>
              <a:gd name="connsiteY24" fmla="*/ 783763 h 800100"/>
              <a:gd name="connsiteX25" fmla="*/ 834048 w 2114552"/>
              <a:gd name="connsiteY25" fmla="*/ 741362 h 800100"/>
              <a:gd name="connsiteX26" fmla="*/ 784225 w 2114552"/>
              <a:gd name="connsiteY26" fmla="*/ 766474 h 800100"/>
              <a:gd name="connsiteX27" fmla="*/ 804985 w 2114552"/>
              <a:gd name="connsiteY27" fmla="*/ 787400 h 800100"/>
              <a:gd name="connsiteX28" fmla="*/ 838200 w 2114552"/>
              <a:gd name="connsiteY28" fmla="*/ 745547 h 800100"/>
              <a:gd name="connsiteX29" fmla="*/ 838200 w 2114552"/>
              <a:gd name="connsiteY29" fmla="*/ 741362 h 800100"/>
              <a:gd name="connsiteX30" fmla="*/ 834048 w 2114552"/>
              <a:gd name="connsiteY30" fmla="*/ 741362 h 800100"/>
              <a:gd name="connsiteX31" fmla="*/ 2078001 w 2114552"/>
              <a:gd name="connsiteY31" fmla="*/ 733008 h 800100"/>
              <a:gd name="connsiteX32" fmla="*/ 2062997 w 2114552"/>
              <a:gd name="connsiteY32" fmla="*/ 736959 h 800100"/>
              <a:gd name="connsiteX33" fmla="*/ 2051581 w 2114552"/>
              <a:gd name="connsiteY33" fmla="*/ 748254 h 800100"/>
              <a:gd name="connsiteX34" fmla="*/ 2047460 w 2114552"/>
              <a:gd name="connsiteY34" fmla="*/ 763548 h 800100"/>
              <a:gd name="connsiteX35" fmla="*/ 2051508 w 2114552"/>
              <a:gd name="connsiteY35" fmla="*/ 778697 h 800100"/>
              <a:gd name="connsiteX36" fmla="*/ 2062827 w 2114552"/>
              <a:gd name="connsiteY36" fmla="*/ 789993 h 800100"/>
              <a:gd name="connsiteX37" fmla="*/ 2078001 w 2114552"/>
              <a:gd name="connsiteY37" fmla="*/ 794041 h 800100"/>
              <a:gd name="connsiteX38" fmla="*/ 2093174 w 2114552"/>
              <a:gd name="connsiteY38" fmla="*/ 789993 h 800100"/>
              <a:gd name="connsiteX39" fmla="*/ 2104469 w 2114552"/>
              <a:gd name="connsiteY39" fmla="*/ 778697 h 800100"/>
              <a:gd name="connsiteX40" fmla="*/ 2108493 w 2114552"/>
              <a:gd name="connsiteY40" fmla="*/ 763548 h 800100"/>
              <a:gd name="connsiteX41" fmla="*/ 2104397 w 2114552"/>
              <a:gd name="connsiteY41" fmla="*/ 748254 h 800100"/>
              <a:gd name="connsiteX42" fmla="*/ 2092980 w 2114552"/>
              <a:gd name="connsiteY42" fmla="*/ 736959 h 800100"/>
              <a:gd name="connsiteX43" fmla="*/ 2078001 w 2114552"/>
              <a:gd name="connsiteY43" fmla="*/ 733008 h 800100"/>
              <a:gd name="connsiteX44" fmla="*/ 2078001 w 2114552"/>
              <a:gd name="connsiteY44" fmla="*/ 726948 h 800100"/>
              <a:gd name="connsiteX45" fmla="*/ 2095985 w 2114552"/>
              <a:gd name="connsiteY45" fmla="*/ 731675 h 800100"/>
              <a:gd name="connsiteX46" fmla="*/ 2109656 w 2114552"/>
              <a:gd name="connsiteY46" fmla="*/ 745200 h 800100"/>
              <a:gd name="connsiteX47" fmla="*/ 2114552 w 2114552"/>
              <a:gd name="connsiteY47" fmla="*/ 763548 h 800100"/>
              <a:gd name="connsiteX48" fmla="*/ 2109729 w 2114552"/>
              <a:gd name="connsiteY48" fmla="*/ 781727 h 800100"/>
              <a:gd name="connsiteX49" fmla="*/ 2096204 w 2114552"/>
              <a:gd name="connsiteY49" fmla="*/ 795277 h 800100"/>
              <a:gd name="connsiteX50" fmla="*/ 2078001 w 2114552"/>
              <a:gd name="connsiteY50" fmla="*/ 800100 h 800100"/>
              <a:gd name="connsiteX51" fmla="*/ 2059797 w 2114552"/>
              <a:gd name="connsiteY51" fmla="*/ 795277 h 800100"/>
              <a:gd name="connsiteX52" fmla="*/ 2046248 w 2114552"/>
              <a:gd name="connsiteY52" fmla="*/ 781727 h 800100"/>
              <a:gd name="connsiteX53" fmla="*/ 2041400 w 2114552"/>
              <a:gd name="connsiteY53" fmla="*/ 763548 h 800100"/>
              <a:gd name="connsiteX54" fmla="*/ 2046321 w 2114552"/>
              <a:gd name="connsiteY54" fmla="*/ 745200 h 800100"/>
              <a:gd name="connsiteX55" fmla="*/ 2060016 w 2114552"/>
              <a:gd name="connsiteY55" fmla="*/ 731675 h 800100"/>
              <a:gd name="connsiteX56" fmla="*/ 2078001 w 2114552"/>
              <a:gd name="connsiteY56" fmla="*/ 726948 h 800100"/>
              <a:gd name="connsiteX57" fmla="*/ 1058070 w 2114552"/>
              <a:gd name="connsiteY57" fmla="*/ 692149 h 800100"/>
              <a:gd name="connsiteX58" fmla="*/ 1020763 w 2114552"/>
              <a:gd name="connsiteY58" fmla="*/ 739774 h 800100"/>
              <a:gd name="connsiteX59" fmla="*/ 1058070 w 2114552"/>
              <a:gd name="connsiteY59" fmla="*/ 787399 h 800100"/>
              <a:gd name="connsiteX60" fmla="*/ 1095377 w 2114552"/>
              <a:gd name="connsiteY60" fmla="*/ 739774 h 800100"/>
              <a:gd name="connsiteX61" fmla="*/ 1058070 w 2114552"/>
              <a:gd name="connsiteY61" fmla="*/ 692149 h 800100"/>
              <a:gd name="connsiteX62" fmla="*/ 692151 w 2114552"/>
              <a:gd name="connsiteY62" fmla="*/ 692149 h 800100"/>
              <a:gd name="connsiteX63" fmla="*/ 658813 w 2114552"/>
              <a:gd name="connsiteY63" fmla="*/ 739774 h 800100"/>
              <a:gd name="connsiteX64" fmla="*/ 692151 w 2114552"/>
              <a:gd name="connsiteY64" fmla="*/ 787399 h 800100"/>
              <a:gd name="connsiteX65" fmla="*/ 725489 w 2114552"/>
              <a:gd name="connsiteY65" fmla="*/ 739774 h 800100"/>
              <a:gd name="connsiteX66" fmla="*/ 692151 w 2114552"/>
              <a:gd name="connsiteY66" fmla="*/ 692149 h 800100"/>
              <a:gd name="connsiteX67" fmla="*/ 323056 w 2114552"/>
              <a:gd name="connsiteY67" fmla="*/ 692149 h 800100"/>
              <a:gd name="connsiteX68" fmla="*/ 285749 w 2114552"/>
              <a:gd name="connsiteY68" fmla="*/ 739774 h 800100"/>
              <a:gd name="connsiteX69" fmla="*/ 323056 w 2114552"/>
              <a:gd name="connsiteY69" fmla="*/ 787399 h 800100"/>
              <a:gd name="connsiteX70" fmla="*/ 360363 w 2114552"/>
              <a:gd name="connsiteY70" fmla="*/ 739774 h 800100"/>
              <a:gd name="connsiteX71" fmla="*/ 323056 w 2114552"/>
              <a:gd name="connsiteY71" fmla="*/ 692149 h 800100"/>
              <a:gd name="connsiteX72" fmla="*/ 966943 w 2114552"/>
              <a:gd name="connsiteY72" fmla="*/ 685949 h 800100"/>
              <a:gd name="connsiteX73" fmla="*/ 981464 w 2114552"/>
              <a:gd name="connsiteY73" fmla="*/ 685949 h 800100"/>
              <a:gd name="connsiteX74" fmla="*/ 981464 w 2114552"/>
              <a:gd name="connsiteY74" fmla="*/ 799333 h 800100"/>
              <a:gd name="connsiteX75" fmla="*/ 966943 w 2114552"/>
              <a:gd name="connsiteY75" fmla="*/ 799333 h 800100"/>
              <a:gd name="connsiteX76" fmla="*/ 1136650 w 2114552"/>
              <a:gd name="connsiteY76" fmla="*/ 684212 h 800100"/>
              <a:gd name="connsiteX77" fmla="*/ 1148897 w 2114552"/>
              <a:gd name="connsiteY77" fmla="*/ 684212 h 800100"/>
              <a:gd name="connsiteX78" fmla="*/ 1148897 w 2114552"/>
              <a:gd name="connsiteY78" fmla="*/ 704791 h 800100"/>
              <a:gd name="connsiteX79" fmla="*/ 1185636 w 2114552"/>
              <a:gd name="connsiteY79" fmla="*/ 684212 h 800100"/>
              <a:gd name="connsiteX80" fmla="*/ 1222375 w 2114552"/>
              <a:gd name="connsiteY80" fmla="*/ 725369 h 800100"/>
              <a:gd name="connsiteX81" fmla="*/ 1222375 w 2114552"/>
              <a:gd name="connsiteY81" fmla="*/ 795337 h 800100"/>
              <a:gd name="connsiteX82" fmla="*/ 1210129 w 2114552"/>
              <a:gd name="connsiteY82" fmla="*/ 795337 h 800100"/>
              <a:gd name="connsiteX83" fmla="*/ 1210129 w 2114552"/>
              <a:gd name="connsiteY83" fmla="*/ 729485 h 800100"/>
              <a:gd name="connsiteX84" fmla="*/ 1185636 w 2114552"/>
              <a:gd name="connsiteY84" fmla="*/ 692443 h 800100"/>
              <a:gd name="connsiteX85" fmla="*/ 1152979 w 2114552"/>
              <a:gd name="connsiteY85" fmla="*/ 733601 h 800100"/>
              <a:gd name="connsiteX86" fmla="*/ 1152979 w 2114552"/>
              <a:gd name="connsiteY86" fmla="*/ 795337 h 800100"/>
              <a:gd name="connsiteX87" fmla="*/ 1136650 w 2114552"/>
              <a:gd name="connsiteY87" fmla="*/ 795337 h 800100"/>
              <a:gd name="connsiteX88" fmla="*/ 1136650 w 2114552"/>
              <a:gd name="connsiteY88" fmla="*/ 713022 h 800100"/>
              <a:gd name="connsiteX89" fmla="*/ 1136650 w 2114552"/>
              <a:gd name="connsiteY89" fmla="*/ 684212 h 800100"/>
              <a:gd name="connsiteX90" fmla="*/ 1054894 w 2114552"/>
              <a:gd name="connsiteY90" fmla="*/ 684212 h 800100"/>
              <a:gd name="connsiteX91" fmla="*/ 1106488 w 2114552"/>
              <a:gd name="connsiteY91" fmla="*/ 742156 h 800100"/>
              <a:gd name="connsiteX92" fmla="*/ 1054894 w 2114552"/>
              <a:gd name="connsiteY92" fmla="*/ 800100 h 800100"/>
              <a:gd name="connsiteX93" fmla="*/ 1003300 w 2114552"/>
              <a:gd name="connsiteY93" fmla="*/ 742156 h 800100"/>
              <a:gd name="connsiteX94" fmla="*/ 1054894 w 2114552"/>
              <a:gd name="connsiteY94" fmla="*/ 684212 h 800100"/>
              <a:gd name="connsiteX95" fmla="*/ 812499 w 2114552"/>
              <a:gd name="connsiteY95" fmla="*/ 684212 h 800100"/>
              <a:gd name="connsiteX96" fmla="*/ 854076 w 2114552"/>
              <a:gd name="connsiteY96" fmla="*/ 725601 h 800100"/>
              <a:gd name="connsiteX97" fmla="*/ 854076 w 2114552"/>
              <a:gd name="connsiteY97" fmla="*/ 775267 h 800100"/>
              <a:gd name="connsiteX98" fmla="*/ 854076 w 2114552"/>
              <a:gd name="connsiteY98" fmla="*/ 795961 h 800100"/>
              <a:gd name="connsiteX99" fmla="*/ 841603 w 2114552"/>
              <a:gd name="connsiteY99" fmla="*/ 795961 h 800100"/>
              <a:gd name="connsiteX100" fmla="*/ 841603 w 2114552"/>
              <a:gd name="connsiteY100" fmla="*/ 779406 h 800100"/>
              <a:gd name="connsiteX101" fmla="*/ 837445 w 2114552"/>
              <a:gd name="connsiteY101" fmla="*/ 779406 h 800100"/>
              <a:gd name="connsiteX102" fmla="*/ 804183 w 2114552"/>
              <a:gd name="connsiteY102" fmla="*/ 800100 h 800100"/>
              <a:gd name="connsiteX103" fmla="*/ 766763 w 2114552"/>
              <a:gd name="connsiteY103" fmla="*/ 766989 h 800100"/>
              <a:gd name="connsiteX104" fmla="*/ 837445 w 2114552"/>
              <a:gd name="connsiteY104" fmla="*/ 729739 h 800100"/>
              <a:gd name="connsiteX105" fmla="*/ 837445 w 2114552"/>
              <a:gd name="connsiteY105" fmla="*/ 721462 h 800100"/>
              <a:gd name="connsiteX106" fmla="*/ 812499 w 2114552"/>
              <a:gd name="connsiteY106" fmla="*/ 692490 h 800100"/>
              <a:gd name="connsiteX107" fmla="*/ 779236 w 2114552"/>
              <a:gd name="connsiteY107" fmla="*/ 704906 h 800100"/>
              <a:gd name="connsiteX108" fmla="*/ 779236 w 2114552"/>
              <a:gd name="connsiteY108" fmla="*/ 688351 h 800100"/>
              <a:gd name="connsiteX109" fmla="*/ 812499 w 2114552"/>
              <a:gd name="connsiteY109" fmla="*/ 684212 h 800100"/>
              <a:gd name="connsiteX110" fmla="*/ 527050 w 2114552"/>
              <a:gd name="connsiteY110" fmla="*/ 684212 h 800100"/>
              <a:gd name="connsiteX111" fmla="*/ 539523 w 2114552"/>
              <a:gd name="connsiteY111" fmla="*/ 684212 h 800100"/>
              <a:gd name="connsiteX112" fmla="*/ 539523 w 2114552"/>
              <a:gd name="connsiteY112" fmla="*/ 704791 h 800100"/>
              <a:gd name="connsiteX113" fmla="*/ 576943 w 2114552"/>
              <a:gd name="connsiteY113" fmla="*/ 684212 h 800100"/>
              <a:gd name="connsiteX114" fmla="*/ 614363 w 2114552"/>
              <a:gd name="connsiteY114" fmla="*/ 725369 h 800100"/>
              <a:gd name="connsiteX115" fmla="*/ 614363 w 2114552"/>
              <a:gd name="connsiteY115" fmla="*/ 795337 h 800100"/>
              <a:gd name="connsiteX116" fmla="*/ 601890 w 2114552"/>
              <a:gd name="connsiteY116" fmla="*/ 795337 h 800100"/>
              <a:gd name="connsiteX117" fmla="*/ 601890 w 2114552"/>
              <a:gd name="connsiteY117" fmla="*/ 729485 h 800100"/>
              <a:gd name="connsiteX118" fmla="*/ 576943 w 2114552"/>
              <a:gd name="connsiteY118" fmla="*/ 692443 h 800100"/>
              <a:gd name="connsiteX119" fmla="*/ 543681 w 2114552"/>
              <a:gd name="connsiteY119" fmla="*/ 733601 h 800100"/>
              <a:gd name="connsiteX120" fmla="*/ 543681 w 2114552"/>
              <a:gd name="connsiteY120" fmla="*/ 795337 h 800100"/>
              <a:gd name="connsiteX121" fmla="*/ 527050 w 2114552"/>
              <a:gd name="connsiteY121" fmla="*/ 795337 h 800100"/>
              <a:gd name="connsiteX122" fmla="*/ 527050 w 2114552"/>
              <a:gd name="connsiteY122" fmla="*/ 713022 h 800100"/>
              <a:gd name="connsiteX123" fmla="*/ 527050 w 2114552"/>
              <a:gd name="connsiteY123" fmla="*/ 684212 h 800100"/>
              <a:gd name="connsiteX124" fmla="*/ 406400 w 2114552"/>
              <a:gd name="connsiteY124" fmla="*/ 684212 h 800100"/>
              <a:gd name="connsiteX125" fmla="*/ 418873 w 2114552"/>
              <a:gd name="connsiteY125" fmla="*/ 684212 h 800100"/>
              <a:gd name="connsiteX126" fmla="*/ 418873 w 2114552"/>
              <a:gd name="connsiteY126" fmla="*/ 754573 h 800100"/>
              <a:gd name="connsiteX127" fmla="*/ 443820 w 2114552"/>
              <a:gd name="connsiteY127" fmla="*/ 787683 h 800100"/>
              <a:gd name="connsiteX128" fmla="*/ 477082 w 2114552"/>
              <a:gd name="connsiteY128" fmla="*/ 746295 h 800100"/>
              <a:gd name="connsiteX129" fmla="*/ 477082 w 2114552"/>
              <a:gd name="connsiteY129" fmla="*/ 684212 h 800100"/>
              <a:gd name="connsiteX130" fmla="*/ 493713 w 2114552"/>
              <a:gd name="connsiteY130" fmla="*/ 684212 h 800100"/>
              <a:gd name="connsiteX131" fmla="*/ 493713 w 2114552"/>
              <a:gd name="connsiteY131" fmla="*/ 771128 h 800100"/>
              <a:gd name="connsiteX132" fmla="*/ 493713 w 2114552"/>
              <a:gd name="connsiteY132" fmla="*/ 795961 h 800100"/>
              <a:gd name="connsiteX133" fmla="*/ 481240 w 2114552"/>
              <a:gd name="connsiteY133" fmla="*/ 795961 h 800100"/>
              <a:gd name="connsiteX134" fmla="*/ 481240 w 2114552"/>
              <a:gd name="connsiteY134" fmla="*/ 779406 h 800100"/>
              <a:gd name="connsiteX135" fmla="*/ 443820 w 2114552"/>
              <a:gd name="connsiteY135" fmla="*/ 800100 h 800100"/>
              <a:gd name="connsiteX136" fmla="*/ 406400 w 2114552"/>
              <a:gd name="connsiteY136" fmla="*/ 758711 h 800100"/>
              <a:gd name="connsiteX137" fmla="*/ 406400 w 2114552"/>
              <a:gd name="connsiteY137" fmla="*/ 684212 h 800100"/>
              <a:gd name="connsiteX138" fmla="*/ 325437 w 2114552"/>
              <a:gd name="connsiteY138" fmla="*/ 684212 h 800100"/>
              <a:gd name="connsiteX139" fmla="*/ 377825 w 2114552"/>
              <a:gd name="connsiteY139" fmla="*/ 742156 h 800100"/>
              <a:gd name="connsiteX140" fmla="*/ 325437 w 2114552"/>
              <a:gd name="connsiteY140" fmla="*/ 800100 h 800100"/>
              <a:gd name="connsiteX141" fmla="*/ 273049 w 2114552"/>
              <a:gd name="connsiteY141" fmla="*/ 742156 h 800100"/>
              <a:gd name="connsiteX142" fmla="*/ 325437 w 2114552"/>
              <a:gd name="connsiteY142" fmla="*/ 684212 h 800100"/>
              <a:gd name="connsiteX143" fmla="*/ 1724027 w 2114552"/>
              <a:gd name="connsiteY143" fmla="*/ 666750 h 800100"/>
              <a:gd name="connsiteX144" fmla="*/ 1720852 w 2114552"/>
              <a:gd name="connsiteY144" fmla="*/ 679450 h 800100"/>
              <a:gd name="connsiteX145" fmla="*/ 1716089 w 2114552"/>
              <a:gd name="connsiteY145" fmla="*/ 687388 h 800100"/>
              <a:gd name="connsiteX146" fmla="*/ 1733552 w 2114552"/>
              <a:gd name="connsiteY146" fmla="*/ 687388 h 800100"/>
              <a:gd name="connsiteX147" fmla="*/ 1728789 w 2114552"/>
              <a:gd name="connsiteY147" fmla="*/ 679450 h 800100"/>
              <a:gd name="connsiteX148" fmla="*/ 1728922 w 2114552"/>
              <a:gd name="connsiteY148" fmla="*/ 654050 h 800100"/>
              <a:gd name="connsiteX149" fmla="*/ 1728922 w 2114552"/>
              <a:gd name="connsiteY149" fmla="*/ 658202 h 800100"/>
              <a:gd name="connsiteX150" fmla="*/ 1737124 w 2114552"/>
              <a:gd name="connsiteY150" fmla="*/ 678962 h 800100"/>
              <a:gd name="connsiteX151" fmla="*/ 1749427 w 2114552"/>
              <a:gd name="connsiteY151" fmla="*/ 703873 h 800100"/>
              <a:gd name="connsiteX152" fmla="*/ 1737124 w 2114552"/>
              <a:gd name="connsiteY152" fmla="*/ 703873 h 800100"/>
              <a:gd name="connsiteX153" fmla="*/ 1737124 w 2114552"/>
              <a:gd name="connsiteY153" fmla="*/ 695569 h 800100"/>
              <a:gd name="connsiteX154" fmla="*/ 1712517 w 2114552"/>
              <a:gd name="connsiteY154" fmla="*/ 695569 h 800100"/>
              <a:gd name="connsiteX155" fmla="*/ 1712517 w 2114552"/>
              <a:gd name="connsiteY155" fmla="*/ 708025 h 800100"/>
              <a:gd name="connsiteX156" fmla="*/ 1700214 w 2114552"/>
              <a:gd name="connsiteY156" fmla="*/ 703873 h 800100"/>
              <a:gd name="connsiteX157" fmla="*/ 1712517 w 2114552"/>
              <a:gd name="connsiteY157" fmla="*/ 678962 h 800100"/>
              <a:gd name="connsiteX158" fmla="*/ 1716618 w 2114552"/>
              <a:gd name="connsiteY158" fmla="*/ 658202 h 800100"/>
              <a:gd name="connsiteX159" fmla="*/ 1728922 w 2114552"/>
              <a:gd name="connsiteY159" fmla="*/ 654050 h 800100"/>
              <a:gd name="connsiteX160" fmla="*/ 907733 w 2114552"/>
              <a:gd name="connsiteY160" fmla="*/ 654049 h 800100"/>
              <a:gd name="connsiteX161" fmla="*/ 907733 w 2114552"/>
              <a:gd name="connsiteY161" fmla="*/ 683259 h 800100"/>
              <a:gd name="connsiteX162" fmla="*/ 932498 w 2114552"/>
              <a:gd name="connsiteY162" fmla="*/ 683259 h 800100"/>
              <a:gd name="connsiteX163" fmla="*/ 932498 w 2114552"/>
              <a:gd name="connsiteY163" fmla="*/ 695778 h 800100"/>
              <a:gd name="connsiteX164" fmla="*/ 907733 w 2114552"/>
              <a:gd name="connsiteY164" fmla="*/ 695778 h 800100"/>
              <a:gd name="connsiteX165" fmla="*/ 907733 w 2114552"/>
              <a:gd name="connsiteY165" fmla="*/ 770889 h 800100"/>
              <a:gd name="connsiteX166" fmla="*/ 924243 w 2114552"/>
              <a:gd name="connsiteY166" fmla="*/ 787580 h 800100"/>
              <a:gd name="connsiteX167" fmla="*/ 936626 w 2114552"/>
              <a:gd name="connsiteY167" fmla="*/ 783408 h 800100"/>
              <a:gd name="connsiteX168" fmla="*/ 936626 w 2114552"/>
              <a:gd name="connsiteY168" fmla="*/ 795926 h 800100"/>
              <a:gd name="connsiteX169" fmla="*/ 920116 w 2114552"/>
              <a:gd name="connsiteY169" fmla="*/ 800099 h 800100"/>
              <a:gd name="connsiteX170" fmla="*/ 895351 w 2114552"/>
              <a:gd name="connsiteY170" fmla="*/ 762543 h 800100"/>
              <a:gd name="connsiteX171" fmla="*/ 895351 w 2114552"/>
              <a:gd name="connsiteY171" fmla="*/ 695778 h 800100"/>
              <a:gd name="connsiteX172" fmla="*/ 874713 w 2114552"/>
              <a:gd name="connsiteY172" fmla="*/ 695778 h 800100"/>
              <a:gd name="connsiteX173" fmla="*/ 874713 w 2114552"/>
              <a:gd name="connsiteY173" fmla="*/ 683259 h 800100"/>
              <a:gd name="connsiteX174" fmla="*/ 895351 w 2114552"/>
              <a:gd name="connsiteY174" fmla="*/ 683259 h 800100"/>
              <a:gd name="connsiteX175" fmla="*/ 895351 w 2114552"/>
              <a:gd name="connsiteY175" fmla="*/ 658222 h 800100"/>
              <a:gd name="connsiteX176" fmla="*/ 907733 w 2114552"/>
              <a:gd name="connsiteY176" fmla="*/ 654049 h 800100"/>
              <a:gd name="connsiteX177" fmla="*/ 1658542 w 2114552"/>
              <a:gd name="connsiteY177" fmla="*/ 650875 h 800100"/>
              <a:gd name="connsiteX178" fmla="*/ 1666745 w 2114552"/>
              <a:gd name="connsiteY178" fmla="*/ 650875 h 800100"/>
              <a:gd name="connsiteX179" fmla="*/ 1683149 w 2114552"/>
              <a:gd name="connsiteY179" fmla="*/ 688242 h 800100"/>
              <a:gd name="connsiteX180" fmla="*/ 1687250 w 2114552"/>
              <a:gd name="connsiteY180" fmla="*/ 655027 h 800100"/>
              <a:gd name="connsiteX181" fmla="*/ 1695452 w 2114552"/>
              <a:gd name="connsiteY181" fmla="*/ 655027 h 800100"/>
              <a:gd name="connsiteX182" fmla="*/ 1687250 w 2114552"/>
              <a:gd name="connsiteY182" fmla="*/ 704850 h 800100"/>
              <a:gd name="connsiteX183" fmla="*/ 1679048 w 2114552"/>
              <a:gd name="connsiteY183" fmla="*/ 704850 h 800100"/>
              <a:gd name="connsiteX184" fmla="*/ 1662643 w 2114552"/>
              <a:gd name="connsiteY184" fmla="*/ 671635 h 800100"/>
              <a:gd name="connsiteX185" fmla="*/ 1658542 w 2114552"/>
              <a:gd name="connsiteY185" fmla="*/ 700698 h 800100"/>
              <a:gd name="connsiteX186" fmla="*/ 1646239 w 2114552"/>
              <a:gd name="connsiteY186" fmla="*/ 700698 h 800100"/>
              <a:gd name="connsiteX187" fmla="*/ 1658542 w 2114552"/>
              <a:gd name="connsiteY187" fmla="*/ 650875 h 800100"/>
              <a:gd name="connsiteX188" fmla="*/ 1787526 w 2114552"/>
              <a:gd name="connsiteY188" fmla="*/ 646113 h 800100"/>
              <a:gd name="connsiteX189" fmla="*/ 1787526 w 2114552"/>
              <a:gd name="connsiteY189" fmla="*/ 654504 h 800100"/>
              <a:gd name="connsiteX190" fmla="*/ 1771016 w 2114552"/>
              <a:gd name="connsiteY190" fmla="*/ 658700 h 800100"/>
              <a:gd name="connsiteX191" fmla="*/ 1779271 w 2114552"/>
              <a:gd name="connsiteY191" fmla="*/ 700655 h 800100"/>
              <a:gd name="connsiteX192" fmla="*/ 1771016 w 2114552"/>
              <a:gd name="connsiteY192" fmla="*/ 704851 h 800100"/>
              <a:gd name="connsiteX193" fmla="*/ 1762761 w 2114552"/>
              <a:gd name="connsiteY193" fmla="*/ 662895 h 800100"/>
              <a:gd name="connsiteX194" fmla="*/ 1746251 w 2114552"/>
              <a:gd name="connsiteY194" fmla="*/ 662895 h 800100"/>
              <a:gd name="connsiteX195" fmla="*/ 1746251 w 2114552"/>
              <a:gd name="connsiteY195" fmla="*/ 654504 h 800100"/>
              <a:gd name="connsiteX196" fmla="*/ 1787526 w 2114552"/>
              <a:gd name="connsiteY196" fmla="*/ 646113 h 800100"/>
              <a:gd name="connsiteX197" fmla="*/ 1617029 w 2114552"/>
              <a:gd name="connsiteY197" fmla="*/ 646113 h 800100"/>
              <a:gd name="connsiteX198" fmla="*/ 1617029 w 2114552"/>
              <a:gd name="connsiteY198" fmla="*/ 654051 h 800100"/>
              <a:gd name="connsiteX199" fmla="*/ 1612901 w 2114552"/>
              <a:gd name="connsiteY199" fmla="*/ 658019 h 800100"/>
              <a:gd name="connsiteX200" fmla="*/ 1625284 w 2114552"/>
              <a:gd name="connsiteY200" fmla="*/ 661988 h 800100"/>
              <a:gd name="connsiteX201" fmla="*/ 1633539 w 2114552"/>
              <a:gd name="connsiteY201" fmla="*/ 658019 h 800100"/>
              <a:gd name="connsiteX202" fmla="*/ 1633539 w 2114552"/>
              <a:gd name="connsiteY202" fmla="*/ 654051 h 800100"/>
              <a:gd name="connsiteX203" fmla="*/ 1629412 w 2114552"/>
              <a:gd name="connsiteY203" fmla="*/ 650082 h 800100"/>
              <a:gd name="connsiteX204" fmla="*/ 1617029 w 2114552"/>
              <a:gd name="connsiteY204" fmla="*/ 646113 h 800100"/>
              <a:gd name="connsiteX205" fmla="*/ 966943 w 2114552"/>
              <a:gd name="connsiteY205" fmla="*/ 643885 h 800100"/>
              <a:gd name="connsiteX206" fmla="*/ 981464 w 2114552"/>
              <a:gd name="connsiteY206" fmla="*/ 643885 h 800100"/>
              <a:gd name="connsiteX207" fmla="*/ 981464 w 2114552"/>
              <a:gd name="connsiteY207" fmla="*/ 660066 h 800100"/>
              <a:gd name="connsiteX208" fmla="*/ 966943 w 2114552"/>
              <a:gd name="connsiteY208" fmla="*/ 660066 h 800100"/>
              <a:gd name="connsiteX209" fmla="*/ 1795464 w 2114552"/>
              <a:gd name="connsiteY209" fmla="*/ 641350 h 800100"/>
              <a:gd name="connsiteX210" fmla="*/ 1807711 w 2114552"/>
              <a:gd name="connsiteY210" fmla="*/ 641350 h 800100"/>
              <a:gd name="connsiteX211" fmla="*/ 1824039 w 2114552"/>
              <a:gd name="connsiteY211" fmla="*/ 687917 h 800100"/>
              <a:gd name="connsiteX212" fmla="*/ 1811793 w 2114552"/>
              <a:gd name="connsiteY212" fmla="*/ 692150 h 800100"/>
              <a:gd name="connsiteX213" fmla="*/ 1795464 w 2114552"/>
              <a:gd name="connsiteY213" fmla="*/ 641350 h 800100"/>
              <a:gd name="connsiteX214" fmla="*/ 177800 w 2114552"/>
              <a:gd name="connsiteY214" fmla="*/ 641349 h 800100"/>
              <a:gd name="connsiteX215" fmla="*/ 252413 w 2114552"/>
              <a:gd name="connsiteY215" fmla="*/ 641349 h 800100"/>
              <a:gd name="connsiteX216" fmla="*/ 252413 w 2114552"/>
              <a:gd name="connsiteY216" fmla="*/ 654049 h 800100"/>
              <a:gd name="connsiteX217" fmla="*/ 195262 w 2114552"/>
              <a:gd name="connsiteY217" fmla="*/ 654049 h 800100"/>
              <a:gd name="connsiteX218" fmla="*/ 195262 w 2114552"/>
              <a:gd name="connsiteY218" fmla="*/ 712787 h 800100"/>
              <a:gd name="connsiteX219" fmla="*/ 249238 w 2114552"/>
              <a:gd name="connsiteY219" fmla="*/ 712787 h 800100"/>
              <a:gd name="connsiteX220" fmla="*/ 249238 w 2114552"/>
              <a:gd name="connsiteY220" fmla="*/ 725487 h 800100"/>
              <a:gd name="connsiteX221" fmla="*/ 195262 w 2114552"/>
              <a:gd name="connsiteY221" fmla="*/ 725487 h 800100"/>
              <a:gd name="connsiteX222" fmla="*/ 195262 w 2114552"/>
              <a:gd name="connsiteY222" fmla="*/ 795337 h 800100"/>
              <a:gd name="connsiteX223" fmla="*/ 177800 w 2114552"/>
              <a:gd name="connsiteY223" fmla="*/ 795337 h 800100"/>
              <a:gd name="connsiteX224" fmla="*/ 1612770 w 2114552"/>
              <a:gd name="connsiteY224" fmla="*/ 633413 h 800100"/>
              <a:gd name="connsiteX225" fmla="*/ 1633275 w 2114552"/>
              <a:gd name="connsiteY225" fmla="*/ 641668 h 800100"/>
              <a:gd name="connsiteX226" fmla="*/ 1641477 w 2114552"/>
              <a:gd name="connsiteY226" fmla="*/ 654051 h 800100"/>
              <a:gd name="connsiteX227" fmla="*/ 1641477 w 2114552"/>
              <a:gd name="connsiteY227" fmla="*/ 658178 h 800100"/>
              <a:gd name="connsiteX228" fmla="*/ 1629174 w 2114552"/>
              <a:gd name="connsiteY228" fmla="*/ 670561 h 800100"/>
              <a:gd name="connsiteX229" fmla="*/ 1633275 w 2114552"/>
              <a:gd name="connsiteY229" fmla="*/ 695326 h 800100"/>
              <a:gd name="connsiteX230" fmla="*/ 1620972 w 2114552"/>
              <a:gd name="connsiteY230" fmla="*/ 691198 h 800100"/>
              <a:gd name="connsiteX231" fmla="*/ 1620972 w 2114552"/>
              <a:gd name="connsiteY231" fmla="*/ 670561 h 800100"/>
              <a:gd name="connsiteX232" fmla="*/ 1608668 w 2114552"/>
              <a:gd name="connsiteY232" fmla="*/ 666433 h 800100"/>
              <a:gd name="connsiteX233" fmla="*/ 1604567 w 2114552"/>
              <a:gd name="connsiteY233" fmla="*/ 682943 h 800100"/>
              <a:gd name="connsiteX234" fmla="*/ 1592264 w 2114552"/>
              <a:gd name="connsiteY234" fmla="*/ 678816 h 800100"/>
              <a:gd name="connsiteX235" fmla="*/ 1604567 w 2114552"/>
              <a:gd name="connsiteY235" fmla="*/ 658178 h 800100"/>
              <a:gd name="connsiteX236" fmla="*/ 1604567 w 2114552"/>
              <a:gd name="connsiteY236" fmla="*/ 654051 h 800100"/>
              <a:gd name="connsiteX237" fmla="*/ 1612770 w 2114552"/>
              <a:gd name="connsiteY237" fmla="*/ 633413 h 800100"/>
              <a:gd name="connsiteX238" fmla="*/ 1855109 w 2114552"/>
              <a:gd name="connsiteY238" fmla="*/ 630214 h 800100"/>
              <a:gd name="connsiteX239" fmla="*/ 1844903 w 2114552"/>
              <a:gd name="connsiteY239" fmla="*/ 632818 h 800100"/>
              <a:gd name="connsiteX240" fmla="*/ 1836739 w 2114552"/>
              <a:gd name="connsiteY240" fmla="*/ 645320 h 800100"/>
              <a:gd name="connsiteX241" fmla="*/ 1836739 w 2114552"/>
              <a:gd name="connsiteY241" fmla="*/ 653655 h 800100"/>
              <a:gd name="connsiteX242" fmla="*/ 1840821 w 2114552"/>
              <a:gd name="connsiteY242" fmla="*/ 657822 h 800100"/>
              <a:gd name="connsiteX243" fmla="*/ 1857150 w 2114552"/>
              <a:gd name="connsiteY243" fmla="*/ 661989 h 800100"/>
              <a:gd name="connsiteX244" fmla="*/ 1861232 w 2114552"/>
              <a:gd name="connsiteY244" fmla="*/ 657822 h 800100"/>
              <a:gd name="connsiteX245" fmla="*/ 1865314 w 2114552"/>
              <a:gd name="connsiteY245" fmla="*/ 645320 h 800100"/>
              <a:gd name="connsiteX246" fmla="*/ 1865314 w 2114552"/>
              <a:gd name="connsiteY246" fmla="*/ 636986 h 800100"/>
              <a:gd name="connsiteX247" fmla="*/ 1855109 w 2114552"/>
              <a:gd name="connsiteY247" fmla="*/ 630214 h 800100"/>
              <a:gd name="connsiteX248" fmla="*/ 726110 w 2114552"/>
              <a:gd name="connsiteY248" fmla="*/ 628649 h 800100"/>
              <a:gd name="connsiteX249" fmla="*/ 742951 w 2114552"/>
              <a:gd name="connsiteY249" fmla="*/ 628649 h 800100"/>
              <a:gd name="connsiteX250" fmla="*/ 742951 w 2114552"/>
              <a:gd name="connsiteY250" fmla="*/ 795917 h 800100"/>
              <a:gd name="connsiteX251" fmla="*/ 726110 w 2114552"/>
              <a:gd name="connsiteY251" fmla="*/ 795917 h 800100"/>
              <a:gd name="connsiteX252" fmla="*/ 726110 w 2114552"/>
              <a:gd name="connsiteY252" fmla="*/ 779190 h 800100"/>
              <a:gd name="connsiteX253" fmla="*/ 692427 w 2114552"/>
              <a:gd name="connsiteY253" fmla="*/ 800099 h 800100"/>
              <a:gd name="connsiteX254" fmla="*/ 646113 w 2114552"/>
              <a:gd name="connsiteY254" fmla="*/ 741555 h 800100"/>
              <a:gd name="connsiteX255" fmla="*/ 692427 w 2114552"/>
              <a:gd name="connsiteY255" fmla="*/ 683011 h 800100"/>
              <a:gd name="connsiteX256" fmla="*/ 726110 w 2114552"/>
              <a:gd name="connsiteY256" fmla="*/ 703920 h 800100"/>
              <a:gd name="connsiteX257" fmla="*/ 726110 w 2114552"/>
              <a:gd name="connsiteY257" fmla="*/ 628649 h 800100"/>
              <a:gd name="connsiteX258" fmla="*/ 1857377 w 2114552"/>
              <a:gd name="connsiteY258" fmla="*/ 622131 h 800100"/>
              <a:gd name="connsiteX259" fmla="*/ 1874839 w 2114552"/>
              <a:gd name="connsiteY259" fmla="*/ 633868 h 800100"/>
              <a:gd name="connsiteX260" fmla="*/ 1874839 w 2114552"/>
              <a:gd name="connsiteY260" fmla="*/ 646114 h 800100"/>
              <a:gd name="connsiteX261" fmla="*/ 1874839 w 2114552"/>
              <a:gd name="connsiteY261" fmla="*/ 658360 h 800100"/>
              <a:gd name="connsiteX262" fmla="*/ 1862139 w 2114552"/>
              <a:gd name="connsiteY262" fmla="*/ 666525 h 800100"/>
              <a:gd name="connsiteX263" fmla="*/ 1828272 w 2114552"/>
              <a:gd name="connsiteY263" fmla="*/ 658360 h 800100"/>
              <a:gd name="connsiteX264" fmla="*/ 1824039 w 2114552"/>
              <a:gd name="connsiteY264" fmla="*/ 646114 h 800100"/>
              <a:gd name="connsiteX265" fmla="*/ 1836739 w 2114552"/>
              <a:gd name="connsiteY265" fmla="*/ 625703 h 800100"/>
              <a:gd name="connsiteX266" fmla="*/ 1857377 w 2114552"/>
              <a:gd name="connsiteY266" fmla="*/ 622131 h 800100"/>
              <a:gd name="connsiteX267" fmla="*/ 1571138 w 2114552"/>
              <a:gd name="connsiteY267" fmla="*/ 612775 h 800100"/>
              <a:gd name="connsiteX268" fmla="*/ 1600201 w 2114552"/>
              <a:gd name="connsiteY268" fmla="*/ 629285 h 800100"/>
              <a:gd name="connsiteX269" fmla="*/ 1596049 w 2114552"/>
              <a:gd name="connsiteY269" fmla="*/ 637540 h 800100"/>
              <a:gd name="connsiteX270" fmla="*/ 1575290 w 2114552"/>
              <a:gd name="connsiteY270" fmla="*/ 625158 h 800100"/>
              <a:gd name="connsiteX271" fmla="*/ 1571138 w 2114552"/>
              <a:gd name="connsiteY271" fmla="*/ 633413 h 800100"/>
              <a:gd name="connsiteX272" fmla="*/ 1583593 w 2114552"/>
              <a:gd name="connsiteY272" fmla="*/ 641668 h 800100"/>
              <a:gd name="connsiteX273" fmla="*/ 1579442 w 2114552"/>
              <a:gd name="connsiteY273" fmla="*/ 649923 h 800100"/>
              <a:gd name="connsiteX274" fmla="*/ 1566986 w 2114552"/>
              <a:gd name="connsiteY274" fmla="*/ 641668 h 800100"/>
              <a:gd name="connsiteX275" fmla="*/ 1558682 w 2114552"/>
              <a:gd name="connsiteY275" fmla="*/ 654050 h 800100"/>
              <a:gd name="connsiteX276" fmla="*/ 1579442 w 2114552"/>
              <a:gd name="connsiteY276" fmla="*/ 666433 h 800100"/>
              <a:gd name="connsiteX277" fmla="*/ 1575290 w 2114552"/>
              <a:gd name="connsiteY277" fmla="*/ 674688 h 800100"/>
              <a:gd name="connsiteX278" fmla="*/ 1546226 w 2114552"/>
              <a:gd name="connsiteY278" fmla="*/ 654050 h 800100"/>
              <a:gd name="connsiteX279" fmla="*/ 1571138 w 2114552"/>
              <a:gd name="connsiteY279" fmla="*/ 612775 h 800100"/>
              <a:gd name="connsiteX280" fmla="*/ 1898969 w 2114552"/>
              <a:gd name="connsiteY280" fmla="*/ 579438 h 800100"/>
              <a:gd name="connsiteX281" fmla="*/ 1931989 w 2114552"/>
              <a:gd name="connsiteY281" fmla="*/ 616943 h 800100"/>
              <a:gd name="connsiteX282" fmla="*/ 1923734 w 2114552"/>
              <a:gd name="connsiteY282" fmla="*/ 625277 h 800100"/>
              <a:gd name="connsiteX283" fmla="*/ 1890714 w 2114552"/>
              <a:gd name="connsiteY283" fmla="*/ 612776 h 800100"/>
              <a:gd name="connsiteX284" fmla="*/ 1907224 w 2114552"/>
              <a:gd name="connsiteY284" fmla="*/ 637779 h 800100"/>
              <a:gd name="connsiteX285" fmla="*/ 1898969 w 2114552"/>
              <a:gd name="connsiteY285" fmla="*/ 646113 h 800100"/>
              <a:gd name="connsiteX286" fmla="*/ 1870076 w 2114552"/>
              <a:gd name="connsiteY286" fmla="*/ 604441 h 800100"/>
              <a:gd name="connsiteX287" fmla="*/ 1878331 w 2114552"/>
              <a:gd name="connsiteY287" fmla="*/ 600274 h 800100"/>
              <a:gd name="connsiteX288" fmla="*/ 1911351 w 2114552"/>
              <a:gd name="connsiteY288" fmla="*/ 608608 h 800100"/>
              <a:gd name="connsiteX289" fmla="*/ 1890714 w 2114552"/>
              <a:gd name="connsiteY289" fmla="*/ 587772 h 800100"/>
              <a:gd name="connsiteX290" fmla="*/ 1898969 w 2114552"/>
              <a:gd name="connsiteY290" fmla="*/ 579438 h 800100"/>
              <a:gd name="connsiteX291" fmla="*/ 1534626 w 2114552"/>
              <a:gd name="connsiteY291" fmla="*/ 579438 h 800100"/>
              <a:gd name="connsiteX292" fmla="*/ 1563689 w 2114552"/>
              <a:gd name="connsiteY292" fmla="*/ 604350 h 800100"/>
              <a:gd name="connsiteX293" fmla="*/ 1559537 w 2114552"/>
              <a:gd name="connsiteY293" fmla="*/ 612653 h 800100"/>
              <a:gd name="connsiteX294" fmla="*/ 1547081 w 2114552"/>
              <a:gd name="connsiteY294" fmla="*/ 604350 h 800100"/>
              <a:gd name="connsiteX295" fmla="*/ 1518018 w 2114552"/>
              <a:gd name="connsiteY295" fmla="*/ 633413 h 800100"/>
              <a:gd name="connsiteX296" fmla="*/ 1509714 w 2114552"/>
              <a:gd name="connsiteY296" fmla="*/ 625109 h 800100"/>
              <a:gd name="connsiteX297" fmla="*/ 1538778 w 2114552"/>
              <a:gd name="connsiteY297" fmla="*/ 596046 h 800100"/>
              <a:gd name="connsiteX298" fmla="*/ 1526322 w 2114552"/>
              <a:gd name="connsiteY298" fmla="*/ 583590 h 800100"/>
              <a:gd name="connsiteX299" fmla="*/ 1534626 w 2114552"/>
              <a:gd name="connsiteY299" fmla="*/ 579438 h 800100"/>
              <a:gd name="connsiteX300" fmla="*/ 1924051 w 2114552"/>
              <a:gd name="connsiteY300" fmla="*/ 566738 h 800100"/>
              <a:gd name="connsiteX301" fmla="*/ 1931989 w 2114552"/>
              <a:gd name="connsiteY301" fmla="*/ 579438 h 800100"/>
              <a:gd name="connsiteX302" fmla="*/ 1936751 w 2114552"/>
              <a:gd name="connsiteY302" fmla="*/ 587376 h 800100"/>
              <a:gd name="connsiteX303" fmla="*/ 1944689 w 2114552"/>
              <a:gd name="connsiteY303" fmla="*/ 579438 h 800100"/>
              <a:gd name="connsiteX304" fmla="*/ 1944689 w 2114552"/>
              <a:gd name="connsiteY304" fmla="*/ 574676 h 800100"/>
              <a:gd name="connsiteX305" fmla="*/ 1919742 w 2114552"/>
              <a:gd name="connsiteY305" fmla="*/ 558800 h 800100"/>
              <a:gd name="connsiteX306" fmla="*/ 1970089 w 2114552"/>
              <a:gd name="connsiteY306" fmla="*/ 571103 h 800100"/>
              <a:gd name="connsiteX307" fmla="*/ 1965894 w 2114552"/>
              <a:gd name="connsiteY307" fmla="*/ 579305 h 800100"/>
              <a:gd name="connsiteX308" fmla="*/ 1961698 w 2114552"/>
              <a:gd name="connsiteY308" fmla="*/ 579305 h 800100"/>
              <a:gd name="connsiteX309" fmla="*/ 1953307 w 2114552"/>
              <a:gd name="connsiteY309" fmla="*/ 579305 h 800100"/>
              <a:gd name="connsiteX310" fmla="*/ 1940720 w 2114552"/>
              <a:gd name="connsiteY310" fmla="*/ 595710 h 800100"/>
              <a:gd name="connsiteX311" fmla="*/ 1944916 w 2114552"/>
              <a:gd name="connsiteY311" fmla="*/ 603912 h 800100"/>
              <a:gd name="connsiteX312" fmla="*/ 1940720 w 2114552"/>
              <a:gd name="connsiteY312" fmla="*/ 608013 h 800100"/>
              <a:gd name="connsiteX313" fmla="*/ 1919742 w 2114552"/>
              <a:gd name="connsiteY313" fmla="*/ 579305 h 800100"/>
              <a:gd name="connsiteX314" fmla="*/ 1911351 w 2114552"/>
              <a:gd name="connsiteY314" fmla="*/ 567002 h 800100"/>
              <a:gd name="connsiteX315" fmla="*/ 1500586 w 2114552"/>
              <a:gd name="connsiteY315" fmla="*/ 541338 h 800100"/>
              <a:gd name="connsiteX316" fmla="*/ 1508920 w 2114552"/>
              <a:gd name="connsiteY316" fmla="*/ 549805 h 800100"/>
              <a:gd name="connsiteX317" fmla="*/ 1496419 w 2114552"/>
              <a:gd name="connsiteY317" fmla="*/ 583671 h 800100"/>
              <a:gd name="connsiteX318" fmla="*/ 1521422 w 2114552"/>
              <a:gd name="connsiteY318" fmla="*/ 562505 h 800100"/>
              <a:gd name="connsiteX319" fmla="*/ 1525589 w 2114552"/>
              <a:gd name="connsiteY319" fmla="*/ 570971 h 800100"/>
              <a:gd name="connsiteX320" fmla="*/ 1488084 w 2114552"/>
              <a:gd name="connsiteY320" fmla="*/ 604838 h 800100"/>
              <a:gd name="connsiteX321" fmla="*/ 1479750 w 2114552"/>
              <a:gd name="connsiteY321" fmla="*/ 596371 h 800100"/>
              <a:gd name="connsiteX322" fmla="*/ 1492252 w 2114552"/>
              <a:gd name="connsiteY322" fmla="*/ 562505 h 800100"/>
              <a:gd name="connsiteX323" fmla="*/ 1467249 w 2114552"/>
              <a:gd name="connsiteY323" fmla="*/ 579438 h 800100"/>
              <a:gd name="connsiteX324" fmla="*/ 1458914 w 2114552"/>
              <a:gd name="connsiteY324" fmla="*/ 570971 h 800100"/>
              <a:gd name="connsiteX325" fmla="*/ 1500586 w 2114552"/>
              <a:gd name="connsiteY325" fmla="*/ 541338 h 800100"/>
              <a:gd name="connsiteX326" fmla="*/ 1936752 w 2114552"/>
              <a:gd name="connsiteY326" fmla="*/ 528638 h 800100"/>
              <a:gd name="connsiteX327" fmla="*/ 1973264 w 2114552"/>
              <a:gd name="connsiteY327" fmla="*/ 550863 h 800100"/>
              <a:gd name="connsiteX328" fmla="*/ 1985965 w 2114552"/>
              <a:gd name="connsiteY328" fmla="*/ 528638 h 800100"/>
              <a:gd name="connsiteX329" fmla="*/ 1993902 w 2114552"/>
              <a:gd name="connsiteY329" fmla="*/ 533401 h 800100"/>
              <a:gd name="connsiteX330" fmla="*/ 1978027 w 2114552"/>
              <a:gd name="connsiteY330" fmla="*/ 561976 h 800100"/>
              <a:gd name="connsiteX331" fmla="*/ 1931989 w 2114552"/>
              <a:gd name="connsiteY331" fmla="*/ 538163 h 800100"/>
              <a:gd name="connsiteX332" fmla="*/ 1492829 w 2114552"/>
              <a:gd name="connsiteY332" fmla="*/ 525463 h 800100"/>
              <a:gd name="connsiteX333" fmla="*/ 1497014 w 2114552"/>
              <a:gd name="connsiteY333" fmla="*/ 533798 h 800100"/>
              <a:gd name="connsiteX334" fmla="*/ 1455161 w 2114552"/>
              <a:gd name="connsiteY334" fmla="*/ 558801 h 800100"/>
              <a:gd name="connsiteX335" fmla="*/ 1450976 w 2114552"/>
              <a:gd name="connsiteY335" fmla="*/ 550467 h 800100"/>
              <a:gd name="connsiteX336" fmla="*/ 1492829 w 2114552"/>
              <a:gd name="connsiteY336" fmla="*/ 525463 h 800100"/>
              <a:gd name="connsiteX337" fmla="*/ 1482542 w 2114552"/>
              <a:gd name="connsiteY337" fmla="*/ 485751 h 800100"/>
              <a:gd name="connsiteX338" fmla="*/ 1476320 w 2114552"/>
              <a:gd name="connsiteY338" fmla="*/ 488355 h 800100"/>
              <a:gd name="connsiteX339" fmla="*/ 1430696 w 2114552"/>
              <a:gd name="connsiteY339" fmla="*/ 500857 h 800100"/>
              <a:gd name="connsiteX340" fmla="*/ 1422401 w 2114552"/>
              <a:gd name="connsiteY340" fmla="*/ 517526 h 800100"/>
              <a:gd name="connsiteX341" fmla="*/ 1716883 w 2114552"/>
              <a:gd name="connsiteY341" fmla="*/ 717551 h 800100"/>
              <a:gd name="connsiteX342" fmla="*/ 2011364 w 2114552"/>
              <a:gd name="connsiteY342" fmla="*/ 513358 h 800100"/>
              <a:gd name="connsiteX343" fmla="*/ 2003069 w 2114552"/>
              <a:gd name="connsiteY343" fmla="*/ 500857 h 800100"/>
              <a:gd name="connsiteX344" fmla="*/ 1957445 w 2114552"/>
              <a:gd name="connsiteY344" fmla="*/ 488355 h 800100"/>
              <a:gd name="connsiteX345" fmla="*/ 1951224 w 2114552"/>
              <a:gd name="connsiteY345" fmla="*/ 485751 h 800100"/>
              <a:gd name="connsiteX346" fmla="*/ 1945002 w 2114552"/>
              <a:gd name="connsiteY346" fmla="*/ 492522 h 800100"/>
              <a:gd name="connsiteX347" fmla="*/ 1716883 w 2114552"/>
              <a:gd name="connsiteY347" fmla="*/ 646709 h 800100"/>
              <a:gd name="connsiteX348" fmla="*/ 1488763 w 2114552"/>
              <a:gd name="connsiteY348" fmla="*/ 492522 h 800100"/>
              <a:gd name="connsiteX349" fmla="*/ 1482542 w 2114552"/>
              <a:gd name="connsiteY349" fmla="*/ 485751 h 800100"/>
              <a:gd name="connsiteX350" fmla="*/ 1662749 w 2114552"/>
              <a:gd name="connsiteY350" fmla="*/ 478852 h 800100"/>
              <a:gd name="connsiteX351" fmla="*/ 1551306 w 2114552"/>
              <a:gd name="connsiteY351" fmla="*/ 533313 h 800100"/>
              <a:gd name="connsiteX352" fmla="*/ 1543051 w 2114552"/>
              <a:gd name="connsiteY352" fmla="*/ 537502 h 800100"/>
              <a:gd name="connsiteX353" fmla="*/ 1543051 w 2114552"/>
              <a:gd name="connsiteY353" fmla="*/ 541691 h 800100"/>
              <a:gd name="connsiteX354" fmla="*/ 1547179 w 2114552"/>
              <a:gd name="connsiteY354" fmla="*/ 545880 h 800100"/>
              <a:gd name="connsiteX355" fmla="*/ 1675132 w 2114552"/>
              <a:gd name="connsiteY355" fmla="*/ 621287 h 800100"/>
              <a:gd name="connsiteX356" fmla="*/ 1683387 w 2114552"/>
              <a:gd name="connsiteY356" fmla="*/ 621287 h 800100"/>
              <a:gd name="connsiteX357" fmla="*/ 1687514 w 2114552"/>
              <a:gd name="connsiteY357" fmla="*/ 608719 h 800100"/>
              <a:gd name="connsiteX358" fmla="*/ 1679259 w 2114552"/>
              <a:gd name="connsiteY358" fmla="*/ 487231 h 800100"/>
              <a:gd name="connsiteX359" fmla="*/ 1675132 w 2114552"/>
              <a:gd name="connsiteY359" fmla="*/ 478852 h 800100"/>
              <a:gd name="connsiteX360" fmla="*/ 1662749 w 2114552"/>
              <a:gd name="connsiteY360" fmla="*/ 478852 h 800100"/>
              <a:gd name="connsiteX361" fmla="*/ 1762761 w 2114552"/>
              <a:gd name="connsiteY361" fmla="*/ 474663 h 800100"/>
              <a:gd name="connsiteX362" fmla="*/ 1758634 w 2114552"/>
              <a:gd name="connsiteY362" fmla="*/ 487182 h 800100"/>
              <a:gd name="connsiteX363" fmla="*/ 1746251 w 2114552"/>
              <a:gd name="connsiteY363" fmla="*/ 608194 h 800100"/>
              <a:gd name="connsiteX364" fmla="*/ 1750379 w 2114552"/>
              <a:gd name="connsiteY364" fmla="*/ 620713 h 800100"/>
              <a:gd name="connsiteX365" fmla="*/ 1758634 w 2114552"/>
              <a:gd name="connsiteY365" fmla="*/ 620713 h 800100"/>
              <a:gd name="connsiteX366" fmla="*/ 1886587 w 2114552"/>
              <a:gd name="connsiteY366" fmla="*/ 545602 h 800100"/>
              <a:gd name="connsiteX367" fmla="*/ 1890714 w 2114552"/>
              <a:gd name="connsiteY367" fmla="*/ 537256 h 800100"/>
              <a:gd name="connsiteX368" fmla="*/ 1882459 w 2114552"/>
              <a:gd name="connsiteY368" fmla="*/ 528910 h 800100"/>
              <a:gd name="connsiteX369" fmla="*/ 1775144 w 2114552"/>
              <a:gd name="connsiteY369" fmla="*/ 474663 h 800100"/>
              <a:gd name="connsiteX370" fmla="*/ 1762761 w 2114552"/>
              <a:gd name="connsiteY370" fmla="*/ 474663 h 800100"/>
              <a:gd name="connsiteX371" fmla="*/ 725572 w 2114552"/>
              <a:gd name="connsiteY371" fmla="*/ 428624 h 800100"/>
              <a:gd name="connsiteX372" fmla="*/ 696913 w 2114552"/>
              <a:gd name="connsiteY372" fmla="*/ 457993 h 800100"/>
              <a:gd name="connsiteX373" fmla="*/ 717384 w 2114552"/>
              <a:gd name="connsiteY373" fmla="*/ 487362 h 800100"/>
              <a:gd name="connsiteX374" fmla="*/ 774701 w 2114552"/>
              <a:gd name="connsiteY374" fmla="*/ 478971 h 800100"/>
              <a:gd name="connsiteX375" fmla="*/ 774701 w 2114552"/>
              <a:gd name="connsiteY375" fmla="*/ 428624 h 800100"/>
              <a:gd name="connsiteX376" fmla="*/ 352426 w 2114552"/>
              <a:gd name="connsiteY376" fmla="*/ 346073 h 800100"/>
              <a:gd name="connsiteX377" fmla="*/ 303213 w 2114552"/>
              <a:gd name="connsiteY377" fmla="*/ 412562 h 800100"/>
              <a:gd name="connsiteX378" fmla="*/ 352426 w 2114552"/>
              <a:gd name="connsiteY378" fmla="*/ 487361 h 800100"/>
              <a:gd name="connsiteX379" fmla="*/ 401638 w 2114552"/>
              <a:gd name="connsiteY379" fmla="*/ 412562 h 800100"/>
              <a:gd name="connsiteX380" fmla="*/ 352426 w 2114552"/>
              <a:gd name="connsiteY380" fmla="*/ 346073 h 800100"/>
              <a:gd name="connsiteX381" fmla="*/ 1704770 w 2114552"/>
              <a:gd name="connsiteY381" fmla="*/ 341312 h 800100"/>
              <a:gd name="connsiteX382" fmla="*/ 1704770 w 2114552"/>
              <a:gd name="connsiteY382" fmla="*/ 353885 h 800100"/>
              <a:gd name="connsiteX383" fmla="*/ 1671639 w 2114552"/>
              <a:gd name="connsiteY383" fmla="*/ 399986 h 800100"/>
              <a:gd name="connsiteX384" fmla="*/ 1717193 w 2114552"/>
              <a:gd name="connsiteY384" fmla="*/ 446087 h 800100"/>
              <a:gd name="connsiteX385" fmla="*/ 1766889 w 2114552"/>
              <a:gd name="connsiteY385" fmla="*/ 399986 h 800100"/>
              <a:gd name="connsiteX386" fmla="*/ 1729617 w 2114552"/>
              <a:gd name="connsiteY386" fmla="*/ 353885 h 800100"/>
              <a:gd name="connsiteX387" fmla="*/ 1729617 w 2114552"/>
              <a:gd name="connsiteY387" fmla="*/ 341312 h 800100"/>
              <a:gd name="connsiteX388" fmla="*/ 1704770 w 2114552"/>
              <a:gd name="connsiteY388" fmla="*/ 341312 h 800100"/>
              <a:gd name="connsiteX389" fmla="*/ 1716883 w 2114552"/>
              <a:gd name="connsiteY389" fmla="*/ 328612 h 800100"/>
              <a:gd name="connsiteX390" fmla="*/ 1787527 w 2114552"/>
              <a:gd name="connsiteY390" fmla="*/ 400050 h 800100"/>
              <a:gd name="connsiteX391" fmla="*/ 1716883 w 2114552"/>
              <a:gd name="connsiteY391" fmla="*/ 471488 h 800100"/>
              <a:gd name="connsiteX392" fmla="*/ 1646239 w 2114552"/>
              <a:gd name="connsiteY392" fmla="*/ 400050 h 800100"/>
              <a:gd name="connsiteX393" fmla="*/ 1716883 w 2114552"/>
              <a:gd name="connsiteY393" fmla="*/ 328612 h 800100"/>
              <a:gd name="connsiteX394" fmla="*/ 1716883 w 2114552"/>
              <a:gd name="connsiteY394" fmla="*/ 320675 h 800100"/>
              <a:gd name="connsiteX395" fmla="*/ 1638301 w 2114552"/>
              <a:gd name="connsiteY395" fmla="*/ 400050 h 800100"/>
              <a:gd name="connsiteX396" fmla="*/ 1716883 w 2114552"/>
              <a:gd name="connsiteY396" fmla="*/ 479425 h 800100"/>
              <a:gd name="connsiteX397" fmla="*/ 1795465 w 2114552"/>
              <a:gd name="connsiteY397" fmla="*/ 400050 h 800100"/>
              <a:gd name="connsiteX398" fmla="*/ 1716883 w 2114552"/>
              <a:gd name="connsiteY398" fmla="*/ 320675 h 800100"/>
              <a:gd name="connsiteX399" fmla="*/ 1924004 w 2114552"/>
              <a:gd name="connsiteY399" fmla="*/ 317500 h 800100"/>
              <a:gd name="connsiteX400" fmla="*/ 1911592 w 2114552"/>
              <a:gd name="connsiteY400" fmla="*/ 321667 h 800100"/>
              <a:gd name="connsiteX401" fmla="*/ 1812301 w 2114552"/>
              <a:gd name="connsiteY401" fmla="*/ 388342 h 800100"/>
              <a:gd name="connsiteX402" fmla="*/ 1808164 w 2114552"/>
              <a:gd name="connsiteY402" fmla="*/ 400844 h 800100"/>
              <a:gd name="connsiteX403" fmla="*/ 1812301 w 2114552"/>
              <a:gd name="connsiteY403" fmla="*/ 409178 h 800100"/>
              <a:gd name="connsiteX404" fmla="*/ 1915729 w 2114552"/>
              <a:gd name="connsiteY404" fmla="*/ 480021 h 800100"/>
              <a:gd name="connsiteX405" fmla="*/ 1924004 w 2114552"/>
              <a:gd name="connsiteY405" fmla="*/ 480021 h 800100"/>
              <a:gd name="connsiteX406" fmla="*/ 1928141 w 2114552"/>
              <a:gd name="connsiteY406" fmla="*/ 471686 h 800100"/>
              <a:gd name="connsiteX407" fmla="*/ 1928141 w 2114552"/>
              <a:gd name="connsiteY407" fmla="*/ 325834 h 800100"/>
              <a:gd name="connsiteX408" fmla="*/ 1924004 w 2114552"/>
              <a:gd name="connsiteY408" fmla="*/ 317500 h 800100"/>
              <a:gd name="connsiteX409" fmla="*/ 1509762 w 2114552"/>
              <a:gd name="connsiteY409" fmla="*/ 317500 h 800100"/>
              <a:gd name="connsiteX410" fmla="*/ 1501487 w 2114552"/>
              <a:gd name="connsiteY410" fmla="*/ 325834 h 800100"/>
              <a:gd name="connsiteX411" fmla="*/ 1501487 w 2114552"/>
              <a:gd name="connsiteY411" fmla="*/ 475854 h 800100"/>
              <a:gd name="connsiteX412" fmla="*/ 1509762 w 2114552"/>
              <a:gd name="connsiteY412" fmla="*/ 480021 h 800100"/>
              <a:gd name="connsiteX413" fmla="*/ 1518036 w 2114552"/>
              <a:gd name="connsiteY413" fmla="*/ 480021 h 800100"/>
              <a:gd name="connsiteX414" fmla="*/ 1621464 w 2114552"/>
              <a:gd name="connsiteY414" fmla="*/ 409178 h 800100"/>
              <a:gd name="connsiteX415" fmla="*/ 1625601 w 2114552"/>
              <a:gd name="connsiteY415" fmla="*/ 400844 h 800100"/>
              <a:gd name="connsiteX416" fmla="*/ 1621464 w 2114552"/>
              <a:gd name="connsiteY416" fmla="*/ 388342 h 800100"/>
              <a:gd name="connsiteX417" fmla="*/ 1518036 w 2114552"/>
              <a:gd name="connsiteY417" fmla="*/ 321667 h 800100"/>
              <a:gd name="connsiteX418" fmla="*/ 1509762 w 2114552"/>
              <a:gd name="connsiteY418" fmla="*/ 317500 h 800100"/>
              <a:gd name="connsiteX419" fmla="*/ 1032821 w 2114552"/>
              <a:gd name="connsiteY419" fmla="*/ 304799 h 800100"/>
              <a:gd name="connsiteX420" fmla="*/ 1041062 w 2114552"/>
              <a:gd name="connsiteY420" fmla="*/ 304799 h 800100"/>
              <a:gd name="connsiteX421" fmla="*/ 1074028 w 2114552"/>
              <a:gd name="connsiteY421" fmla="*/ 304799 h 800100"/>
              <a:gd name="connsiteX422" fmla="*/ 1082270 w 2114552"/>
              <a:gd name="connsiteY422" fmla="*/ 308966 h 800100"/>
              <a:gd name="connsiteX423" fmla="*/ 1123477 w 2114552"/>
              <a:gd name="connsiteY423" fmla="*/ 479821 h 800100"/>
              <a:gd name="connsiteX424" fmla="*/ 1127598 w 2114552"/>
              <a:gd name="connsiteY424" fmla="*/ 479821 h 800100"/>
              <a:gd name="connsiteX425" fmla="*/ 1172926 w 2114552"/>
              <a:gd name="connsiteY425" fmla="*/ 308966 h 800100"/>
              <a:gd name="connsiteX426" fmla="*/ 1181168 w 2114552"/>
              <a:gd name="connsiteY426" fmla="*/ 304799 h 800100"/>
              <a:gd name="connsiteX427" fmla="*/ 1214134 w 2114552"/>
              <a:gd name="connsiteY427" fmla="*/ 304799 h 800100"/>
              <a:gd name="connsiteX428" fmla="*/ 1222375 w 2114552"/>
              <a:gd name="connsiteY428" fmla="*/ 304799 h 800100"/>
              <a:gd name="connsiteX429" fmla="*/ 1222375 w 2114552"/>
              <a:gd name="connsiteY429" fmla="*/ 313133 h 800100"/>
              <a:gd name="connsiteX430" fmla="*/ 1218254 w 2114552"/>
              <a:gd name="connsiteY430" fmla="*/ 338137 h 800100"/>
              <a:gd name="connsiteX431" fmla="*/ 1201771 w 2114552"/>
              <a:gd name="connsiteY431" fmla="*/ 388143 h 800100"/>
              <a:gd name="connsiteX432" fmla="*/ 1164685 w 2114552"/>
              <a:gd name="connsiteY432" fmla="*/ 542329 h 800100"/>
              <a:gd name="connsiteX433" fmla="*/ 1098753 w 2114552"/>
              <a:gd name="connsiteY433" fmla="*/ 604837 h 800100"/>
              <a:gd name="connsiteX434" fmla="*/ 1094632 w 2114552"/>
              <a:gd name="connsiteY434" fmla="*/ 604837 h 800100"/>
              <a:gd name="connsiteX435" fmla="*/ 1041062 w 2114552"/>
              <a:gd name="connsiteY435" fmla="*/ 600670 h 800100"/>
              <a:gd name="connsiteX436" fmla="*/ 1032821 w 2114552"/>
              <a:gd name="connsiteY436" fmla="*/ 592335 h 800100"/>
              <a:gd name="connsiteX437" fmla="*/ 1032821 w 2114552"/>
              <a:gd name="connsiteY437" fmla="*/ 567332 h 800100"/>
              <a:gd name="connsiteX438" fmla="*/ 1036942 w 2114552"/>
              <a:gd name="connsiteY438" fmla="*/ 563165 h 800100"/>
              <a:gd name="connsiteX439" fmla="*/ 1041062 w 2114552"/>
              <a:gd name="connsiteY439" fmla="*/ 558998 h 800100"/>
              <a:gd name="connsiteX440" fmla="*/ 1082270 w 2114552"/>
              <a:gd name="connsiteY440" fmla="*/ 563165 h 800100"/>
              <a:gd name="connsiteX441" fmla="*/ 1115236 w 2114552"/>
              <a:gd name="connsiteY441" fmla="*/ 538162 h 800100"/>
              <a:gd name="connsiteX442" fmla="*/ 1119357 w 2114552"/>
              <a:gd name="connsiteY442" fmla="*/ 529828 h 800100"/>
              <a:gd name="connsiteX443" fmla="*/ 1106994 w 2114552"/>
              <a:gd name="connsiteY443" fmla="*/ 529828 h 800100"/>
              <a:gd name="connsiteX444" fmla="*/ 1082270 w 2114552"/>
              <a:gd name="connsiteY444" fmla="*/ 504824 h 800100"/>
              <a:gd name="connsiteX445" fmla="*/ 1032821 w 2114552"/>
              <a:gd name="connsiteY445" fmla="*/ 313133 h 800100"/>
              <a:gd name="connsiteX446" fmla="*/ 1032821 w 2114552"/>
              <a:gd name="connsiteY446" fmla="*/ 304799 h 800100"/>
              <a:gd name="connsiteX447" fmla="*/ 994979 w 2114552"/>
              <a:gd name="connsiteY447" fmla="*/ 300037 h 800100"/>
              <a:gd name="connsiteX448" fmla="*/ 999140 w 2114552"/>
              <a:gd name="connsiteY448" fmla="*/ 304193 h 800100"/>
              <a:gd name="connsiteX449" fmla="*/ 1003300 w 2114552"/>
              <a:gd name="connsiteY449" fmla="*/ 308350 h 800100"/>
              <a:gd name="connsiteX450" fmla="*/ 1003300 w 2114552"/>
              <a:gd name="connsiteY450" fmla="*/ 341601 h 800100"/>
              <a:gd name="connsiteX451" fmla="*/ 994979 w 2114552"/>
              <a:gd name="connsiteY451" fmla="*/ 349913 h 800100"/>
              <a:gd name="connsiteX452" fmla="*/ 932574 w 2114552"/>
              <a:gd name="connsiteY452" fmla="*/ 374852 h 800100"/>
              <a:gd name="connsiteX453" fmla="*/ 932574 w 2114552"/>
              <a:gd name="connsiteY453" fmla="*/ 520324 h 800100"/>
              <a:gd name="connsiteX454" fmla="*/ 924254 w 2114552"/>
              <a:gd name="connsiteY454" fmla="*/ 528637 h 800100"/>
              <a:gd name="connsiteX455" fmla="*/ 890971 w 2114552"/>
              <a:gd name="connsiteY455" fmla="*/ 528637 h 800100"/>
              <a:gd name="connsiteX456" fmla="*/ 882650 w 2114552"/>
              <a:gd name="connsiteY456" fmla="*/ 520324 h 800100"/>
              <a:gd name="connsiteX457" fmla="*/ 882650 w 2114552"/>
              <a:gd name="connsiteY457" fmla="*/ 312506 h 800100"/>
              <a:gd name="connsiteX458" fmla="*/ 890971 w 2114552"/>
              <a:gd name="connsiteY458" fmla="*/ 304193 h 800100"/>
              <a:gd name="connsiteX459" fmla="*/ 924254 w 2114552"/>
              <a:gd name="connsiteY459" fmla="*/ 304193 h 800100"/>
              <a:gd name="connsiteX460" fmla="*/ 932574 w 2114552"/>
              <a:gd name="connsiteY460" fmla="*/ 312506 h 800100"/>
              <a:gd name="connsiteX461" fmla="*/ 932574 w 2114552"/>
              <a:gd name="connsiteY461" fmla="*/ 324975 h 800100"/>
              <a:gd name="connsiteX462" fmla="*/ 994979 w 2114552"/>
              <a:gd name="connsiteY462" fmla="*/ 300037 h 800100"/>
              <a:gd name="connsiteX463" fmla="*/ 750816 w 2114552"/>
              <a:gd name="connsiteY463" fmla="*/ 295274 h 800100"/>
              <a:gd name="connsiteX464" fmla="*/ 825501 w 2114552"/>
              <a:gd name="connsiteY464" fmla="*/ 374649 h 800100"/>
              <a:gd name="connsiteX465" fmla="*/ 825501 w 2114552"/>
              <a:gd name="connsiteY465" fmla="*/ 525044 h 800100"/>
              <a:gd name="connsiteX466" fmla="*/ 825501 w 2114552"/>
              <a:gd name="connsiteY466" fmla="*/ 529221 h 800100"/>
              <a:gd name="connsiteX467" fmla="*/ 817203 w 2114552"/>
              <a:gd name="connsiteY467" fmla="*/ 533399 h 800100"/>
              <a:gd name="connsiteX468" fmla="*/ 784010 w 2114552"/>
              <a:gd name="connsiteY468" fmla="*/ 516688 h 800100"/>
              <a:gd name="connsiteX469" fmla="*/ 709325 w 2114552"/>
              <a:gd name="connsiteY469" fmla="*/ 533399 h 800100"/>
              <a:gd name="connsiteX470" fmla="*/ 642938 w 2114552"/>
              <a:gd name="connsiteY470" fmla="*/ 462379 h 800100"/>
              <a:gd name="connsiteX471" fmla="*/ 717623 w 2114552"/>
              <a:gd name="connsiteY471" fmla="*/ 391360 h 800100"/>
              <a:gd name="connsiteX472" fmla="*/ 775711 w 2114552"/>
              <a:gd name="connsiteY472" fmla="*/ 387182 h 800100"/>
              <a:gd name="connsiteX473" fmla="*/ 775711 w 2114552"/>
              <a:gd name="connsiteY473" fmla="*/ 374649 h 800100"/>
              <a:gd name="connsiteX474" fmla="*/ 746667 w 2114552"/>
              <a:gd name="connsiteY474" fmla="*/ 345406 h 800100"/>
              <a:gd name="connsiteX475" fmla="*/ 667833 w 2114552"/>
              <a:gd name="connsiteY475" fmla="*/ 349583 h 800100"/>
              <a:gd name="connsiteX476" fmla="*/ 663684 w 2114552"/>
              <a:gd name="connsiteY476" fmla="*/ 349583 h 800100"/>
              <a:gd name="connsiteX477" fmla="*/ 659535 w 2114552"/>
              <a:gd name="connsiteY477" fmla="*/ 341228 h 800100"/>
              <a:gd name="connsiteX478" fmla="*/ 659535 w 2114552"/>
              <a:gd name="connsiteY478" fmla="*/ 311985 h 800100"/>
              <a:gd name="connsiteX479" fmla="*/ 667833 w 2114552"/>
              <a:gd name="connsiteY479" fmla="*/ 303629 h 800100"/>
              <a:gd name="connsiteX480" fmla="*/ 750816 w 2114552"/>
              <a:gd name="connsiteY480" fmla="*/ 295274 h 800100"/>
              <a:gd name="connsiteX481" fmla="*/ 354013 w 2114552"/>
              <a:gd name="connsiteY481" fmla="*/ 295273 h 800100"/>
              <a:gd name="connsiteX482" fmla="*/ 455613 w 2114552"/>
              <a:gd name="connsiteY482" fmla="*/ 414336 h 800100"/>
              <a:gd name="connsiteX483" fmla="*/ 354013 w 2114552"/>
              <a:gd name="connsiteY483" fmla="*/ 533399 h 800100"/>
              <a:gd name="connsiteX484" fmla="*/ 252413 w 2114552"/>
              <a:gd name="connsiteY484" fmla="*/ 414336 h 800100"/>
              <a:gd name="connsiteX485" fmla="*/ 354013 w 2114552"/>
              <a:gd name="connsiteY485" fmla="*/ 295273 h 800100"/>
              <a:gd name="connsiteX486" fmla="*/ 53975 w 2114552"/>
              <a:gd name="connsiteY486" fmla="*/ 266699 h 800100"/>
              <a:gd name="connsiteX487" fmla="*/ 53975 w 2114552"/>
              <a:gd name="connsiteY487" fmla="*/ 358774 h 800100"/>
              <a:gd name="connsiteX488" fmla="*/ 107480 w 2114552"/>
              <a:gd name="connsiteY488" fmla="*/ 358774 h 800100"/>
              <a:gd name="connsiteX489" fmla="*/ 165100 w 2114552"/>
              <a:gd name="connsiteY489" fmla="*/ 312737 h 800100"/>
              <a:gd name="connsiteX490" fmla="*/ 111595 w 2114552"/>
              <a:gd name="connsiteY490" fmla="*/ 266699 h 800100"/>
              <a:gd name="connsiteX491" fmla="*/ 91017 w 2114552"/>
              <a:gd name="connsiteY491" fmla="*/ 266699 h 800100"/>
              <a:gd name="connsiteX492" fmla="*/ 53975 w 2114552"/>
              <a:gd name="connsiteY492" fmla="*/ 266699 h 800100"/>
              <a:gd name="connsiteX493" fmla="*/ 546894 w 2114552"/>
              <a:gd name="connsiteY493" fmla="*/ 250824 h 800100"/>
              <a:gd name="connsiteX494" fmla="*/ 551050 w 2114552"/>
              <a:gd name="connsiteY494" fmla="*/ 250824 h 800100"/>
              <a:gd name="connsiteX495" fmla="*/ 555205 w 2114552"/>
              <a:gd name="connsiteY495" fmla="*/ 259135 h 800100"/>
              <a:gd name="connsiteX496" fmla="*/ 555205 w 2114552"/>
              <a:gd name="connsiteY496" fmla="*/ 304846 h 800100"/>
              <a:gd name="connsiteX497" fmla="*/ 609227 w 2114552"/>
              <a:gd name="connsiteY497" fmla="*/ 304846 h 800100"/>
              <a:gd name="connsiteX498" fmla="*/ 617538 w 2114552"/>
              <a:gd name="connsiteY498" fmla="*/ 313157 h 800100"/>
              <a:gd name="connsiteX499" fmla="*/ 617538 w 2114552"/>
              <a:gd name="connsiteY499" fmla="*/ 342245 h 800100"/>
              <a:gd name="connsiteX500" fmla="*/ 609227 w 2114552"/>
              <a:gd name="connsiteY500" fmla="*/ 350556 h 800100"/>
              <a:gd name="connsiteX501" fmla="*/ 555205 w 2114552"/>
              <a:gd name="connsiteY501" fmla="*/ 350556 h 800100"/>
              <a:gd name="connsiteX502" fmla="*/ 555205 w 2114552"/>
              <a:gd name="connsiteY502" fmla="*/ 441978 h 800100"/>
              <a:gd name="connsiteX503" fmla="*/ 580138 w 2114552"/>
              <a:gd name="connsiteY503" fmla="*/ 483533 h 800100"/>
              <a:gd name="connsiteX504" fmla="*/ 609227 w 2114552"/>
              <a:gd name="connsiteY504" fmla="*/ 483533 h 800100"/>
              <a:gd name="connsiteX505" fmla="*/ 617538 w 2114552"/>
              <a:gd name="connsiteY505" fmla="*/ 491844 h 800100"/>
              <a:gd name="connsiteX506" fmla="*/ 617538 w 2114552"/>
              <a:gd name="connsiteY506" fmla="*/ 520932 h 800100"/>
              <a:gd name="connsiteX507" fmla="*/ 609227 w 2114552"/>
              <a:gd name="connsiteY507" fmla="*/ 529244 h 800100"/>
              <a:gd name="connsiteX508" fmla="*/ 571827 w 2114552"/>
              <a:gd name="connsiteY508" fmla="*/ 533399 h 800100"/>
              <a:gd name="connsiteX509" fmla="*/ 505339 w 2114552"/>
              <a:gd name="connsiteY509" fmla="*/ 450289 h 800100"/>
              <a:gd name="connsiteX510" fmla="*/ 505339 w 2114552"/>
              <a:gd name="connsiteY510" fmla="*/ 350556 h 800100"/>
              <a:gd name="connsiteX511" fmla="*/ 484561 w 2114552"/>
              <a:gd name="connsiteY511" fmla="*/ 350556 h 800100"/>
              <a:gd name="connsiteX512" fmla="*/ 476250 w 2114552"/>
              <a:gd name="connsiteY512" fmla="*/ 342245 h 800100"/>
              <a:gd name="connsiteX513" fmla="*/ 476250 w 2114552"/>
              <a:gd name="connsiteY513" fmla="*/ 313157 h 800100"/>
              <a:gd name="connsiteX514" fmla="*/ 484561 w 2114552"/>
              <a:gd name="connsiteY514" fmla="*/ 304846 h 800100"/>
              <a:gd name="connsiteX515" fmla="*/ 505339 w 2114552"/>
              <a:gd name="connsiteY515" fmla="*/ 304846 h 800100"/>
              <a:gd name="connsiteX516" fmla="*/ 505339 w 2114552"/>
              <a:gd name="connsiteY516" fmla="*/ 267446 h 800100"/>
              <a:gd name="connsiteX517" fmla="*/ 509494 w 2114552"/>
              <a:gd name="connsiteY517" fmla="*/ 259135 h 800100"/>
              <a:gd name="connsiteX518" fmla="*/ 546894 w 2114552"/>
              <a:gd name="connsiteY518" fmla="*/ 250824 h 800100"/>
              <a:gd name="connsiteX519" fmla="*/ 103337 w 2114552"/>
              <a:gd name="connsiteY519" fmla="*/ 217487 h 800100"/>
              <a:gd name="connsiteX520" fmla="*/ 111604 w 2114552"/>
              <a:gd name="connsiteY520" fmla="*/ 217487 h 800100"/>
              <a:gd name="connsiteX521" fmla="*/ 219075 w 2114552"/>
              <a:gd name="connsiteY521" fmla="*/ 312906 h 800100"/>
              <a:gd name="connsiteX522" fmla="*/ 165340 w 2114552"/>
              <a:gd name="connsiteY522" fmla="*/ 391731 h 800100"/>
              <a:gd name="connsiteX523" fmla="*/ 219075 w 2114552"/>
              <a:gd name="connsiteY523" fmla="*/ 516191 h 800100"/>
              <a:gd name="connsiteX524" fmla="*/ 219075 w 2114552"/>
              <a:gd name="connsiteY524" fmla="*/ 524488 h 800100"/>
              <a:gd name="connsiteX525" fmla="*/ 210808 w 2114552"/>
              <a:gd name="connsiteY525" fmla="*/ 528637 h 800100"/>
              <a:gd name="connsiteX526" fmla="*/ 173607 w 2114552"/>
              <a:gd name="connsiteY526" fmla="*/ 528637 h 800100"/>
              <a:gd name="connsiteX527" fmla="*/ 165340 w 2114552"/>
              <a:gd name="connsiteY527" fmla="*/ 524488 h 800100"/>
              <a:gd name="connsiteX528" fmla="*/ 111604 w 2114552"/>
              <a:gd name="connsiteY528" fmla="*/ 408326 h 800100"/>
              <a:gd name="connsiteX529" fmla="*/ 53736 w 2114552"/>
              <a:gd name="connsiteY529" fmla="*/ 404177 h 800100"/>
              <a:gd name="connsiteX530" fmla="*/ 53736 w 2114552"/>
              <a:gd name="connsiteY530" fmla="*/ 520340 h 800100"/>
              <a:gd name="connsiteX531" fmla="*/ 45469 w 2114552"/>
              <a:gd name="connsiteY531" fmla="*/ 528637 h 800100"/>
              <a:gd name="connsiteX532" fmla="*/ 8267 w 2114552"/>
              <a:gd name="connsiteY532" fmla="*/ 528637 h 800100"/>
              <a:gd name="connsiteX533" fmla="*/ 0 w 2114552"/>
              <a:gd name="connsiteY533" fmla="*/ 520340 h 800100"/>
              <a:gd name="connsiteX534" fmla="*/ 0 w 2114552"/>
              <a:gd name="connsiteY534" fmla="*/ 229933 h 800100"/>
              <a:gd name="connsiteX535" fmla="*/ 8267 w 2114552"/>
              <a:gd name="connsiteY535" fmla="*/ 221636 h 800100"/>
              <a:gd name="connsiteX536" fmla="*/ 103337 w 2114552"/>
              <a:gd name="connsiteY536" fmla="*/ 217487 h 800100"/>
              <a:gd name="connsiteX537" fmla="*/ 1941299 w 2114552"/>
              <a:gd name="connsiteY537" fmla="*/ 180951 h 800100"/>
              <a:gd name="connsiteX538" fmla="*/ 1936665 w 2114552"/>
              <a:gd name="connsiteY538" fmla="*/ 183555 h 800100"/>
              <a:gd name="connsiteX539" fmla="*/ 1903714 w 2114552"/>
              <a:gd name="connsiteY539" fmla="*/ 221060 h 800100"/>
              <a:gd name="connsiteX540" fmla="*/ 1903714 w 2114552"/>
              <a:gd name="connsiteY540" fmla="*/ 237729 h 800100"/>
              <a:gd name="connsiteX541" fmla="*/ 1957260 w 2114552"/>
              <a:gd name="connsiteY541" fmla="*/ 450256 h 800100"/>
              <a:gd name="connsiteX542" fmla="*/ 1965498 w 2114552"/>
              <a:gd name="connsiteY542" fmla="*/ 462757 h 800100"/>
              <a:gd name="connsiteX543" fmla="*/ 2010806 w 2114552"/>
              <a:gd name="connsiteY543" fmla="*/ 475259 h 800100"/>
              <a:gd name="connsiteX544" fmla="*/ 2023163 w 2114552"/>
              <a:gd name="connsiteY544" fmla="*/ 471092 h 800100"/>
              <a:gd name="connsiteX545" fmla="*/ 1949022 w 2114552"/>
              <a:gd name="connsiteY545" fmla="*/ 187722 h 800100"/>
              <a:gd name="connsiteX546" fmla="*/ 1941299 w 2114552"/>
              <a:gd name="connsiteY546" fmla="*/ 180951 h 800100"/>
              <a:gd name="connsiteX547" fmla="*/ 1491989 w 2114552"/>
              <a:gd name="connsiteY547" fmla="*/ 180951 h 800100"/>
              <a:gd name="connsiteX548" fmla="*/ 1484185 w 2114552"/>
              <a:gd name="connsiteY548" fmla="*/ 187722 h 800100"/>
              <a:gd name="connsiteX549" fmla="*/ 1409272 w 2114552"/>
              <a:gd name="connsiteY549" fmla="*/ 471092 h 800100"/>
              <a:gd name="connsiteX550" fmla="*/ 1421758 w 2114552"/>
              <a:gd name="connsiteY550" fmla="*/ 475259 h 800100"/>
              <a:gd name="connsiteX551" fmla="*/ 1467538 w 2114552"/>
              <a:gd name="connsiteY551" fmla="*/ 462757 h 800100"/>
              <a:gd name="connsiteX552" fmla="*/ 1475862 w 2114552"/>
              <a:gd name="connsiteY552" fmla="*/ 450256 h 800100"/>
              <a:gd name="connsiteX553" fmla="*/ 1529965 w 2114552"/>
              <a:gd name="connsiteY553" fmla="*/ 237729 h 800100"/>
              <a:gd name="connsiteX554" fmla="*/ 1534127 w 2114552"/>
              <a:gd name="connsiteY554" fmla="*/ 221060 h 800100"/>
              <a:gd name="connsiteX555" fmla="*/ 1496671 w 2114552"/>
              <a:gd name="connsiteY555" fmla="*/ 183555 h 800100"/>
              <a:gd name="connsiteX556" fmla="*/ 1491989 w 2114552"/>
              <a:gd name="connsiteY556" fmla="*/ 180951 h 800100"/>
              <a:gd name="connsiteX557" fmla="*/ 1750379 w 2114552"/>
              <a:gd name="connsiteY557" fmla="*/ 174625 h 800100"/>
              <a:gd name="connsiteX558" fmla="*/ 1746251 w 2114552"/>
              <a:gd name="connsiteY558" fmla="*/ 187144 h 800100"/>
              <a:gd name="connsiteX559" fmla="*/ 1754506 w 2114552"/>
              <a:gd name="connsiteY559" fmla="*/ 308156 h 800100"/>
              <a:gd name="connsiteX560" fmla="*/ 1762761 w 2114552"/>
              <a:gd name="connsiteY560" fmla="*/ 320675 h 800100"/>
              <a:gd name="connsiteX561" fmla="*/ 1775144 w 2114552"/>
              <a:gd name="connsiteY561" fmla="*/ 320675 h 800100"/>
              <a:gd name="connsiteX562" fmla="*/ 1882459 w 2114552"/>
              <a:gd name="connsiteY562" fmla="*/ 266428 h 800100"/>
              <a:gd name="connsiteX563" fmla="*/ 1890714 w 2114552"/>
              <a:gd name="connsiteY563" fmla="*/ 258082 h 800100"/>
              <a:gd name="connsiteX564" fmla="*/ 1886587 w 2114552"/>
              <a:gd name="connsiteY564" fmla="*/ 249736 h 800100"/>
              <a:gd name="connsiteX565" fmla="*/ 1758634 w 2114552"/>
              <a:gd name="connsiteY565" fmla="*/ 174625 h 800100"/>
              <a:gd name="connsiteX566" fmla="*/ 1750379 w 2114552"/>
              <a:gd name="connsiteY566" fmla="*/ 174625 h 800100"/>
              <a:gd name="connsiteX567" fmla="*/ 1675132 w 2114552"/>
              <a:gd name="connsiteY567" fmla="*/ 174625 h 800100"/>
              <a:gd name="connsiteX568" fmla="*/ 1547179 w 2114552"/>
              <a:gd name="connsiteY568" fmla="*/ 249736 h 800100"/>
              <a:gd name="connsiteX569" fmla="*/ 1543051 w 2114552"/>
              <a:gd name="connsiteY569" fmla="*/ 258082 h 800100"/>
              <a:gd name="connsiteX570" fmla="*/ 1551306 w 2114552"/>
              <a:gd name="connsiteY570" fmla="*/ 266428 h 800100"/>
              <a:gd name="connsiteX571" fmla="*/ 1658622 w 2114552"/>
              <a:gd name="connsiteY571" fmla="*/ 320675 h 800100"/>
              <a:gd name="connsiteX572" fmla="*/ 1671004 w 2114552"/>
              <a:gd name="connsiteY572" fmla="*/ 320675 h 800100"/>
              <a:gd name="connsiteX573" fmla="*/ 1675132 w 2114552"/>
              <a:gd name="connsiteY573" fmla="*/ 312329 h 800100"/>
              <a:gd name="connsiteX574" fmla="*/ 1687514 w 2114552"/>
              <a:gd name="connsiteY574" fmla="*/ 187144 h 800100"/>
              <a:gd name="connsiteX575" fmla="*/ 1683387 w 2114552"/>
              <a:gd name="connsiteY575" fmla="*/ 174625 h 800100"/>
              <a:gd name="connsiteX576" fmla="*/ 1675132 w 2114552"/>
              <a:gd name="connsiteY576" fmla="*/ 174625 h 800100"/>
              <a:gd name="connsiteX577" fmla="*/ 1579247 w 2114552"/>
              <a:gd name="connsiteY577" fmla="*/ 133350 h 800100"/>
              <a:gd name="connsiteX578" fmla="*/ 1566864 w 2114552"/>
              <a:gd name="connsiteY578" fmla="*/ 142082 h 800100"/>
              <a:gd name="connsiteX579" fmla="*/ 1570992 w 2114552"/>
              <a:gd name="connsiteY579" fmla="*/ 142082 h 800100"/>
              <a:gd name="connsiteX580" fmla="*/ 1575119 w 2114552"/>
              <a:gd name="connsiteY580" fmla="*/ 150813 h 800100"/>
              <a:gd name="connsiteX581" fmla="*/ 1583375 w 2114552"/>
              <a:gd name="connsiteY581" fmla="*/ 146447 h 800100"/>
              <a:gd name="connsiteX582" fmla="*/ 1587502 w 2114552"/>
              <a:gd name="connsiteY582" fmla="*/ 142082 h 800100"/>
              <a:gd name="connsiteX583" fmla="*/ 1579247 w 2114552"/>
              <a:gd name="connsiteY583" fmla="*/ 133350 h 800100"/>
              <a:gd name="connsiteX584" fmla="*/ 1575142 w 2114552"/>
              <a:gd name="connsiteY584" fmla="*/ 124846 h 800100"/>
              <a:gd name="connsiteX585" fmla="*/ 1596120 w 2114552"/>
              <a:gd name="connsiteY585" fmla="*/ 141628 h 800100"/>
              <a:gd name="connsiteX586" fmla="*/ 1596120 w 2114552"/>
              <a:gd name="connsiteY586" fmla="*/ 145823 h 800100"/>
              <a:gd name="connsiteX587" fmla="*/ 1612902 w 2114552"/>
              <a:gd name="connsiteY587" fmla="*/ 162606 h 800100"/>
              <a:gd name="connsiteX588" fmla="*/ 1604511 w 2114552"/>
              <a:gd name="connsiteY588" fmla="*/ 166801 h 800100"/>
              <a:gd name="connsiteX589" fmla="*/ 1587729 w 2114552"/>
              <a:gd name="connsiteY589" fmla="*/ 154215 h 800100"/>
              <a:gd name="connsiteX590" fmla="*/ 1579338 w 2114552"/>
              <a:gd name="connsiteY590" fmla="*/ 158410 h 800100"/>
              <a:gd name="connsiteX591" fmla="*/ 1587729 w 2114552"/>
              <a:gd name="connsiteY591" fmla="*/ 175192 h 800100"/>
              <a:gd name="connsiteX592" fmla="*/ 1579338 w 2114552"/>
              <a:gd name="connsiteY592" fmla="*/ 179388 h 800100"/>
              <a:gd name="connsiteX593" fmla="*/ 1558360 w 2114552"/>
              <a:gd name="connsiteY593" fmla="*/ 141628 h 800100"/>
              <a:gd name="connsiteX594" fmla="*/ 1554164 w 2114552"/>
              <a:gd name="connsiteY594" fmla="*/ 137432 h 800100"/>
              <a:gd name="connsiteX595" fmla="*/ 1575142 w 2114552"/>
              <a:gd name="connsiteY595" fmla="*/ 124846 h 800100"/>
              <a:gd name="connsiteX596" fmla="*/ 1836161 w 2114552"/>
              <a:gd name="connsiteY596" fmla="*/ 117475 h 800100"/>
              <a:gd name="connsiteX597" fmla="*/ 1844532 w 2114552"/>
              <a:gd name="connsiteY597" fmla="*/ 121557 h 800100"/>
              <a:gd name="connsiteX598" fmla="*/ 1848717 w 2114552"/>
              <a:gd name="connsiteY598" fmla="*/ 141968 h 800100"/>
              <a:gd name="connsiteX599" fmla="*/ 1869644 w 2114552"/>
              <a:gd name="connsiteY599" fmla="*/ 133804 h 800100"/>
              <a:gd name="connsiteX600" fmla="*/ 1878014 w 2114552"/>
              <a:gd name="connsiteY600" fmla="*/ 137886 h 800100"/>
              <a:gd name="connsiteX601" fmla="*/ 1848717 w 2114552"/>
              <a:gd name="connsiteY601" fmla="*/ 154214 h 800100"/>
              <a:gd name="connsiteX602" fmla="*/ 1840347 w 2114552"/>
              <a:gd name="connsiteY602" fmla="*/ 174625 h 800100"/>
              <a:gd name="connsiteX603" fmla="*/ 1831976 w 2114552"/>
              <a:gd name="connsiteY603" fmla="*/ 166461 h 800100"/>
              <a:gd name="connsiteX604" fmla="*/ 1840347 w 2114552"/>
              <a:gd name="connsiteY604" fmla="*/ 146050 h 800100"/>
              <a:gd name="connsiteX605" fmla="*/ 1836161 w 2114552"/>
              <a:gd name="connsiteY605" fmla="*/ 117475 h 800100"/>
              <a:gd name="connsiteX606" fmla="*/ 1794829 w 2114552"/>
              <a:gd name="connsiteY606" fmla="*/ 112713 h 800100"/>
              <a:gd name="connsiteX607" fmla="*/ 1790701 w 2114552"/>
              <a:gd name="connsiteY607" fmla="*/ 120651 h 800100"/>
              <a:gd name="connsiteX608" fmla="*/ 1790701 w 2114552"/>
              <a:gd name="connsiteY608" fmla="*/ 124619 h 800100"/>
              <a:gd name="connsiteX609" fmla="*/ 1803084 w 2114552"/>
              <a:gd name="connsiteY609" fmla="*/ 128588 h 800100"/>
              <a:gd name="connsiteX610" fmla="*/ 1811339 w 2114552"/>
              <a:gd name="connsiteY610" fmla="*/ 120651 h 800100"/>
              <a:gd name="connsiteX611" fmla="*/ 1807212 w 2114552"/>
              <a:gd name="connsiteY611" fmla="*/ 116682 h 800100"/>
              <a:gd name="connsiteX612" fmla="*/ 1794829 w 2114552"/>
              <a:gd name="connsiteY612" fmla="*/ 112713 h 800100"/>
              <a:gd name="connsiteX613" fmla="*/ 1637508 w 2114552"/>
              <a:gd name="connsiteY613" fmla="*/ 112117 h 800100"/>
              <a:gd name="connsiteX614" fmla="*/ 1620839 w 2114552"/>
              <a:gd name="connsiteY614" fmla="*/ 124619 h 800100"/>
              <a:gd name="connsiteX615" fmla="*/ 1620839 w 2114552"/>
              <a:gd name="connsiteY615" fmla="*/ 128786 h 800100"/>
              <a:gd name="connsiteX616" fmla="*/ 1637508 w 2114552"/>
              <a:gd name="connsiteY616" fmla="*/ 141288 h 800100"/>
              <a:gd name="connsiteX617" fmla="*/ 1654177 w 2114552"/>
              <a:gd name="connsiteY617" fmla="*/ 124619 h 800100"/>
              <a:gd name="connsiteX618" fmla="*/ 1637508 w 2114552"/>
              <a:gd name="connsiteY618" fmla="*/ 112117 h 800100"/>
              <a:gd name="connsiteX619" fmla="*/ 1741489 w 2114552"/>
              <a:gd name="connsiteY619" fmla="*/ 104775 h 800100"/>
              <a:gd name="connsiteX620" fmla="*/ 1737520 w 2114552"/>
              <a:gd name="connsiteY620" fmla="*/ 117158 h 800100"/>
              <a:gd name="connsiteX621" fmla="*/ 1733551 w 2114552"/>
              <a:gd name="connsiteY621" fmla="*/ 125413 h 800100"/>
              <a:gd name="connsiteX622" fmla="*/ 1749426 w 2114552"/>
              <a:gd name="connsiteY622" fmla="*/ 125413 h 800100"/>
              <a:gd name="connsiteX623" fmla="*/ 1745457 w 2114552"/>
              <a:gd name="connsiteY623" fmla="*/ 117158 h 800100"/>
              <a:gd name="connsiteX624" fmla="*/ 1741489 w 2114552"/>
              <a:gd name="connsiteY624" fmla="*/ 104775 h 800100"/>
              <a:gd name="connsiteX625" fmla="*/ 1633407 w 2114552"/>
              <a:gd name="connsiteY625" fmla="*/ 104165 h 800100"/>
              <a:gd name="connsiteX626" fmla="*/ 1662114 w 2114552"/>
              <a:gd name="connsiteY626" fmla="*/ 124925 h 800100"/>
              <a:gd name="connsiteX627" fmla="*/ 1637508 w 2114552"/>
              <a:gd name="connsiteY627" fmla="*/ 149836 h 800100"/>
              <a:gd name="connsiteX628" fmla="*/ 1612901 w 2114552"/>
              <a:gd name="connsiteY628" fmla="*/ 129076 h 800100"/>
              <a:gd name="connsiteX629" fmla="*/ 1612901 w 2114552"/>
              <a:gd name="connsiteY629" fmla="*/ 124925 h 800100"/>
              <a:gd name="connsiteX630" fmla="*/ 1633407 w 2114552"/>
              <a:gd name="connsiteY630" fmla="*/ 104165 h 800100"/>
              <a:gd name="connsiteX631" fmla="*/ 1787382 w 2114552"/>
              <a:gd name="connsiteY631" fmla="*/ 100013 h 800100"/>
              <a:gd name="connsiteX632" fmla="*/ 1812494 w 2114552"/>
              <a:gd name="connsiteY632" fmla="*/ 108404 h 800100"/>
              <a:gd name="connsiteX633" fmla="*/ 1820864 w 2114552"/>
              <a:gd name="connsiteY633" fmla="*/ 120991 h 800100"/>
              <a:gd name="connsiteX634" fmla="*/ 1808308 w 2114552"/>
              <a:gd name="connsiteY634" fmla="*/ 137773 h 800100"/>
              <a:gd name="connsiteX635" fmla="*/ 1812494 w 2114552"/>
              <a:gd name="connsiteY635" fmla="*/ 158751 h 800100"/>
              <a:gd name="connsiteX636" fmla="*/ 1804123 w 2114552"/>
              <a:gd name="connsiteY636" fmla="*/ 154555 h 800100"/>
              <a:gd name="connsiteX637" fmla="*/ 1799938 w 2114552"/>
              <a:gd name="connsiteY637" fmla="*/ 133578 h 800100"/>
              <a:gd name="connsiteX638" fmla="*/ 1791567 w 2114552"/>
              <a:gd name="connsiteY638" fmla="*/ 133578 h 800100"/>
              <a:gd name="connsiteX639" fmla="*/ 1787382 w 2114552"/>
              <a:gd name="connsiteY639" fmla="*/ 150360 h 800100"/>
              <a:gd name="connsiteX640" fmla="*/ 1774826 w 2114552"/>
              <a:gd name="connsiteY640" fmla="*/ 146164 h 800100"/>
              <a:gd name="connsiteX641" fmla="*/ 1783197 w 2114552"/>
              <a:gd name="connsiteY641" fmla="*/ 120991 h 800100"/>
              <a:gd name="connsiteX642" fmla="*/ 1787382 w 2114552"/>
              <a:gd name="connsiteY642" fmla="*/ 100013 h 800100"/>
              <a:gd name="connsiteX643" fmla="*/ 1737015 w 2114552"/>
              <a:gd name="connsiteY643" fmla="*/ 92075 h 800100"/>
              <a:gd name="connsiteX644" fmla="*/ 1749571 w 2114552"/>
              <a:gd name="connsiteY644" fmla="*/ 92075 h 800100"/>
              <a:gd name="connsiteX645" fmla="*/ 1753757 w 2114552"/>
              <a:gd name="connsiteY645" fmla="*/ 116987 h 800100"/>
              <a:gd name="connsiteX646" fmla="*/ 1762127 w 2114552"/>
              <a:gd name="connsiteY646" fmla="*/ 146050 h 800100"/>
              <a:gd name="connsiteX647" fmla="*/ 1753757 w 2114552"/>
              <a:gd name="connsiteY647" fmla="*/ 141898 h 800100"/>
              <a:gd name="connsiteX648" fmla="*/ 1749571 w 2114552"/>
              <a:gd name="connsiteY648" fmla="*/ 133594 h 800100"/>
              <a:gd name="connsiteX649" fmla="*/ 1728645 w 2114552"/>
              <a:gd name="connsiteY649" fmla="*/ 133594 h 800100"/>
              <a:gd name="connsiteX650" fmla="*/ 1724460 w 2114552"/>
              <a:gd name="connsiteY650" fmla="*/ 141898 h 800100"/>
              <a:gd name="connsiteX651" fmla="*/ 1716089 w 2114552"/>
              <a:gd name="connsiteY651" fmla="*/ 141898 h 800100"/>
              <a:gd name="connsiteX652" fmla="*/ 1728645 w 2114552"/>
              <a:gd name="connsiteY652" fmla="*/ 116987 h 800100"/>
              <a:gd name="connsiteX653" fmla="*/ 1737015 w 2114552"/>
              <a:gd name="connsiteY653" fmla="*/ 92075 h 800100"/>
              <a:gd name="connsiteX654" fmla="*/ 1712914 w 2114552"/>
              <a:gd name="connsiteY654" fmla="*/ 92075 h 800100"/>
              <a:gd name="connsiteX655" fmla="*/ 1712914 w 2114552"/>
              <a:gd name="connsiteY655" fmla="*/ 100277 h 800100"/>
              <a:gd name="connsiteX656" fmla="*/ 1696173 w 2114552"/>
              <a:gd name="connsiteY656" fmla="*/ 100277 h 800100"/>
              <a:gd name="connsiteX657" fmla="*/ 1700358 w 2114552"/>
              <a:gd name="connsiteY657" fmla="*/ 141288 h 800100"/>
              <a:gd name="connsiteX658" fmla="*/ 1687802 w 2114552"/>
              <a:gd name="connsiteY658" fmla="*/ 141288 h 800100"/>
              <a:gd name="connsiteX659" fmla="*/ 1683617 w 2114552"/>
              <a:gd name="connsiteY659" fmla="*/ 100277 h 800100"/>
              <a:gd name="connsiteX660" fmla="*/ 1666876 w 2114552"/>
              <a:gd name="connsiteY660" fmla="*/ 104378 h 800100"/>
              <a:gd name="connsiteX661" fmla="*/ 1666876 w 2114552"/>
              <a:gd name="connsiteY661" fmla="*/ 96176 h 800100"/>
              <a:gd name="connsiteX662" fmla="*/ 1712914 w 2114552"/>
              <a:gd name="connsiteY662" fmla="*/ 92075 h 800100"/>
              <a:gd name="connsiteX663" fmla="*/ 1181630 w 2114552"/>
              <a:gd name="connsiteY663" fmla="*/ 92074 h 800100"/>
              <a:gd name="connsiteX664" fmla="*/ 1147763 w 2114552"/>
              <a:gd name="connsiteY664" fmla="*/ 133349 h 800100"/>
              <a:gd name="connsiteX665" fmla="*/ 1211263 w 2114552"/>
              <a:gd name="connsiteY665" fmla="*/ 133349 h 800100"/>
              <a:gd name="connsiteX666" fmla="*/ 1181630 w 2114552"/>
              <a:gd name="connsiteY666" fmla="*/ 92074 h 800100"/>
              <a:gd name="connsiteX667" fmla="*/ 1716089 w 2114552"/>
              <a:gd name="connsiteY667" fmla="*/ 84138 h 800100"/>
              <a:gd name="connsiteX668" fmla="*/ 1521183 w 2114552"/>
              <a:gd name="connsiteY668" fmla="*/ 150178 h 800100"/>
              <a:gd name="connsiteX669" fmla="*/ 1517036 w 2114552"/>
              <a:gd name="connsiteY669" fmla="*/ 166688 h 800100"/>
              <a:gd name="connsiteX670" fmla="*/ 1550212 w 2114552"/>
              <a:gd name="connsiteY670" fmla="*/ 203836 h 800100"/>
              <a:gd name="connsiteX671" fmla="*/ 1566799 w 2114552"/>
              <a:gd name="connsiteY671" fmla="*/ 203836 h 800100"/>
              <a:gd name="connsiteX672" fmla="*/ 1716089 w 2114552"/>
              <a:gd name="connsiteY672" fmla="*/ 150178 h 800100"/>
              <a:gd name="connsiteX673" fmla="*/ 1865379 w 2114552"/>
              <a:gd name="connsiteY673" fmla="*/ 203836 h 800100"/>
              <a:gd name="connsiteX674" fmla="*/ 1881967 w 2114552"/>
              <a:gd name="connsiteY674" fmla="*/ 203836 h 800100"/>
              <a:gd name="connsiteX675" fmla="*/ 1915142 w 2114552"/>
              <a:gd name="connsiteY675" fmla="*/ 166688 h 800100"/>
              <a:gd name="connsiteX676" fmla="*/ 1910995 w 2114552"/>
              <a:gd name="connsiteY676" fmla="*/ 150178 h 800100"/>
              <a:gd name="connsiteX677" fmla="*/ 1716089 w 2114552"/>
              <a:gd name="connsiteY677" fmla="*/ 84138 h 800100"/>
              <a:gd name="connsiteX678" fmla="*/ 1181894 w 2114552"/>
              <a:gd name="connsiteY678" fmla="*/ 84137 h 800100"/>
              <a:gd name="connsiteX679" fmla="*/ 1227138 w 2114552"/>
              <a:gd name="connsiteY679" fmla="*/ 137942 h 800100"/>
              <a:gd name="connsiteX680" fmla="*/ 1227138 w 2114552"/>
              <a:gd name="connsiteY680" fmla="*/ 146220 h 800100"/>
              <a:gd name="connsiteX681" fmla="*/ 1148989 w 2114552"/>
              <a:gd name="connsiteY681" fmla="*/ 146220 h 800100"/>
              <a:gd name="connsiteX682" fmla="*/ 1186007 w 2114552"/>
              <a:gd name="connsiteY682" fmla="*/ 187608 h 800100"/>
              <a:gd name="connsiteX683" fmla="*/ 1218912 w 2114552"/>
              <a:gd name="connsiteY683" fmla="*/ 179331 h 800100"/>
              <a:gd name="connsiteX684" fmla="*/ 1218912 w 2114552"/>
              <a:gd name="connsiteY684" fmla="*/ 191747 h 800100"/>
              <a:gd name="connsiteX685" fmla="*/ 1186007 w 2114552"/>
              <a:gd name="connsiteY685" fmla="*/ 200025 h 800100"/>
              <a:gd name="connsiteX686" fmla="*/ 1136650 w 2114552"/>
              <a:gd name="connsiteY686" fmla="*/ 142081 h 800100"/>
              <a:gd name="connsiteX687" fmla="*/ 1181894 w 2114552"/>
              <a:gd name="connsiteY687" fmla="*/ 84137 h 800100"/>
              <a:gd name="connsiteX688" fmla="*/ 887413 w 2114552"/>
              <a:gd name="connsiteY688" fmla="*/ 41274 h 800100"/>
              <a:gd name="connsiteX689" fmla="*/ 995363 w 2114552"/>
              <a:gd name="connsiteY689" fmla="*/ 41274 h 800100"/>
              <a:gd name="connsiteX690" fmla="*/ 995363 w 2114552"/>
              <a:gd name="connsiteY690" fmla="*/ 53974 h 800100"/>
              <a:gd name="connsiteX691" fmla="*/ 949326 w 2114552"/>
              <a:gd name="connsiteY691" fmla="*/ 53974 h 800100"/>
              <a:gd name="connsiteX692" fmla="*/ 949326 w 2114552"/>
              <a:gd name="connsiteY692" fmla="*/ 195262 h 800100"/>
              <a:gd name="connsiteX693" fmla="*/ 933451 w 2114552"/>
              <a:gd name="connsiteY693" fmla="*/ 195262 h 800100"/>
              <a:gd name="connsiteX694" fmla="*/ 933451 w 2114552"/>
              <a:gd name="connsiteY694" fmla="*/ 53974 h 800100"/>
              <a:gd name="connsiteX695" fmla="*/ 887413 w 2114552"/>
              <a:gd name="connsiteY695" fmla="*/ 53974 h 800100"/>
              <a:gd name="connsiteX696" fmla="*/ 1020763 w 2114552"/>
              <a:gd name="connsiteY696" fmla="*/ 28574 h 800100"/>
              <a:gd name="connsiteX697" fmla="*/ 1033010 w 2114552"/>
              <a:gd name="connsiteY697" fmla="*/ 28574 h 800100"/>
              <a:gd name="connsiteX698" fmla="*/ 1033010 w 2114552"/>
              <a:gd name="connsiteY698" fmla="*/ 103584 h 800100"/>
              <a:gd name="connsiteX699" fmla="*/ 1069749 w 2114552"/>
              <a:gd name="connsiteY699" fmla="*/ 82748 h 800100"/>
              <a:gd name="connsiteX700" fmla="*/ 1106488 w 2114552"/>
              <a:gd name="connsiteY700" fmla="*/ 128587 h 800100"/>
              <a:gd name="connsiteX701" fmla="*/ 1106488 w 2114552"/>
              <a:gd name="connsiteY701" fmla="*/ 195262 h 800100"/>
              <a:gd name="connsiteX702" fmla="*/ 1090160 w 2114552"/>
              <a:gd name="connsiteY702" fmla="*/ 195262 h 800100"/>
              <a:gd name="connsiteX703" fmla="*/ 1090160 w 2114552"/>
              <a:gd name="connsiteY703" fmla="*/ 128587 h 800100"/>
              <a:gd name="connsiteX704" fmla="*/ 1065667 w 2114552"/>
              <a:gd name="connsiteY704" fmla="*/ 91082 h 800100"/>
              <a:gd name="connsiteX705" fmla="*/ 1033010 w 2114552"/>
              <a:gd name="connsiteY705" fmla="*/ 136921 h 800100"/>
              <a:gd name="connsiteX706" fmla="*/ 1033010 w 2114552"/>
              <a:gd name="connsiteY706" fmla="*/ 195262 h 800100"/>
              <a:gd name="connsiteX707" fmla="*/ 1020763 w 2114552"/>
              <a:gd name="connsiteY707" fmla="*/ 195262 h 800100"/>
              <a:gd name="connsiteX708" fmla="*/ 1704456 w 2114552"/>
              <a:gd name="connsiteY708" fmla="*/ 0 h 800100"/>
              <a:gd name="connsiteX709" fmla="*/ 1729310 w 2114552"/>
              <a:gd name="connsiteY709" fmla="*/ 0 h 800100"/>
              <a:gd name="connsiteX710" fmla="*/ 1745880 w 2114552"/>
              <a:gd name="connsiteY710" fmla="*/ 62461 h 800100"/>
              <a:gd name="connsiteX711" fmla="*/ 1774877 w 2114552"/>
              <a:gd name="connsiteY711" fmla="*/ 66625 h 800100"/>
              <a:gd name="connsiteX712" fmla="*/ 1803873 w 2114552"/>
              <a:gd name="connsiteY712" fmla="*/ 12492 h 800100"/>
              <a:gd name="connsiteX713" fmla="*/ 1808016 w 2114552"/>
              <a:gd name="connsiteY713" fmla="*/ 12492 h 800100"/>
              <a:gd name="connsiteX714" fmla="*/ 1832870 w 2114552"/>
              <a:gd name="connsiteY714" fmla="*/ 16656 h 800100"/>
              <a:gd name="connsiteX715" fmla="*/ 1832870 w 2114552"/>
              <a:gd name="connsiteY715" fmla="*/ 20820 h 800100"/>
              <a:gd name="connsiteX716" fmla="*/ 1837012 w 2114552"/>
              <a:gd name="connsiteY716" fmla="*/ 49969 h 800100"/>
              <a:gd name="connsiteX717" fmla="*/ 1832870 w 2114552"/>
              <a:gd name="connsiteY717" fmla="*/ 83282 h 800100"/>
              <a:gd name="connsiteX718" fmla="*/ 1857724 w 2114552"/>
              <a:gd name="connsiteY718" fmla="*/ 91610 h 800100"/>
              <a:gd name="connsiteX719" fmla="*/ 1903291 w 2114552"/>
              <a:gd name="connsiteY719" fmla="*/ 49969 h 800100"/>
              <a:gd name="connsiteX720" fmla="*/ 1928145 w 2114552"/>
              <a:gd name="connsiteY720" fmla="*/ 62461 h 800100"/>
              <a:gd name="connsiteX721" fmla="*/ 1911575 w 2114552"/>
              <a:gd name="connsiteY721" fmla="*/ 124922 h 800100"/>
              <a:gd name="connsiteX722" fmla="*/ 1932287 w 2114552"/>
              <a:gd name="connsiteY722" fmla="*/ 141579 h 800100"/>
              <a:gd name="connsiteX723" fmla="*/ 1986138 w 2114552"/>
              <a:gd name="connsiteY723" fmla="*/ 108266 h 800100"/>
              <a:gd name="connsiteX724" fmla="*/ 2006850 w 2114552"/>
              <a:gd name="connsiteY724" fmla="*/ 129086 h 800100"/>
              <a:gd name="connsiteX725" fmla="*/ 1973711 w 2114552"/>
              <a:gd name="connsiteY725" fmla="*/ 183219 h 800100"/>
              <a:gd name="connsiteX726" fmla="*/ 1990281 w 2114552"/>
              <a:gd name="connsiteY726" fmla="*/ 204040 h 800100"/>
              <a:gd name="connsiteX727" fmla="*/ 2052416 w 2114552"/>
              <a:gd name="connsiteY727" fmla="*/ 187383 h 800100"/>
              <a:gd name="connsiteX728" fmla="*/ 2052416 w 2114552"/>
              <a:gd name="connsiteY728" fmla="*/ 191547 h 800100"/>
              <a:gd name="connsiteX729" fmla="*/ 2064844 w 2114552"/>
              <a:gd name="connsiteY729" fmla="*/ 212368 h 800100"/>
              <a:gd name="connsiteX730" fmla="*/ 2023420 w 2114552"/>
              <a:gd name="connsiteY730" fmla="*/ 258173 h 800100"/>
              <a:gd name="connsiteX731" fmla="*/ 2031705 w 2114552"/>
              <a:gd name="connsiteY731" fmla="*/ 283157 h 800100"/>
              <a:gd name="connsiteX732" fmla="*/ 2093840 w 2114552"/>
              <a:gd name="connsiteY732" fmla="*/ 283157 h 800100"/>
              <a:gd name="connsiteX733" fmla="*/ 2102125 w 2114552"/>
              <a:gd name="connsiteY733" fmla="*/ 308141 h 800100"/>
              <a:gd name="connsiteX734" fmla="*/ 2102125 w 2114552"/>
              <a:gd name="connsiteY734" fmla="*/ 312306 h 800100"/>
              <a:gd name="connsiteX735" fmla="*/ 2048274 w 2114552"/>
              <a:gd name="connsiteY735" fmla="*/ 341454 h 800100"/>
              <a:gd name="connsiteX736" fmla="*/ 2052416 w 2114552"/>
              <a:gd name="connsiteY736" fmla="*/ 366438 h 800100"/>
              <a:gd name="connsiteX737" fmla="*/ 2110410 w 2114552"/>
              <a:gd name="connsiteY737" fmla="*/ 383095 h 800100"/>
              <a:gd name="connsiteX738" fmla="*/ 2110410 w 2114552"/>
              <a:gd name="connsiteY738" fmla="*/ 387259 h 800100"/>
              <a:gd name="connsiteX739" fmla="*/ 2114552 w 2114552"/>
              <a:gd name="connsiteY739" fmla="*/ 399751 h 800100"/>
              <a:gd name="connsiteX740" fmla="*/ 2110410 w 2114552"/>
              <a:gd name="connsiteY740" fmla="*/ 412243 h 800100"/>
              <a:gd name="connsiteX741" fmla="*/ 2052416 w 2114552"/>
              <a:gd name="connsiteY741" fmla="*/ 428900 h 800100"/>
              <a:gd name="connsiteX742" fmla="*/ 2048274 w 2114552"/>
              <a:gd name="connsiteY742" fmla="*/ 453884 h 800100"/>
              <a:gd name="connsiteX743" fmla="*/ 2102125 w 2114552"/>
              <a:gd name="connsiteY743" fmla="*/ 487197 h 800100"/>
              <a:gd name="connsiteX744" fmla="*/ 2093840 w 2114552"/>
              <a:gd name="connsiteY744" fmla="*/ 512181 h 800100"/>
              <a:gd name="connsiteX745" fmla="*/ 2093840 w 2114552"/>
              <a:gd name="connsiteY745" fmla="*/ 516345 h 800100"/>
              <a:gd name="connsiteX746" fmla="*/ 2031705 w 2114552"/>
              <a:gd name="connsiteY746" fmla="*/ 516345 h 800100"/>
              <a:gd name="connsiteX747" fmla="*/ 2023420 w 2114552"/>
              <a:gd name="connsiteY747" fmla="*/ 537165 h 800100"/>
              <a:gd name="connsiteX748" fmla="*/ 2064844 w 2114552"/>
              <a:gd name="connsiteY748" fmla="*/ 582970 h 800100"/>
              <a:gd name="connsiteX749" fmla="*/ 2064844 w 2114552"/>
              <a:gd name="connsiteY749" fmla="*/ 587134 h 800100"/>
              <a:gd name="connsiteX750" fmla="*/ 2052416 w 2114552"/>
              <a:gd name="connsiteY750" fmla="*/ 607955 h 800100"/>
              <a:gd name="connsiteX751" fmla="*/ 1990281 w 2114552"/>
              <a:gd name="connsiteY751" fmla="*/ 591298 h 800100"/>
              <a:gd name="connsiteX752" fmla="*/ 1973711 w 2114552"/>
              <a:gd name="connsiteY752" fmla="*/ 612119 h 800100"/>
              <a:gd name="connsiteX753" fmla="*/ 2006850 w 2114552"/>
              <a:gd name="connsiteY753" fmla="*/ 666252 h 800100"/>
              <a:gd name="connsiteX754" fmla="*/ 2006850 w 2114552"/>
              <a:gd name="connsiteY754" fmla="*/ 670416 h 800100"/>
              <a:gd name="connsiteX755" fmla="*/ 1986138 w 2114552"/>
              <a:gd name="connsiteY755" fmla="*/ 687072 h 800100"/>
              <a:gd name="connsiteX756" fmla="*/ 1932287 w 2114552"/>
              <a:gd name="connsiteY756" fmla="*/ 657924 h 800100"/>
              <a:gd name="connsiteX757" fmla="*/ 1911575 w 2114552"/>
              <a:gd name="connsiteY757" fmla="*/ 674580 h 800100"/>
              <a:gd name="connsiteX758" fmla="*/ 1928145 w 2114552"/>
              <a:gd name="connsiteY758" fmla="*/ 732877 h 800100"/>
              <a:gd name="connsiteX759" fmla="*/ 1928145 w 2114552"/>
              <a:gd name="connsiteY759" fmla="*/ 737041 h 800100"/>
              <a:gd name="connsiteX760" fmla="*/ 1924002 w 2114552"/>
              <a:gd name="connsiteY760" fmla="*/ 737041 h 800100"/>
              <a:gd name="connsiteX761" fmla="*/ 1903291 w 2114552"/>
              <a:gd name="connsiteY761" fmla="*/ 749533 h 800100"/>
              <a:gd name="connsiteX762" fmla="*/ 1857724 w 2114552"/>
              <a:gd name="connsiteY762" fmla="*/ 703728 h 800100"/>
              <a:gd name="connsiteX763" fmla="*/ 1832870 w 2114552"/>
              <a:gd name="connsiteY763" fmla="*/ 716221 h 800100"/>
              <a:gd name="connsiteX764" fmla="*/ 1837012 w 2114552"/>
              <a:gd name="connsiteY764" fmla="*/ 745369 h 800100"/>
              <a:gd name="connsiteX765" fmla="*/ 1832870 w 2114552"/>
              <a:gd name="connsiteY765" fmla="*/ 778682 h 800100"/>
              <a:gd name="connsiteX766" fmla="*/ 1808016 w 2114552"/>
              <a:gd name="connsiteY766" fmla="*/ 787010 h 800100"/>
              <a:gd name="connsiteX767" fmla="*/ 1803873 w 2114552"/>
              <a:gd name="connsiteY767" fmla="*/ 787010 h 800100"/>
              <a:gd name="connsiteX768" fmla="*/ 1774877 w 2114552"/>
              <a:gd name="connsiteY768" fmla="*/ 732877 h 800100"/>
              <a:gd name="connsiteX769" fmla="*/ 1750022 w 2114552"/>
              <a:gd name="connsiteY769" fmla="*/ 732877 h 800100"/>
              <a:gd name="connsiteX770" fmla="*/ 1733453 w 2114552"/>
              <a:gd name="connsiteY770" fmla="*/ 795338 h 800100"/>
              <a:gd name="connsiteX771" fmla="*/ 1729310 w 2114552"/>
              <a:gd name="connsiteY771" fmla="*/ 795338 h 800100"/>
              <a:gd name="connsiteX772" fmla="*/ 1704456 w 2114552"/>
              <a:gd name="connsiteY772" fmla="*/ 795338 h 800100"/>
              <a:gd name="connsiteX773" fmla="*/ 1687886 w 2114552"/>
              <a:gd name="connsiteY773" fmla="*/ 732877 h 800100"/>
              <a:gd name="connsiteX774" fmla="*/ 1658890 w 2114552"/>
              <a:gd name="connsiteY774" fmla="*/ 732877 h 800100"/>
              <a:gd name="connsiteX775" fmla="*/ 1629893 w 2114552"/>
              <a:gd name="connsiteY775" fmla="*/ 787010 h 800100"/>
              <a:gd name="connsiteX776" fmla="*/ 1625751 w 2114552"/>
              <a:gd name="connsiteY776" fmla="*/ 787010 h 800100"/>
              <a:gd name="connsiteX777" fmla="*/ 1600896 w 2114552"/>
              <a:gd name="connsiteY777" fmla="*/ 778682 h 800100"/>
              <a:gd name="connsiteX778" fmla="*/ 1596754 w 2114552"/>
              <a:gd name="connsiteY778" fmla="*/ 745369 h 800100"/>
              <a:gd name="connsiteX779" fmla="*/ 1600896 w 2114552"/>
              <a:gd name="connsiteY779" fmla="*/ 716221 h 800100"/>
              <a:gd name="connsiteX780" fmla="*/ 1576042 w 2114552"/>
              <a:gd name="connsiteY780" fmla="*/ 703728 h 800100"/>
              <a:gd name="connsiteX781" fmla="*/ 1534618 w 2114552"/>
              <a:gd name="connsiteY781" fmla="*/ 749533 h 800100"/>
              <a:gd name="connsiteX782" fmla="*/ 1530476 w 2114552"/>
              <a:gd name="connsiteY782" fmla="*/ 749533 h 800100"/>
              <a:gd name="connsiteX783" fmla="*/ 1509764 w 2114552"/>
              <a:gd name="connsiteY783" fmla="*/ 737041 h 800100"/>
              <a:gd name="connsiteX784" fmla="*/ 1509764 w 2114552"/>
              <a:gd name="connsiteY784" fmla="*/ 732877 h 800100"/>
              <a:gd name="connsiteX785" fmla="*/ 1522191 w 2114552"/>
              <a:gd name="connsiteY785" fmla="*/ 674580 h 800100"/>
              <a:gd name="connsiteX786" fmla="*/ 1501479 w 2114552"/>
              <a:gd name="connsiteY786" fmla="*/ 657924 h 800100"/>
              <a:gd name="connsiteX787" fmla="*/ 1447628 w 2114552"/>
              <a:gd name="connsiteY787" fmla="*/ 687072 h 800100"/>
              <a:gd name="connsiteX788" fmla="*/ 1426916 w 2114552"/>
              <a:gd name="connsiteY788" fmla="*/ 670416 h 800100"/>
              <a:gd name="connsiteX789" fmla="*/ 1460055 w 2114552"/>
              <a:gd name="connsiteY789" fmla="*/ 616283 h 800100"/>
              <a:gd name="connsiteX790" fmla="*/ 1443486 w 2114552"/>
              <a:gd name="connsiteY790" fmla="*/ 591298 h 800100"/>
              <a:gd name="connsiteX791" fmla="*/ 1381350 w 2114552"/>
              <a:gd name="connsiteY791" fmla="*/ 607955 h 800100"/>
              <a:gd name="connsiteX792" fmla="*/ 1368923 w 2114552"/>
              <a:gd name="connsiteY792" fmla="*/ 587134 h 800100"/>
              <a:gd name="connsiteX793" fmla="*/ 1368923 w 2114552"/>
              <a:gd name="connsiteY793" fmla="*/ 582970 h 800100"/>
              <a:gd name="connsiteX794" fmla="*/ 1414489 w 2114552"/>
              <a:gd name="connsiteY794" fmla="*/ 541330 h 800100"/>
              <a:gd name="connsiteX795" fmla="*/ 1402062 w 2114552"/>
              <a:gd name="connsiteY795" fmla="*/ 516345 h 800100"/>
              <a:gd name="connsiteX796" fmla="*/ 1339926 w 2114552"/>
              <a:gd name="connsiteY796" fmla="*/ 516345 h 800100"/>
              <a:gd name="connsiteX797" fmla="*/ 1331641 w 2114552"/>
              <a:gd name="connsiteY797" fmla="*/ 491361 h 800100"/>
              <a:gd name="connsiteX798" fmla="*/ 1331641 w 2114552"/>
              <a:gd name="connsiteY798" fmla="*/ 487197 h 800100"/>
              <a:gd name="connsiteX799" fmla="*/ 1385492 w 2114552"/>
              <a:gd name="connsiteY799" fmla="*/ 453884 h 800100"/>
              <a:gd name="connsiteX800" fmla="*/ 1381350 w 2114552"/>
              <a:gd name="connsiteY800" fmla="*/ 428900 h 800100"/>
              <a:gd name="connsiteX801" fmla="*/ 1323357 w 2114552"/>
              <a:gd name="connsiteY801" fmla="*/ 412243 h 800100"/>
              <a:gd name="connsiteX802" fmla="*/ 1319214 w 2114552"/>
              <a:gd name="connsiteY802" fmla="*/ 412243 h 800100"/>
              <a:gd name="connsiteX803" fmla="*/ 1319214 w 2114552"/>
              <a:gd name="connsiteY803" fmla="*/ 399751 h 800100"/>
              <a:gd name="connsiteX804" fmla="*/ 1319214 w 2114552"/>
              <a:gd name="connsiteY804" fmla="*/ 383095 h 800100"/>
              <a:gd name="connsiteX805" fmla="*/ 1323357 w 2114552"/>
              <a:gd name="connsiteY805" fmla="*/ 383095 h 800100"/>
              <a:gd name="connsiteX806" fmla="*/ 1381350 w 2114552"/>
              <a:gd name="connsiteY806" fmla="*/ 366438 h 800100"/>
              <a:gd name="connsiteX807" fmla="*/ 1385492 w 2114552"/>
              <a:gd name="connsiteY807" fmla="*/ 341454 h 800100"/>
              <a:gd name="connsiteX808" fmla="*/ 1331641 w 2114552"/>
              <a:gd name="connsiteY808" fmla="*/ 308141 h 800100"/>
              <a:gd name="connsiteX809" fmla="*/ 1339926 w 2114552"/>
              <a:gd name="connsiteY809" fmla="*/ 283157 h 800100"/>
              <a:gd name="connsiteX810" fmla="*/ 1402062 w 2114552"/>
              <a:gd name="connsiteY810" fmla="*/ 283157 h 800100"/>
              <a:gd name="connsiteX811" fmla="*/ 1410347 w 2114552"/>
              <a:gd name="connsiteY811" fmla="*/ 258173 h 800100"/>
              <a:gd name="connsiteX812" fmla="*/ 1368923 w 2114552"/>
              <a:gd name="connsiteY812" fmla="*/ 212368 h 800100"/>
              <a:gd name="connsiteX813" fmla="*/ 1381350 w 2114552"/>
              <a:gd name="connsiteY813" fmla="*/ 187383 h 800100"/>
              <a:gd name="connsiteX814" fmla="*/ 1443486 w 2114552"/>
              <a:gd name="connsiteY814" fmla="*/ 204040 h 800100"/>
              <a:gd name="connsiteX815" fmla="*/ 1460055 w 2114552"/>
              <a:gd name="connsiteY815" fmla="*/ 183219 h 800100"/>
              <a:gd name="connsiteX816" fmla="*/ 1426916 w 2114552"/>
              <a:gd name="connsiteY816" fmla="*/ 129086 h 800100"/>
              <a:gd name="connsiteX817" fmla="*/ 1426916 w 2114552"/>
              <a:gd name="connsiteY817" fmla="*/ 124922 h 800100"/>
              <a:gd name="connsiteX818" fmla="*/ 1447628 w 2114552"/>
              <a:gd name="connsiteY818" fmla="*/ 108266 h 800100"/>
              <a:gd name="connsiteX819" fmla="*/ 1501479 w 2114552"/>
              <a:gd name="connsiteY819" fmla="*/ 137414 h 800100"/>
              <a:gd name="connsiteX820" fmla="*/ 1522191 w 2114552"/>
              <a:gd name="connsiteY820" fmla="*/ 124922 h 800100"/>
              <a:gd name="connsiteX821" fmla="*/ 1505621 w 2114552"/>
              <a:gd name="connsiteY821" fmla="*/ 62461 h 800100"/>
              <a:gd name="connsiteX822" fmla="*/ 1530476 w 2114552"/>
              <a:gd name="connsiteY822" fmla="*/ 49969 h 800100"/>
              <a:gd name="connsiteX823" fmla="*/ 1576042 w 2114552"/>
              <a:gd name="connsiteY823" fmla="*/ 91610 h 800100"/>
              <a:gd name="connsiteX824" fmla="*/ 1600896 w 2114552"/>
              <a:gd name="connsiteY824" fmla="*/ 83282 h 800100"/>
              <a:gd name="connsiteX825" fmla="*/ 1596754 w 2114552"/>
              <a:gd name="connsiteY825" fmla="*/ 49969 h 800100"/>
              <a:gd name="connsiteX826" fmla="*/ 1600896 w 2114552"/>
              <a:gd name="connsiteY826" fmla="*/ 20820 h 800100"/>
              <a:gd name="connsiteX827" fmla="*/ 1600896 w 2114552"/>
              <a:gd name="connsiteY827" fmla="*/ 16656 h 800100"/>
              <a:gd name="connsiteX828" fmla="*/ 1625751 w 2114552"/>
              <a:gd name="connsiteY828" fmla="*/ 12492 h 800100"/>
              <a:gd name="connsiteX829" fmla="*/ 1629893 w 2114552"/>
              <a:gd name="connsiteY829" fmla="*/ 12492 h 800100"/>
              <a:gd name="connsiteX830" fmla="*/ 1658890 w 2114552"/>
              <a:gd name="connsiteY830" fmla="*/ 66625 h 800100"/>
              <a:gd name="connsiteX831" fmla="*/ 1687886 w 2114552"/>
              <a:gd name="connsiteY831" fmla="*/ 62461 h 800100"/>
              <a:gd name="connsiteX832" fmla="*/ 1704456 w 2114552"/>
              <a:gd name="connsiteY832"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2114552" h="800100">
                <a:moveTo>
                  <a:pt x="2068305" y="749732"/>
                </a:moveTo>
                <a:lnTo>
                  <a:pt x="2068305" y="761609"/>
                </a:lnTo>
                <a:lnTo>
                  <a:pt x="2076013" y="761609"/>
                </a:lnTo>
                <a:cubicBezTo>
                  <a:pt x="2079697" y="761609"/>
                  <a:pt x="2082210" y="761060"/>
                  <a:pt x="2083551" y="759961"/>
                </a:cubicBezTo>
                <a:cubicBezTo>
                  <a:pt x="2084892" y="758862"/>
                  <a:pt x="2085563" y="757408"/>
                  <a:pt x="2085563" y="755598"/>
                </a:cubicBezTo>
                <a:cubicBezTo>
                  <a:pt x="2085563" y="754435"/>
                  <a:pt x="2085240" y="753392"/>
                  <a:pt x="2084594" y="752471"/>
                </a:cubicBezTo>
                <a:cubicBezTo>
                  <a:pt x="2083947" y="751550"/>
                  <a:pt x="2083050" y="750863"/>
                  <a:pt x="2081903" y="750411"/>
                </a:cubicBezTo>
                <a:cubicBezTo>
                  <a:pt x="2080756" y="749959"/>
                  <a:pt x="2078631" y="749732"/>
                  <a:pt x="2075528" y="749732"/>
                </a:cubicBezTo>
                <a:close/>
                <a:moveTo>
                  <a:pt x="2061954" y="744400"/>
                </a:moveTo>
                <a:lnTo>
                  <a:pt x="2075480" y="744400"/>
                </a:lnTo>
                <a:cubicBezTo>
                  <a:pt x="2080101" y="744400"/>
                  <a:pt x="2083446" y="744763"/>
                  <a:pt x="2085514" y="745491"/>
                </a:cubicBezTo>
                <a:cubicBezTo>
                  <a:pt x="2087583" y="746218"/>
                  <a:pt x="2089231" y="747486"/>
                  <a:pt x="2090459" y="749296"/>
                </a:cubicBezTo>
                <a:cubicBezTo>
                  <a:pt x="2091687" y="751106"/>
                  <a:pt x="2092301" y="753029"/>
                  <a:pt x="2092301" y="755065"/>
                </a:cubicBezTo>
                <a:cubicBezTo>
                  <a:pt x="2092301" y="757941"/>
                  <a:pt x="2091275" y="760446"/>
                  <a:pt x="2089223" y="762579"/>
                </a:cubicBezTo>
                <a:cubicBezTo>
                  <a:pt x="2087171" y="764712"/>
                  <a:pt x="2084448" y="765907"/>
                  <a:pt x="2081055" y="766166"/>
                </a:cubicBezTo>
                <a:cubicBezTo>
                  <a:pt x="2082444" y="766748"/>
                  <a:pt x="2083559" y="767443"/>
                  <a:pt x="2084400" y="768251"/>
                </a:cubicBezTo>
                <a:cubicBezTo>
                  <a:pt x="2085983" y="769802"/>
                  <a:pt x="2087922" y="772403"/>
                  <a:pt x="2090217" y="776055"/>
                </a:cubicBezTo>
                <a:lnTo>
                  <a:pt x="2095016" y="783763"/>
                </a:lnTo>
                <a:lnTo>
                  <a:pt x="2087260" y="783763"/>
                </a:lnTo>
                <a:lnTo>
                  <a:pt x="2083769" y="777558"/>
                </a:lnTo>
                <a:cubicBezTo>
                  <a:pt x="2081022" y="772678"/>
                  <a:pt x="2078808" y="769624"/>
                  <a:pt x="2077128" y="768396"/>
                </a:cubicBezTo>
                <a:cubicBezTo>
                  <a:pt x="2075965" y="767491"/>
                  <a:pt x="2074268" y="767039"/>
                  <a:pt x="2072038" y="767039"/>
                </a:cubicBezTo>
                <a:lnTo>
                  <a:pt x="2068305" y="767039"/>
                </a:lnTo>
                <a:lnTo>
                  <a:pt x="2068305" y="783763"/>
                </a:lnTo>
                <a:lnTo>
                  <a:pt x="2061954" y="783763"/>
                </a:lnTo>
                <a:close/>
                <a:moveTo>
                  <a:pt x="834048" y="741362"/>
                </a:moveTo>
                <a:cubicBezTo>
                  <a:pt x="813289" y="741362"/>
                  <a:pt x="784225" y="741362"/>
                  <a:pt x="784225" y="766474"/>
                </a:cubicBezTo>
                <a:cubicBezTo>
                  <a:pt x="784225" y="783215"/>
                  <a:pt x="792529" y="787400"/>
                  <a:pt x="804985" y="787400"/>
                </a:cubicBezTo>
                <a:cubicBezTo>
                  <a:pt x="838200" y="787400"/>
                  <a:pt x="838200" y="758103"/>
                  <a:pt x="838200" y="745547"/>
                </a:cubicBezTo>
                <a:lnTo>
                  <a:pt x="838200" y="741362"/>
                </a:lnTo>
                <a:cubicBezTo>
                  <a:pt x="834048" y="741362"/>
                  <a:pt x="834048" y="741362"/>
                  <a:pt x="834048" y="741362"/>
                </a:cubicBezTo>
                <a:close/>
                <a:moveTo>
                  <a:pt x="2078001" y="733008"/>
                </a:moveTo>
                <a:cubicBezTo>
                  <a:pt x="2072862" y="733008"/>
                  <a:pt x="2067861" y="734325"/>
                  <a:pt x="2062997" y="736959"/>
                </a:cubicBezTo>
                <a:cubicBezTo>
                  <a:pt x="2058133" y="739592"/>
                  <a:pt x="2054328" y="743358"/>
                  <a:pt x="2051581" y="748254"/>
                </a:cubicBezTo>
                <a:cubicBezTo>
                  <a:pt x="2048833" y="753150"/>
                  <a:pt x="2047460" y="758248"/>
                  <a:pt x="2047460" y="763548"/>
                </a:cubicBezTo>
                <a:cubicBezTo>
                  <a:pt x="2047460" y="768816"/>
                  <a:pt x="2048809" y="773866"/>
                  <a:pt x="2051508" y="778697"/>
                </a:cubicBezTo>
                <a:cubicBezTo>
                  <a:pt x="2054206" y="783529"/>
                  <a:pt x="2057980" y="787294"/>
                  <a:pt x="2062827" y="789993"/>
                </a:cubicBezTo>
                <a:cubicBezTo>
                  <a:pt x="2067675" y="792691"/>
                  <a:pt x="2072733" y="794041"/>
                  <a:pt x="2078001" y="794041"/>
                </a:cubicBezTo>
                <a:cubicBezTo>
                  <a:pt x="2083269" y="794041"/>
                  <a:pt x="2088326" y="792691"/>
                  <a:pt x="2093174" y="789993"/>
                </a:cubicBezTo>
                <a:cubicBezTo>
                  <a:pt x="2098022" y="787294"/>
                  <a:pt x="2101787" y="783529"/>
                  <a:pt x="2104469" y="778697"/>
                </a:cubicBezTo>
                <a:cubicBezTo>
                  <a:pt x="2107152" y="773866"/>
                  <a:pt x="2108493" y="768816"/>
                  <a:pt x="2108493" y="763548"/>
                </a:cubicBezTo>
                <a:cubicBezTo>
                  <a:pt x="2108493" y="758248"/>
                  <a:pt x="2107127" y="753150"/>
                  <a:pt x="2104397" y="748254"/>
                </a:cubicBezTo>
                <a:cubicBezTo>
                  <a:pt x="2101666" y="743358"/>
                  <a:pt x="2097860" y="739592"/>
                  <a:pt x="2092980" y="736959"/>
                </a:cubicBezTo>
                <a:cubicBezTo>
                  <a:pt x="2088100" y="734325"/>
                  <a:pt x="2083107" y="733008"/>
                  <a:pt x="2078001" y="733008"/>
                </a:cubicBezTo>
                <a:close/>
                <a:moveTo>
                  <a:pt x="2078001" y="726948"/>
                </a:moveTo>
                <a:cubicBezTo>
                  <a:pt x="2084141" y="726948"/>
                  <a:pt x="2090136" y="728524"/>
                  <a:pt x="2095985" y="731675"/>
                </a:cubicBezTo>
                <a:cubicBezTo>
                  <a:pt x="2101835" y="734825"/>
                  <a:pt x="2106392" y="739334"/>
                  <a:pt x="2109656" y="745200"/>
                </a:cubicBezTo>
                <a:cubicBezTo>
                  <a:pt x="2112920" y="751065"/>
                  <a:pt x="2114552" y="757181"/>
                  <a:pt x="2114552" y="763548"/>
                </a:cubicBezTo>
                <a:cubicBezTo>
                  <a:pt x="2114552" y="769850"/>
                  <a:pt x="2112944" y="775910"/>
                  <a:pt x="2109729" y="781727"/>
                </a:cubicBezTo>
                <a:cubicBezTo>
                  <a:pt x="2106513" y="787544"/>
                  <a:pt x="2102005" y="792061"/>
                  <a:pt x="2096204" y="795277"/>
                </a:cubicBezTo>
                <a:cubicBezTo>
                  <a:pt x="2090402" y="798492"/>
                  <a:pt x="2084335" y="800100"/>
                  <a:pt x="2078001" y="800100"/>
                </a:cubicBezTo>
                <a:cubicBezTo>
                  <a:pt x="2071666" y="800100"/>
                  <a:pt x="2065599" y="798492"/>
                  <a:pt x="2059797" y="795277"/>
                </a:cubicBezTo>
                <a:cubicBezTo>
                  <a:pt x="2053996" y="792061"/>
                  <a:pt x="2049480" y="787544"/>
                  <a:pt x="2046248" y="781727"/>
                </a:cubicBezTo>
                <a:cubicBezTo>
                  <a:pt x="2043016" y="775910"/>
                  <a:pt x="2041400" y="769850"/>
                  <a:pt x="2041400" y="763548"/>
                </a:cubicBezTo>
                <a:cubicBezTo>
                  <a:pt x="2041400" y="757181"/>
                  <a:pt x="2043041" y="751065"/>
                  <a:pt x="2046321" y="745200"/>
                </a:cubicBezTo>
                <a:cubicBezTo>
                  <a:pt x="2049601" y="739334"/>
                  <a:pt x="2054166" y="734825"/>
                  <a:pt x="2060016" y="731675"/>
                </a:cubicBezTo>
                <a:cubicBezTo>
                  <a:pt x="2065865" y="728524"/>
                  <a:pt x="2071860" y="726948"/>
                  <a:pt x="2078001" y="726948"/>
                </a:cubicBezTo>
                <a:close/>
                <a:moveTo>
                  <a:pt x="1058070" y="692149"/>
                </a:moveTo>
                <a:cubicBezTo>
                  <a:pt x="1037466" y="692149"/>
                  <a:pt x="1020763" y="713471"/>
                  <a:pt x="1020763" y="739774"/>
                </a:cubicBezTo>
                <a:cubicBezTo>
                  <a:pt x="1020763" y="766077"/>
                  <a:pt x="1037466" y="787399"/>
                  <a:pt x="1058070" y="787399"/>
                </a:cubicBezTo>
                <a:cubicBezTo>
                  <a:pt x="1078674" y="787399"/>
                  <a:pt x="1095377" y="766077"/>
                  <a:pt x="1095377" y="739774"/>
                </a:cubicBezTo>
                <a:cubicBezTo>
                  <a:pt x="1095377" y="713471"/>
                  <a:pt x="1078674" y="692149"/>
                  <a:pt x="1058070" y="692149"/>
                </a:cubicBezTo>
                <a:close/>
                <a:moveTo>
                  <a:pt x="692151" y="692149"/>
                </a:moveTo>
                <a:cubicBezTo>
                  <a:pt x="673739" y="692149"/>
                  <a:pt x="658813" y="713471"/>
                  <a:pt x="658813" y="739774"/>
                </a:cubicBezTo>
                <a:cubicBezTo>
                  <a:pt x="658813" y="766077"/>
                  <a:pt x="673739" y="787399"/>
                  <a:pt x="692151" y="787399"/>
                </a:cubicBezTo>
                <a:cubicBezTo>
                  <a:pt x="710563" y="787399"/>
                  <a:pt x="725489" y="766077"/>
                  <a:pt x="725489" y="739774"/>
                </a:cubicBezTo>
                <a:cubicBezTo>
                  <a:pt x="725489" y="713471"/>
                  <a:pt x="710563" y="692149"/>
                  <a:pt x="692151" y="692149"/>
                </a:cubicBezTo>
                <a:close/>
                <a:moveTo>
                  <a:pt x="323056" y="692149"/>
                </a:moveTo>
                <a:cubicBezTo>
                  <a:pt x="302452" y="692149"/>
                  <a:pt x="285749" y="713471"/>
                  <a:pt x="285749" y="739774"/>
                </a:cubicBezTo>
                <a:cubicBezTo>
                  <a:pt x="285749" y="766077"/>
                  <a:pt x="302452" y="787399"/>
                  <a:pt x="323056" y="787399"/>
                </a:cubicBezTo>
                <a:cubicBezTo>
                  <a:pt x="343660" y="787399"/>
                  <a:pt x="360363" y="766077"/>
                  <a:pt x="360363" y="739774"/>
                </a:cubicBezTo>
                <a:cubicBezTo>
                  <a:pt x="360363" y="713471"/>
                  <a:pt x="343660" y="692149"/>
                  <a:pt x="323056" y="692149"/>
                </a:cubicBezTo>
                <a:close/>
                <a:moveTo>
                  <a:pt x="966943" y="685949"/>
                </a:moveTo>
                <a:lnTo>
                  <a:pt x="981464" y="685949"/>
                </a:lnTo>
                <a:lnTo>
                  <a:pt x="981464" y="799333"/>
                </a:lnTo>
                <a:lnTo>
                  <a:pt x="966943" y="799333"/>
                </a:lnTo>
                <a:close/>
                <a:moveTo>
                  <a:pt x="1136650" y="684212"/>
                </a:moveTo>
                <a:cubicBezTo>
                  <a:pt x="1148897" y="684212"/>
                  <a:pt x="1148897" y="684212"/>
                  <a:pt x="1148897" y="684212"/>
                </a:cubicBezTo>
                <a:cubicBezTo>
                  <a:pt x="1148897" y="704791"/>
                  <a:pt x="1148897" y="704791"/>
                  <a:pt x="1148897" y="704791"/>
                </a:cubicBezTo>
                <a:cubicBezTo>
                  <a:pt x="1157061" y="696559"/>
                  <a:pt x="1165225" y="684212"/>
                  <a:pt x="1185636" y="684212"/>
                </a:cubicBezTo>
                <a:cubicBezTo>
                  <a:pt x="1214211" y="684212"/>
                  <a:pt x="1222375" y="700675"/>
                  <a:pt x="1222375" y="725369"/>
                </a:cubicBezTo>
                <a:cubicBezTo>
                  <a:pt x="1222375" y="795337"/>
                  <a:pt x="1222375" y="795337"/>
                  <a:pt x="1222375" y="795337"/>
                </a:cubicBezTo>
                <a:cubicBezTo>
                  <a:pt x="1210129" y="795337"/>
                  <a:pt x="1210129" y="795337"/>
                  <a:pt x="1210129" y="795337"/>
                </a:cubicBezTo>
                <a:cubicBezTo>
                  <a:pt x="1210129" y="729485"/>
                  <a:pt x="1210129" y="729485"/>
                  <a:pt x="1210129" y="729485"/>
                </a:cubicBezTo>
                <a:cubicBezTo>
                  <a:pt x="1210129" y="708906"/>
                  <a:pt x="1201964" y="692443"/>
                  <a:pt x="1185636" y="692443"/>
                </a:cubicBezTo>
                <a:cubicBezTo>
                  <a:pt x="1161143" y="692443"/>
                  <a:pt x="1152979" y="717138"/>
                  <a:pt x="1152979" y="733601"/>
                </a:cubicBezTo>
                <a:cubicBezTo>
                  <a:pt x="1152979" y="795337"/>
                  <a:pt x="1152979" y="795337"/>
                  <a:pt x="1152979" y="795337"/>
                </a:cubicBezTo>
                <a:cubicBezTo>
                  <a:pt x="1136650" y="795337"/>
                  <a:pt x="1136650" y="795337"/>
                  <a:pt x="1136650" y="795337"/>
                </a:cubicBezTo>
                <a:lnTo>
                  <a:pt x="1136650" y="713022"/>
                </a:lnTo>
                <a:cubicBezTo>
                  <a:pt x="1136650" y="704791"/>
                  <a:pt x="1136650" y="692443"/>
                  <a:pt x="1136650" y="684212"/>
                </a:cubicBezTo>
                <a:close/>
                <a:moveTo>
                  <a:pt x="1054894" y="684212"/>
                </a:moveTo>
                <a:cubicBezTo>
                  <a:pt x="1083389" y="684212"/>
                  <a:pt x="1106488" y="710154"/>
                  <a:pt x="1106488" y="742156"/>
                </a:cubicBezTo>
                <a:cubicBezTo>
                  <a:pt x="1106488" y="774158"/>
                  <a:pt x="1083389" y="800100"/>
                  <a:pt x="1054894" y="800100"/>
                </a:cubicBezTo>
                <a:cubicBezTo>
                  <a:pt x="1026399" y="800100"/>
                  <a:pt x="1003300" y="774158"/>
                  <a:pt x="1003300" y="742156"/>
                </a:cubicBezTo>
                <a:cubicBezTo>
                  <a:pt x="1003300" y="710154"/>
                  <a:pt x="1026399" y="684212"/>
                  <a:pt x="1054894" y="684212"/>
                </a:cubicBezTo>
                <a:close/>
                <a:moveTo>
                  <a:pt x="812499" y="684212"/>
                </a:moveTo>
                <a:cubicBezTo>
                  <a:pt x="841603" y="684212"/>
                  <a:pt x="854076" y="696629"/>
                  <a:pt x="854076" y="725601"/>
                </a:cubicBezTo>
                <a:cubicBezTo>
                  <a:pt x="854076" y="775267"/>
                  <a:pt x="854076" y="775267"/>
                  <a:pt x="854076" y="775267"/>
                </a:cubicBezTo>
                <a:cubicBezTo>
                  <a:pt x="854076" y="783545"/>
                  <a:pt x="854076" y="791822"/>
                  <a:pt x="854076" y="795961"/>
                </a:cubicBezTo>
                <a:cubicBezTo>
                  <a:pt x="841603" y="795961"/>
                  <a:pt x="841603" y="795961"/>
                  <a:pt x="841603" y="795961"/>
                </a:cubicBezTo>
                <a:lnTo>
                  <a:pt x="841603" y="779406"/>
                </a:lnTo>
                <a:cubicBezTo>
                  <a:pt x="837445" y="779406"/>
                  <a:pt x="837445" y="779406"/>
                  <a:pt x="837445" y="779406"/>
                </a:cubicBezTo>
                <a:cubicBezTo>
                  <a:pt x="833287" y="791822"/>
                  <a:pt x="816656" y="800100"/>
                  <a:pt x="804183" y="800100"/>
                </a:cubicBezTo>
                <a:cubicBezTo>
                  <a:pt x="770921" y="800100"/>
                  <a:pt x="766763" y="779406"/>
                  <a:pt x="766763" y="766989"/>
                </a:cubicBezTo>
                <a:cubicBezTo>
                  <a:pt x="766763" y="729739"/>
                  <a:pt x="808341" y="729739"/>
                  <a:pt x="837445" y="729739"/>
                </a:cubicBezTo>
                <a:cubicBezTo>
                  <a:pt x="837445" y="721462"/>
                  <a:pt x="837445" y="721462"/>
                  <a:pt x="837445" y="721462"/>
                </a:cubicBezTo>
                <a:cubicBezTo>
                  <a:pt x="837445" y="704906"/>
                  <a:pt x="833287" y="692490"/>
                  <a:pt x="812499" y="692490"/>
                </a:cubicBezTo>
                <a:cubicBezTo>
                  <a:pt x="800025" y="692490"/>
                  <a:pt x="791710" y="696629"/>
                  <a:pt x="779236" y="704906"/>
                </a:cubicBezTo>
                <a:cubicBezTo>
                  <a:pt x="779236" y="688351"/>
                  <a:pt x="779236" y="688351"/>
                  <a:pt x="779236" y="688351"/>
                </a:cubicBezTo>
                <a:cubicBezTo>
                  <a:pt x="787552" y="684212"/>
                  <a:pt x="804183" y="684212"/>
                  <a:pt x="812499" y="684212"/>
                </a:cubicBezTo>
                <a:close/>
                <a:moveTo>
                  <a:pt x="527050" y="684212"/>
                </a:moveTo>
                <a:cubicBezTo>
                  <a:pt x="539523" y="684212"/>
                  <a:pt x="539523" y="684212"/>
                  <a:pt x="539523" y="684212"/>
                </a:cubicBezTo>
                <a:cubicBezTo>
                  <a:pt x="539523" y="704791"/>
                  <a:pt x="539523" y="704791"/>
                  <a:pt x="539523" y="704791"/>
                </a:cubicBezTo>
                <a:cubicBezTo>
                  <a:pt x="547839" y="696559"/>
                  <a:pt x="556154" y="684212"/>
                  <a:pt x="576943" y="684212"/>
                </a:cubicBezTo>
                <a:cubicBezTo>
                  <a:pt x="606047" y="684212"/>
                  <a:pt x="614363" y="700675"/>
                  <a:pt x="614363" y="725369"/>
                </a:cubicBezTo>
                <a:cubicBezTo>
                  <a:pt x="614363" y="795337"/>
                  <a:pt x="614363" y="795337"/>
                  <a:pt x="614363" y="795337"/>
                </a:cubicBezTo>
                <a:cubicBezTo>
                  <a:pt x="601890" y="795337"/>
                  <a:pt x="601890" y="795337"/>
                  <a:pt x="601890" y="795337"/>
                </a:cubicBezTo>
                <a:cubicBezTo>
                  <a:pt x="601890" y="729485"/>
                  <a:pt x="601890" y="729485"/>
                  <a:pt x="601890" y="729485"/>
                </a:cubicBezTo>
                <a:cubicBezTo>
                  <a:pt x="601890" y="708906"/>
                  <a:pt x="593574" y="692443"/>
                  <a:pt x="576943" y="692443"/>
                </a:cubicBezTo>
                <a:cubicBezTo>
                  <a:pt x="551996" y="692443"/>
                  <a:pt x="543681" y="717138"/>
                  <a:pt x="543681" y="733601"/>
                </a:cubicBezTo>
                <a:cubicBezTo>
                  <a:pt x="543681" y="795337"/>
                  <a:pt x="543681" y="795337"/>
                  <a:pt x="543681" y="795337"/>
                </a:cubicBezTo>
                <a:cubicBezTo>
                  <a:pt x="527050" y="795337"/>
                  <a:pt x="527050" y="795337"/>
                  <a:pt x="527050" y="795337"/>
                </a:cubicBezTo>
                <a:lnTo>
                  <a:pt x="527050" y="713022"/>
                </a:lnTo>
                <a:cubicBezTo>
                  <a:pt x="527050" y="704791"/>
                  <a:pt x="527050" y="692443"/>
                  <a:pt x="527050" y="684212"/>
                </a:cubicBezTo>
                <a:close/>
                <a:moveTo>
                  <a:pt x="406400" y="684212"/>
                </a:moveTo>
                <a:cubicBezTo>
                  <a:pt x="418873" y="684212"/>
                  <a:pt x="418873" y="684212"/>
                  <a:pt x="418873" y="684212"/>
                </a:cubicBezTo>
                <a:cubicBezTo>
                  <a:pt x="418873" y="754573"/>
                  <a:pt x="418873" y="754573"/>
                  <a:pt x="418873" y="754573"/>
                </a:cubicBezTo>
                <a:cubicBezTo>
                  <a:pt x="418873" y="775267"/>
                  <a:pt x="427189" y="787683"/>
                  <a:pt x="443820" y="787683"/>
                </a:cubicBezTo>
                <a:cubicBezTo>
                  <a:pt x="468766" y="787683"/>
                  <a:pt x="477082" y="766989"/>
                  <a:pt x="477082" y="746295"/>
                </a:cubicBezTo>
                <a:cubicBezTo>
                  <a:pt x="477082" y="684212"/>
                  <a:pt x="477082" y="684212"/>
                  <a:pt x="477082" y="684212"/>
                </a:cubicBezTo>
                <a:cubicBezTo>
                  <a:pt x="493713" y="684212"/>
                  <a:pt x="493713" y="684212"/>
                  <a:pt x="493713" y="684212"/>
                </a:cubicBezTo>
                <a:lnTo>
                  <a:pt x="493713" y="771128"/>
                </a:lnTo>
                <a:cubicBezTo>
                  <a:pt x="493713" y="779406"/>
                  <a:pt x="493713" y="787683"/>
                  <a:pt x="493713" y="795961"/>
                </a:cubicBezTo>
                <a:cubicBezTo>
                  <a:pt x="481240" y="795961"/>
                  <a:pt x="481240" y="795961"/>
                  <a:pt x="481240" y="795961"/>
                </a:cubicBezTo>
                <a:cubicBezTo>
                  <a:pt x="481240" y="779406"/>
                  <a:pt x="481240" y="779406"/>
                  <a:pt x="481240" y="779406"/>
                </a:cubicBezTo>
                <a:cubicBezTo>
                  <a:pt x="472924" y="787683"/>
                  <a:pt x="464609" y="800100"/>
                  <a:pt x="443820" y="800100"/>
                </a:cubicBezTo>
                <a:cubicBezTo>
                  <a:pt x="414715" y="800100"/>
                  <a:pt x="406400" y="783545"/>
                  <a:pt x="406400" y="758711"/>
                </a:cubicBezTo>
                <a:cubicBezTo>
                  <a:pt x="406400" y="684212"/>
                  <a:pt x="406400" y="684212"/>
                  <a:pt x="406400" y="684212"/>
                </a:cubicBezTo>
                <a:close/>
                <a:moveTo>
                  <a:pt x="325437" y="684212"/>
                </a:moveTo>
                <a:cubicBezTo>
                  <a:pt x="354370" y="684212"/>
                  <a:pt x="377825" y="710154"/>
                  <a:pt x="377825" y="742156"/>
                </a:cubicBezTo>
                <a:cubicBezTo>
                  <a:pt x="377825" y="774158"/>
                  <a:pt x="354370" y="800100"/>
                  <a:pt x="325437" y="800100"/>
                </a:cubicBezTo>
                <a:cubicBezTo>
                  <a:pt x="296504" y="800100"/>
                  <a:pt x="273049" y="774158"/>
                  <a:pt x="273049" y="742156"/>
                </a:cubicBezTo>
                <a:cubicBezTo>
                  <a:pt x="273049" y="710154"/>
                  <a:pt x="296504" y="684212"/>
                  <a:pt x="325437" y="684212"/>
                </a:cubicBezTo>
                <a:close/>
                <a:moveTo>
                  <a:pt x="1724027" y="666750"/>
                </a:moveTo>
                <a:lnTo>
                  <a:pt x="1720852" y="679450"/>
                </a:lnTo>
                <a:lnTo>
                  <a:pt x="1716089" y="687388"/>
                </a:lnTo>
                <a:lnTo>
                  <a:pt x="1733552" y="687388"/>
                </a:lnTo>
                <a:lnTo>
                  <a:pt x="1728789" y="679450"/>
                </a:lnTo>
                <a:close/>
                <a:moveTo>
                  <a:pt x="1728922" y="654050"/>
                </a:moveTo>
                <a:cubicBezTo>
                  <a:pt x="1728922" y="658202"/>
                  <a:pt x="1728922" y="658202"/>
                  <a:pt x="1728922" y="658202"/>
                </a:cubicBezTo>
                <a:lnTo>
                  <a:pt x="1737124" y="678962"/>
                </a:lnTo>
                <a:cubicBezTo>
                  <a:pt x="1749427" y="703873"/>
                  <a:pt x="1749427" y="703873"/>
                  <a:pt x="1749427" y="703873"/>
                </a:cubicBezTo>
                <a:cubicBezTo>
                  <a:pt x="1745326" y="703873"/>
                  <a:pt x="1741225" y="703873"/>
                  <a:pt x="1737124" y="703873"/>
                </a:cubicBezTo>
                <a:cubicBezTo>
                  <a:pt x="1737124" y="695569"/>
                  <a:pt x="1737124" y="695569"/>
                  <a:pt x="1737124" y="695569"/>
                </a:cubicBezTo>
                <a:cubicBezTo>
                  <a:pt x="1712517" y="695569"/>
                  <a:pt x="1712517" y="695569"/>
                  <a:pt x="1712517" y="695569"/>
                </a:cubicBezTo>
                <a:cubicBezTo>
                  <a:pt x="1712517" y="708025"/>
                  <a:pt x="1712517" y="708025"/>
                  <a:pt x="1712517" y="708025"/>
                </a:cubicBezTo>
                <a:cubicBezTo>
                  <a:pt x="1708416" y="703873"/>
                  <a:pt x="1704315" y="703873"/>
                  <a:pt x="1700214" y="703873"/>
                </a:cubicBezTo>
                <a:cubicBezTo>
                  <a:pt x="1712517" y="678962"/>
                  <a:pt x="1712517" y="678962"/>
                  <a:pt x="1712517" y="678962"/>
                </a:cubicBezTo>
                <a:cubicBezTo>
                  <a:pt x="1716618" y="658202"/>
                  <a:pt x="1716618" y="658202"/>
                  <a:pt x="1716618" y="658202"/>
                </a:cubicBezTo>
                <a:cubicBezTo>
                  <a:pt x="1728922" y="654050"/>
                  <a:pt x="1728922" y="654050"/>
                  <a:pt x="1728922" y="654050"/>
                </a:cubicBezTo>
                <a:close/>
                <a:moveTo>
                  <a:pt x="907733" y="654049"/>
                </a:moveTo>
                <a:cubicBezTo>
                  <a:pt x="907733" y="683259"/>
                  <a:pt x="907733" y="683259"/>
                  <a:pt x="907733" y="683259"/>
                </a:cubicBezTo>
                <a:cubicBezTo>
                  <a:pt x="932498" y="683259"/>
                  <a:pt x="932498" y="683259"/>
                  <a:pt x="932498" y="683259"/>
                </a:cubicBezTo>
                <a:lnTo>
                  <a:pt x="932498" y="695778"/>
                </a:lnTo>
                <a:cubicBezTo>
                  <a:pt x="907733" y="695778"/>
                  <a:pt x="907733" y="695778"/>
                  <a:pt x="907733" y="695778"/>
                </a:cubicBezTo>
                <a:cubicBezTo>
                  <a:pt x="907733" y="770889"/>
                  <a:pt x="907733" y="770889"/>
                  <a:pt x="907733" y="770889"/>
                </a:cubicBezTo>
                <a:cubicBezTo>
                  <a:pt x="907733" y="779235"/>
                  <a:pt x="911861" y="787580"/>
                  <a:pt x="924243" y="787580"/>
                </a:cubicBezTo>
                <a:cubicBezTo>
                  <a:pt x="928371" y="787580"/>
                  <a:pt x="932498" y="787580"/>
                  <a:pt x="936626" y="783408"/>
                </a:cubicBezTo>
                <a:cubicBezTo>
                  <a:pt x="936626" y="795926"/>
                  <a:pt x="936626" y="795926"/>
                  <a:pt x="936626" y="795926"/>
                </a:cubicBezTo>
                <a:cubicBezTo>
                  <a:pt x="932498" y="800099"/>
                  <a:pt x="928371" y="800099"/>
                  <a:pt x="920116" y="800099"/>
                </a:cubicBezTo>
                <a:cubicBezTo>
                  <a:pt x="895351" y="800099"/>
                  <a:pt x="895351" y="783408"/>
                  <a:pt x="895351" y="762543"/>
                </a:cubicBezTo>
                <a:cubicBezTo>
                  <a:pt x="895351" y="695778"/>
                  <a:pt x="895351" y="695778"/>
                  <a:pt x="895351" y="695778"/>
                </a:cubicBezTo>
                <a:cubicBezTo>
                  <a:pt x="874713" y="695778"/>
                  <a:pt x="874713" y="695778"/>
                  <a:pt x="874713" y="695778"/>
                </a:cubicBezTo>
                <a:cubicBezTo>
                  <a:pt x="874713" y="683259"/>
                  <a:pt x="874713" y="683259"/>
                  <a:pt x="874713" y="683259"/>
                </a:cubicBezTo>
                <a:cubicBezTo>
                  <a:pt x="895351" y="683259"/>
                  <a:pt x="895351" y="683259"/>
                  <a:pt x="895351" y="683259"/>
                </a:cubicBezTo>
                <a:cubicBezTo>
                  <a:pt x="895351" y="658222"/>
                  <a:pt x="895351" y="658222"/>
                  <a:pt x="895351" y="658222"/>
                </a:cubicBezTo>
                <a:cubicBezTo>
                  <a:pt x="907733" y="654049"/>
                  <a:pt x="907733" y="654049"/>
                  <a:pt x="907733" y="654049"/>
                </a:cubicBezTo>
                <a:close/>
                <a:moveTo>
                  <a:pt x="1658542" y="650875"/>
                </a:moveTo>
                <a:cubicBezTo>
                  <a:pt x="1662643" y="650875"/>
                  <a:pt x="1662643" y="650875"/>
                  <a:pt x="1666745" y="650875"/>
                </a:cubicBezTo>
                <a:cubicBezTo>
                  <a:pt x="1666745" y="650875"/>
                  <a:pt x="1666745" y="650875"/>
                  <a:pt x="1683149" y="688242"/>
                </a:cubicBezTo>
                <a:cubicBezTo>
                  <a:pt x="1683149" y="688242"/>
                  <a:pt x="1683149" y="688242"/>
                  <a:pt x="1687250" y="655027"/>
                </a:cubicBezTo>
                <a:cubicBezTo>
                  <a:pt x="1687250" y="655027"/>
                  <a:pt x="1691351" y="655027"/>
                  <a:pt x="1695452" y="655027"/>
                </a:cubicBezTo>
                <a:cubicBezTo>
                  <a:pt x="1695452" y="655027"/>
                  <a:pt x="1695452" y="655027"/>
                  <a:pt x="1687250" y="704850"/>
                </a:cubicBezTo>
                <a:cubicBezTo>
                  <a:pt x="1687250" y="704850"/>
                  <a:pt x="1683149" y="704850"/>
                  <a:pt x="1679048" y="704850"/>
                </a:cubicBezTo>
                <a:cubicBezTo>
                  <a:pt x="1679048" y="704850"/>
                  <a:pt x="1679048" y="704850"/>
                  <a:pt x="1662643" y="671635"/>
                </a:cubicBezTo>
                <a:cubicBezTo>
                  <a:pt x="1662643" y="671635"/>
                  <a:pt x="1662643" y="671635"/>
                  <a:pt x="1658542" y="700698"/>
                </a:cubicBezTo>
                <a:cubicBezTo>
                  <a:pt x="1654441" y="700698"/>
                  <a:pt x="1650340" y="700698"/>
                  <a:pt x="1646239" y="700698"/>
                </a:cubicBezTo>
                <a:cubicBezTo>
                  <a:pt x="1646239" y="700698"/>
                  <a:pt x="1646239" y="700698"/>
                  <a:pt x="1658542" y="650875"/>
                </a:cubicBezTo>
                <a:close/>
                <a:moveTo>
                  <a:pt x="1787526" y="646113"/>
                </a:moveTo>
                <a:lnTo>
                  <a:pt x="1787526" y="654504"/>
                </a:lnTo>
                <a:cubicBezTo>
                  <a:pt x="1783399" y="658700"/>
                  <a:pt x="1779271" y="658700"/>
                  <a:pt x="1771016" y="658700"/>
                </a:cubicBezTo>
                <a:cubicBezTo>
                  <a:pt x="1771016" y="658700"/>
                  <a:pt x="1771016" y="658700"/>
                  <a:pt x="1779271" y="700655"/>
                </a:cubicBezTo>
                <a:cubicBezTo>
                  <a:pt x="1779271" y="700655"/>
                  <a:pt x="1779271" y="700655"/>
                  <a:pt x="1771016" y="704851"/>
                </a:cubicBezTo>
                <a:cubicBezTo>
                  <a:pt x="1771016" y="704851"/>
                  <a:pt x="1771016" y="704851"/>
                  <a:pt x="1762761" y="662895"/>
                </a:cubicBezTo>
                <a:cubicBezTo>
                  <a:pt x="1758634" y="662895"/>
                  <a:pt x="1754506" y="662895"/>
                  <a:pt x="1746251" y="662895"/>
                </a:cubicBezTo>
                <a:cubicBezTo>
                  <a:pt x="1746251" y="662895"/>
                  <a:pt x="1746251" y="662895"/>
                  <a:pt x="1746251" y="654504"/>
                </a:cubicBezTo>
                <a:cubicBezTo>
                  <a:pt x="1758634" y="654504"/>
                  <a:pt x="1771016" y="650309"/>
                  <a:pt x="1787526" y="646113"/>
                </a:cubicBezTo>
                <a:close/>
                <a:moveTo>
                  <a:pt x="1617029" y="646113"/>
                </a:moveTo>
                <a:cubicBezTo>
                  <a:pt x="1617029" y="654051"/>
                  <a:pt x="1617029" y="654051"/>
                  <a:pt x="1617029" y="654051"/>
                </a:cubicBezTo>
                <a:cubicBezTo>
                  <a:pt x="1612901" y="658019"/>
                  <a:pt x="1612901" y="658019"/>
                  <a:pt x="1612901" y="658019"/>
                </a:cubicBezTo>
                <a:cubicBezTo>
                  <a:pt x="1625284" y="661988"/>
                  <a:pt x="1625284" y="661988"/>
                  <a:pt x="1625284" y="661988"/>
                </a:cubicBezTo>
                <a:cubicBezTo>
                  <a:pt x="1629412" y="661988"/>
                  <a:pt x="1633539" y="658019"/>
                  <a:pt x="1633539" y="658019"/>
                </a:cubicBezTo>
                <a:cubicBezTo>
                  <a:pt x="1633539" y="658019"/>
                  <a:pt x="1633539" y="654051"/>
                  <a:pt x="1633539" y="654051"/>
                </a:cubicBezTo>
                <a:cubicBezTo>
                  <a:pt x="1633539" y="654051"/>
                  <a:pt x="1633539" y="650082"/>
                  <a:pt x="1629412" y="650082"/>
                </a:cubicBezTo>
                <a:cubicBezTo>
                  <a:pt x="1617029" y="646113"/>
                  <a:pt x="1617029" y="646113"/>
                  <a:pt x="1617029" y="646113"/>
                </a:cubicBezTo>
                <a:close/>
                <a:moveTo>
                  <a:pt x="966943" y="643885"/>
                </a:moveTo>
                <a:lnTo>
                  <a:pt x="981464" y="643885"/>
                </a:lnTo>
                <a:lnTo>
                  <a:pt x="981464" y="660066"/>
                </a:lnTo>
                <a:lnTo>
                  <a:pt x="966943" y="660066"/>
                </a:lnTo>
                <a:close/>
                <a:moveTo>
                  <a:pt x="1795464" y="641350"/>
                </a:moveTo>
                <a:cubicBezTo>
                  <a:pt x="1799546" y="641350"/>
                  <a:pt x="1803628" y="641350"/>
                  <a:pt x="1807711" y="641350"/>
                </a:cubicBezTo>
                <a:cubicBezTo>
                  <a:pt x="1807711" y="641350"/>
                  <a:pt x="1807711" y="641350"/>
                  <a:pt x="1824039" y="687917"/>
                </a:cubicBezTo>
                <a:cubicBezTo>
                  <a:pt x="1819957" y="687917"/>
                  <a:pt x="1815875" y="687917"/>
                  <a:pt x="1811793" y="692150"/>
                </a:cubicBezTo>
                <a:cubicBezTo>
                  <a:pt x="1811793" y="692150"/>
                  <a:pt x="1811793" y="692150"/>
                  <a:pt x="1795464" y="641350"/>
                </a:cubicBezTo>
                <a:close/>
                <a:moveTo>
                  <a:pt x="177800" y="641349"/>
                </a:moveTo>
                <a:lnTo>
                  <a:pt x="252413" y="641349"/>
                </a:lnTo>
                <a:lnTo>
                  <a:pt x="252413" y="654049"/>
                </a:lnTo>
                <a:lnTo>
                  <a:pt x="195262" y="654049"/>
                </a:lnTo>
                <a:lnTo>
                  <a:pt x="195262" y="712787"/>
                </a:lnTo>
                <a:lnTo>
                  <a:pt x="249238" y="712787"/>
                </a:lnTo>
                <a:lnTo>
                  <a:pt x="249238" y="725487"/>
                </a:lnTo>
                <a:lnTo>
                  <a:pt x="195262" y="725487"/>
                </a:lnTo>
                <a:lnTo>
                  <a:pt x="195262" y="795337"/>
                </a:lnTo>
                <a:lnTo>
                  <a:pt x="177800" y="795337"/>
                </a:lnTo>
                <a:close/>
                <a:moveTo>
                  <a:pt x="1612770" y="633413"/>
                </a:moveTo>
                <a:cubicBezTo>
                  <a:pt x="1633275" y="641668"/>
                  <a:pt x="1633275" y="641668"/>
                  <a:pt x="1633275" y="641668"/>
                </a:cubicBezTo>
                <a:cubicBezTo>
                  <a:pt x="1641477" y="645796"/>
                  <a:pt x="1641477" y="649923"/>
                  <a:pt x="1641477" y="654051"/>
                </a:cubicBezTo>
                <a:cubicBezTo>
                  <a:pt x="1641477" y="654051"/>
                  <a:pt x="1641477" y="658178"/>
                  <a:pt x="1641477" y="658178"/>
                </a:cubicBezTo>
                <a:cubicBezTo>
                  <a:pt x="1641477" y="662306"/>
                  <a:pt x="1637376" y="670561"/>
                  <a:pt x="1629174" y="670561"/>
                </a:cubicBezTo>
                <a:cubicBezTo>
                  <a:pt x="1633275" y="695326"/>
                  <a:pt x="1633275" y="695326"/>
                  <a:pt x="1633275" y="695326"/>
                </a:cubicBezTo>
                <a:cubicBezTo>
                  <a:pt x="1629174" y="695326"/>
                  <a:pt x="1625073" y="691198"/>
                  <a:pt x="1620972" y="691198"/>
                </a:cubicBezTo>
                <a:cubicBezTo>
                  <a:pt x="1620972" y="670561"/>
                  <a:pt x="1620972" y="670561"/>
                  <a:pt x="1620972" y="670561"/>
                </a:cubicBezTo>
                <a:cubicBezTo>
                  <a:pt x="1608668" y="666433"/>
                  <a:pt x="1608668" y="666433"/>
                  <a:pt x="1608668" y="666433"/>
                </a:cubicBezTo>
                <a:cubicBezTo>
                  <a:pt x="1604567" y="682943"/>
                  <a:pt x="1604567" y="682943"/>
                  <a:pt x="1604567" y="682943"/>
                </a:cubicBezTo>
                <a:cubicBezTo>
                  <a:pt x="1600466" y="682943"/>
                  <a:pt x="1596365" y="682943"/>
                  <a:pt x="1592264" y="678816"/>
                </a:cubicBezTo>
                <a:cubicBezTo>
                  <a:pt x="1604567" y="658178"/>
                  <a:pt x="1604567" y="658178"/>
                  <a:pt x="1604567" y="658178"/>
                </a:cubicBezTo>
                <a:cubicBezTo>
                  <a:pt x="1604567" y="654051"/>
                  <a:pt x="1604567" y="654051"/>
                  <a:pt x="1604567" y="654051"/>
                </a:cubicBezTo>
                <a:cubicBezTo>
                  <a:pt x="1612770" y="633413"/>
                  <a:pt x="1612770" y="633413"/>
                  <a:pt x="1612770" y="633413"/>
                </a:cubicBezTo>
                <a:close/>
                <a:moveTo>
                  <a:pt x="1855109" y="630214"/>
                </a:moveTo>
                <a:cubicBezTo>
                  <a:pt x="1851027" y="629693"/>
                  <a:pt x="1846945" y="630735"/>
                  <a:pt x="1844903" y="632818"/>
                </a:cubicBezTo>
                <a:cubicBezTo>
                  <a:pt x="1836739" y="636986"/>
                  <a:pt x="1836739" y="641153"/>
                  <a:pt x="1836739" y="645320"/>
                </a:cubicBezTo>
                <a:cubicBezTo>
                  <a:pt x="1836739" y="649487"/>
                  <a:pt x="1836739" y="653655"/>
                  <a:pt x="1836739" y="653655"/>
                </a:cubicBezTo>
                <a:cubicBezTo>
                  <a:pt x="1836739" y="653655"/>
                  <a:pt x="1836739" y="657822"/>
                  <a:pt x="1840821" y="657822"/>
                </a:cubicBezTo>
                <a:cubicBezTo>
                  <a:pt x="1844903" y="661989"/>
                  <a:pt x="1853068" y="661989"/>
                  <a:pt x="1857150" y="661989"/>
                </a:cubicBezTo>
                <a:cubicBezTo>
                  <a:pt x="1861232" y="657822"/>
                  <a:pt x="1861232" y="657822"/>
                  <a:pt x="1861232" y="657822"/>
                </a:cubicBezTo>
                <a:cubicBezTo>
                  <a:pt x="1865314" y="653655"/>
                  <a:pt x="1865314" y="649487"/>
                  <a:pt x="1865314" y="645320"/>
                </a:cubicBezTo>
                <a:cubicBezTo>
                  <a:pt x="1865314" y="645320"/>
                  <a:pt x="1865314" y="641153"/>
                  <a:pt x="1865314" y="636986"/>
                </a:cubicBezTo>
                <a:cubicBezTo>
                  <a:pt x="1863273" y="632818"/>
                  <a:pt x="1859191" y="630735"/>
                  <a:pt x="1855109" y="630214"/>
                </a:cubicBezTo>
                <a:close/>
                <a:moveTo>
                  <a:pt x="726110" y="628649"/>
                </a:moveTo>
                <a:cubicBezTo>
                  <a:pt x="742951" y="628649"/>
                  <a:pt x="742951" y="628649"/>
                  <a:pt x="742951" y="628649"/>
                </a:cubicBezTo>
                <a:lnTo>
                  <a:pt x="742951" y="795917"/>
                </a:lnTo>
                <a:cubicBezTo>
                  <a:pt x="726110" y="795917"/>
                  <a:pt x="726110" y="795917"/>
                  <a:pt x="726110" y="795917"/>
                </a:cubicBezTo>
                <a:cubicBezTo>
                  <a:pt x="726110" y="779190"/>
                  <a:pt x="726110" y="779190"/>
                  <a:pt x="726110" y="779190"/>
                </a:cubicBezTo>
                <a:cubicBezTo>
                  <a:pt x="717689" y="795917"/>
                  <a:pt x="709268" y="800099"/>
                  <a:pt x="692427" y="800099"/>
                </a:cubicBezTo>
                <a:cubicBezTo>
                  <a:pt x="658744" y="800099"/>
                  <a:pt x="646113" y="775009"/>
                  <a:pt x="646113" y="741555"/>
                </a:cubicBezTo>
                <a:cubicBezTo>
                  <a:pt x="646113" y="708101"/>
                  <a:pt x="658744" y="683011"/>
                  <a:pt x="692427" y="683011"/>
                </a:cubicBezTo>
                <a:cubicBezTo>
                  <a:pt x="713479" y="683011"/>
                  <a:pt x="726110" y="695556"/>
                  <a:pt x="726110" y="703920"/>
                </a:cubicBezTo>
                <a:cubicBezTo>
                  <a:pt x="726110" y="628649"/>
                  <a:pt x="726110" y="628649"/>
                  <a:pt x="726110" y="628649"/>
                </a:cubicBezTo>
                <a:close/>
                <a:moveTo>
                  <a:pt x="1857377" y="622131"/>
                </a:moveTo>
                <a:cubicBezTo>
                  <a:pt x="1864256" y="623662"/>
                  <a:pt x="1870606" y="627744"/>
                  <a:pt x="1874839" y="633868"/>
                </a:cubicBezTo>
                <a:cubicBezTo>
                  <a:pt x="1874839" y="637950"/>
                  <a:pt x="1874839" y="642032"/>
                  <a:pt x="1874839" y="646114"/>
                </a:cubicBezTo>
                <a:cubicBezTo>
                  <a:pt x="1874839" y="650196"/>
                  <a:pt x="1874839" y="654278"/>
                  <a:pt x="1874839" y="658360"/>
                </a:cubicBezTo>
                <a:cubicBezTo>
                  <a:pt x="1870606" y="662443"/>
                  <a:pt x="1870606" y="666525"/>
                  <a:pt x="1862139" y="666525"/>
                </a:cubicBezTo>
                <a:cubicBezTo>
                  <a:pt x="1853672" y="674689"/>
                  <a:pt x="1836739" y="670607"/>
                  <a:pt x="1828272" y="658360"/>
                </a:cubicBezTo>
                <a:cubicBezTo>
                  <a:pt x="1828272" y="654278"/>
                  <a:pt x="1824039" y="650196"/>
                  <a:pt x="1824039" y="646114"/>
                </a:cubicBezTo>
                <a:cubicBezTo>
                  <a:pt x="1824039" y="637950"/>
                  <a:pt x="1828272" y="629785"/>
                  <a:pt x="1836739" y="625703"/>
                </a:cubicBezTo>
                <a:cubicBezTo>
                  <a:pt x="1843089" y="621621"/>
                  <a:pt x="1850497" y="620601"/>
                  <a:pt x="1857377" y="622131"/>
                </a:cubicBezTo>
                <a:close/>
                <a:moveTo>
                  <a:pt x="1571138" y="612775"/>
                </a:moveTo>
                <a:cubicBezTo>
                  <a:pt x="1579442" y="616903"/>
                  <a:pt x="1591897" y="625158"/>
                  <a:pt x="1600201" y="629285"/>
                </a:cubicBezTo>
                <a:cubicBezTo>
                  <a:pt x="1600201" y="629285"/>
                  <a:pt x="1600201" y="629285"/>
                  <a:pt x="1596049" y="637540"/>
                </a:cubicBezTo>
                <a:cubicBezTo>
                  <a:pt x="1587745" y="633413"/>
                  <a:pt x="1583593" y="629285"/>
                  <a:pt x="1575290" y="625158"/>
                </a:cubicBezTo>
                <a:lnTo>
                  <a:pt x="1571138" y="633413"/>
                </a:lnTo>
                <a:cubicBezTo>
                  <a:pt x="1575290" y="637540"/>
                  <a:pt x="1579442" y="641668"/>
                  <a:pt x="1583593" y="641668"/>
                </a:cubicBezTo>
                <a:cubicBezTo>
                  <a:pt x="1583593" y="641668"/>
                  <a:pt x="1583593" y="641668"/>
                  <a:pt x="1579442" y="649923"/>
                </a:cubicBezTo>
                <a:cubicBezTo>
                  <a:pt x="1579442" y="649923"/>
                  <a:pt x="1579442" y="649923"/>
                  <a:pt x="1566986" y="641668"/>
                </a:cubicBezTo>
                <a:cubicBezTo>
                  <a:pt x="1566986" y="641668"/>
                  <a:pt x="1566986" y="641668"/>
                  <a:pt x="1558682" y="654050"/>
                </a:cubicBezTo>
                <a:cubicBezTo>
                  <a:pt x="1558682" y="654050"/>
                  <a:pt x="1558682" y="654050"/>
                  <a:pt x="1579442" y="666433"/>
                </a:cubicBezTo>
                <a:cubicBezTo>
                  <a:pt x="1579442" y="666433"/>
                  <a:pt x="1579442" y="666433"/>
                  <a:pt x="1575290" y="674688"/>
                </a:cubicBezTo>
                <a:cubicBezTo>
                  <a:pt x="1562834" y="666433"/>
                  <a:pt x="1554530" y="662305"/>
                  <a:pt x="1546226" y="654050"/>
                </a:cubicBezTo>
                <a:cubicBezTo>
                  <a:pt x="1546226" y="654050"/>
                  <a:pt x="1546226" y="654050"/>
                  <a:pt x="1571138" y="612775"/>
                </a:cubicBezTo>
                <a:close/>
                <a:moveTo>
                  <a:pt x="1898969" y="579438"/>
                </a:moveTo>
                <a:cubicBezTo>
                  <a:pt x="1898969" y="579438"/>
                  <a:pt x="1898969" y="579438"/>
                  <a:pt x="1931989" y="616943"/>
                </a:cubicBezTo>
                <a:cubicBezTo>
                  <a:pt x="1927862" y="621110"/>
                  <a:pt x="1927862" y="621110"/>
                  <a:pt x="1923734" y="625277"/>
                </a:cubicBezTo>
                <a:cubicBezTo>
                  <a:pt x="1923734" y="625277"/>
                  <a:pt x="1923734" y="625277"/>
                  <a:pt x="1890714" y="612776"/>
                </a:cubicBezTo>
                <a:cubicBezTo>
                  <a:pt x="1890714" y="612776"/>
                  <a:pt x="1890714" y="612776"/>
                  <a:pt x="1907224" y="637779"/>
                </a:cubicBezTo>
                <a:cubicBezTo>
                  <a:pt x="1903096" y="641946"/>
                  <a:pt x="1903096" y="641946"/>
                  <a:pt x="1898969" y="646113"/>
                </a:cubicBezTo>
                <a:cubicBezTo>
                  <a:pt x="1898969" y="646113"/>
                  <a:pt x="1898969" y="646113"/>
                  <a:pt x="1870076" y="604441"/>
                </a:cubicBezTo>
                <a:cubicBezTo>
                  <a:pt x="1874204" y="604441"/>
                  <a:pt x="1874204" y="600274"/>
                  <a:pt x="1878331" y="600274"/>
                </a:cubicBezTo>
                <a:cubicBezTo>
                  <a:pt x="1878331" y="600274"/>
                  <a:pt x="1878331" y="600274"/>
                  <a:pt x="1911351" y="608608"/>
                </a:cubicBezTo>
                <a:cubicBezTo>
                  <a:pt x="1911351" y="608608"/>
                  <a:pt x="1911351" y="608608"/>
                  <a:pt x="1890714" y="587772"/>
                </a:cubicBezTo>
                <a:cubicBezTo>
                  <a:pt x="1894841" y="583605"/>
                  <a:pt x="1894841" y="583605"/>
                  <a:pt x="1898969" y="579438"/>
                </a:cubicBezTo>
                <a:close/>
                <a:moveTo>
                  <a:pt x="1534626" y="579438"/>
                </a:moveTo>
                <a:cubicBezTo>
                  <a:pt x="1542930" y="587742"/>
                  <a:pt x="1551233" y="596046"/>
                  <a:pt x="1563689" y="604350"/>
                </a:cubicBezTo>
                <a:cubicBezTo>
                  <a:pt x="1559537" y="612653"/>
                  <a:pt x="1559537" y="612653"/>
                  <a:pt x="1559537" y="612653"/>
                </a:cubicBezTo>
                <a:cubicBezTo>
                  <a:pt x="1555385" y="608501"/>
                  <a:pt x="1551233" y="604350"/>
                  <a:pt x="1547081" y="604350"/>
                </a:cubicBezTo>
                <a:cubicBezTo>
                  <a:pt x="1518018" y="633413"/>
                  <a:pt x="1518018" y="633413"/>
                  <a:pt x="1518018" y="633413"/>
                </a:cubicBezTo>
                <a:cubicBezTo>
                  <a:pt x="1509714" y="625109"/>
                  <a:pt x="1509714" y="625109"/>
                  <a:pt x="1509714" y="625109"/>
                </a:cubicBezTo>
                <a:cubicBezTo>
                  <a:pt x="1538778" y="596046"/>
                  <a:pt x="1538778" y="596046"/>
                  <a:pt x="1538778" y="596046"/>
                </a:cubicBezTo>
                <a:cubicBezTo>
                  <a:pt x="1534626" y="591894"/>
                  <a:pt x="1530474" y="587742"/>
                  <a:pt x="1526322" y="583590"/>
                </a:cubicBezTo>
                <a:cubicBezTo>
                  <a:pt x="1534626" y="579438"/>
                  <a:pt x="1534626" y="579438"/>
                  <a:pt x="1534626" y="579438"/>
                </a:cubicBezTo>
                <a:close/>
                <a:moveTo>
                  <a:pt x="1924051" y="566738"/>
                </a:moveTo>
                <a:lnTo>
                  <a:pt x="1931989" y="579438"/>
                </a:lnTo>
                <a:lnTo>
                  <a:pt x="1936751" y="587376"/>
                </a:lnTo>
                <a:lnTo>
                  <a:pt x="1944689" y="579438"/>
                </a:lnTo>
                <a:lnTo>
                  <a:pt x="1944689" y="574676"/>
                </a:lnTo>
                <a:close/>
                <a:moveTo>
                  <a:pt x="1919742" y="558800"/>
                </a:moveTo>
                <a:cubicBezTo>
                  <a:pt x="1970089" y="571103"/>
                  <a:pt x="1970089" y="571103"/>
                  <a:pt x="1970089" y="571103"/>
                </a:cubicBezTo>
                <a:cubicBezTo>
                  <a:pt x="1970089" y="575204"/>
                  <a:pt x="1965894" y="575204"/>
                  <a:pt x="1965894" y="579305"/>
                </a:cubicBezTo>
                <a:cubicBezTo>
                  <a:pt x="1965894" y="579305"/>
                  <a:pt x="1965894" y="579305"/>
                  <a:pt x="1961698" y="579305"/>
                </a:cubicBezTo>
                <a:cubicBezTo>
                  <a:pt x="1953307" y="579305"/>
                  <a:pt x="1953307" y="579305"/>
                  <a:pt x="1953307" y="579305"/>
                </a:cubicBezTo>
                <a:cubicBezTo>
                  <a:pt x="1940720" y="595710"/>
                  <a:pt x="1940720" y="595710"/>
                  <a:pt x="1940720" y="595710"/>
                </a:cubicBezTo>
                <a:cubicBezTo>
                  <a:pt x="1944916" y="603912"/>
                  <a:pt x="1944916" y="603912"/>
                  <a:pt x="1944916" y="603912"/>
                </a:cubicBezTo>
                <a:cubicBezTo>
                  <a:pt x="1944916" y="603912"/>
                  <a:pt x="1940720" y="608013"/>
                  <a:pt x="1940720" y="608013"/>
                </a:cubicBezTo>
                <a:cubicBezTo>
                  <a:pt x="1919742" y="579305"/>
                  <a:pt x="1919742" y="579305"/>
                  <a:pt x="1919742" y="579305"/>
                </a:cubicBezTo>
                <a:cubicBezTo>
                  <a:pt x="1911351" y="567002"/>
                  <a:pt x="1911351" y="567002"/>
                  <a:pt x="1911351" y="567002"/>
                </a:cubicBezTo>
                <a:close/>
                <a:moveTo>
                  <a:pt x="1500586" y="541338"/>
                </a:moveTo>
                <a:cubicBezTo>
                  <a:pt x="1504753" y="545571"/>
                  <a:pt x="1504753" y="545571"/>
                  <a:pt x="1508920" y="549805"/>
                </a:cubicBezTo>
                <a:cubicBezTo>
                  <a:pt x="1508920" y="549805"/>
                  <a:pt x="1508920" y="549805"/>
                  <a:pt x="1496419" y="583671"/>
                </a:cubicBezTo>
                <a:cubicBezTo>
                  <a:pt x="1496419" y="583671"/>
                  <a:pt x="1496419" y="583671"/>
                  <a:pt x="1521422" y="562505"/>
                </a:cubicBezTo>
                <a:cubicBezTo>
                  <a:pt x="1521422" y="566738"/>
                  <a:pt x="1525589" y="566738"/>
                  <a:pt x="1525589" y="570971"/>
                </a:cubicBezTo>
                <a:cubicBezTo>
                  <a:pt x="1525589" y="570971"/>
                  <a:pt x="1525589" y="570971"/>
                  <a:pt x="1488084" y="604838"/>
                </a:cubicBezTo>
                <a:cubicBezTo>
                  <a:pt x="1483917" y="600605"/>
                  <a:pt x="1483917" y="600605"/>
                  <a:pt x="1479750" y="596371"/>
                </a:cubicBezTo>
                <a:cubicBezTo>
                  <a:pt x="1479750" y="596371"/>
                  <a:pt x="1479750" y="596371"/>
                  <a:pt x="1492252" y="562505"/>
                </a:cubicBezTo>
                <a:cubicBezTo>
                  <a:pt x="1492252" y="562505"/>
                  <a:pt x="1492252" y="562505"/>
                  <a:pt x="1467249" y="579438"/>
                </a:cubicBezTo>
                <a:cubicBezTo>
                  <a:pt x="1463081" y="575205"/>
                  <a:pt x="1463081" y="575205"/>
                  <a:pt x="1458914" y="570971"/>
                </a:cubicBezTo>
                <a:cubicBezTo>
                  <a:pt x="1458914" y="570971"/>
                  <a:pt x="1458914" y="570971"/>
                  <a:pt x="1500586" y="541338"/>
                </a:cubicBezTo>
                <a:close/>
                <a:moveTo>
                  <a:pt x="1936752" y="528638"/>
                </a:moveTo>
                <a:lnTo>
                  <a:pt x="1973264" y="550863"/>
                </a:lnTo>
                <a:lnTo>
                  <a:pt x="1985965" y="528638"/>
                </a:lnTo>
                <a:lnTo>
                  <a:pt x="1993902" y="533401"/>
                </a:lnTo>
                <a:lnTo>
                  <a:pt x="1978027" y="561976"/>
                </a:lnTo>
                <a:lnTo>
                  <a:pt x="1931989" y="538163"/>
                </a:lnTo>
                <a:close/>
                <a:moveTo>
                  <a:pt x="1492829" y="525463"/>
                </a:moveTo>
                <a:cubicBezTo>
                  <a:pt x="1492829" y="529630"/>
                  <a:pt x="1497014" y="529630"/>
                  <a:pt x="1497014" y="533798"/>
                </a:cubicBezTo>
                <a:cubicBezTo>
                  <a:pt x="1497014" y="533798"/>
                  <a:pt x="1497014" y="533798"/>
                  <a:pt x="1455161" y="558801"/>
                </a:cubicBezTo>
                <a:cubicBezTo>
                  <a:pt x="1450976" y="554634"/>
                  <a:pt x="1450976" y="550467"/>
                  <a:pt x="1450976" y="550467"/>
                </a:cubicBezTo>
                <a:cubicBezTo>
                  <a:pt x="1450976" y="550467"/>
                  <a:pt x="1450976" y="550467"/>
                  <a:pt x="1492829" y="525463"/>
                </a:cubicBezTo>
                <a:close/>
                <a:moveTo>
                  <a:pt x="1482542" y="485751"/>
                </a:moveTo>
                <a:cubicBezTo>
                  <a:pt x="1480468" y="485230"/>
                  <a:pt x="1478394" y="486272"/>
                  <a:pt x="1476320" y="488355"/>
                </a:cubicBezTo>
                <a:cubicBezTo>
                  <a:pt x="1430696" y="500857"/>
                  <a:pt x="1430696" y="500857"/>
                  <a:pt x="1430696" y="500857"/>
                </a:cubicBezTo>
                <a:cubicBezTo>
                  <a:pt x="1422401" y="505024"/>
                  <a:pt x="1422401" y="509191"/>
                  <a:pt x="1422401" y="517526"/>
                </a:cubicBezTo>
                <a:cubicBezTo>
                  <a:pt x="1468025" y="634207"/>
                  <a:pt x="1584159" y="717551"/>
                  <a:pt x="1716883" y="717551"/>
                </a:cubicBezTo>
                <a:cubicBezTo>
                  <a:pt x="1849607" y="717551"/>
                  <a:pt x="1965740" y="634207"/>
                  <a:pt x="2011364" y="513358"/>
                </a:cubicBezTo>
                <a:cubicBezTo>
                  <a:pt x="2011364" y="509191"/>
                  <a:pt x="2007217" y="505024"/>
                  <a:pt x="2003069" y="500857"/>
                </a:cubicBezTo>
                <a:cubicBezTo>
                  <a:pt x="1957445" y="488355"/>
                  <a:pt x="1957445" y="488355"/>
                  <a:pt x="1957445" y="488355"/>
                </a:cubicBezTo>
                <a:cubicBezTo>
                  <a:pt x="1955371" y="486272"/>
                  <a:pt x="1953297" y="485230"/>
                  <a:pt x="1951224" y="485751"/>
                </a:cubicBezTo>
                <a:cubicBezTo>
                  <a:pt x="1949150" y="486272"/>
                  <a:pt x="1947076" y="488355"/>
                  <a:pt x="1945002" y="492522"/>
                </a:cubicBezTo>
                <a:cubicBezTo>
                  <a:pt x="1907673" y="584201"/>
                  <a:pt x="1820573" y="646709"/>
                  <a:pt x="1716883" y="646709"/>
                </a:cubicBezTo>
                <a:cubicBezTo>
                  <a:pt x="1613192" y="646709"/>
                  <a:pt x="1526092" y="584201"/>
                  <a:pt x="1488763" y="492522"/>
                </a:cubicBezTo>
                <a:cubicBezTo>
                  <a:pt x="1486689" y="488355"/>
                  <a:pt x="1484616" y="486272"/>
                  <a:pt x="1482542" y="485751"/>
                </a:cubicBezTo>
                <a:close/>
                <a:moveTo>
                  <a:pt x="1662749" y="478852"/>
                </a:moveTo>
                <a:cubicBezTo>
                  <a:pt x="1551306" y="533313"/>
                  <a:pt x="1551306" y="533313"/>
                  <a:pt x="1551306" y="533313"/>
                </a:cubicBezTo>
                <a:cubicBezTo>
                  <a:pt x="1547179" y="533313"/>
                  <a:pt x="1543051" y="533313"/>
                  <a:pt x="1543051" y="537502"/>
                </a:cubicBezTo>
                <a:cubicBezTo>
                  <a:pt x="1543051" y="537502"/>
                  <a:pt x="1543051" y="537502"/>
                  <a:pt x="1543051" y="541691"/>
                </a:cubicBezTo>
                <a:cubicBezTo>
                  <a:pt x="1543051" y="541691"/>
                  <a:pt x="1543051" y="545880"/>
                  <a:pt x="1547179" y="545880"/>
                </a:cubicBezTo>
                <a:cubicBezTo>
                  <a:pt x="1584326" y="587773"/>
                  <a:pt x="1621474" y="608719"/>
                  <a:pt x="1675132" y="621287"/>
                </a:cubicBezTo>
                <a:cubicBezTo>
                  <a:pt x="1679259" y="625476"/>
                  <a:pt x="1683387" y="625476"/>
                  <a:pt x="1683387" y="621287"/>
                </a:cubicBezTo>
                <a:cubicBezTo>
                  <a:pt x="1687514" y="621287"/>
                  <a:pt x="1687514" y="617098"/>
                  <a:pt x="1687514" y="608719"/>
                </a:cubicBezTo>
                <a:cubicBezTo>
                  <a:pt x="1687514" y="608719"/>
                  <a:pt x="1679259" y="487231"/>
                  <a:pt x="1679259" y="487231"/>
                </a:cubicBezTo>
                <a:cubicBezTo>
                  <a:pt x="1679259" y="483042"/>
                  <a:pt x="1675132" y="478852"/>
                  <a:pt x="1675132" y="478852"/>
                </a:cubicBezTo>
                <a:cubicBezTo>
                  <a:pt x="1671004" y="474663"/>
                  <a:pt x="1666877" y="474663"/>
                  <a:pt x="1662749" y="478852"/>
                </a:cubicBezTo>
                <a:close/>
                <a:moveTo>
                  <a:pt x="1762761" y="474663"/>
                </a:moveTo>
                <a:cubicBezTo>
                  <a:pt x="1758634" y="478836"/>
                  <a:pt x="1758634" y="483009"/>
                  <a:pt x="1758634" y="487182"/>
                </a:cubicBezTo>
                <a:cubicBezTo>
                  <a:pt x="1746251" y="608194"/>
                  <a:pt x="1746251" y="608194"/>
                  <a:pt x="1746251" y="608194"/>
                </a:cubicBezTo>
                <a:cubicBezTo>
                  <a:pt x="1746251" y="612367"/>
                  <a:pt x="1746251" y="616540"/>
                  <a:pt x="1750379" y="620713"/>
                </a:cubicBezTo>
                <a:cubicBezTo>
                  <a:pt x="1750379" y="620713"/>
                  <a:pt x="1754506" y="620713"/>
                  <a:pt x="1758634" y="620713"/>
                </a:cubicBezTo>
                <a:cubicBezTo>
                  <a:pt x="1812291" y="608194"/>
                  <a:pt x="1849439" y="587330"/>
                  <a:pt x="1886587" y="545602"/>
                </a:cubicBezTo>
                <a:cubicBezTo>
                  <a:pt x="1890714" y="541429"/>
                  <a:pt x="1890714" y="541429"/>
                  <a:pt x="1890714" y="537256"/>
                </a:cubicBezTo>
                <a:cubicBezTo>
                  <a:pt x="1890714" y="533083"/>
                  <a:pt x="1886587" y="533083"/>
                  <a:pt x="1882459" y="528910"/>
                </a:cubicBezTo>
                <a:cubicBezTo>
                  <a:pt x="1775144" y="474663"/>
                  <a:pt x="1775144" y="474663"/>
                  <a:pt x="1775144" y="474663"/>
                </a:cubicBezTo>
                <a:cubicBezTo>
                  <a:pt x="1771016" y="474663"/>
                  <a:pt x="1766889" y="474663"/>
                  <a:pt x="1762761" y="474663"/>
                </a:cubicBezTo>
                <a:close/>
                <a:moveTo>
                  <a:pt x="725572" y="428624"/>
                </a:moveTo>
                <a:cubicBezTo>
                  <a:pt x="705101" y="432820"/>
                  <a:pt x="696913" y="441211"/>
                  <a:pt x="696913" y="457993"/>
                </a:cubicBezTo>
                <a:cubicBezTo>
                  <a:pt x="696913" y="470580"/>
                  <a:pt x="696913" y="487362"/>
                  <a:pt x="717384" y="487362"/>
                </a:cubicBezTo>
                <a:cubicBezTo>
                  <a:pt x="741948" y="487362"/>
                  <a:pt x="774701" y="478971"/>
                  <a:pt x="774701" y="478971"/>
                </a:cubicBezTo>
                <a:cubicBezTo>
                  <a:pt x="774701" y="428624"/>
                  <a:pt x="774701" y="428624"/>
                  <a:pt x="774701" y="428624"/>
                </a:cubicBezTo>
                <a:close/>
                <a:moveTo>
                  <a:pt x="352426" y="346073"/>
                </a:moveTo>
                <a:cubicBezTo>
                  <a:pt x="315516" y="346073"/>
                  <a:pt x="303213" y="362695"/>
                  <a:pt x="303213" y="412562"/>
                </a:cubicBezTo>
                <a:cubicBezTo>
                  <a:pt x="303213" y="462428"/>
                  <a:pt x="311415" y="487361"/>
                  <a:pt x="352426" y="487361"/>
                </a:cubicBezTo>
                <a:cubicBezTo>
                  <a:pt x="393436" y="487361"/>
                  <a:pt x="401638" y="458272"/>
                  <a:pt x="401638" y="412562"/>
                </a:cubicBezTo>
                <a:cubicBezTo>
                  <a:pt x="401638" y="362695"/>
                  <a:pt x="389335" y="346073"/>
                  <a:pt x="352426" y="346073"/>
                </a:cubicBezTo>
                <a:close/>
                <a:moveTo>
                  <a:pt x="1704770" y="341312"/>
                </a:moveTo>
                <a:cubicBezTo>
                  <a:pt x="1704770" y="341312"/>
                  <a:pt x="1704770" y="353885"/>
                  <a:pt x="1704770" y="353885"/>
                </a:cubicBezTo>
                <a:cubicBezTo>
                  <a:pt x="1684063" y="358076"/>
                  <a:pt x="1671639" y="379031"/>
                  <a:pt x="1671639" y="399986"/>
                </a:cubicBezTo>
                <a:cubicBezTo>
                  <a:pt x="1671639" y="425132"/>
                  <a:pt x="1692346" y="446087"/>
                  <a:pt x="1717193" y="446087"/>
                </a:cubicBezTo>
                <a:cubicBezTo>
                  <a:pt x="1742041" y="446087"/>
                  <a:pt x="1766889" y="425132"/>
                  <a:pt x="1766889" y="399986"/>
                </a:cubicBezTo>
                <a:cubicBezTo>
                  <a:pt x="1766889" y="379031"/>
                  <a:pt x="1750324" y="358076"/>
                  <a:pt x="1729617" y="353885"/>
                </a:cubicBezTo>
                <a:cubicBezTo>
                  <a:pt x="1729617" y="349694"/>
                  <a:pt x="1729617" y="341312"/>
                  <a:pt x="1729617" y="341312"/>
                </a:cubicBezTo>
                <a:cubicBezTo>
                  <a:pt x="1704770" y="341312"/>
                  <a:pt x="1704770" y="341312"/>
                  <a:pt x="1704770" y="341312"/>
                </a:cubicBezTo>
                <a:close/>
                <a:moveTo>
                  <a:pt x="1716883" y="328612"/>
                </a:moveTo>
                <a:cubicBezTo>
                  <a:pt x="1755899" y="328612"/>
                  <a:pt x="1787527" y="360596"/>
                  <a:pt x="1787527" y="400050"/>
                </a:cubicBezTo>
                <a:cubicBezTo>
                  <a:pt x="1787527" y="439504"/>
                  <a:pt x="1755899" y="471488"/>
                  <a:pt x="1716883" y="471488"/>
                </a:cubicBezTo>
                <a:cubicBezTo>
                  <a:pt x="1677867" y="471488"/>
                  <a:pt x="1646239" y="439504"/>
                  <a:pt x="1646239" y="400050"/>
                </a:cubicBezTo>
                <a:cubicBezTo>
                  <a:pt x="1646239" y="360596"/>
                  <a:pt x="1677867" y="328612"/>
                  <a:pt x="1716883" y="328612"/>
                </a:cubicBezTo>
                <a:close/>
                <a:moveTo>
                  <a:pt x="1716883" y="320675"/>
                </a:moveTo>
                <a:cubicBezTo>
                  <a:pt x="1673483" y="320675"/>
                  <a:pt x="1638301" y="356212"/>
                  <a:pt x="1638301" y="400050"/>
                </a:cubicBezTo>
                <a:cubicBezTo>
                  <a:pt x="1638301" y="443888"/>
                  <a:pt x="1673483" y="479425"/>
                  <a:pt x="1716883" y="479425"/>
                </a:cubicBezTo>
                <a:cubicBezTo>
                  <a:pt x="1760283" y="479425"/>
                  <a:pt x="1795465" y="443888"/>
                  <a:pt x="1795465" y="400050"/>
                </a:cubicBezTo>
                <a:cubicBezTo>
                  <a:pt x="1795465" y="356212"/>
                  <a:pt x="1760283" y="320675"/>
                  <a:pt x="1716883" y="320675"/>
                </a:cubicBezTo>
                <a:close/>
                <a:moveTo>
                  <a:pt x="1924004" y="317500"/>
                </a:moveTo>
                <a:cubicBezTo>
                  <a:pt x="1924004" y="317500"/>
                  <a:pt x="1919866" y="317500"/>
                  <a:pt x="1911592" y="321667"/>
                </a:cubicBezTo>
                <a:cubicBezTo>
                  <a:pt x="1812301" y="388342"/>
                  <a:pt x="1812301" y="388342"/>
                  <a:pt x="1812301" y="388342"/>
                </a:cubicBezTo>
                <a:cubicBezTo>
                  <a:pt x="1808164" y="392510"/>
                  <a:pt x="1808164" y="396677"/>
                  <a:pt x="1808164" y="400844"/>
                </a:cubicBezTo>
                <a:cubicBezTo>
                  <a:pt x="1808164" y="400844"/>
                  <a:pt x="1808164" y="405011"/>
                  <a:pt x="1812301" y="409178"/>
                </a:cubicBezTo>
                <a:lnTo>
                  <a:pt x="1915729" y="480021"/>
                </a:lnTo>
                <a:cubicBezTo>
                  <a:pt x="1915729" y="480021"/>
                  <a:pt x="1919866" y="484188"/>
                  <a:pt x="1924004" y="480021"/>
                </a:cubicBezTo>
                <a:cubicBezTo>
                  <a:pt x="1928141" y="480021"/>
                  <a:pt x="1928141" y="480021"/>
                  <a:pt x="1928141" y="471686"/>
                </a:cubicBezTo>
                <a:cubicBezTo>
                  <a:pt x="1944689" y="421680"/>
                  <a:pt x="1944689" y="375841"/>
                  <a:pt x="1928141" y="325834"/>
                </a:cubicBezTo>
                <a:cubicBezTo>
                  <a:pt x="1928141" y="321667"/>
                  <a:pt x="1928141" y="317500"/>
                  <a:pt x="1924004" y="317500"/>
                </a:cubicBezTo>
                <a:close/>
                <a:moveTo>
                  <a:pt x="1509762" y="317500"/>
                </a:moveTo>
                <a:cubicBezTo>
                  <a:pt x="1505625" y="317500"/>
                  <a:pt x="1505625" y="321667"/>
                  <a:pt x="1501487" y="325834"/>
                </a:cubicBezTo>
                <a:cubicBezTo>
                  <a:pt x="1489076" y="375841"/>
                  <a:pt x="1489076" y="421680"/>
                  <a:pt x="1501487" y="475854"/>
                </a:cubicBezTo>
                <a:cubicBezTo>
                  <a:pt x="1505625" y="475854"/>
                  <a:pt x="1505625" y="480021"/>
                  <a:pt x="1509762" y="480021"/>
                </a:cubicBezTo>
                <a:cubicBezTo>
                  <a:pt x="1509762" y="484188"/>
                  <a:pt x="1513899" y="480021"/>
                  <a:pt x="1518036" y="480021"/>
                </a:cubicBezTo>
                <a:cubicBezTo>
                  <a:pt x="1621464" y="409178"/>
                  <a:pt x="1621464" y="409178"/>
                  <a:pt x="1621464" y="409178"/>
                </a:cubicBezTo>
                <a:cubicBezTo>
                  <a:pt x="1625601" y="409178"/>
                  <a:pt x="1625601" y="405011"/>
                  <a:pt x="1625601" y="400844"/>
                </a:cubicBezTo>
                <a:cubicBezTo>
                  <a:pt x="1625601" y="396677"/>
                  <a:pt x="1625601" y="392510"/>
                  <a:pt x="1621464" y="388342"/>
                </a:cubicBezTo>
                <a:lnTo>
                  <a:pt x="1518036" y="321667"/>
                </a:lnTo>
                <a:cubicBezTo>
                  <a:pt x="1518036" y="317500"/>
                  <a:pt x="1513899" y="317500"/>
                  <a:pt x="1509762" y="317500"/>
                </a:cubicBezTo>
                <a:close/>
                <a:moveTo>
                  <a:pt x="1032821" y="304799"/>
                </a:moveTo>
                <a:cubicBezTo>
                  <a:pt x="1032821" y="304799"/>
                  <a:pt x="1036942" y="304799"/>
                  <a:pt x="1041062" y="304799"/>
                </a:cubicBezTo>
                <a:cubicBezTo>
                  <a:pt x="1041062" y="304799"/>
                  <a:pt x="1041062" y="304799"/>
                  <a:pt x="1074028" y="304799"/>
                </a:cubicBezTo>
                <a:cubicBezTo>
                  <a:pt x="1078149" y="304799"/>
                  <a:pt x="1078149" y="304799"/>
                  <a:pt x="1082270" y="308966"/>
                </a:cubicBezTo>
                <a:cubicBezTo>
                  <a:pt x="1082270" y="308966"/>
                  <a:pt x="1082270" y="308966"/>
                  <a:pt x="1123477" y="479821"/>
                </a:cubicBezTo>
                <a:cubicBezTo>
                  <a:pt x="1123477" y="479821"/>
                  <a:pt x="1123477" y="479821"/>
                  <a:pt x="1127598" y="479821"/>
                </a:cubicBezTo>
                <a:cubicBezTo>
                  <a:pt x="1127598" y="479821"/>
                  <a:pt x="1127598" y="479821"/>
                  <a:pt x="1172926" y="308966"/>
                </a:cubicBezTo>
                <a:cubicBezTo>
                  <a:pt x="1172926" y="304799"/>
                  <a:pt x="1177047" y="304799"/>
                  <a:pt x="1181168" y="304799"/>
                </a:cubicBezTo>
                <a:cubicBezTo>
                  <a:pt x="1181168" y="304799"/>
                  <a:pt x="1181168" y="304799"/>
                  <a:pt x="1214134" y="304799"/>
                </a:cubicBezTo>
                <a:cubicBezTo>
                  <a:pt x="1218254" y="304799"/>
                  <a:pt x="1218254" y="304799"/>
                  <a:pt x="1222375" y="304799"/>
                </a:cubicBezTo>
                <a:cubicBezTo>
                  <a:pt x="1222375" y="308966"/>
                  <a:pt x="1222375" y="308966"/>
                  <a:pt x="1222375" y="313133"/>
                </a:cubicBezTo>
                <a:cubicBezTo>
                  <a:pt x="1222375" y="313133"/>
                  <a:pt x="1222375" y="313133"/>
                  <a:pt x="1218254" y="338137"/>
                </a:cubicBezTo>
                <a:cubicBezTo>
                  <a:pt x="1214134" y="350638"/>
                  <a:pt x="1210013" y="367307"/>
                  <a:pt x="1201771" y="388143"/>
                </a:cubicBezTo>
                <a:cubicBezTo>
                  <a:pt x="1193530" y="433982"/>
                  <a:pt x="1177047" y="496490"/>
                  <a:pt x="1164685" y="542329"/>
                </a:cubicBezTo>
                <a:cubicBezTo>
                  <a:pt x="1152322" y="584001"/>
                  <a:pt x="1131719" y="604837"/>
                  <a:pt x="1098753" y="604837"/>
                </a:cubicBezTo>
                <a:cubicBezTo>
                  <a:pt x="1098753" y="604837"/>
                  <a:pt x="1098753" y="604837"/>
                  <a:pt x="1094632" y="604837"/>
                </a:cubicBezTo>
                <a:cubicBezTo>
                  <a:pt x="1078149" y="604837"/>
                  <a:pt x="1053425" y="600670"/>
                  <a:pt x="1041062" y="600670"/>
                </a:cubicBezTo>
                <a:cubicBezTo>
                  <a:pt x="1036942" y="596503"/>
                  <a:pt x="1032821" y="596503"/>
                  <a:pt x="1032821" y="592335"/>
                </a:cubicBezTo>
                <a:cubicBezTo>
                  <a:pt x="1032821" y="592335"/>
                  <a:pt x="1032821" y="592335"/>
                  <a:pt x="1032821" y="567332"/>
                </a:cubicBezTo>
                <a:cubicBezTo>
                  <a:pt x="1032821" y="567332"/>
                  <a:pt x="1032821" y="563165"/>
                  <a:pt x="1036942" y="563165"/>
                </a:cubicBezTo>
                <a:cubicBezTo>
                  <a:pt x="1036942" y="558998"/>
                  <a:pt x="1041062" y="558998"/>
                  <a:pt x="1041062" y="558998"/>
                </a:cubicBezTo>
                <a:cubicBezTo>
                  <a:pt x="1041062" y="558998"/>
                  <a:pt x="1041062" y="558998"/>
                  <a:pt x="1082270" y="563165"/>
                </a:cubicBezTo>
                <a:cubicBezTo>
                  <a:pt x="1106994" y="563165"/>
                  <a:pt x="1111115" y="550663"/>
                  <a:pt x="1115236" y="538162"/>
                </a:cubicBezTo>
                <a:cubicBezTo>
                  <a:pt x="1115236" y="533995"/>
                  <a:pt x="1115236" y="533995"/>
                  <a:pt x="1119357" y="529828"/>
                </a:cubicBezTo>
                <a:cubicBezTo>
                  <a:pt x="1119357" y="529828"/>
                  <a:pt x="1119357" y="529828"/>
                  <a:pt x="1106994" y="529828"/>
                </a:cubicBezTo>
                <a:cubicBezTo>
                  <a:pt x="1090511" y="529828"/>
                  <a:pt x="1082270" y="513159"/>
                  <a:pt x="1082270" y="504824"/>
                </a:cubicBezTo>
                <a:cubicBezTo>
                  <a:pt x="1082270" y="504824"/>
                  <a:pt x="1082270" y="504824"/>
                  <a:pt x="1032821" y="313133"/>
                </a:cubicBezTo>
                <a:cubicBezTo>
                  <a:pt x="1028700" y="308966"/>
                  <a:pt x="1032821" y="308966"/>
                  <a:pt x="1032821" y="304799"/>
                </a:cubicBezTo>
                <a:close/>
                <a:moveTo>
                  <a:pt x="994979" y="300037"/>
                </a:moveTo>
                <a:cubicBezTo>
                  <a:pt x="994979" y="300037"/>
                  <a:pt x="999140" y="300037"/>
                  <a:pt x="999140" y="304193"/>
                </a:cubicBezTo>
                <a:cubicBezTo>
                  <a:pt x="1003300" y="304193"/>
                  <a:pt x="1003300" y="308350"/>
                  <a:pt x="1003300" y="308350"/>
                </a:cubicBezTo>
                <a:cubicBezTo>
                  <a:pt x="1003300" y="308350"/>
                  <a:pt x="1003300" y="308350"/>
                  <a:pt x="1003300" y="341601"/>
                </a:cubicBezTo>
                <a:cubicBezTo>
                  <a:pt x="1003300" y="345757"/>
                  <a:pt x="999140" y="345757"/>
                  <a:pt x="994979" y="349913"/>
                </a:cubicBezTo>
                <a:cubicBezTo>
                  <a:pt x="965857" y="349913"/>
                  <a:pt x="940895" y="370695"/>
                  <a:pt x="932574" y="374852"/>
                </a:cubicBezTo>
                <a:cubicBezTo>
                  <a:pt x="932574" y="374852"/>
                  <a:pt x="932574" y="374852"/>
                  <a:pt x="932574" y="520324"/>
                </a:cubicBezTo>
                <a:cubicBezTo>
                  <a:pt x="932574" y="524481"/>
                  <a:pt x="928414" y="528637"/>
                  <a:pt x="924254" y="528637"/>
                </a:cubicBezTo>
                <a:cubicBezTo>
                  <a:pt x="924254" y="528637"/>
                  <a:pt x="924254" y="528637"/>
                  <a:pt x="890971" y="528637"/>
                </a:cubicBezTo>
                <a:cubicBezTo>
                  <a:pt x="886810" y="528637"/>
                  <a:pt x="882650" y="524481"/>
                  <a:pt x="882650" y="520324"/>
                </a:cubicBezTo>
                <a:cubicBezTo>
                  <a:pt x="882650" y="520324"/>
                  <a:pt x="882650" y="520324"/>
                  <a:pt x="882650" y="312506"/>
                </a:cubicBezTo>
                <a:cubicBezTo>
                  <a:pt x="882650" y="304193"/>
                  <a:pt x="886810" y="304193"/>
                  <a:pt x="890971" y="304193"/>
                </a:cubicBezTo>
                <a:cubicBezTo>
                  <a:pt x="890971" y="304193"/>
                  <a:pt x="890971" y="304193"/>
                  <a:pt x="924254" y="304193"/>
                </a:cubicBezTo>
                <a:cubicBezTo>
                  <a:pt x="928414" y="304193"/>
                  <a:pt x="932574" y="304193"/>
                  <a:pt x="932574" y="312506"/>
                </a:cubicBezTo>
                <a:cubicBezTo>
                  <a:pt x="932574" y="312506"/>
                  <a:pt x="932574" y="312506"/>
                  <a:pt x="932574" y="324975"/>
                </a:cubicBezTo>
                <a:cubicBezTo>
                  <a:pt x="949216" y="316662"/>
                  <a:pt x="970017" y="300037"/>
                  <a:pt x="994979" y="300037"/>
                </a:cubicBezTo>
                <a:close/>
                <a:moveTo>
                  <a:pt x="750816" y="295274"/>
                </a:moveTo>
                <a:cubicBezTo>
                  <a:pt x="800606" y="295274"/>
                  <a:pt x="825501" y="320340"/>
                  <a:pt x="825501" y="374649"/>
                </a:cubicBezTo>
                <a:cubicBezTo>
                  <a:pt x="825501" y="525044"/>
                  <a:pt x="825501" y="525044"/>
                  <a:pt x="825501" y="525044"/>
                </a:cubicBezTo>
                <a:cubicBezTo>
                  <a:pt x="825501" y="525044"/>
                  <a:pt x="825501" y="529221"/>
                  <a:pt x="825501" y="529221"/>
                </a:cubicBezTo>
                <a:cubicBezTo>
                  <a:pt x="821352" y="533399"/>
                  <a:pt x="821352" y="533399"/>
                  <a:pt x="817203" y="533399"/>
                </a:cubicBezTo>
                <a:cubicBezTo>
                  <a:pt x="800606" y="529221"/>
                  <a:pt x="792308" y="525044"/>
                  <a:pt x="784010" y="516688"/>
                </a:cubicBezTo>
                <a:cubicBezTo>
                  <a:pt x="784010" y="516688"/>
                  <a:pt x="742518" y="533399"/>
                  <a:pt x="709325" y="533399"/>
                </a:cubicBezTo>
                <a:cubicBezTo>
                  <a:pt x="667833" y="533399"/>
                  <a:pt x="642938" y="508333"/>
                  <a:pt x="642938" y="462379"/>
                </a:cubicBezTo>
                <a:cubicBezTo>
                  <a:pt x="642938" y="416425"/>
                  <a:pt x="667833" y="395537"/>
                  <a:pt x="717623" y="391360"/>
                </a:cubicBezTo>
                <a:cubicBezTo>
                  <a:pt x="775711" y="387182"/>
                  <a:pt x="775711" y="387182"/>
                  <a:pt x="775711" y="387182"/>
                </a:cubicBezTo>
                <a:cubicBezTo>
                  <a:pt x="775711" y="374649"/>
                  <a:pt x="775711" y="374649"/>
                  <a:pt x="775711" y="374649"/>
                </a:cubicBezTo>
                <a:cubicBezTo>
                  <a:pt x="775711" y="357939"/>
                  <a:pt x="763264" y="345406"/>
                  <a:pt x="746667" y="345406"/>
                </a:cubicBezTo>
                <a:cubicBezTo>
                  <a:pt x="721772" y="345406"/>
                  <a:pt x="688579" y="349583"/>
                  <a:pt x="667833" y="349583"/>
                </a:cubicBezTo>
                <a:cubicBezTo>
                  <a:pt x="667833" y="349583"/>
                  <a:pt x="663684" y="349583"/>
                  <a:pt x="663684" y="349583"/>
                </a:cubicBezTo>
                <a:cubicBezTo>
                  <a:pt x="659535" y="345406"/>
                  <a:pt x="659535" y="345406"/>
                  <a:pt x="659535" y="341228"/>
                </a:cubicBezTo>
                <a:cubicBezTo>
                  <a:pt x="659535" y="311985"/>
                  <a:pt x="659535" y="311985"/>
                  <a:pt x="659535" y="311985"/>
                </a:cubicBezTo>
                <a:cubicBezTo>
                  <a:pt x="659535" y="307807"/>
                  <a:pt x="663684" y="303629"/>
                  <a:pt x="667833" y="303629"/>
                </a:cubicBezTo>
                <a:cubicBezTo>
                  <a:pt x="684430" y="303629"/>
                  <a:pt x="725921" y="295274"/>
                  <a:pt x="750816" y="295274"/>
                </a:cubicBezTo>
                <a:close/>
                <a:moveTo>
                  <a:pt x="354013" y="295273"/>
                </a:moveTo>
                <a:cubicBezTo>
                  <a:pt x="410125" y="295273"/>
                  <a:pt x="455613" y="348579"/>
                  <a:pt x="455613" y="414336"/>
                </a:cubicBezTo>
                <a:cubicBezTo>
                  <a:pt x="455613" y="480093"/>
                  <a:pt x="410125" y="533399"/>
                  <a:pt x="354013" y="533399"/>
                </a:cubicBezTo>
                <a:cubicBezTo>
                  <a:pt x="297901" y="533399"/>
                  <a:pt x="252413" y="480093"/>
                  <a:pt x="252413" y="414336"/>
                </a:cubicBezTo>
                <a:cubicBezTo>
                  <a:pt x="252413" y="348579"/>
                  <a:pt x="297901" y="295273"/>
                  <a:pt x="354013" y="295273"/>
                </a:cubicBezTo>
                <a:close/>
                <a:moveTo>
                  <a:pt x="53975" y="266699"/>
                </a:moveTo>
                <a:cubicBezTo>
                  <a:pt x="53975" y="358774"/>
                  <a:pt x="53975" y="358774"/>
                  <a:pt x="53975" y="358774"/>
                </a:cubicBezTo>
                <a:cubicBezTo>
                  <a:pt x="62207" y="358774"/>
                  <a:pt x="82785" y="358774"/>
                  <a:pt x="107480" y="358774"/>
                </a:cubicBezTo>
                <a:cubicBezTo>
                  <a:pt x="144521" y="358774"/>
                  <a:pt x="165100" y="342033"/>
                  <a:pt x="165100" y="312737"/>
                </a:cubicBezTo>
                <a:cubicBezTo>
                  <a:pt x="165100" y="291810"/>
                  <a:pt x="148637" y="266699"/>
                  <a:pt x="111595" y="266699"/>
                </a:cubicBezTo>
                <a:cubicBezTo>
                  <a:pt x="91017" y="266699"/>
                  <a:pt x="91017" y="266699"/>
                  <a:pt x="91017" y="266699"/>
                </a:cubicBezTo>
                <a:cubicBezTo>
                  <a:pt x="70438" y="266699"/>
                  <a:pt x="62207" y="266699"/>
                  <a:pt x="53975" y="266699"/>
                </a:cubicBezTo>
                <a:close/>
                <a:moveTo>
                  <a:pt x="546894" y="250824"/>
                </a:moveTo>
                <a:cubicBezTo>
                  <a:pt x="546894" y="250824"/>
                  <a:pt x="551050" y="250824"/>
                  <a:pt x="551050" y="250824"/>
                </a:cubicBezTo>
                <a:cubicBezTo>
                  <a:pt x="555205" y="254980"/>
                  <a:pt x="555205" y="254980"/>
                  <a:pt x="555205" y="259135"/>
                </a:cubicBezTo>
                <a:cubicBezTo>
                  <a:pt x="555205" y="304846"/>
                  <a:pt x="555205" y="304846"/>
                  <a:pt x="555205" y="304846"/>
                </a:cubicBezTo>
                <a:cubicBezTo>
                  <a:pt x="609227" y="304846"/>
                  <a:pt x="609227" y="304846"/>
                  <a:pt x="609227" y="304846"/>
                </a:cubicBezTo>
                <a:cubicBezTo>
                  <a:pt x="613383" y="304846"/>
                  <a:pt x="617538" y="304846"/>
                  <a:pt x="617538" y="313157"/>
                </a:cubicBezTo>
                <a:cubicBezTo>
                  <a:pt x="617538" y="342245"/>
                  <a:pt x="617538" y="342245"/>
                  <a:pt x="617538" y="342245"/>
                </a:cubicBezTo>
                <a:cubicBezTo>
                  <a:pt x="617538" y="346401"/>
                  <a:pt x="613383" y="350556"/>
                  <a:pt x="609227" y="350556"/>
                </a:cubicBezTo>
                <a:cubicBezTo>
                  <a:pt x="555205" y="350556"/>
                  <a:pt x="555205" y="350556"/>
                  <a:pt x="555205" y="350556"/>
                </a:cubicBezTo>
                <a:cubicBezTo>
                  <a:pt x="555205" y="441978"/>
                  <a:pt x="555205" y="441978"/>
                  <a:pt x="555205" y="441978"/>
                </a:cubicBezTo>
                <a:cubicBezTo>
                  <a:pt x="555205" y="475222"/>
                  <a:pt x="555205" y="483533"/>
                  <a:pt x="580138" y="483533"/>
                </a:cubicBezTo>
                <a:cubicBezTo>
                  <a:pt x="588449" y="483533"/>
                  <a:pt x="600916" y="483533"/>
                  <a:pt x="609227" y="483533"/>
                </a:cubicBezTo>
                <a:cubicBezTo>
                  <a:pt x="613383" y="483533"/>
                  <a:pt x="617538" y="487688"/>
                  <a:pt x="617538" y="491844"/>
                </a:cubicBezTo>
                <a:cubicBezTo>
                  <a:pt x="617538" y="520932"/>
                  <a:pt x="617538" y="520932"/>
                  <a:pt x="617538" y="520932"/>
                </a:cubicBezTo>
                <a:cubicBezTo>
                  <a:pt x="617538" y="525088"/>
                  <a:pt x="613383" y="529244"/>
                  <a:pt x="609227" y="529244"/>
                </a:cubicBezTo>
                <a:cubicBezTo>
                  <a:pt x="596760" y="529244"/>
                  <a:pt x="584294" y="533399"/>
                  <a:pt x="571827" y="533399"/>
                </a:cubicBezTo>
                <a:cubicBezTo>
                  <a:pt x="521961" y="533399"/>
                  <a:pt x="505339" y="512621"/>
                  <a:pt x="505339" y="450289"/>
                </a:cubicBezTo>
                <a:cubicBezTo>
                  <a:pt x="505339" y="350556"/>
                  <a:pt x="505339" y="350556"/>
                  <a:pt x="505339" y="350556"/>
                </a:cubicBezTo>
                <a:cubicBezTo>
                  <a:pt x="484561" y="350556"/>
                  <a:pt x="484561" y="350556"/>
                  <a:pt x="484561" y="350556"/>
                </a:cubicBezTo>
                <a:cubicBezTo>
                  <a:pt x="480406" y="350556"/>
                  <a:pt x="476250" y="346401"/>
                  <a:pt x="476250" y="342245"/>
                </a:cubicBezTo>
                <a:cubicBezTo>
                  <a:pt x="476250" y="313157"/>
                  <a:pt x="476250" y="313157"/>
                  <a:pt x="476250" y="313157"/>
                </a:cubicBezTo>
                <a:cubicBezTo>
                  <a:pt x="476250" y="304846"/>
                  <a:pt x="480406" y="304846"/>
                  <a:pt x="484561" y="304846"/>
                </a:cubicBezTo>
                <a:cubicBezTo>
                  <a:pt x="505339" y="304846"/>
                  <a:pt x="505339" y="304846"/>
                  <a:pt x="505339" y="304846"/>
                </a:cubicBezTo>
                <a:cubicBezTo>
                  <a:pt x="505339" y="267446"/>
                  <a:pt x="505339" y="267446"/>
                  <a:pt x="505339" y="267446"/>
                </a:cubicBezTo>
                <a:cubicBezTo>
                  <a:pt x="505339" y="263291"/>
                  <a:pt x="505339" y="259135"/>
                  <a:pt x="509494" y="259135"/>
                </a:cubicBezTo>
                <a:cubicBezTo>
                  <a:pt x="546894" y="250824"/>
                  <a:pt x="546894" y="250824"/>
                  <a:pt x="546894" y="250824"/>
                </a:cubicBezTo>
                <a:close/>
                <a:moveTo>
                  <a:pt x="103337" y="217487"/>
                </a:moveTo>
                <a:cubicBezTo>
                  <a:pt x="107471" y="217487"/>
                  <a:pt x="111604" y="217487"/>
                  <a:pt x="111604" y="217487"/>
                </a:cubicBezTo>
                <a:cubicBezTo>
                  <a:pt x="198408" y="217487"/>
                  <a:pt x="219075" y="267271"/>
                  <a:pt x="219075" y="312906"/>
                </a:cubicBezTo>
                <a:cubicBezTo>
                  <a:pt x="219075" y="350244"/>
                  <a:pt x="202541" y="375136"/>
                  <a:pt x="165340" y="391731"/>
                </a:cubicBezTo>
                <a:lnTo>
                  <a:pt x="219075" y="516191"/>
                </a:lnTo>
                <a:cubicBezTo>
                  <a:pt x="219075" y="520340"/>
                  <a:pt x="219075" y="520340"/>
                  <a:pt x="219075" y="524488"/>
                </a:cubicBezTo>
                <a:cubicBezTo>
                  <a:pt x="219075" y="524488"/>
                  <a:pt x="214942" y="528637"/>
                  <a:pt x="210808" y="528637"/>
                </a:cubicBezTo>
                <a:cubicBezTo>
                  <a:pt x="173607" y="528637"/>
                  <a:pt x="173607" y="528637"/>
                  <a:pt x="173607" y="528637"/>
                </a:cubicBezTo>
                <a:cubicBezTo>
                  <a:pt x="169473" y="528637"/>
                  <a:pt x="165340" y="524488"/>
                  <a:pt x="165340" y="524488"/>
                </a:cubicBezTo>
                <a:cubicBezTo>
                  <a:pt x="111604" y="408326"/>
                  <a:pt x="111604" y="408326"/>
                  <a:pt x="111604" y="408326"/>
                </a:cubicBezTo>
                <a:cubicBezTo>
                  <a:pt x="86803" y="408326"/>
                  <a:pt x="66136" y="408326"/>
                  <a:pt x="53736" y="404177"/>
                </a:cubicBezTo>
                <a:cubicBezTo>
                  <a:pt x="53736" y="520340"/>
                  <a:pt x="53736" y="520340"/>
                  <a:pt x="53736" y="520340"/>
                </a:cubicBezTo>
                <a:cubicBezTo>
                  <a:pt x="53736" y="524488"/>
                  <a:pt x="49602" y="528637"/>
                  <a:pt x="45469" y="528637"/>
                </a:cubicBezTo>
                <a:cubicBezTo>
                  <a:pt x="8267" y="528637"/>
                  <a:pt x="8267" y="528637"/>
                  <a:pt x="8267" y="528637"/>
                </a:cubicBezTo>
                <a:cubicBezTo>
                  <a:pt x="4134" y="528637"/>
                  <a:pt x="0" y="524488"/>
                  <a:pt x="0" y="520340"/>
                </a:cubicBezTo>
                <a:cubicBezTo>
                  <a:pt x="0" y="229933"/>
                  <a:pt x="0" y="229933"/>
                  <a:pt x="0" y="229933"/>
                </a:cubicBezTo>
                <a:cubicBezTo>
                  <a:pt x="0" y="225784"/>
                  <a:pt x="4134" y="221636"/>
                  <a:pt x="8267" y="221636"/>
                </a:cubicBezTo>
                <a:cubicBezTo>
                  <a:pt x="53736" y="217487"/>
                  <a:pt x="90937" y="217487"/>
                  <a:pt x="103337" y="217487"/>
                </a:cubicBezTo>
                <a:close/>
                <a:moveTo>
                  <a:pt x="1941299" y="180951"/>
                </a:moveTo>
                <a:cubicBezTo>
                  <a:pt x="1938725" y="180430"/>
                  <a:pt x="1936665" y="181472"/>
                  <a:pt x="1936665" y="183555"/>
                </a:cubicBezTo>
                <a:cubicBezTo>
                  <a:pt x="1903714" y="221060"/>
                  <a:pt x="1903714" y="221060"/>
                  <a:pt x="1903714" y="221060"/>
                </a:cubicBezTo>
                <a:cubicBezTo>
                  <a:pt x="1895476" y="225227"/>
                  <a:pt x="1895476" y="233562"/>
                  <a:pt x="1903714" y="237729"/>
                </a:cubicBezTo>
                <a:cubicBezTo>
                  <a:pt x="1953141" y="291902"/>
                  <a:pt x="1973736" y="362745"/>
                  <a:pt x="1957260" y="450256"/>
                </a:cubicBezTo>
                <a:cubicBezTo>
                  <a:pt x="1957260" y="458590"/>
                  <a:pt x="1961379" y="462757"/>
                  <a:pt x="1965498" y="462757"/>
                </a:cubicBezTo>
                <a:cubicBezTo>
                  <a:pt x="2010806" y="475259"/>
                  <a:pt x="2010806" y="475259"/>
                  <a:pt x="2010806" y="475259"/>
                </a:cubicBezTo>
                <a:cubicBezTo>
                  <a:pt x="2019044" y="479426"/>
                  <a:pt x="2023163" y="475259"/>
                  <a:pt x="2023163" y="471092"/>
                </a:cubicBezTo>
                <a:cubicBezTo>
                  <a:pt x="2047876" y="362745"/>
                  <a:pt x="2014925" y="254398"/>
                  <a:pt x="1949022" y="187722"/>
                </a:cubicBezTo>
                <a:cubicBezTo>
                  <a:pt x="1946963" y="183555"/>
                  <a:pt x="1943873" y="181472"/>
                  <a:pt x="1941299" y="180951"/>
                </a:cubicBezTo>
                <a:close/>
                <a:moveTo>
                  <a:pt x="1491989" y="180951"/>
                </a:moveTo>
                <a:cubicBezTo>
                  <a:pt x="1489388" y="181472"/>
                  <a:pt x="1486266" y="183555"/>
                  <a:pt x="1484185" y="187722"/>
                </a:cubicBezTo>
                <a:cubicBezTo>
                  <a:pt x="1417596" y="254398"/>
                  <a:pt x="1384301" y="362745"/>
                  <a:pt x="1409272" y="471092"/>
                </a:cubicBezTo>
                <a:cubicBezTo>
                  <a:pt x="1409272" y="475259"/>
                  <a:pt x="1413434" y="479426"/>
                  <a:pt x="1421758" y="475259"/>
                </a:cubicBezTo>
                <a:cubicBezTo>
                  <a:pt x="1467538" y="462757"/>
                  <a:pt x="1467538" y="462757"/>
                  <a:pt x="1467538" y="462757"/>
                </a:cubicBezTo>
                <a:cubicBezTo>
                  <a:pt x="1471700" y="462757"/>
                  <a:pt x="1475862" y="458590"/>
                  <a:pt x="1475862" y="450256"/>
                </a:cubicBezTo>
                <a:cubicBezTo>
                  <a:pt x="1459214" y="362745"/>
                  <a:pt x="1480023" y="291902"/>
                  <a:pt x="1529965" y="237729"/>
                </a:cubicBezTo>
                <a:cubicBezTo>
                  <a:pt x="1538289" y="233562"/>
                  <a:pt x="1538289" y="225227"/>
                  <a:pt x="1534127" y="221060"/>
                </a:cubicBezTo>
                <a:cubicBezTo>
                  <a:pt x="1496671" y="183555"/>
                  <a:pt x="1496671" y="183555"/>
                  <a:pt x="1496671" y="183555"/>
                </a:cubicBezTo>
                <a:cubicBezTo>
                  <a:pt x="1496671" y="181472"/>
                  <a:pt x="1494590" y="180430"/>
                  <a:pt x="1491989" y="180951"/>
                </a:cubicBezTo>
                <a:close/>
                <a:moveTo>
                  <a:pt x="1750379" y="174625"/>
                </a:moveTo>
                <a:cubicBezTo>
                  <a:pt x="1746251" y="178798"/>
                  <a:pt x="1746251" y="182971"/>
                  <a:pt x="1746251" y="187144"/>
                </a:cubicBezTo>
                <a:cubicBezTo>
                  <a:pt x="1754506" y="308156"/>
                  <a:pt x="1754506" y="308156"/>
                  <a:pt x="1754506" y="308156"/>
                </a:cubicBezTo>
                <a:cubicBezTo>
                  <a:pt x="1758634" y="312329"/>
                  <a:pt x="1758634" y="316502"/>
                  <a:pt x="1762761" y="320675"/>
                </a:cubicBezTo>
                <a:cubicBezTo>
                  <a:pt x="1766889" y="320675"/>
                  <a:pt x="1771016" y="320675"/>
                  <a:pt x="1775144" y="320675"/>
                </a:cubicBezTo>
                <a:cubicBezTo>
                  <a:pt x="1882459" y="266428"/>
                  <a:pt x="1882459" y="266428"/>
                  <a:pt x="1882459" y="266428"/>
                </a:cubicBezTo>
                <a:cubicBezTo>
                  <a:pt x="1886587" y="262255"/>
                  <a:pt x="1890714" y="262255"/>
                  <a:pt x="1890714" y="258082"/>
                </a:cubicBezTo>
                <a:cubicBezTo>
                  <a:pt x="1890714" y="253909"/>
                  <a:pt x="1890714" y="253909"/>
                  <a:pt x="1886587" y="249736"/>
                </a:cubicBezTo>
                <a:cubicBezTo>
                  <a:pt x="1849439" y="208008"/>
                  <a:pt x="1812291" y="187144"/>
                  <a:pt x="1758634" y="174625"/>
                </a:cubicBezTo>
                <a:cubicBezTo>
                  <a:pt x="1754506" y="174625"/>
                  <a:pt x="1754506" y="174625"/>
                  <a:pt x="1750379" y="174625"/>
                </a:cubicBezTo>
                <a:close/>
                <a:moveTo>
                  <a:pt x="1675132" y="174625"/>
                </a:moveTo>
                <a:cubicBezTo>
                  <a:pt x="1621474" y="187144"/>
                  <a:pt x="1584326" y="212181"/>
                  <a:pt x="1547179" y="249736"/>
                </a:cubicBezTo>
                <a:cubicBezTo>
                  <a:pt x="1543051" y="253909"/>
                  <a:pt x="1543051" y="258082"/>
                  <a:pt x="1543051" y="258082"/>
                </a:cubicBezTo>
                <a:cubicBezTo>
                  <a:pt x="1543051" y="262255"/>
                  <a:pt x="1547179" y="266428"/>
                  <a:pt x="1551306" y="266428"/>
                </a:cubicBezTo>
                <a:cubicBezTo>
                  <a:pt x="1658622" y="320675"/>
                  <a:pt x="1658622" y="320675"/>
                  <a:pt x="1658622" y="320675"/>
                </a:cubicBezTo>
                <a:cubicBezTo>
                  <a:pt x="1662749" y="320675"/>
                  <a:pt x="1666877" y="320675"/>
                  <a:pt x="1671004" y="320675"/>
                </a:cubicBezTo>
                <a:cubicBezTo>
                  <a:pt x="1675132" y="320675"/>
                  <a:pt x="1675132" y="316502"/>
                  <a:pt x="1675132" y="312329"/>
                </a:cubicBezTo>
                <a:cubicBezTo>
                  <a:pt x="1687514" y="187144"/>
                  <a:pt x="1687514" y="187144"/>
                  <a:pt x="1687514" y="187144"/>
                </a:cubicBezTo>
                <a:cubicBezTo>
                  <a:pt x="1687514" y="182971"/>
                  <a:pt x="1683387" y="178798"/>
                  <a:pt x="1683387" y="174625"/>
                </a:cubicBezTo>
                <a:cubicBezTo>
                  <a:pt x="1679259" y="174625"/>
                  <a:pt x="1679259" y="174625"/>
                  <a:pt x="1675132" y="174625"/>
                </a:cubicBezTo>
                <a:close/>
                <a:moveTo>
                  <a:pt x="1579247" y="133350"/>
                </a:moveTo>
                <a:cubicBezTo>
                  <a:pt x="1575119" y="137716"/>
                  <a:pt x="1570992" y="137716"/>
                  <a:pt x="1566864" y="142082"/>
                </a:cubicBezTo>
                <a:cubicBezTo>
                  <a:pt x="1570992" y="142082"/>
                  <a:pt x="1570992" y="142082"/>
                  <a:pt x="1570992" y="142082"/>
                </a:cubicBezTo>
                <a:cubicBezTo>
                  <a:pt x="1575119" y="150813"/>
                  <a:pt x="1575119" y="150813"/>
                  <a:pt x="1575119" y="150813"/>
                </a:cubicBezTo>
                <a:cubicBezTo>
                  <a:pt x="1583375" y="146447"/>
                  <a:pt x="1583375" y="146447"/>
                  <a:pt x="1583375" y="146447"/>
                </a:cubicBezTo>
                <a:cubicBezTo>
                  <a:pt x="1587502" y="146447"/>
                  <a:pt x="1587502" y="146447"/>
                  <a:pt x="1587502" y="142082"/>
                </a:cubicBezTo>
                <a:cubicBezTo>
                  <a:pt x="1587502" y="137716"/>
                  <a:pt x="1583375" y="133350"/>
                  <a:pt x="1579247" y="133350"/>
                </a:cubicBezTo>
                <a:close/>
                <a:moveTo>
                  <a:pt x="1575142" y="124846"/>
                </a:moveTo>
                <a:cubicBezTo>
                  <a:pt x="1587729" y="120650"/>
                  <a:pt x="1600315" y="133237"/>
                  <a:pt x="1596120" y="141628"/>
                </a:cubicBezTo>
                <a:cubicBezTo>
                  <a:pt x="1596120" y="145823"/>
                  <a:pt x="1596120" y="145823"/>
                  <a:pt x="1596120" y="145823"/>
                </a:cubicBezTo>
                <a:cubicBezTo>
                  <a:pt x="1612902" y="162606"/>
                  <a:pt x="1612902" y="162606"/>
                  <a:pt x="1612902" y="162606"/>
                </a:cubicBezTo>
                <a:cubicBezTo>
                  <a:pt x="1608707" y="162606"/>
                  <a:pt x="1608707" y="162606"/>
                  <a:pt x="1604511" y="166801"/>
                </a:cubicBezTo>
                <a:cubicBezTo>
                  <a:pt x="1587729" y="154215"/>
                  <a:pt x="1587729" y="154215"/>
                  <a:pt x="1587729" y="154215"/>
                </a:cubicBezTo>
                <a:cubicBezTo>
                  <a:pt x="1579338" y="158410"/>
                  <a:pt x="1579338" y="158410"/>
                  <a:pt x="1579338" y="158410"/>
                </a:cubicBezTo>
                <a:cubicBezTo>
                  <a:pt x="1587729" y="175192"/>
                  <a:pt x="1587729" y="175192"/>
                  <a:pt x="1587729" y="175192"/>
                </a:cubicBezTo>
                <a:cubicBezTo>
                  <a:pt x="1583533" y="175192"/>
                  <a:pt x="1583533" y="179388"/>
                  <a:pt x="1579338" y="179388"/>
                </a:cubicBezTo>
                <a:lnTo>
                  <a:pt x="1558360" y="141628"/>
                </a:lnTo>
                <a:cubicBezTo>
                  <a:pt x="1554164" y="137432"/>
                  <a:pt x="1554164" y="137432"/>
                  <a:pt x="1554164" y="137432"/>
                </a:cubicBezTo>
                <a:cubicBezTo>
                  <a:pt x="1562555" y="133237"/>
                  <a:pt x="1570946" y="129041"/>
                  <a:pt x="1575142" y="124846"/>
                </a:cubicBezTo>
                <a:close/>
                <a:moveTo>
                  <a:pt x="1836161" y="117475"/>
                </a:moveTo>
                <a:cubicBezTo>
                  <a:pt x="1840347" y="117475"/>
                  <a:pt x="1840347" y="117475"/>
                  <a:pt x="1844532" y="121557"/>
                </a:cubicBezTo>
                <a:cubicBezTo>
                  <a:pt x="1844532" y="121557"/>
                  <a:pt x="1844532" y="121557"/>
                  <a:pt x="1848717" y="141968"/>
                </a:cubicBezTo>
                <a:cubicBezTo>
                  <a:pt x="1848717" y="141968"/>
                  <a:pt x="1848717" y="141968"/>
                  <a:pt x="1869644" y="133804"/>
                </a:cubicBezTo>
                <a:cubicBezTo>
                  <a:pt x="1873829" y="133804"/>
                  <a:pt x="1878014" y="137886"/>
                  <a:pt x="1878014" y="137886"/>
                </a:cubicBezTo>
                <a:cubicBezTo>
                  <a:pt x="1878014" y="137886"/>
                  <a:pt x="1878014" y="137886"/>
                  <a:pt x="1848717" y="154214"/>
                </a:cubicBezTo>
                <a:cubicBezTo>
                  <a:pt x="1848717" y="154214"/>
                  <a:pt x="1848717" y="154214"/>
                  <a:pt x="1840347" y="174625"/>
                </a:cubicBezTo>
                <a:lnTo>
                  <a:pt x="1831976" y="166461"/>
                </a:lnTo>
                <a:cubicBezTo>
                  <a:pt x="1831976" y="166461"/>
                  <a:pt x="1831976" y="166461"/>
                  <a:pt x="1840347" y="146050"/>
                </a:cubicBezTo>
                <a:cubicBezTo>
                  <a:pt x="1840347" y="146050"/>
                  <a:pt x="1840347" y="146050"/>
                  <a:pt x="1836161" y="117475"/>
                </a:cubicBezTo>
                <a:close/>
                <a:moveTo>
                  <a:pt x="1794829" y="112713"/>
                </a:moveTo>
                <a:cubicBezTo>
                  <a:pt x="1790701" y="120651"/>
                  <a:pt x="1790701" y="120651"/>
                  <a:pt x="1790701" y="120651"/>
                </a:cubicBezTo>
                <a:lnTo>
                  <a:pt x="1790701" y="124619"/>
                </a:lnTo>
                <a:cubicBezTo>
                  <a:pt x="1803084" y="128588"/>
                  <a:pt x="1803084" y="128588"/>
                  <a:pt x="1803084" y="128588"/>
                </a:cubicBezTo>
                <a:cubicBezTo>
                  <a:pt x="1807212" y="128588"/>
                  <a:pt x="1811339" y="124619"/>
                  <a:pt x="1811339" y="120651"/>
                </a:cubicBezTo>
                <a:cubicBezTo>
                  <a:pt x="1811339" y="116682"/>
                  <a:pt x="1807212" y="116682"/>
                  <a:pt x="1807212" y="116682"/>
                </a:cubicBezTo>
                <a:cubicBezTo>
                  <a:pt x="1803084" y="112713"/>
                  <a:pt x="1798956" y="112713"/>
                  <a:pt x="1794829" y="112713"/>
                </a:cubicBezTo>
                <a:close/>
                <a:moveTo>
                  <a:pt x="1637508" y="112117"/>
                </a:moveTo>
                <a:cubicBezTo>
                  <a:pt x="1629174" y="112117"/>
                  <a:pt x="1620839" y="116285"/>
                  <a:pt x="1620839" y="124619"/>
                </a:cubicBezTo>
                <a:cubicBezTo>
                  <a:pt x="1620839" y="128786"/>
                  <a:pt x="1620839" y="128786"/>
                  <a:pt x="1620839" y="128786"/>
                </a:cubicBezTo>
                <a:cubicBezTo>
                  <a:pt x="1620839" y="137121"/>
                  <a:pt x="1629174" y="141288"/>
                  <a:pt x="1637508" y="141288"/>
                </a:cubicBezTo>
                <a:cubicBezTo>
                  <a:pt x="1645843" y="141288"/>
                  <a:pt x="1654177" y="132954"/>
                  <a:pt x="1654177" y="124619"/>
                </a:cubicBezTo>
                <a:cubicBezTo>
                  <a:pt x="1654177" y="116285"/>
                  <a:pt x="1645843" y="107950"/>
                  <a:pt x="1637508" y="112117"/>
                </a:cubicBezTo>
                <a:close/>
                <a:moveTo>
                  <a:pt x="1741489" y="104775"/>
                </a:moveTo>
                <a:cubicBezTo>
                  <a:pt x="1737520" y="117158"/>
                  <a:pt x="1737520" y="117158"/>
                  <a:pt x="1737520" y="117158"/>
                </a:cubicBezTo>
                <a:lnTo>
                  <a:pt x="1733551" y="125413"/>
                </a:lnTo>
                <a:cubicBezTo>
                  <a:pt x="1737520" y="125413"/>
                  <a:pt x="1745457" y="125413"/>
                  <a:pt x="1749426" y="125413"/>
                </a:cubicBezTo>
                <a:cubicBezTo>
                  <a:pt x="1745457" y="117158"/>
                  <a:pt x="1745457" y="117158"/>
                  <a:pt x="1745457" y="117158"/>
                </a:cubicBezTo>
                <a:cubicBezTo>
                  <a:pt x="1741489" y="104775"/>
                  <a:pt x="1741489" y="104775"/>
                  <a:pt x="1741489" y="104775"/>
                </a:cubicBezTo>
                <a:close/>
                <a:moveTo>
                  <a:pt x="1633407" y="104165"/>
                </a:moveTo>
                <a:cubicBezTo>
                  <a:pt x="1649811" y="100013"/>
                  <a:pt x="1662114" y="112469"/>
                  <a:pt x="1662114" y="124925"/>
                </a:cubicBezTo>
                <a:cubicBezTo>
                  <a:pt x="1662114" y="141532"/>
                  <a:pt x="1653912" y="149836"/>
                  <a:pt x="1637508" y="149836"/>
                </a:cubicBezTo>
                <a:cubicBezTo>
                  <a:pt x="1625204" y="153988"/>
                  <a:pt x="1612901" y="141532"/>
                  <a:pt x="1612901" y="129076"/>
                </a:cubicBezTo>
                <a:cubicBezTo>
                  <a:pt x="1612901" y="129076"/>
                  <a:pt x="1612901" y="129076"/>
                  <a:pt x="1612901" y="124925"/>
                </a:cubicBezTo>
                <a:cubicBezTo>
                  <a:pt x="1612901" y="112469"/>
                  <a:pt x="1621103" y="104165"/>
                  <a:pt x="1633407" y="104165"/>
                </a:cubicBezTo>
                <a:close/>
                <a:moveTo>
                  <a:pt x="1787382" y="100013"/>
                </a:moveTo>
                <a:cubicBezTo>
                  <a:pt x="1795752" y="100013"/>
                  <a:pt x="1804123" y="104209"/>
                  <a:pt x="1812494" y="108404"/>
                </a:cubicBezTo>
                <a:cubicBezTo>
                  <a:pt x="1816679" y="108404"/>
                  <a:pt x="1820864" y="112600"/>
                  <a:pt x="1820864" y="120991"/>
                </a:cubicBezTo>
                <a:cubicBezTo>
                  <a:pt x="1820864" y="125186"/>
                  <a:pt x="1816679" y="133578"/>
                  <a:pt x="1808308" y="137773"/>
                </a:cubicBezTo>
                <a:cubicBezTo>
                  <a:pt x="1812494" y="158751"/>
                  <a:pt x="1812494" y="158751"/>
                  <a:pt x="1812494" y="158751"/>
                </a:cubicBezTo>
                <a:cubicBezTo>
                  <a:pt x="1808308" y="158751"/>
                  <a:pt x="1808308" y="158751"/>
                  <a:pt x="1804123" y="154555"/>
                </a:cubicBezTo>
                <a:cubicBezTo>
                  <a:pt x="1799938" y="133578"/>
                  <a:pt x="1799938" y="133578"/>
                  <a:pt x="1799938" y="133578"/>
                </a:cubicBezTo>
                <a:cubicBezTo>
                  <a:pt x="1791567" y="133578"/>
                  <a:pt x="1791567" y="133578"/>
                  <a:pt x="1791567" y="133578"/>
                </a:cubicBezTo>
                <a:lnTo>
                  <a:pt x="1787382" y="150360"/>
                </a:lnTo>
                <a:cubicBezTo>
                  <a:pt x="1783197" y="150360"/>
                  <a:pt x="1779011" y="150360"/>
                  <a:pt x="1774826" y="146164"/>
                </a:cubicBezTo>
                <a:cubicBezTo>
                  <a:pt x="1783197" y="120991"/>
                  <a:pt x="1783197" y="120991"/>
                  <a:pt x="1783197" y="120991"/>
                </a:cubicBezTo>
                <a:cubicBezTo>
                  <a:pt x="1787382" y="100013"/>
                  <a:pt x="1787382" y="100013"/>
                  <a:pt x="1787382" y="100013"/>
                </a:cubicBezTo>
                <a:close/>
                <a:moveTo>
                  <a:pt x="1737015" y="92075"/>
                </a:moveTo>
                <a:cubicBezTo>
                  <a:pt x="1749571" y="92075"/>
                  <a:pt x="1749571" y="92075"/>
                  <a:pt x="1749571" y="92075"/>
                </a:cubicBezTo>
                <a:cubicBezTo>
                  <a:pt x="1753757" y="116987"/>
                  <a:pt x="1753757" y="116987"/>
                  <a:pt x="1753757" y="116987"/>
                </a:cubicBezTo>
                <a:cubicBezTo>
                  <a:pt x="1762127" y="146050"/>
                  <a:pt x="1762127" y="146050"/>
                  <a:pt x="1762127" y="146050"/>
                </a:cubicBezTo>
                <a:cubicBezTo>
                  <a:pt x="1757942" y="146050"/>
                  <a:pt x="1757942" y="141898"/>
                  <a:pt x="1753757" y="141898"/>
                </a:cubicBezTo>
                <a:cubicBezTo>
                  <a:pt x="1749571" y="133594"/>
                  <a:pt x="1749571" y="133594"/>
                  <a:pt x="1749571" y="133594"/>
                </a:cubicBezTo>
                <a:cubicBezTo>
                  <a:pt x="1741201" y="133594"/>
                  <a:pt x="1737015" y="133594"/>
                  <a:pt x="1728645" y="133594"/>
                </a:cubicBezTo>
                <a:lnTo>
                  <a:pt x="1724460" y="141898"/>
                </a:lnTo>
                <a:cubicBezTo>
                  <a:pt x="1720274" y="141898"/>
                  <a:pt x="1720274" y="141898"/>
                  <a:pt x="1716089" y="141898"/>
                </a:cubicBezTo>
                <a:cubicBezTo>
                  <a:pt x="1728645" y="116987"/>
                  <a:pt x="1728645" y="116987"/>
                  <a:pt x="1728645" y="116987"/>
                </a:cubicBezTo>
                <a:cubicBezTo>
                  <a:pt x="1737015" y="92075"/>
                  <a:pt x="1737015" y="92075"/>
                  <a:pt x="1737015" y="92075"/>
                </a:cubicBezTo>
                <a:close/>
                <a:moveTo>
                  <a:pt x="1712914" y="92075"/>
                </a:moveTo>
                <a:cubicBezTo>
                  <a:pt x="1712914" y="92075"/>
                  <a:pt x="1712914" y="92075"/>
                  <a:pt x="1712914" y="100277"/>
                </a:cubicBezTo>
                <a:cubicBezTo>
                  <a:pt x="1712914" y="100277"/>
                  <a:pt x="1712914" y="100277"/>
                  <a:pt x="1696173" y="100277"/>
                </a:cubicBezTo>
                <a:cubicBezTo>
                  <a:pt x="1696173" y="100277"/>
                  <a:pt x="1696173" y="100277"/>
                  <a:pt x="1700358" y="141288"/>
                </a:cubicBezTo>
                <a:cubicBezTo>
                  <a:pt x="1700358" y="141288"/>
                  <a:pt x="1700358" y="141288"/>
                  <a:pt x="1687802" y="141288"/>
                </a:cubicBezTo>
                <a:cubicBezTo>
                  <a:pt x="1687802" y="141288"/>
                  <a:pt x="1687802" y="141288"/>
                  <a:pt x="1683617" y="100277"/>
                </a:cubicBezTo>
                <a:lnTo>
                  <a:pt x="1666876" y="104378"/>
                </a:lnTo>
                <a:cubicBezTo>
                  <a:pt x="1666876" y="104378"/>
                  <a:pt x="1666876" y="104378"/>
                  <a:pt x="1666876" y="96176"/>
                </a:cubicBezTo>
                <a:cubicBezTo>
                  <a:pt x="1683617" y="92075"/>
                  <a:pt x="1691988" y="92075"/>
                  <a:pt x="1712914" y="92075"/>
                </a:cubicBezTo>
                <a:close/>
                <a:moveTo>
                  <a:pt x="1181630" y="92074"/>
                </a:moveTo>
                <a:cubicBezTo>
                  <a:pt x="1160463" y="92074"/>
                  <a:pt x="1147763" y="112712"/>
                  <a:pt x="1147763" y="133349"/>
                </a:cubicBezTo>
                <a:lnTo>
                  <a:pt x="1211263" y="133349"/>
                </a:lnTo>
                <a:cubicBezTo>
                  <a:pt x="1211263" y="112712"/>
                  <a:pt x="1202796" y="92074"/>
                  <a:pt x="1181630" y="92074"/>
                </a:cubicBezTo>
                <a:close/>
                <a:moveTo>
                  <a:pt x="1716089" y="84138"/>
                </a:moveTo>
                <a:cubicBezTo>
                  <a:pt x="1641444" y="84138"/>
                  <a:pt x="1575093" y="108903"/>
                  <a:pt x="1521183" y="150178"/>
                </a:cubicBezTo>
                <a:cubicBezTo>
                  <a:pt x="1512889" y="158433"/>
                  <a:pt x="1512889" y="162561"/>
                  <a:pt x="1517036" y="166688"/>
                </a:cubicBezTo>
                <a:cubicBezTo>
                  <a:pt x="1550212" y="203836"/>
                  <a:pt x="1550212" y="203836"/>
                  <a:pt x="1550212" y="203836"/>
                </a:cubicBezTo>
                <a:cubicBezTo>
                  <a:pt x="1554359" y="207963"/>
                  <a:pt x="1558505" y="207963"/>
                  <a:pt x="1566799" y="203836"/>
                </a:cubicBezTo>
                <a:cubicBezTo>
                  <a:pt x="1608269" y="170816"/>
                  <a:pt x="1658032" y="150178"/>
                  <a:pt x="1716089" y="150178"/>
                </a:cubicBezTo>
                <a:cubicBezTo>
                  <a:pt x="1769999" y="150178"/>
                  <a:pt x="1823910" y="170816"/>
                  <a:pt x="1865379" y="203836"/>
                </a:cubicBezTo>
                <a:cubicBezTo>
                  <a:pt x="1873673" y="207963"/>
                  <a:pt x="1877820" y="207963"/>
                  <a:pt x="1881967" y="203836"/>
                </a:cubicBezTo>
                <a:cubicBezTo>
                  <a:pt x="1915142" y="166688"/>
                  <a:pt x="1915142" y="166688"/>
                  <a:pt x="1915142" y="166688"/>
                </a:cubicBezTo>
                <a:cubicBezTo>
                  <a:pt x="1919289" y="162561"/>
                  <a:pt x="1919289" y="158433"/>
                  <a:pt x="1910995" y="150178"/>
                </a:cubicBezTo>
                <a:cubicBezTo>
                  <a:pt x="1857085" y="108903"/>
                  <a:pt x="1790734" y="84138"/>
                  <a:pt x="1716089" y="84138"/>
                </a:cubicBezTo>
                <a:close/>
                <a:moveTo>
                  <a:pt x="1181894" y="84137"/>
                </a:moveTo>
                <a:cubicBezTo>
                  <a:pt x="1214799" y="84137"/>
                  <a:pt x="1227138" y="108970"/>
                  <a:pt x="1227138" y="137942"/>
                </a:cubicBezTo>
                <a:cubicBezTo>
                  <a:pt x="1227138" y="146220"/>
                  <a:pt x="1227138" y="146220"/>
                  <a:pt x="1227138" y="146220"/>
                </a:cubicBezTo>
                <a:cubicBezTo>
                  <a:pt x="1148989" y="146220"/>
                  <a:pt x="1148989" y="146220"/>
                  <a:pt x="1148989" y="146220"/>
                </a:cubicBezTo>
                <a:cubicBezTo>
                  <a:pt x="1148989" y="166914"/>
                  <a:pt x="1161329" y="187608"/>
                  <a:pt x="1186007" y="187608"/>
                </a:cubicBezTo>
                <a:cubicBezTo>
                  <a:pt x="1198346" y="187608"/>
                  <a:pt x="1210686" y="183470"/>
                  <a:pt x="1218912" y="179331"/>
                </a:cubicBezTo>
                <a:lnTo>
                  <a:pt x="1218912" y="191747"/>
                </a:lnTo>
                <a:cubicBezTo>
                  <a:pt x="1210686" y="195886"/>
                  <a:pt x="1194233" y="200025"/>
                  <a:pt x="1186007" y="200025"/>
                </a:cubicBezTo>
                <a:cubicBezTo>
                  <a:pt x="1148989" y="200025"/>
                  <a:pt x="1136650" y="175192"/>
                  <a:pt x="1136650" y="142081"/>
                </a:cubicBezTo>
                <a:cubicBezTo>
                  <a:pt x="1136650" y="104831"/>
                  <a:pt x="1153102" y="84137"/>
                  <a:pt x="1181894" y="84137"/>
                </a:cubicBezTo>
                <a:close/>
                <a:moveTo>
                  <a:pt x="887413" y="41274"/>
                </a:moveTo>
                <a:lnTo>
                  <a:pt x="995363" y="41274"/>
                </a:lnTo>
                <a:lnTo>
                  <a:pt x="995363" y="53974"/>
                </a:lnTo>
                <a:lnTo>
                  <a:pt x="949326" y="53974"/>
                </a:lnTo>
                <a:lnTo>
                  <a:pt x="949326" y="195262"/>
                </a:lnTo>
                <a:lnTo>
                  <a:pt x="933451" y="195262"/>
                </a:lnTo>
                <a:lnTo>
                  <a:pt x="933451" y="53974"/>
                </a:lnTo>
                <a:lnTo>
                  <a:pt x="887413" y="53974"/>
                </a:lnTo>
                <a:close/>
                <a:moveTo>
                  <a:pt x="1020763" y="28574"/>
                </a:moveTo>
                <a:cubicBezTo>
                  <a:pt x="1033010" y="28574"/>
                  <a:pt x="1033010" y="28574"/>
                  <a:pt x="1033010" y="28574"/>
                </a:cubicBezTo>
                <a:cubicBezTo>
                  <a:pt x="1033010" y="103584"/>
                  <a:pt x="1033010" y="103584"/>
                  <a:pt x="1033010" y="103584"/>
                </a:cubicBezTo>
                <a:cubicBezTo>
                  <a:pt x="1041174" y="91082"/>
                  <a:pt x="1053420" y="82748"/>
                  <a:pt x="1069749" y="82748"/>
                </a:cubicBezTo>
                <a:cubicBezTo>
                  <a:pt x="1098324" y="82748"/>
                  <a:pt x="1106488" y="99416"/>
                  <a:pt x="1106488" y="128587"/>
                </a:cubicBezTo>
                <a:cubicBezTo>
                  <a:pt x="1106488" y="195262"/>
                  <a:pt x="1106488" y="195262"/>
                  <a:pt x="1106488" y="195262"/>
                </a:cubicBezTo>
                <a:cubicBezTo>
                  <a:pt x="1090160" y="195262"/>
                  <a:pt x="1090160" y="195262"/>
                  <a:pt x="1090160" y="195262"/>
                </a:cubicBezTo>
                <a:cubicBezTo>
                  <a:pt x="1090160" y="128587"/>
                  <a:pt x="1090160" y="128587"/>
                  <a:pt x="1090160" y="128587"/>
                </a:cubicBezTo>
                <a:cubicBezTo>
                  <a:pt x="1090160" y="107751"/>
                  <a:pt x="1090160" y="91082"/>
                  <a:pt x="1065667" y="91082"/>
                </a:cubicBezTo>
                <a:cubicBezTo>
                  <a:pt x="1041174" y="91082"/>
                  <a:pt x="1033010" y="116085"/>
                  <a:pt x="1033010" y="136921"/>
                </a:cubicBezTo>
                <a:cubicBezTo>
                  <a:pt x="1033010" y="195262"/>
                  <a:pt x="1033010" y="195262"/>
                  <a:pt x="1033010" y="195262"/>
                </a:cubicBezTo>
                <a:cubicBezTo>
                  <a:pt x="1020763" y="195262"/>
                  <a:pt x="1020763" y="195262"/>
                  <a:pt x="1020763" y="195262"/>
                </a:cubicBezTo>
                <a:close/>
                <a:moveTo>
                  <a:pt x="1704456" y="0"/>
                </a:moveTo>
                <a:cubicBezTo>
                  <a:pt x="1712741" y="0"/>
                  <a:pt x="1721026" y="0"/>
                  <a:pt x="1729310" y="0"/>
                </a:cubicBezTo>
                <a:cubicBezTo>
                  <a:pt x="1741737" y="20820"/>
                  <a:pt x="1745880" y="41641"/>
                  <a:pt x="1745880" y="62461"/>
                </a:cubicBezTo>
                <a:cubicBezTo>
                  <a:pt x="1750022" y="62461"/>
                  <a:pt x="1770734" y="66625"/>
                  <a:pt x="1774877" y="66625"/>
                </a:cubicBezTo>
                <a:cubicBezTo>
                  <a:pt x="1779019" y="45805"/>
                  <a:pt x="1791446" y="24984"/>
                  <a:pt x="1803873" y="12492"/>
                </a:cubicBezTo>
                <a:cubicBezTo>
                  <a:pt x="1808016" y="12492"/>
                  <a:pt x="1808016" y="12492"/>
                  <a:pt x="1808016" y="12492"/>
                </a:cubicBezTo>
                <a:cubicBezTo>
                  <a:pt x="1816300" y="12492"/>
                  <a:pt x="1824585" y="16656"/>
                  <a:pt x="1832870" y="16656"/>
                </a:cubicBezTo>
                <a:cubicBezTo>
                  <a:pt x="1832870" y="20820"/>
                  <a:pt x="1832870" y="20820"/>
                  <a:pt x="1832870" y="20820"/>
                </a:cubicBezTo>
                <a:cubicBezTo>
                  <a:pt x="1837012" y="29149"/>
                  <a:pt x="1837012" y="37477"/>
                  <a:pt x="1837012" y="49969"/>
                </a:cubicBezTo>
                <a:cubicBezTo>
                  <a:pt x="1837012" y="62461"/>
                  <a:pt x="1837012" y="70789"/>
                  <a:pt x="1832870" y="83282"/>
                </a:cubicBezTo>
                <a:cubicBezTo>
                  <a:pt x="1837012" y="83282"/>
                  <a:pt x="1853582" y="91610"/>
                  <a:pt x="1857724" y="91610"/>
                </a:cubicBezTo>
                <a:cubicBezTo>
                  <a:pt x="1870151" y="74953"/>
                  <a:pt x="1886721" y="58297"/>
                  <a:pt x="1903291" y="49969"/>
                </a:cubicBezTo>
                <a:cubicBezTo>
                  <a:pt x="1911575" y="49969"/>
                  <a:pt x="1919860" y="58297"/>
                  <a:pt x="1928145" y="62461"/>
                </a:cubicBezTo>
                <a:cubicBezTo>
                  <a:pt x="1928145" y="83282"/>
                  <a:pt x="1919860" y="104102"/>
                  <a:pt x="1911575" y="124922"/>
                </a:cubicBezTo>
                <a:cubicBezTo>
                  <a:pt x="1911575" y="124922"/>
                  <a:pt x="1928145" y="137414"/>
                  <a:pt x="1932287" y="141579"/>
                </a:cubicBezTo>
                <a:cubicBezTo>
                  <a:pt x="1948857" y="124922"/>
                  <a:pt x="1965426" y="112430"/>
                  <a:pt x="1986138" y="108266"/>
                </a:cubicBezTo>
                <a:cubicBezTo>
                  <a:pt x="1994423" y="112430"/>
                  <a:pt x="2002708" y="120758"/>
                  <a:pt x="2006850" y="129086"/>
                </a:cubicBezTo>
                <a:cubicBezTo>
                  <a:pt x="2002708" y="149907"/>
                  <a:pt x="1990281" y="166563"/>
                  <a:pt x="1973711" y="183219"/>
                </a:cubicBezTo>
                <a:cubicBezTo>
                  <a:pt x="1977853" y="187383"/>
                  <a:pt x="1990281" y="204040"/>
                  <a:pt x="1990281" y="204040"/>
                </a:cubicBezTo>
                <a:cubicBezTo>
                  <a:pt x="2010993" y="195711"/>
                  <a:pt x="2031705" y="187383"/>
                  <a:pt x="2052416" y="187383"/>
                </a:cubicBezTo>
                <a:cubicBezTo>
                  <a:pt x="2052416" y="191547"/>
                  <a:pt x="2052416" y="191547"/>
                  <a:pt x="2052416" y="191547"/>
                </a:cubicBezTo>
                <a:cubicBezTo>
                  <a:pt x="2056559" y="195711"/>
                  <a:pt x="2064844" y="204040"/>
                  <a:pt x="2064844" y="212368"/>
                </a:cubicBezTo>
                <a:cubicBezTo>
                  <a:pt x="2056559" y="233188"/>
                  <a:pt x="2039989" y="245680"/>
                  <a:pt x="2023420" y="258173"/>
                </a:cubicBezTo>
                <a:cubicBezTo>
                  <a:pt x="2023420" y="262337"/>
                  <a:pt x="2031705" y="278993"/>
                  <a:pt x="2031705" y="283157"/>
                </a:cubicBezTo>
                <a:cubicBezTo>
                  <a:pt x="2052416" y="278993"/>
                  <a:pt x="2073128" y="278993"/>
                  <a:pt x="2093840" y="283157"/>
                </a:cubicBezTo>
                <a:cubicBezTo>
                  <a:pt x="2097983" y="291485"/>
                  <a:pt x="2102125" y="299813"/>
                  <a:pt x="2102125" y="308141"/>
                </a:cubicBezTo>
                <a:cubicBezTo>
                  <a:pt x="2102125" y="312306"/>
                  <a:pt x="2102125" y="312306"/>
                  <a:pt x="2102125" y="312306"/>
                </a:cubicBezTo>
                <a:cubicBezTo>
                  <a:pt x="2089698" y="324798"/>
                  <a:pt x="2068986" y="337290"/>
                  <a:pt x="2048274" y="341454"/>
                </a:cubicBezTo>
                <a:cubicBezTo>
                  <a:pt x="2048274" y="345618"/>
                  <a:pt x="2052416" y="366438"/>
                  <a:pt x="2052416" y="366438"/>
                </a:cubicBezTo>
                <a:cubicBezTo>
                  <a:pt x="2073128" y="366438"/>
                  <a:pt x="2093840" y="374767"/>
                  <a:pt x="2110410" y="383095"/>
                </a:cubicBezTo>
                <a:cubicBezTo>
                  <a:pt x="2110410" y="387259"/>
                  <a:pt x="2110410" y="387259"/>
                  <a:pt x="2110410" y="387259"/>
                </a:cubicBezTo>
                <a:cubicBezTo>
                  <a:pt x="2114552" y="391423"/>
                  <a:pt x="2114552" y="395587"/>
                  <a:pt x="2114552" y="399751"/>
                </a:cubicBezTo>
                <a:cubicBezTo>
                  <a:pt x="2114552" y="403915"/>
                  <a:pt x="2114552" y="408079"/>
                  <a:pt x="2110410" y="412243"/>
                </a:cubicBezTo>
                <a:cubicBezTo>
                  <a:pt x="2093840" y="424736"/>
                  <a:pt x="2073128" y="428900"/>
                  <a:pt x="2052416" y="428900"/>
                </a:cubicBezTo>
                <a:cubicBezTo>
                  <a:pt x="2048274" y="433064"/>
                  <a:pt x="2048274" y="453884"/>
                  <a:pt x="2048274" y="453884"/>
                </a:cubicBezTo>
                <a:cubicBezTo>
                  <a:pt x="2068986" y="462212"/>
                  <a:pt x="2085556" y="470540"/>
                  <a:pt x="2102125" y="487197"/>
                </a:cubicBezTo>
                <a:cubicBezTo>
                  <a:pt x="2102125" y="495525"/>
                  <a:pt x="2097983" y="508017"/>
                  <a:pt x="2093840" y="512181"/>
                </a:cubicBezTo>
                <a:cubicBezTo>
                  <a:pt x="2093840" y="516345"/>
                  <a:pt x="2093840" y="516345"/>
                  <a:pt x="2093840" y="516345"/>
                </a:cubicBezTo>
                <a:cubicBezTo>
                  <a:pt x="2073128" y="520509"/>
                  <a:pt x="2052416" y="520509"/>
                  <a:pt x="2031705" y="516345"/>
                </a:cubicBezTo>
                <a:cubicBezTo>
                  <a:pt x="2031705" y="516345"/>
                  <a:pt x="2023420" y="537165"/>
                  <a:pt x="2023420" y="537165"/>
                </a:cubicBezTo>
                <a:cubicBezTo>
                  <a:pt x="2039989" y="549658"/>
                  <a:pt x="2056559" y="566314"/>
                  <a:pt x="2064844" y="582970"/>
                </a:cubicBezTo>
                <a:cubicBezTo>
                  <a:pt x="2064844" y="587134"/>
                  <a:pt x="2064844" y="587134"/>
                  <a:pt x="2064844" y="587134"/>
                </a:cubicBezTo>
                <a:cubicBezTo>
                  <a:pt x="2060701" y="591298"/>
                  <a:pt x="2056559" y="599627"/>
                  <a:pt x="2052416" y="607955"/>
                </a:cubicBezTo>
                <a:cubicBezTo>
                  <a:pt x="2031705" y="607955"/>
                  <a:pt x="2010993" y="603791"/>
                  <a:pt x="1990281" y="591298"/>
                </a:cubicBezTo>
                <a:cubicBezTo>
                  <a:pt x="1990281" y="595463"/>
                  <a:pt x="1977853" y="612119"/>
                  <a:pt x="1973711" y="612119"/>
                </a:cubicBezTo>
                <a:cubicBezTo>
                  <a:pt x="1990281" y="628775"/>
                  <a:pt x="2002708" y="649595"/>
                  <a:pt x="2006850" y="666252"/>
                </a:cubicBezTo>
                <a:cubicBezTo>
                  <a:pt x="2006850" y="670416"/>
                  <a:pt x="2006850" y="670416"/>
                  <a:pt x="2006850" y="670416"/>
                </a:cubicBezTo>
                <a:cubicBezTo>
                  <a:pt x="2002708" y="674580"/>
                  <a:pt x="1994423" y="682908"/>
                  <a:pt x="1986138" y="687072"/>
                </a:cubicBezTo>
                <a:cubicBezTo>
                  <a:pt x="1965426" y="682908"/>
                  <a:pt x="1944714" y="670416"/>
                  <a:pt x="1932287" y="657924"/>
                </a:cubicBezTo>
                <a:cubicBezTo>
                  <a:pt x="1928145" y="657924"/>
                  <a:pt x="1911575" y="670416"/>
                  <a:pt x="1911575" y="674580"/>
                </a:cubicBezTo>
                <a:cubicBezTo>
                  <a:pt x="1919860" y="691236"/>
                  <a:pt x="1928145" y="712057"/>
                  <a:pt x="1928145" y="732877"/>
                </a:cubicBezTo>
                <a:cubicBezTo>
                  <a:pt x="1928145" y="732877"/>
                  <a:pt x="1928145" y="737041"/>
                  <a:pt x="1928145" y="737041"/>
                </a:cubicBezTo>
                <a:cubicBezTo>
                  <a:pt x="1924002" y="737041"/>
                  <a:pt x="1924002" y="737041"/>
                  <a:pt x="1924002" y="737041"/>
                </a:cubicBezTo>
                <a:cubicBezTo>
                  <a:pt x="1919860" y="741205"/>
                  <a:pt x="1911575" y="745369"/>
                  <a:pt x="1903291" y="749533"/>
                </a:cubicBezTo>
                <a:cubicBezTo>
                  <a:pt x="1882579" y="737041"/>
                  <a:pt x="1870151" y="724549"/>
                  <a:pt x="1857724" y="703728"/>
                </a:cubicBezTo>
                <a:cubicBezTo>
                  <a:pt x="1853582" y="703728"/>
                  <a:pt x="1837012" y="712057"/>
                  <a:pt x="1832870" y="716221"/>
                </a:cubicBezTo>
                <a:cubicBezTo>
                  <a:pt x="1837012" y="724549"/>
                  <a:pt x="1837012" y="737041"/>
                  <a:pt x="1837012" y="745369"/>
                </a:cubicBezTo>
                <a:cubicBezTo>
                  <a:pt x="1837012" y="757861"/>
                  <a:pt x="1837012" y="766190"/>
                  <a:pt x="1832870" y="778682"/>
                </a:cubicBezTo>
                <a:cubicBezTo>
                  <a:pt x="1824585" y="782846"/>
                  <a:pt x="1816300" y="782846"/>
                  <a:pt x="1808016" y="787010"/>
                </a:cubicBezTo>
                <a:cubicBezTo>
                  <a:pt x="1803873" y="787010"/>
                  <a:pt x="1803873" y="787010"/>
                  <a:pt x="1803873" y="787010"/>
                </a:cubicBezTo>
                <a:cubicBezTo>
                  <a:pt x="1791446" y="770354"/>
                  <a:pt x="1779019" y="749533"/>
                  <a:pt x="1774877" y="732877"/>
                </a:cubicBezTo>
                <a:cubicBezTo>
                  <a:pt x="1770734" y="732877"/>
                  <a:pt x="1750022" y="732877"/>
                  <a:pt x="1750022" y="732877"/>
                </a:cubicBezTo>
                <a:cubicBezTo>
                  <a:pt x="1750022" y="757861"/>
                  <a:pt x="1741737" y="778682"/>
                  <a:pt x="1733453" y="795338"/>
                </a:cubicBezTo>
                <a:cubicBezTo>
                  <a:pt x="1729310" y="795338"/>
                  <a:pt x="1729310" y="795338"/>
                  <a:pt x="1729310" y="795338"/>
                </a:cubicBezTo>
                <a:cubicBezTo>
                  <a:pt x="1725168" y="795338"/>
                  <a:pt x="1712741" y="795338"/>
                  <a:pt x="1704456" y="795338"/>
                </a:cubicBezTo>
                <a:cubicBezTo>
                  <a:pt x="1692029" y="778682"/>
                  <a:pt x="1687886" y="757861"/>
                  <a:pt x="1687886" y="732877"/>
                </a:cubicBezTo>
                <a:cubicBezTo>
                  <a:pt x="1683744" y="732877"/>
                  <a:pt x="1663032" y="732877"/>
                  <a:pt x="1658890" y="732877"/>
                </a:cubicBezTo>
                <a:cubicBezTo>
                  <a:pt x="1654747" y="749533"/>
                  <a:pt x="1642320" y="770354"/>
                  <a:pt x="1629893" y="787010"/>
                </a:cubicBezTo>
                <a:cubicBezTo>
                  <a:pt x="1625751" y="787010"/>
                  <a:pt x="1625751" y="787010"/>
                  <a:pt x="1625751" y="787010"/>
                </a:cubicBezTo>
                <a:cubicBezTo>
                  <a:pt x="1617466" y="782846"/>
                  <a:pt x="1609181" y="782846"/>
                  <a:pt x="1600896" y="778682"/>
                </a:cubicBezTo>
                <a:cubicBezTo>
                  <a:pt x="1596754" y="766190"/>
                  <a:pt x="1596754" y="757861"/>
                  <a:pt x="1596754" y="745369"/>
                </a:cubicBezTo>
                <a:cubicBezTo>
                  <a:pt x="1596754" y="737041"/>
                  <a:pt x="1596754" y="724549"/>
                  <a:pt x="1600896" y="716221"/>
                </a:cubicBezTo>
                <a:cubicBezTo>
                  <a:pt x="1596754" y="712057"/>
                  <a:pt x="1580184" y="707892"/>
                  <a:pt x="1576042" y="703728"/>
                </a:cubicBezTo>
                <a:cubicBezTo>
                  <a:pt x="1567757" y="724549"/>
                  <a:pt x="1551188" y="741205"/>
                  <a:pt x="1534618" y="749533"/>
                </a:cubicBezTo>
                <a:cubicBezTo>
                  <a:pt x="1530476" y="749533"/>
                  <a:pt x="1530476" y="749533"/>
                  <a:pt x="1530476" y="749533"/>
                </a:cubicBezTo>
                <a:cubicBezTo>
                  <a:pt x="1522191" y="745369"/>
                  <a:pt x="1513906" y="741205"/>
                  <a:pt x="1509764" y="737041"/>
                </a:cubicBezTo>
                <a:cubicBezTo>
                  <a:pt x="1509764" y="737041"/>
                  <a:pt x="1509764" y="732877"/>
                  <a:pt x="1509764" y="732877"/>
                </a:cubicBezTo>
                <a:cubicBezTo>
                  <a:pt x="1509764" y="716221"/>
                  <a:pt x="1513906" y="691236"/>
                  <a:pt x="1522191" y="674580"/>
                </a:cubicBezTo>
                <a:cubicBezTo>
                  <a:pt x="1522191" y="674580"/>
                  <a:pt x="1505621" y="657924"/>
                  <a:pt x="1501479" y="657924"/>
                </a:cubicBezTo>
                <a:cubicBezTo>
                  <a:pt x="1489052" y="674580"/>
                  <a:pt x="1468340" y="682908"/>
                  <a:pt x="1447628" y="687072"/>
                </a:cubicBezTo>
                <a:cubicBezTo>
                  <a:pt x="1439343" y="682908"/>
                  <a:pt x="1435201" y="674580"/>
                  <a:pt x="1426916" y="670416"/>
                </a:cubicBezTo>
                <a:cubicBezTo>
                  <a:pt x="1435201" y="649595"/>
                  <a:pt x="1443486" y="628775"/>
                  <a:pt x="1460055" y="616283"/>
                </a:cubicBezTo>
                <a:cubicBezTo>
                  <a:pt x="1455913" y="612119"/>
                  <a:pt x="1443486" y="595463"/>
                  <a:pt x="1443486" y="591298"/>
                </a:cubicBezTo>
                <a:cubicBezTo>
                  <a:pt x="1422774" y="603791"/>
                  <a:pt x="1402062" y="607955"/>
                  <a:pt x="1381350" y="607955"/>
                </a:cubicBezTo>
                <a:cubicBezTo>
                  <a:pt x="1377208" y="603791"/>
                  <a:pt x="1373065" y="591298"/>
                  <a:pt x="1368923" y="587134"/>
                </a:cubicBezTo>
                <a:cubicBezTo>
                  <a:pt x="1368923" y="582970"/>
                  <a:pt x="1368923" y="582970"/>
                  <a:pt x="1368923" y="582970"/>
                </a:cubicBezTo>
                <a:cubicBezTo>
                  <a:pt x="1377208" y="566314"/>
                  <a:pt x="1393777" y="549658"/>
                  <a:pt x="1414489" y="541330"/>
                </a:cubicBezTo>
                <a:cubicBezTo>
                  <a:pt x="1410347" y="537165"/>
                  <a:pt x="1402062" y="516345"/>
                  <a:pt x="1402062" y="516345"/>
                </a:cubicBezTo>
                <a:cubicBezTo>
                  <a:pt x="1381350" y="520509"/>
                  <a:pt x="1360638" y="520509"/>
                  <a:pt x="1339926" y="516345"/>
                </a:cubicBezTo>
                <a:cubicBezTo>
                  <a:pt x="1335784" y="508017"/>
                  <a:pt x="1331641" y="495525"/>
                  <a:pt x="1331641" y="491361"/>
                </a:cubicBezTo>
                <a:cubicBezTo>
                  <a:pt x="1331641" y="487197"/>
                  <a:pt x="1331641" y="487197"/>
                  <a:pt x="1331641" y="487197"/>
                </a:cubicBezTo>
                <a:cubicBezTo>
                  <a:pt x="1344068" y="474704"/>
                  <a:pt x="1364780" y="462212"/>
                  <a:pt x="1385492" y="453884"/>
                </a:cubicBezTo>
                <a:cubicBezTo>
                  <a:pt x="1385492" y="453884"/>
                  <a:pt x="1381350" y="433064"/>
                  <a:pt x="1381350" y="428900"/>
                </a:cubicBezTo>
                <a:cubicBezTo>
                  <a:pt x="1360638" y="428900"/>
                  <a:pt x="1339926" y="424736"/>
                  <a:pt x="1323357" y="412243"/>
                </a:cubicBezTo>
                <a:cubicBezTo>
                  <a:pt x="1319214" y="412243"/>
                  <a:pt x="1319214" y="412243"/>
                  <a:pt x="1319214" y="412243"/>
                </a:cubicBezTo>
                <a:cubicBezTo>
                  <a:pt x="1319214" y="408079"/>
                  <a:pt x="1319214" y="403915"/>
                  <a:pt x="1319214" y="399751"/>
                </a:cubicBezTo>
                <a:cubicBezTo>
                  <a:pt x="1319214" y="391423"/>
                  <a:pt x="1319214" y="387259"/>
                  <a:pt x="1319214" y="383095"/>
                </a:cubicBezTo>
                <a:cubicBezTo>
                  <a:pt x="1323357" y="383095"/>
                  <a:pt x="1323357" y="383095"/>
                  <a:pt x="1323357" y="383095"/>
                </a:cubicBezTo>
                <a:cubicBezTo>
                  <a:pt x="1339926" y="374767"/>
                  <a:pt x="1360638" y="366438"/>
                  <a:pt x="1381350" y="366438"/>
                </a:cubicBezTo>
                <a:cubicBezTo>
                  <a:pt x="1381350" y="362274"/>
                  <a:pt x="1385492" y="345618"/>
                  <a:pt x="1385492" y="341454"/>
                </a:cubicBezTo>
                <a:cubicBezTo>
                  <a:pt x="1364780" y="333126"/>
                  <a:pt x="1344068" y="324798"/>
                  <a:pt x="1331641" y="308141"/>
                </a:cubicBezTo>
                <a:cubicBezTo>
                  <a:pt x="1331641" y="299813"/>
                  <a:pt x="1335784" y="291485"/>
                  <a:pt x="1339926" y="283157"/>
                </a:cubicBezTo>
                <a:cubicBezTo>
                  <a:pt x="1356496" y="274829"/>
                  <a:pt x="1381350" y="274829"/>
                  <a:pt x="1402062" y="283157"/>
                </a:cubicBezTo>
                <a:cubicBezTo>
                  <a:pt x="1402062" y="278993"/>
                  <a:pt x="1410347" y="262337"/>
                  <a:pt x="1410347" y="258173"/>
                </a:cubicBezTo>
                <a:cubicBezTo>
                  <a:pt x="1393777" y="245680"/>
                  <a:pt x="1377208" y="229024"/>
                  <a:pt x="1368923" y="212368"/>
                </a:cubicBezTo>
                <a:cubicBezTo>
                  <a:pt x="1368923" y="204040"/>
                  <a:pt x="1377208" y="195711"/>
                  <a:pt x="1381350" y="187383"/>
                </a:cubicBezTo>
                <a:cubicBezTo>
                  <a:pt x="1402062" y="187383"/>
                  <a:pt x="1422774" y="195711"/>
                  <a:pt x="1443486" y="204040"/>
                </a:cubicBezTo>
                <a:cubicBezTo>
                  <a:pt x="1443486" y="204040"/>
                  <a:pt x="1455913" y="183219"/>
                  <a:pt x="1460055" y="183219"/>
                </a:cubicBezTo>
                <a:cubicBezTo>
                  <a:pt x="1443486" y="166563"/>
                  <a:pt x="1431059" y="145743"/>
                  <a:pt x="1426916" y="129086"/>
                </a:cubicBezTo>
                <a:cubicBezTo>
                  <a:pt x="1426916" y="124922"/>
                  <a:pt x="1426916" y="124922"/>
                  <a:pt x="1426916" y="124922"/>
                </a:cubicBezTo>
                <a:cubicBezTo>
                  <a:pt x="1431059" y="120758"/>
                  <a:pt x="1439343" y="112430"/>
                  <a:pt x="1447628" y="108266"/>
                </a:cubicBezTo>
                <a:cubicBezTo>
                  <a:pt x="1468340" y="112430"/>
                  <a:pt x="1489052" y="124922"/>
                  <a:pt x="1501479" y="137414"/>
                </a:cubicBezTo>
                <a:cubicBezTo>
                  <a:pt x="1505621" y="137414"/>
                  <a:pt x="1518049" y="124922"/>
                  <a:pt x="1522191" y="124922"/>
                </a:cubicBezTo>
                <a:cubicBezTo>
                  <a:pt x="1509764" y="104102"/>
                  <a:pt x="1505621" y="83282"/>
                  <a:pt x="1505621" y="62461"/>
                </a:cubicBezTo>
                <a:cubicBezTo>
                  <a:pt x="1513906" y="58297"/>
                  <a:pt x="1522191" y="49969"/>
                  <a:pt x="1530476" y="49969"/>
                </a:cubicBezTo>
                <a:cubicBezTo>
                  <a:pt x="1547045" y="58297"/>
                  <a:pt x="1563615" y="74953"/>
                  <a:pt x="1576042" y="91610"/>
                </a:cubicBezTo>
                <a:cubicBezTo>
                  <a:pt x="1576042" y="91610"/>
                  <a:pt x="1596754" y="83282"/>
                  <a:pt x="1600896" y="83282"/>
                </a:cubicBezTo>
                <a:cubicBezTo>
                  <a:pt x="1596754" y="70789"/>
                  <a:pt x="1596754" y="62461"/>
                  <a:pt x="1596754" y="49969"/>
                </a:cubicBezTo>
                <a:cubicBezTo>
                  <a:pt x="1596754" y="37477"/>
                  <a:pt x="1596754" y="29149"/>
                  <a:pt x="1600896" y="20820"/>
                </a:cubicBezTo>
                <a:cubicBezTo>
                  <a:pt x="1600896" y="16656"/>
                  <a:pt x="1600896" y="16656"/>
                  <a:pt x="1600896" y="16656"/>
                </a:cubicBezTo>
                <a:cubicBezTo>
                  <a:pt x="1609181" y="16656"/>
                  <a:pt x="1617466" y="12492"/>
                  <a:pt x="1625751" y="12492"/>
                </a:cubicBezTo>
                <a:cubicBezTo>
                  <a:pt x="1629893" y="12492"/>
                  <a:pt x="1629893" y="12492"/>
                  <a:pt x="1629893" y="12492"/>
                </a:cubicBezTo>
                <a:cubicBezTo>
                  <a:pt x="1642320" y="24984"/>
                  <a:pt x="1654747" y="45805"/>
                  <a:pt x="1658890" y="66625"/>
                </a:cubicBezTo>
                <a:cubicBezTo>
                  <a:pt x="1663032" y="66625"/>
                  <a:pt x="1683744" y="62461"/>
                  <a:pt x="1687886" y="62461"/>
                </a:cubicBezTo>
                <a:cubicBezTo>
                  <a:pt x="1687886" y="41641"/>
                  <a:pt x="1692029" y="20820"/>
                  <a:pt x="1704456" y="0"/>
                </a:cubicBezTo>
                <a:close/>
              </a:path>
            </a:pathLst>
          </a:custGeom>
          <a:solidFill>
            <a:srgbClr val="8BD4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spTree>
    <p:extLst>
      <p:ext uri="{BB962C8B-B14F-4D97-AF65-F5344CB8AC3E}">
        <p14:creationId xmlns:p14="http://schemas.microsoft.com/office/powerpoint/2010/main" val="1000935759"/>
      </p:ext>
    </p:extLst>
  </p:cSld>
  <p:clrMap bg1="lt1" tx1="dk1" bg2="lt2" tx2="dk2" accent1="accent1" accent2="accent2" accent3="accent3" accent4="accent4" accent5="accent5" accent6="accent6" hlink="hlink" folHlink="folHlink"/>
  <p:sldLayoutIdLst>
    <p:sldLayoutId id="2147483649" r:id="rId1"/>
    <p:sldLayoutId id="2147483669" r:id="rId2"/>
    <p:sldLayoutId id="2147483671" r:id="rId3"/>
    <p:sldLayoutId id="2147483663" r:id="rId4"/>
    <p:sldLayoutId id="2147483664" r:id="rId5"/>
    <p:sldLayoutId id="2147483668" r:id="rId6"/>
    <p:sldLayoutId id="2147483666" r:id="rId7"/>
    <p:sldLayoutId id="2147483667" r:id="rId8"/>
    <p:sldLayoutId id="2147483655" r:id="rId9"/>
    <p:sldLayoutId id="2147483678" r:id="rId10"/>
    <p:sldLayoutId id="2147483650" r:id="rId11"/>
    <p:sldLayoutId id="2147483673" r:id="rId12"/>
    <p:sldLayoutId id="2147483659" r:id="rId13"/>
    <p:sldLayoutId id="2147483676" r:id="rId14"/>
    <p:sldLayoutId id="2147483652" r:id="rId15"/>
    <p:sldLayoutId id="2147483657" r:id="rId16"/>
    <p:sldLayoutId id="2147483662" r:id="rId17"/>
    <p:sldLayoutId id="2147483670" r:id="rId18"/>
    <p:sldLayoutId id="2147483672" r:id="rId19"/>
    <p:sldLayoutId id="2147483656" r:id="rId20"/>
    <p:sldLayoutId id="2147483674" r:id="rId21"/>
    <p:sldLayoutId id="2147483658" r:id="rId22"/>
    <p:sldLayoutId id="2147483661" r:id="rId23"/>
    <p:sldLayoutId id="2147483675" r:id="rId24"/>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extBox 4"/>
          <p:cNvSpPr txBox="1"/>
          <p:nvPr/>
        </p:nvSpPr>
        <p:spPr>
          <a:xfrm>
            <a:off x="9448800" y="6477001"/>
            <a:ext cx="2133600" cy="138113"/>
          </a:xfrm>
          <a:prstGeom prst="rect">
            <a:avLst/>
          </a:prstGeom>
          <a:noFill/>
        </p:spPr>
        <p:txBody>
          <a:bodyPr lIns="0" tIns="0" rIns="0" bIns="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BCBDC0"/>
                </a:solidFill>
                <a:effectLst/>
                <a:uLnTx/>
                <a:uFillTx/>
                <a:latin typeface="Arial Narrow"/>
                <a:cs typeface="Arial Narrow"/>
              </a:rPr>
              <a:t>PolioPlus Financial Update |  </a:t>
            </a:r>
            <a:fld id="{7B1E173C-77FA-8848-9DC8-48C2C2ED5311}" type="slidenum">
              <a:rPr kumimoji="0" lang="en-US" sz="900" b="0" i="0" u="none" strike="noStrike" kern="1200" cap="none" spc="300" normalizeH="0" baseline="0" noProof="0">
                <a:ln>
                  <a:noFill/>
                </a:ln>
                <a:solidFill>
                  <a:srgbClr val="BCBDC0"/>
                </a:solidFill>
                <a:effectLst/>
                <a:uLnTx/>
                <a:uFillTx/>
                <a:latin typeface="Arial Narrow"/>
                <a:cs typeface="Arial Narrow"/>
              </a:rPr>
              <a:pPr marL="0" marR="0" lvl="0" indent="0" algn="r" defTabSz="914400" rtl="0" eaLnBrk="0" fontAlgn="base" latinLnBrk="0" hangingPunct="0">
                <a:lnSpc>
                  <a:spcPct val="100000"/>
                </a:lnSpc>
                <a:spcBef>
                  <a:spcPct val="0"/>
                </a:spcBef>
                <a:spcAft>
                  <a:spcPct val="0"/>
                </a:spcAft>
                <a:buClrTx/>
                <a:buSzTx/>
                <a:buFontTx/>
                <a:buNone/>
                <a:tabLst/>
                <a:defRPr/>
              </a:pPr>
              <a:t>‹#›</a:t>
            </a:fld>
            <a:r>
              <a:rPr kumimoji="0" lang="en-US" sz="900" b="0" i="0" u="none" strike="noStrike" kern="1200" cap="none" spc="300" normalizeH="0" baseline="0" noProof="0" dirty="0">
                <a:ln>
                  <a:noFill/>
                </a:ln>
                <a:solidFill>
                  <a:srgbClr val="BCBDC0"/>
                </a:solidFill>
                <a:effectLst/>
                <a:uLnTx/>
                <a:uFillTx/>
                <a:latin typeface="Arial Narrow"/>
                <a:cs typeface="Arial Narrow"/>
              </a:rPr>
              <a:t>  </a:t>
            </a:r>
            <a:endParaRPr kumimoji="0" lang="en-US" sz="900" b="0" i="0" u="none" strike="noStrike" kern="1200" cap="none" spc="0" normalizeH="0" baseline="0" noProof="0" dirty="0">
              <a:ln>
                <a:noFill/>
              </a:ln>
              <a:solidFill>
                <a:srgbClr val="958D85"/>
              </a:solidFill>
              <a:effectLst/>
              <a:uLnTx/>
              <a:uFillTx/>
              <a:latin typeface="Arial Narrow"/>
              <a:cs typeface="Arial Narrow"/>
            </a:endParaRPr>
          </a:p>
        </p:txBody>
      </p:sp>
      <p:pic>
        <p:nvPicPr>
          <p:cNvPr id="2051" name="Picture 5"/>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609600" y="6299200"/>
            <a:ext cx="11938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856661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FB534E8-6B0C-8A41-9869-A3F5CDF2CC98}" type="datetimeFigureOut">
              <a:rPr lang="en-US" smtClean="0"/>
              <a:t>28-Jun-2023</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E041C85-46E5-8649-8CB5-559295B1D80A}" type="slidenum">
              <a:rPr lang="en-US" smtClean="0"/>
              <a:t>‹#›</a:t>
            </a:fld>
            <a:endParaRPr lang="en-US" dirty="0"/>
          </a:p>
        </p:txBody>
      </p:sp>
    </p:spTree>
    <p:extLst>
      <p:ext uri="{BB962C8B-B14F-4D97-AF65-F5344CB8AC3E}">
        <p14:creationId xmlns:p14="http://schemas.microsoft.com/office/powerpoint/2010/main" val="76224097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extBox 4"/>
          <p:cNvSpPr txBox="1"/>
          <p:nvPr/>
        </p:nvSpPr>
        <p:spPr>
          <a:xfrm>
            <a:off x="9448800" y="6477003"/>
            <a:ext cx="2133600" cy="77842"/>
          </a:xfrm>
          <a:prstGeom prst="rect">
            <a:avLst/>
          </a:prstGeom>
          <a:noFill/>
        </p:spPr>
        <p:txBody>
          <a:bodyPr lIns="0" tIns="0" rIns="0" bIns="0">
            <a:spAutoFit/>
          </a:bodyPr>
          <a:lstStyle/>
          <a:p>
            <a:pPr marL="0" marR="0" lvl="0" indent="0" algn="r" defTabSz="514350" rtl="0" eaLnBrk="0" fontAlgn="base" latinLnBrk="0" hangingPunct="0">
              <a:lnSpc>
                <a:spcPct val="100000"/>
              </a:lnSpc>
              <a:spcBef>
                <a:spcPct val="0"/>
              </a:spcBef>
              <a:spcAft>
                <a:spcPct val="0"/>
              </a:spcAft>
              <a:buClrTx/>
              <a:buSzTx/>
              <a:buFontTx/>
              <a:buNone/>
              <a:tabLst/>
              <a:defRPr/>
            </a:pPr>
            <a:r>
              <a:rPr kumimoji="0" lang="en-US" sz="506" b="0" i="0" u="none" strike="noStrike" kern="1200" cap="none" spc="0" normalizeH="0" baseline="0" noProof="0" dirty="0">
                <a:ln>
                  <a:noFill/>
                </a:ln>
                <a:solidFill>
                  <a:srgbClr val="BCBDC0"/>
                </a:solidFill>
                <a:effectLst/>
                <a:uLnTx/>
                <a:uFillTx/>
                <a:latin typeface="Arial Narrow"/>
                <a:cs typeface="Arial Narrow"/>
              </a:rPr>
              <a:t>PolioPlus Financial Update |  </a:t>
            </a:r>
            <a:fld id="{7B1E173C-77FA-8848-9DC8-48C2C2ED5311}" type="slidenum">
              <a:rPr kumimoji="0" lang="en-US" sz="506" b="0" i="0" u="none" strike="noStrike" kern="1200" cap="none" spc="169" normalizeH="0" baseline="0" noProof="0">
                <a:ln>
                  <a:noFill/>
                </a:ln>
                <a:solidFill>
                  <a:srgbClr val="BCBDC0"/>
                </a:solidFill>
                <a:effectLst/>
                <a:uLnTx/>
                <a:uFillTx/>
                <a:latin typeface="Arial Narrow"/>
                <a:cs typeface="Arial Narrow"/>
              </a:rPr>
              <a:pPr marL="0" marR="0" lvl="0" indent="0" algn="r" defTabSz="514350" rtl="0" eaLnBrk="0" fontAlgn="base" latinLnBrk="0" hangingPunct="0">
                <a:lnSpc>
                  <a:spcPct val="100000"/>
                </a:lnSpc>
                <a:spcBef>
                  <a:spcPct val="0"/>
                </a:spcBef>
                <a:spcAft>
                  <a:spcPct val="0"/>
                </a:spcAft>
                <a:buClrTx/>
                <a:buSzTx/>
                <a:buFontTx/>
                <a:buNone/>
                <a:tabLst/>
                <a:defRPr/>
              </a:pPr>
              <a:t>‹#›</a:t>
            </a:fld>
            <a:r>
              <a:rPr kumimoji="0" lang="en-US" sz="506" b="0" i="0" u="none" strike="noStrike" kern="1200" cap="none" spc="169" normalizeH="0" baseline="0" noProof="0" dirty="0">
                <a:ln>
                  <a:noFill/>
                </a:ln>
                <a:solidFill>
                  <a:srgbClr val="BCBDC0"/>
                </a:solidFill>
                <a:effectLst/>
                <a:uLnTx/>
                <a:uFillTx/>
                <a:latin typeface="Arial Narrow"/>
                <a:cs typeface="Arial Narrow"/>
              </a:rPr>
              <a:t>  </a:t>
            </a:r>
            <a:endParaRPr kumimoji="0" lang="en-US" sz="506" b="0" i="0" u="none" strike="noStrike" kern="1200" cap="none" spc="0" normalizeH="0" baseline="0" noProof="0" dirty="0">
              <a:ln>
                <a:noFill/>
              </a:ln>
              <a:solidFill>
                <a:srgbClr val="958D85"/>
              </a:solidFill>
              <a:effectLst/>
              <a:uLnTx/>
              <a:uFillTx/>
              <a:latin typeface="Arial Narrow"/>
              <a:cs typeface="Arial Narrow"/>
            </a:endParaRPr>
          </a:p>
        </p:txBody>
      </p:sp>
      <p:pic>
        <p:nvPicPr>
          <p:cNvPr id="2051" name="Picture 5"/>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09600" y="6299200"/>
            <a:ext cx="11938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353936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Lst>
  <p:txStyles>
    <p:titleStyle>
      <a:lvl1pPr algn="ctr" defTabSz="257175" rtl="0" eaLnBrk="0" fontAlgn="base" hangingPunct="0">
        <a:spcBef>
          <a:spcPct val="0"/>
        </a:spcBef>
        <a:spcAft>
          <a:spcPct val="0"/>
        </a:spcAft>
        <a:defRPr sz="2475" kern="1200">
          <a:solidFill>
            <a:schemeClr val="tx1"/>
          </a:solidFill>
          <a:latin typeface="+mj-lt"/>
          <a:ea typeface="ＭＳ Ｐゴシック" charset="0"/>
          <a:cs typeface="ＭＳ Ｐゴシック" charset="0"/>
        </a:defRPr>
      </a:lvl1pPr>
      <a:lvl2pPr algn="ctr" defTabSz="257175" rtl="0" eaLnBrk="0" fontAlgn="base" hangingPunct="0">
        <a:spcBef>
          <a:spcPct val="0"/>
        </a:spcBef>
        <a:spcAft>
          <a:spcPct val="0"/>
        </a:spcAft>
        <a:defRPr sz="2475">
          <a:solidFill>
            <a:schemeClr val="tx1"/>
          </a:solidFill>
          <a:latin typeface="Calibri" charset="0"/>
          <a:ea typeface="ＭＳ Ｐゴシック" charset="0"/>
          <a:cs typeface="ＭＳ Ｐゴシック" charset="0"/>
        </a:defRPr>
      </a:lvl2pPr>
      <a:lvl3pPr algn="ctr" defTabSz="257175" rtl="0" eaLnBrk="0" fontAlgn="base" hangingPunct="0">
        <a:spcBef>
          <a:spcPct val="0"/>
        </a:spcBef>
        <a:spcAft>
          <a:spcPct val="0"/>
        </a:spcAft>
        <a:defRPr sz="2475">
          <a:solidFill>
            <a:schemeClr val="tx1"/>
          </a:solidFill>
          <a:latin typeface="Calibri" charset="0"/>
          <a:ea typeface="ＭＳ Ｐゴシック" charset="0"/>
          <a:cs typeface="ＭＳ Ｐゴシック" charset="0"/>
        </a:defRPr>
      </a:lvl3pPr>
      <a:lvl4pPr algn="ctr" defTabSz="257175" rtl="0" eaLnBrk="0" fontAlgn="base" hangingPunct="0">
        <a:spcBef>
          <a:spcPct val="0"/>
        </a:spcBef>
        <a:spcAft>
          <a:spcPct val="0"/>
        </a:spcAft>
        <a:defRPr sz="2475">
          <a:solidFill>
            <a:schemeClr val="tx1"/>
          </a:solidFill>
          <a:latin typeface="Calibri" charset="0"/>
          <a:ea typeface="ＭＳ Ｐゴシック" charset="0"/>
          <a:cs typeface="ＭＳ Ｐゴシック" charset="0"/>
        </a:defRPr>
      </a:lvl4pPr>
      <a:lvl5pPr algn="ctr" defTabSz="257175" rtl="0" eaLnBrk="0" fontAlgn="base" hangingPunct="0">
        <a:spcBef>
          <a:spcPct val="0"/>
        </a:spcBef>
        <a:spcAft>
          <a:spcPct val="0"/>
        </a:spcAft>
        <a:defRPr sz="2475">
          <a:solidFill>
            <a:schemeClr val="tx1"/>
          </a:solidFill>
          <a:latin typeface="Calibri" charset="0"/>
          <a:ea typeface="ＭＳ Ｐゴシック" charset="0"/>
          <a:cs typeface="ＭＳ Ｐゴシック" charset="0"/>
        </a:defRPr>
      </a:lvl5pPr>
      <a:lvl6pPr marL="257175" algn="ctr" defTabSz="257175" rtl="0" fontAlgn="base">
        <a:spcBef>
          <a:spcPct val="0"/>
        </a:spcBef>
        <a:spcAft>
          <a:spcPct val="0"/>
        </a:spcAft>
        <a:defRPr sz="2475">
          <a:solidFill>
            <a:schemeClr val="tx1"/>
          </a:solidFill>
          <a:latin typeface="Calibri" charset="0"/>
          <a:ea typeface="ＭＳ Ｐゴシック" charset="0"/>
          <a:cs typeface="ＭＳ Ｐゴシック" charset="0"/>
        </a:defRPr>
      </a:lvl6pPr>
      <a:lvl7pPr marL="514350" algn="ctr" defTabSz="257175" rtl="0" fontAlgn="base">
        <a:spcBef>
          <a:spcPct val="0"/>
        </a:spcBef>
        <a:spcAft>
          <a:spcPct val="0"/>
        </a:spcAft>
        <a:defRPr sz="2475">
          <a:solidFill>
            <a:schemeClr val="tx1"/>
          </a:solidFill>
          <a:latin typeface="Calibri" charset="0"/>
          <a:ea typeface="ＭＳ Ｐゴシック" charset="0"/>
          <a:cs typeface="ＭＳ Ｐゴシック" charset="0"/>
        </a:defRPr>
      </a:lvl7pPr>
      <a:lvl8pPr marL="771525" algn="ctr" defTabSz="257175" rtl="0" fontAlgn="base">
        <a:spcBef>
          <a:spcPct val="0"/>
        </a:spcBef>
        <a:spcAft>
          <a:spcPct val="0"/>
        </a:spcAft>
        <a:defRPr sz="2475">
          <a:solidFill>
            <a:schemeClr val="tx1"/>
          </a:solidFill>
          <a:latin typeface="Calibri" charset="0"/>
          <a:ea typeface="ＭＳ Ｐゴシック" charset="0"/>
          <a:cs typeface="ＭＳ Ｐゴシック" charset="0"/>
        </a:defRPr>
      </a:lvl8pPr>
      <a:lvl9pPr marL="1028700" algn="ctr" defTabSz="257175" rtl="0" fontAlgn="base">
        <a:spcBef>
          <a:spcPct val="0"/>
        </a:spcBef>
        <a:spcAft>
          <a:spcPct val="0"/>
        </a:spcAft>
        <a:defRPr sz="2475">
          <a:solidFill>
            <a:schemeClr val="tx1"/>
          </a:solidFill>
          <a:latin typeface="Calibri" charset="0"/>
          <a:ea typeface="ＭＳ Ｐゴシック" charset="0"/>
          <a:cs typeface="ＭＳ Ｐゴシック" charset="0"/>
        </a:defRPr>
      </a:lvl9pPr>
    </p:titleStyle>
    <p:bodyStyle>
      <a:lvl1pPr marL="192881" indent="-192881" algn="l" defTabSz="257175" rtl="0" eaLnBrk="0" fontAlgn="base" hangingPunct="0">
        <a:spcBef>
          <a:spcPct val="20000"/>
        </a:spcBef>
        <a:spcAft>
          <a:spcPct val="0"/>
        </a:spcAft>
        <a:buFont typeface="Arial" charset="0"/>
        <a:buChar char="•"/>
        <a:defRPr sz="1800" kern="1200">
          <a:solidFill>
            <a:schemeClr val="tx1"/>
          </a:solidFill>
          <a:latin typeface="+mn-lt"/>
          <a:ea typeface="ＭＳ Ｐゴシック" charset="0"/>
          <a:cs typeface="ＭＳ Ｐゴシック" charset="0"/>
        </a:defRPr>
      </a:lvl1pPr>
      <a:lvl2pPr marL="417910" indent="-160735" algn="l" defTabSz="257175" rtl="0" eaLnBrk="0" fontAlgn="base" hangingPunct="0">
        <a:spcBef>
          <a:spcPct val="20000"/>
        </a:spcBef>
        <a:spcAft>
          <a:spcPct val="0"/>
        </a:spcAft>
        <a:buFont typeface="Arial" charset="0"/>
        <a:buChar char="–"/>
        <a:defRPr sz="1575" kern="1200">
          <a:solidFill>
            <a:schemeClr val="tx1"/>
          </a:solidFill>
          <a:latin typeface="+mn-lt"/>
          <a:ea typeface="ＭＳ Ｐゴシック" charset="0"/>
          <a:cs typeface="+mn-cs"/>
        </a:defRPr>
      </a:lvl2pPr>
      <a:lvl3pPr marL="642938" indent="-128588" algn="l" defTabSz="257175" rtl="0" eaLnBrk="0" fontAlgn="base" hangingPunct="0">
        <a:spcBef>
          <a:spcPct val="20000"/>
        </a:spcBef>
        <a:spcAft>
          <a:spcPct val="0"/>
        </a:spcAft>
        <a:buFont typeface="Arial" charset="0"/>
        <a:buChar char="•"/>
        <a:defRPr sz="1350" kern="1200">
          <a:solidFill>
            <a:schemeClr val="tx1"/>
          </a:solidFill>
          <a:latin typeface="+mn-lt"/>
          <a:ea typeface="ＭＳ Ｐゴシック" charset="0"/>
          <a:cs typeface="+mn-cs"/>
        </a:defRPr>
      </a:lvl3pPr>
      <a:lvl4pPr marL="900113" indent="-128588" algn="l" defTabSz="257175" rtl="0" eaLnBrk="0" fontAlgn="base" hangingPunct="0">
        <a:spcBef>
          <a:spcPct val="20000"/>
        </a:spcBef>
        <a:spcAft>
          <a:spcPct val="0"/>
        </a:spcAft>
        <a:buFont typeface="Arial" charset="0"/>
        <a:buChar char="–"/>
        <a:defRPr sz="1125" kern="1200">
          <a:solidFill>
            <a:schemeClr val="tx1"/>
          </a:solidFill>
          <a:latin typeface="+mn-lt"/>
          <a:ea typeface="ＭＳ Ｐゴシック" charset="0"/>
          <a:cs typeface="+mn-cs"/>
        </a:defRPr>
      </a:lvl4pPr>
      <a:lvl5pPr marL="1157288" indent="-128588" algn="l" defTabSz="257175" rtl="0" eaLnBrk="0" fontAlgn="base" hangingPunct="0">
        <a:spcBef>
          <a:spcPct val="20000"/>
        </a:spcBef>
        <a:spcAft>
          <a:spcPct val="0"/>
        </a:spcAft>
        <a:buFont typeface="Arial" charset="0"/>
        <a:buChar char="»"/>
        <a:defRPr sz="1125" kern="1200">
          <a:solidFill>
            <a:schemeClr val="tx1"/>
          </a:solidFill>
          <a:latin typeface="+mn-lt"/>
          <a:ea typeface="ＭＳ Ｐゴシック" charset="0"/>
          <a:cs typeface="+mn-cs"/>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9550400" y="6477003"/>
            <a:ext cx="2032000" cy="138499"/>
          </a:xfrm>
          <a:prstGeom prst="rect">
            <a:avLst/>
          </a:prstGeom>
          <a:noFill/>
        </p:spPr>
        <p:txBody>
          <a:bodyPr wrap="square" lIns="0" tIns="0" rIns="0" bIns="0"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BCBDC0"/>
                </a:solidFill>
                <a:effectLst/>
                <a:uLnTx/>
                <a:uFillTx/>
                <a:latin typeface="Arial Narrow"/>
                <a:cs typeface="Arial Narrow"/>
              </a:rPr>
              <a:t>TITLE |  </a:t>
            </a:r>
            <a:fld id="{CF1A8821-C998-834A-B51E-54D54792926D}" type="slidenum">
              <a:rPr kumimoji="0" lang="en-US" sz="900" b="0" i="0" u="none" strike="noStrike" kern="1200" cap="none" spc="300" normalizeH="0" baseline="0" noProof="0" smtClean="0">
                <a:ln>
                  <a:noFill/>
                </a:ln>
                <a:solidFill>
                  <a:srgbClr val="BCBDC0"/>
                </a:solidFill>
                <a:effectLst/>
                <a:uLnTx/>
                <a:uFillTx/>
                <a:latin typeface="Arial Narrow"/>
                <a:ea typeface="ヒラギノ角ゴ Pro W3" charset="0"/>
                <a:cs typeface="Arial Narrow"/>
              </a:rPr>
              <a:pPr marL="0" marR="0" lvl="0" indent="0" algn="r" defTabSz="914400" rtl="0" eaLnBrk="0" fontAlgn="base" latinLnBrk="0" hangingPunct="0">
                <a:lnSpc>
                  <a:spcPct val="100000"/>
                </a:lnSpc>
                <a:spcBef>
                  <a:spcPct val="0"/>
                </a:spcBef>
                <a:spcAft>
                  <a:spcPct val="0"/>
                </a:spcAft>
                <a:buClrTx/>
                <a:buSzTx/>
                <a:buFontTx/>
                <a:buNone/>
                <a:tabLst/>
                <a:defRPr/>
              </a:pPr>
              <a:t>‹#›</a:t>
            </a:fld>
            <a:r>
              <a:rPr kumimoji="0" lang="en-US" sz="900" b="0" i="0" u="none" strike="noStrike" kern="1200" cap="none" spc="300" normalizeH="0" baseline="0" noProof="0" dirty="0">
                <a:ln>
                  <a:noFill/>
                </a:ln>
                <a:solidFill>
                  <a:srgbClr val="BCBDC0"/>
                </a:solidFill>
                <a:effectLst/>
                <a:uLnTx/>
                <a:uFillTx/>
                <a:latin typeface="Arial Narrow"/>
                <a:ea typeface="ヒラギノ角ゴ Pro W3" charset="0"/>
                <a:cs typeface="Arial Narrow"/>
              </a:rPr>
              <a:t>  </a:t>
            </a:r>
            <a:endParaRPr kumimoji="0" lang="en-US" sz="900" b="0" i="0" u="none" strike="noStrike" kern="1200" cap="none" spc="0" normalizeH="0" baseline="0" noProof="0" dirty="0">
              <a:ln>
                <a:noFill/>
              </a:ln>
              <a:solidFill>
                <a:srgbClr val="958D85"/>
              </a:solidFill>
              <a:effectLst/>
              <a:uLnTx/>
              <a:uFillTx/>
              <a:latin typeface="Arial Narrow"/>
              <a:cs typeface="Arial Narrow"/>
            </a:endParaRPr>
          </a:p>
        </p:txBody>
      </p:sp>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03200" y="6158301"/>
            <a:ext cx="2552197" cy="457201"/>
          </a:xfrm>
          <a:prstGeom prst="rect">
            <a:avLst/>
          </a:prstGeom>
        </p:spPr>
      </p:pic>
    </p:spTree>
    <p:extLst>
      <p:ext uri="{BB962C8B-B14F-4D97-AF65-F5344CB8AC3E}">
        <p14:creationId xmlns:p14="http://schemas.microsoft.com/office/powerpoint/2010/main" val="416771945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3A30972-1C67-4E6A-8DF8-FA31811F32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a:extLst>
              <a:ext uri="{FF2B5EF4-FFF2-40B4-BE49-F238E27FC236}">
                <a16:creationId xmlns:a16="http://schemas.microsoft.com/office/drawing/2014/main" id="{94A7C4A0-AF15-4181-A8AA-DD88418E930F}"/>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a:extLst>
              <a:ext uri="{FF2B5EF4-FFF2-40B4-BE49-F238E27FC236}">
                <a16:creationId xmlns:a16="http://schemas.microsoft.com/office/drawing/2014/main" id="{81EBF25C-41FB-46AD-9289-6BF20A26C531}"/>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403BEF16-CB3B-49A0-80E5-C0FA697B6EC5}"/>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4CA0E4A-24D2-4B23-B7EF-DD664DC1CD1C}"/>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7A94E25-127B-4C48-AF96-44BA7B823777}" type="slidenum">
              <a:rPr lang="en-US" smtClean="0"/>
              <a:t>‹#›</a:t>
            </a:fld>
            <a:endParaRPr lang="en-US" dirty="0"/>
          </a:p>
        </p:txBody>
      </p:sp>
      <p:sp>
        <p:nvSpPr>
          <p:cNvPr id="7" name="Rectangle 6" hidden="1">
            <a:extLst>
              <a:ext uri="{FF2B5EF4-FFF2-40B4-BE49-F238E27FC236}">
                <a16:creationId xmlns:a16="http://schemas.microsoft.com/office/drawing/2014/main" id="{3AC13BC4-26FC-48BA-BD55-B5F6F84290EA}"/>
              </a:ext>
            </a:extLst>
          </p:cNvPr>
          <p:cNvSpPr/>
          <p:nvPr userDrawn="1"/>
        </p:nvSpPr>
        <p:spPr>
          <a:xfrm>
            <a:off x="12192000" y="0"/>
            <a:ext cx="5613400" cy="6381234"/>
          </a:xfrm>
          <a:prstGeom prst="rect">
            <a:avLst/>
          </a:prstGeom>
        </p:spPr>
        <p:txBody>
          <a:bodyPr wrap="square">
            <a:spAutoFit/>
          </a:bodyPr>
          <a:lstStyle/>
          <a:p>
            <a:pPr algn="l">
              <a:spcBef>
                <a:spcPts val="450"/>
              </a:spcBef>
              <a:spcAft>
                <a:spcPts val="450"/>
              </a:spcAft>
            </a:pPr>
            <a:r>
              <a:rPr lang="en-US" sz="1800" b="0" i="0" dirty="0">
                <a:solidFill>
                  <a:srgbClr val="222222"/>
                </a:solidFill>
                <a:effectLst/>
                <a:latin typeface="Arial" panose="020B0604020202020204" pitchFamily="34" charset="0"/>
              </a:rPr>
              <a:t>As we discussed, I’m hoping to get this buttoned up as quickly as possible. What are you thinking for turn-around?</a:t>
            </a:r>
          </a:p>
          <a:p>
            <a:pPr algn="l">
              <a:spcBef>
                <a:spcPts val="450"/>
              </a:spcBef>
              <a:spcAft>
                <a:spcPts val="450"/>
              </a:spcAft>
            </a:pPr>
            <a:r>
              <a:rPr lang="en-US" sz="1800" b="0" i="0" dirty="0">
                <a:solidFill>
                  <a:srgbClr val="222222"/>
                </a:solidFill>
                <a:effectLst/>
                <a:latin typeface="Arial" panose="020B0604020202020204" pitchFamily="34" charset="0"/>
              </a:rPr>
              <a:t> </a:t>
            </a:r>
          </a:p>
          <a:p>
            <a:pPr algn="l">
              <a:spcBef>
                <a:spcPts val="450"/>
              </a:spcBef>
              <a:spcAft>
                <a:spcPts val="450"/>
              </a:spcAft>
            </a:pPr>
            <a:r>
              <a:rPr lang="en-US" sz="1800" b="0" i="0" dirty="0">
                <a:solidFill>
                  <a:srgbClr val="000000"/>
                </a:solidFill>
                <a:effectLst/>
                <a:latin typeface="Arial" panose="020B0604020202020204" pitchFamily="34" charset="0"/>
              </a:rPr>
              <a:t>• revise any of the “how-to” text on the first pages</a:t>
            </a:r>
            <a:endParaRPr lang="en-US" sz="1800" b="0" i="0" dirty="0">
              <a:solidFill>
                <a:srgbClr val="222222"/>
              </a:solidFill>
              <a:effectLst/>
              <a:latin typeface="Arial" panose="020B0604020202020204" pitchFamily="34" charset="0"/>
            </a:endParaRPr>
          </a:p>
          <a:p>
            <a:pPr algn="l">
              <a:spcBef>
                <a:spcPts val="450"/>
              </a:spcBef>
              <a:spcAft>
                <a:spcPts val="450"/>
              </a:spcAft>
            </a:pPr>
            <a:r>
              <a:rPr lang="en-US" sz="1800" b="0" i="0" dirty="0">
                <a:solidFill>
                  <a:srgbClr val="000000"/>
                </a:solidFill>
                <a:effectLst/>
                <a:latin typeface="Arial" panose="020B0604020202020204" pitchFamily="34" charset="0"/>
              </a:rPr>
              <a:t>• make sure the template is properly set up for both Macs and PCs – Should there be 2 versions of the PPT, one for Mac, one for PC?</a:t>
            </a:r>
            <a:endParaRPr lang="en-US" sz="1800" b="0" i="0" dirty="0">
              <a:solidFill>
                <a:srgbClr val="222222"/>
              </a:solidFill>
              <a:effectLst/>
              <a:latin typeface="Arial" panose="020B0604020202020204" pitchFamily="34" charset="0"/>
            </a:endParaRPr>
          </a:p>
          <a:p>
            <a:pPr algn="l">
              <a:spcBef>
                <a:spcPts val="450"/>
              </a:spcBef>
              <a:spcAft>
                <a:spcPts val="450"/>
              </a:spcAft>
            </a:pPr>
            <a:r>
              <a:rPr lang="en-US" sz="1800" b="0" i="0" dirty="0">
                <a:solidFill>
                  <a:srgbClr val="000000"/>
                </a:solidFill>
                <a:effectLst/>
                <a:latin typeface="Arial" panose="020B0604020202020204" pitchFamily="34" charset="0"/>
              </a:rPr>
              <a:t>• create text placeholders within each slide</a:t>
            </a:r>
            <a:endParaRPr lang="en-US" sz="1800" b="0" i="0" dirty="0">
              <a:solidFill>
                <a:srgbClr val="222222"/>
              </a:solidFill>
              <a:effectLst/>
              <a:latin typeface="Arial" panose="020B0604020202020204" pitchFamily="34" charset="0"/>
            </a:endParaRPr>
          </a:p>
          <a:p>
            <a:pPr algn="l">
              <a:spcBef>
                <a:spcPts val="450"/>
              </a:spcBef>
              <a:spcAft>
                <a:spcPts val="450"/>
              </a:spcAft>
            </a:pPr>
            <a:r>
              <a:rPr lang="en-US" sz="1800" b="0" i="0" dirty="0">
                <a:solidFill>
                  <a:srgbClr val="000000"/>
                </a:solidFill>
                <a:effectLst/>
                <a:latin typeface="Arial" panose="020B0604020202020204" pitchFamily="34" charset="0"/>
              </a:rPr>
              <a:t>• how to create certain visual effects such as the transparent photo overlays (the process is different from Mac to PC)</a:t>
            </a:r>
            <a:endParaRPr lang="en-US" sz="1800" b="0" i="0" dirty="0">
              <a:solidFill>
                <a:srgbClr val="222222"/>
              </a:solidFill>
              <a:effectLst/>
              <a:latin typeface="Arial" panose="020B0604020202020204" pitchFamily="34" charset="0"/>
            </a:endParaRPr>
          </a:p>
          <a:p>
            <a:pPr algn="l">
              <a:spcBef>
                <a:spcPts val="450"/>
              </a:spcBef>
              <a:spcAft>
                <a:spcPts val="450"/>
              </a:spcAft>
            </a:pPr>
            <a:r>
              <a:rPr lang="en-US" sz="1800" b="0" i="0" dirty="0">
                <a:solidFill>
                  <a:srgbClr val="000000"/>
                </a:solidFill>
                <a:effectLst/>
                <a:latin typeface="Arial" panose="020B0604020202020204" pitchFamily="34" charset="0"/>
              </a:rPr>
              <a:t>• creating new generic infographics (such as bar charts and tables) so that we make it easy for users to create their own in a proper style</a:t>
            </a:r>
            <a:endParaRPr lang="en-US" sz="1800" b="0" i="0" dirty="0">
              <a:solidFill>
                <a:srgbClr val="222222"/>
              </a:solidFill>
              <a:effectLst/>
              <a:latin typeface="Arial" panose="020B0604020202020204" pitchFamily="34" charset="0"/>
            </a:endParaRPr>
          </a:p>
          <a:p>
            <a:pPr algn="l">
              <a:spcBef>
                <a:spcPts val="450"/>
              </a:spcBef>
              <a:spcAft>
                <a:spcPts val="450"/>
              </a:spcAft>
            </a:pPr>
            <a:r>
              <a:rPr lang="en-US" sz="1800" b="0" i="0" dirty="0">
                <a:solidFill>
                  <a:srgbClr val="000000"/>
                </a:solidFill>
                <a:effectLst/>
                <a:latin typeface="Arial" panose="020B0604020202020204" pitchFamily="34" charset="0"/>
              </a:rPr>
              <a:t>• need your advice on fonts – I’m thinking we should only use the “free option” fonts? (see attached)</a:t>
            </a:r>
            <a:endParaRPr lang="en-US" sz="1800" b="0" i="0" dirty="0">
              <a:solidFill>
                <a:srgbClr val="222222"/>
              </a:solidFill>
              <a:effectLst/>
              <a:latin typeface="Arial" panose="020B0604020202020204" pitchFamily="34" charset="0"/>
            </a:endParaRPr>
          </a:p>
          <a:p>
            <a:pPr algn="l">
              <a:spcBef>
                <a:spcPts val="450"/>
              </a:spcBef>
              <a:spcAft>
                <a:spcPts val="450"/>
              </a:spcAft>
            </a:pPr>
            <a:r>
              <a:rPr lang="en-US" sz="1800" b="0" i="0" dirty="0">
                <a:solidFill>
                  <a:srgbClr val="222222"/>
                </a:solidFill>
                <a:effectLst/>
                <a:latin typeface="Arial" panose="020B0604020202020204" pitchFamily="34" charset="0"/>
              </a:rPr>
              <a:t>• make sure all colors are the proper CMYK breakdown colors for Rotary (on the way)</a:t>
            </a:r>
          </a:p>
        </p:txBody>
      </p:sp>
      <p:grpSp>
        <p:nvGrpSpPr>
          <p:cNvPr id="8" name="Group 7" hidden="1">
            <a:extLst>
              <a:ext uri="{FF2B5EF4-FFF2-40B4-BE49-F238E27FC236}">
                <a16:creationId xmlns:a16="http://schemas.microsoft.com/office/drawing/2014/main" id="{804F3FBD-3E3A-4798-A75B-C9FEFA1BF809}"/>
              </a:ext>
            </a:extLst>
          </p:cNvPr>
          <p:cNvGrpSpPr/>
          <p:nvPr userDrawn="1"/>
        </p:nvGrpSpPr>
        <p:grpSpPr>
          <a:xfrm>
            <a:off x="0" y="6985001"/>
            <a:ext cx="10083800" cy="304209"/>
            <a:chOff x="0" y="-1013285"/>
            <a:chExt cx="12192000" cy="885694"/>
          </a:xfrm>
        </p:grpSpPr>
        <p:sp>
          <p:nvSpPr>
            <p:cNvPr id="9" name="Rectangle 8">
              <a:extLst>
                <a:ext uri="{FF2B5EF4-FFF2-40B4-BE49-F238E27FC236}">
                  <a16:creationId xmlns:a16="http://schemas.microsoft.com/office/drawing/2014/main" id="{F2F52BFC-C5AE-430C-A1DE-3AA417850141}"/>
                </a:ext>
              </a:extLst>
            </p:cNvPr>
            <p:cNvSpPr/>
            <p:nvPr userDrawn="1"/>
          </p:nvSpPr>
          <p:spPr>
            <a:xfrm>
              <a:off x="0" y="-1013285"/>
              <a:ext cx="1724431" cy="885694"/>
            </a:xfrm>
            <a:prstGeom prst="rect">
              <a:avLst/>
            </a:prstGeom>
            <a:solidFill>
              <a:srgbClr val="4859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72,89,93</a:t>
              </a:r>
            </a:p>
          </p:txBody>
        </p:sp>
        <p:sp>
          <p:nvSpPr>
            <p:cNvPr id="10" name="Rectangle 9">
              <a:extLst>
                <a:ext uri="{FF2B5EF4-FFF2-40B4-BE49-F238E27FC236}">
                  <a16:creationId xmlns:a16="http://schemas.microsoft.com/office/drawing/2014/main" id="{E172C24F-CD6F-466D-9F22-DEAB6D3D48CA}"/>
                </a:ext>
              </a:extLst>
            </p:cNvPr>
            <p:cNvSpPr/>
            <p:nvPr userDrawn="1"/>
          </p:nvSpPr>
          <p:spPr>
            <a:xfrm>
              <a:off x="2093514" y="-1013285"/>
              <a:ext cx="1724431" cy="885694"/>
            </a:xfrm>
            <a:prstGeom prst="rect">
              <a:avLst/>
            </a:prstGeom>
            <a:solidFill>
              <a:srgbClr val="00B2B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0,178,177</a:t>
              </a:r>
            </a:p>
          </p:txBody>
        </p:sp>
        <p:sp>
          <p:nvSpPr>
            <p:cNvPr id="11" name="Rectangle 10">
              <a:extLst>
                <a:ext uri="{FF2B5EF4-FFF2-40B4-BE49-F238E27FC236}">
                  <a16:creationId xmlns:a16="http://schemas.microsoft.com/office/drawing/2014/main" id="{769599F9-3B73-4368-98A9-9DF824ECE483}"/>
                </a:ext>
              </a:extLst>
            </p:cNvPr>
            <p:cNvSpPr/>
            <p:nvPr userDrawn="1"/>
          </p:nvSpPr>
          <p:spPr>
            <a:xfrm>
              <a:off x="4187028" y="-1013285"/>
              <a:ext cx="1724431" cy="885694"/>
            </a:xfrm>
            <a:prstGeom prst="rect">
              <a:avLst/>
            </a:prstGeom>
            <a:solidFill>
              <a:srgbClr val="01B0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1,176,227</a:t>
              </a:r>
            </a:p>
          </p:txBody>
        </p:sp>
        <p:sp>
          <p:nvSpPr>
            <p:cNvPr id="12" name="Rectangle 11">
              <a:extLst>
                <a:ext uri="{FF2B5EF4-FFF2-40B4-BE49-F238E27FC236}">
                  <a16:creationId xmlns:a16="http://schemas.microsoft.com/office/drawing/2014/main" id="{A64D2A59-F06E-4454-835D-B1B119399FF0}"/>
                </a:ext>
              </a:extLst>
            </p:cNvPr>
            <p:cNvSpPr/>
            <p:nvPr userDrawn="1"/>
          </p:nvSpPr>
          <p:spPr>
            <a:xfrm>
              <a:off x="6280542" y="-1013285"/>
              <a:ext cx="1724431" cy="885694"/>
            </a:xfrm>
            <a:prstGeom prst="rect">
              <a:avLst/>
            </a:prstGeom>
            <a:solidFill>
              <a:srgbClr val="006F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0,111,211</a:t>
              </a:r>
            </a:p>
          </p:txBody>
        </p:sp>
        <p:sp>
          <p:nvSpPr>
            <p:cNvPr id="13" name="Rectangle 12">
              <a:extLst>
                <a:ext uri="{FF2B5EF4-FFF2-40B4-BE49-F238E27FC236}">
                  <a16:creationId xmlns:a16="http://schemas.microsoft.com/office/drawing/2014/main" id="{C1B62E1E-3C53-4822-A67E-EEBA9A88892C}"/>
                </a:ext>
              </a:extLst>
            </p:cNvPr>
            <p:cNvSpPr/>
            <p:nvPr userDrawn="1"/>
          </p:nvSpPr>
          <p:spPr>
            <a:xfrm>
              <a:off x="8374056" y="-1013285"/>
              <a:ext cx="1724431" cy="885694"/>
            </a:xfrm>
            <a:prstGeom prst="rect">
              <a:avLst/>
            </a:prstGeom>
            <a:solidFill>
              <a:srgbClr val="7D17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125,23,158</a:t>
              </a:r>
            </a:p>
          </p:txBody>
        </p:sp>
        <p:sp>
          <p:nvSpPr>
            <p:cNvPr id="14" name="Rectangle 13">
              <a:extLst>
                <a:ext uri="{FF2B5EF4-FFF2-40B4-BE49-F238E27FC236}">
                  <a16:creationId xmlns:a16="http://schemas.microsoft.com/office/drawing/2014/main" id="{DD450576-31D2-4B6E-8BCF-0CBCAD997009}"/>
                </a:ext>
              </a:extLst>
            </p:cNvPr>
            <p:cNvSpPr/>
            <p:nvPr userDrawn="1"/>
          </p:nvSpPr>
          <p:spPr>
            <a:xfrm>
              <a:off x="10467569" y="-1013285"/>
              <a:ext cx="1724431" cy="885694"/>
            </a:xfrm>
            <a:prstGeom prst="rect">
              <a:avLst/>
            </a:prstGeom>
            <a:solidFill>
              <a:srgbClr val="EB067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235,6,117</a:t>
              </a:r>
            </a:p>
          </p:txBody>
        </p:sp>
      </p:grpSp>
      <p:sp>
        <p:nvSpPr>
          <p:cNvPr id="15" name="Rotary Logo simple" hidden="1">
            <a:extLst>
              <a:ext uri="{FF2B5EF4-FFF2-40B4-BE49-F238E27FC236}">
                <a16:creationId xmlns:a16="http://schemas.microsoft.com/office/drawing/2014/main" id="{CBE37952-D34A-45B0-8DCF-EBD057553886}"/>
              </a:ext>
            </a:extLst>
          </p:cNvPr>
          <p:cNvSpPr>
            <a:spLocks/>
          </p:cNvSpPr>
          <p:nvPr userDrawn="1"/>
        </p:nvSpPr>
        <p:spPr bwMode="auto">
          <a:xfrm>
            <a:off x="12939394" y="6041017"/>
            <a:ext cx="1751015" cy="664585"/>
          </a:xfrm>
          <a:custGeom>
            <a:avLst/>
            <a:gdLst>
              <a:gd name="connsiteX0" fmla="*/ 1869753 w 2378076"/>
              <a:gd name="connsiteY0" fmla="*/ 541874 h 902582"/>
              <a:gd name="connsiteX1" fmla="*/ 1745039 w 2378076"/>
              <a:gd name="connsiteY1" fmla="*/ 604157 h 902582"/>
              <a:gd name="connsiteX2" fmla="*/ 1736725 w 2378076"/>
              <a:gd name="connsiteY2" fmla="*/ 609819 h 902582"/>
              <a:gd name="connsiteX3" fmla="*/ 1736725 w 2378076"/>
              <a:gd name="connsiteY3" fmla="*/ 612651 h 902582"/>
              <a:gd name="connsiteX4" fmla="*/ 1742268 w 2378076"/>
              <a:gd name="connsiteY4" fmla="*/ 621144 h 902582"/>
              <a:gd name="connsiteX5" fmla="*/ 1886381 w 2378076"/>
              <a:gd name="connsiteY5" fmla="*/ 706075 h 902582"/>
              <a:gd name="connsiteX6" fmla="*/ 1894695 w 2378076"/>
              <a:gd name="connsiteY6" fmla="*/ 706075 h 902582"/>
              <a:gd name="connsiteX7" fmla="*/ 1897467 w 2378076"/>
              <a:gd name="connsiteY7" fmla="*/ 691920 h 902582"/>
              <a:gd name="connsiteX8" fmla="*/ 1889152 w 2378076"/>
              <a:gd name="connsiteY8" fmla="*/ 553198 h 902582"/>
              <a:gd name="connsiteX9" fmla="*/ 1883610 w 2378076"/>
              <a:gd name="connsiteY9" fmla="*/ 541874 h 902582"/>
              <a:gd name="connsiteX10" fmla="*/ 1869753 w 2378076"/>
              <a:gd name="connsiteY10" fmla="*/ 541874 h 902582"/>
              <a:gd name="connsiteX11" fmla="*/ 1982115 w 2378076"/>
              <a:gd name="connsiteY11" fmla="*/ 539043 h 902582"/>
              <a:gd name="connsiteX12" fmla="*/ 1976518 w 2378076"/>
              <a:gd name="connsiteY12" fmla="*/ 550344 h 902582"/>
              <a:gd name="connsiteX13" fmla="*/ 1965325 w 2378076"/>
              <a:gd name="connsiteY13" fmla="*/ 691605 h 902582"/>
              <a:gd name="connsiteX14" fmla="*/ 1968123 w 2378076"/>
              <a:gd name="connsiteY14" fmla="*/ 702906 h 902582"/>
              <a:gd name="connsiteX15" fmla="*/ 1979317 w 2378076"/>
              <a:gd name="connsiteY15" fmla="*/ 702906 h 902582"/>
              <a:gd name="connsiteX16" fmla="*/ 2124828 w 2378076"/>
              <a:gd name="connsiteY16" fmla="*/ 618149 h 902582"/>
              <a:gd name="connsiteX17" fmla="*/ 2130425 w 2378076"/>
              <a:gd name="connsiteY17" fmla="*/ 609674 h 902582"/>
              <a:gd name="connsiteX18" fmla="*/ 2119232 w 2378076"/>
              <a:gd name="connsiteY18" fmla="*/ 601198 h 902582"/>
              <a:gd name="connsiteX19" fmla="*/ 1996106 w 2378076"/>
              <a:gd name="connsiteY19" fmla="*/ 539043 h 902582"/>
              <a:gd name="connsiteX20" fmla="*/ 1982115 w 2378076"/>
              <a:gd name="connsiteY20" fmla="*/ 539043 h 902582"/>
              <a:gd name="connsiteX21" fmla="*/ 871538 w 2378076"/>
              <a:gd name="connsiteY21" fmla="*/ 485068 h 902582"/>
              <a:gd name="connsiteX22" fmla="*/ 814983 w 2378076"/>
              <a:gd name="connsiteY22" fmla="*/ 487862 h 902582"/>
              <a:gd name="connsiteX23" fmla="*/ 781050 w 2378076"/>
              <a:gd name="connsiteY23" fmla="*/ 521390 h 902582"/>
              <a:gd name="connsiteX24" fmla="*/ 806500 w 2378076"/>
              <a:gd name="connsiteY24" fmla="*/ 554918 h 902582"/>
              <a:gd name="connsiteX25" fmla="*/ 871538 w 2378076"/>
              <a:gd name="connsiteY25" fmla="*/ 543742 h 902582"/>
              <a:gd name="connsiteX26" fmla="*/ 871538 w 2378076"/>
              <a:gd name="connsiteY26" fmla="*/ 485068 h 902582"/>
              <a:gd name="connsiteX27" fmla="*/ 396876 w 2378076"/>
              <a:gd name="connsiteY27" fmla="*/ 389818 h 902582"/>
              <a:gd name="connsiteX28" fmla="*/ 341313 w 2378076"/>
              <a:gd name="connsiteY28" fmla="*/ 471575 h 902582"/>
              <a:gd name="connsiteX29" fmla="*/ 396876 w 2378076"/>
              <a:gd name="connsiteY29" fmla="*/ 553331 h 902582"/>
              <a:gd name="connsiteX30" fmla="*/ 452438 w 2378076"/>
              <a:gd name="connsiteY30" fmla="*/ 471575 h 902582"/>
              <a:gd name="connsiteX31" fmla="*/ 396876 w 2378076"/>
              <a:gd name="connsiteY31" fmla="*/ 389818 h 902582"/>
              <a:gd name="connsiteX32" fmla="*/ 1964442 w 2378076"/>
              <a:gd name="connsiteY32" fmla="*/ 378529 h 902582"/>
              <a:gd name="connsiteX33" fmla="*/ 1954322 w 2378076"/>
              <a:gd name="connsiteY33" fmla="*/ 385585 h 902582"/>
              <a:gd name="connsiteX34" fmla="*/ 1957114 w 2378076"/>
              <a:gd name="connsiteY34" fmla="*/ 408163 h 902582"/>
              <a:gd name="connsiteX35" fmla="*/ 1979448 w 2378076"/>
              <a:gd name="connsiteY35" fmla="*/ 450496 h 902582"/>
              <a:gd name="connsiteX36" fmla="*/ 1931987 w 2378076"/>
              <a:gd name="connsiteY36" fmla="*/ 498474 h 902582"/>
              <a:gd name="connsiteX37" fmla="*/ 1884527 w 2378076"/>
              <a:gd name="connsiteY37" fmla="*/ 450496 h 902582"/>
              <a:gd name="connsiteX38" fmla="*/ 1906861 w 2378076"/>
              <a:gd name="connsiteY38" fmla="*/ 408163 h 902582"/>
              <a:gd name="connsiteX39" fmla="*/ 1909653 w 2378076"/>
              <a:gd name="connsiteY39" fmla="*/ 385585 h 902582"/>
              <a:gd name="connsiteX40" fmla="*/ 1887319 w 2378076"/>
              <a:gd name="connsiteY40" fmla="*/ 382763 h 902582"/>
              <a:gd name="connsiteX41" fmla="*/ 1851025 w 2378076"/>
              <a:gd name="connsiteY41" fmla="*/ 450496 h 902582"/>
              <a:gd name="connsiteX42" fmla="*/ 1931987 w 2378076"/>
              <a:gd name="connsiteY42" fmla="*/ 529518 h 902582"/>
              <a:gd name="connsiteX43" fmla="*/ 2012950 w 2378076"/>
              <a:gd name="connsiteY43" fmla="*/ 450496 h 902582"/>
              <a:gd name="connsiteX44" fmla="*/ 1976656 w 2378076"/>
              <a:gd name="connsiteY44" fmla="*/ 379940 h 902582"/>
              <a:gd name="connsiteX45" fmla="*/ 1964442 w 2378076"/>
              <a:gd name="connsiteY45" fmla="*/ 378529 h 902582"/>
              <a:gd name="connsiteX46" fmla="*/ 2166711 w 2378076"/>
              <a:gd name="connsiteY46" fmla="*/ 358068 h 902582"/>
              <a:gd name="connsiteX47" fmla="*/ 2155485 w 2378076"/>
              <a:gd name="connsiteY47" fmla="*/ 360888 h 902582"/>
              <a:gd name="connsiteX48" fmla="*/ 2040419 w 2378076"/>
              <a:gd name="connsiteY48" fmla="*/ 439837 h 902582"/>
              <a:gd name="connsiteX49" fmla="*/ 2032000 w 2378076"/>
              <a:gd name="connsiteY49" fmla="*/ 451115 h 902582"/>
              <a:gd name="connsiteX50" fmla="*/ 2040419 w 2378076"/>
              <a:gd name="connsiteY50" fmla="*/ 462393 h 902582"/>
              <a:gd name="connsiteX51" fmla="*/ 2155485 w 2378076"/>
              <a:gd name="connsiteY51" fmla="*/ 541342 h 902582"/>
              <a:gd name="connsiteX52" fmla="*/ 2166711 w 2378076"/>
              <a:gd name="connsiteY52" fmla="*/ 544162 h 902582"/>
              <a:gd name="connsiteX53" fmla="*/ 2172324 w 2378076"/>
              <a:gd name="connsiteY53" fmla="*/ 535703 h 902582"/>
              <a:gd name="connsiteX54" fmla="*/ 2172324 w 2378076"/>
              <a:gd name="connsiteY54" fmla="*/ 366527 h 902582"/>
              <a:gd name="connsiteX55" fmla="*/ 2166711 w 2378076"/>
              <a:gd name="connsiteY55" fmla="*/ 358068 h 902582"/>
              <a:gd name="connsiteX56" fmla="*/ 1697038 w 2378076"/>
              <a:gd name="connsiteY56" fmla="*/ 358068 h 902582"/>
              <a:gd name="connsiteX57" fmla="*/ 1691482 w 2378076"/>
              <a:gd name="connsiteY57" fmla="*/ 366527 h 902582"/>
              <a:gd name="connsiteX58" fmla="*/ 1691482 w 2378076"/>
              <a:gd name="connsiteY58" fmla="*/ 535703 h 902582"/>
              <a:gd name="connsiteX59" fmla="*/ 1697038 w 2378076"/>
              <a:gd name="connsiteY59" fmla="*/ 544162 h 902582"/>
              <a:gd name="connsiteX60" fmla="*/ 1708151 w 2378076"/>
              <a:gd name="connsiteY60" fmla="*/ 541342 h 902582"/>
              <a:gd name="connsiteX61" fmla="*/ 1822054 w 2378076"/>
              <a:gd name="connsiteY61" fmla="*/ 462393 h 902582"/>
              <a:gd name="connsiteX62" fmla="*/ 1830388 w 2378076"/>
              <a:gd name="connsiteY62" fmla="*/ 451115 h 902582"/>
              <a:gd name="connsiteX63" fmla="*/ 1822054 w 2378076"/>
              <a:gd name="connsiteY63" fmla="*/ 439837 h 902582"/>
              <a:gd name="connsiteX64" fmla="*/ 1708151 w 2378076"/>
              <a:gd name="connsiteY64" fmla="*/ 363707 h 902582"/>
              <a:gd name="connsiteX65" fmla="*/ 1697038 w 2378076"/>
              <a:gd name="connsiteY65" fmla="*/ 358068 h 902582"/>
              <a:gd name="connsiteX66" fmla="*/ 1170028 w 2378076"/>
              <a:gd name="connsiteY66" fmla="*/ 343781 h 902582"/>
              <a:gd name="connsiteX67" fmla="*/ 1206276 w 2378076"/>
              <a:gd name="connsiteY67" fmla="*/ 343781 h 902582"/>
              <a:gd name="connsiteX68" fmla="*/ 1214641 w 2378076"/>
              <a:gd name="connsiteY68" fmla="*/ 349423 h 902582"/>
              <a:gd name="connsiteX69" fmla="*/ 1267619 w 2378076"/>
              <a:gd name="connsiteY69" fmla="*/ 541235 h 902582"/>
              <a:gd name="connsiteX70" fmla="*/ 1270407 w 2378076"/>
              <a:gd name="connsiteY70" fmla="*/ 541235 h 902582"/>
              <a:gd name="connsiteX71" fmla="*/ 1320597 w 2378076"/>
              <a:gd name="connsiteY71" fmla="*/ 349423 h 902582"/>
              <a:gd name="connsiteX72" fmla="*/ 1328962 w 2378076"/>
              <a:gd name="connsiteY72" fmla="*/ 343781 h 902582"/>
              <a:gd name="connsiteX73" fmla="*/ 1367998 w 2378076"/>
              <a:gd name="connsiteY73" fmla="*/ 343781 h 902582"/>
              <a:gd name="connsiteX74" fmla="*/ 1373575 w 2378076"/>
              <a:gd name="connsiteY74" fmla="*/ 346602 h 902582"/>
              <a:gd name="connsiteX75" fmla="*/ 1376363 w 2378076"/>
              <a:gd name="connsiteY75" fmla="*/ 355064 h 902582"/>
              <a:gd name="connsiteX76" fmla="*/ 1370786 w 2378076"/>
              <a:gd name="connsiteY76" fmla="*/ 383272 h 902582"/>
              <a:gd name="connsiteX77" fmla="*/ 1354057 w 2378076"/>
              <a:gd name="connsiteY77" fmla="*/ 439687 h 902582"/>
              <a:gd name="connsiteX78" fmla="*/ 1309444 w 2378076"/>
              <a:gd name="connsiteY78" fmla="*/ 614575 h 902582"/>
              <a:gd name="connsiteX79" fmla="*/ 1236948 w 2378076"/>
              <a:gd name="connsiteY79" fmla="*/ 685094 h 902582"/>
              <a:gd name="connsiteX80" fmla="*/ 1234159 w 2378076"/>
              <a:gd name="connsiteY80" fmla="*/ 685094 h 902582"/>
              <a:gd name="connsiteX81" fmla="*/ 1170028 w 2378076"/>
              <a:gd name="connsiteY81" fmla="*/ 676632 h 902582"/>
              <a:gd name="connsiteX82" fmla="*/ 1161663 w 2378076"/>
              <a:gd name="connsiteY82" fmla="*/ 668170 h 902582"/>
              <a:gd name="connsiteX83" fmla="*/ 1161663 w 2378076"/>
              <a:gd name="connsiteY83" fmla="*/ 642783 h 902582"/>
              <a:gd name="connsiteX84" fmla="*/ 1164452 w 2378076"/>
              <a:gd name="connsiteY84" fmla="*/ 637141 h 902582"/>
              <a:gd name="connsiteX85" fmla="*/ 1172817 w 2378076"/>
              <a:gd name="connsiteY85" fmla="*/ 634320 h 902582"/>
              <a:gd name="connsiteX86" fmla="*/ 1220218 w 2378076"/>
              <a:gd name="connsiteY86" fmla="*/ 637141 h 902582"/>
              <a:gd name="connsiteX87" fmla="*/ 1253677 w 2378076"/>
              <a:gd name="connsiteY87" fmla="*/ 611754 h 902582"/>
              <a:gd name="connsiteX88" fmla="*/ 1253677 w 2378076"/>
              <a:gd name="connsiteY88" fmla="*/ 608933 h 902582"/>
              <a:gd name="connsiteX89" fmla="*/ 1259254 w 2378076"/>
              <a:gd name="connsiteY89" fmla="*/ 597650 h 902582"/>
              <a:gd name="connsiteX90" fmla="*/ 1248101 w 2378076"/>
              <a:gd name="connsiteY90" fmla="*/ 597650 h 902582"/>
              <a:gd name="connsiteX91" fmla="*/ 1214641 w 2378076"/>
              <a:gd name="connsiteY91" fmla="*/ 569443 h 902582"/>
              <a:gd name="connsiteX92" fmla="*/ 1158875 w 2378076"/>
              <a:gd name="connsiteY92" fmla="*/ 355064 h 902582"/>
              <a:gd name="connsiteX93" fmla="*/ 1161663 w 2378076"/>
              <a:gd name="connsiteY93" fmla="*/ 346602 h 902582"/>
              <a:gd name="connsiteX94" fmla="*/ 1170028 w 2378076"/>
              <a:gd name="connsiteY94" fmla="*/ 343781 h 902582"/>
              <a:gd name="connsiteX95" fmla="*/ 1116013 w 2378076"/>
              <a:gd name="connsiteY95" fmla="*/ 340606 h 902582"/>
              <a:gd name="connsiteX96" fmla="*/ 1124347 w 2378076"/>
              <a:gd name="connsiteY96" fmla="*/ 343432 h 902582"/>
              <a:gd name="connsiteX97" fmla="*/ 1127125 w 2378076"/>
              <a:gd name="connsiteY97" fmla="*/ 349085 h 902582"/>
              <a:gd name="connsiteX98" fmla="*/ 1127125 w 2378076"/>
              <a:gd name="connsiteY98" fmla="*/ 385824 h 902582"/>
              <a:gd name="connsiteX99" fmla="*/ 1118791 w 2378076"/>
              <a:gd name="connsiteY99" fmla="*/ 394302 h 902582"/>
              <a:gd name="connsiteX100" fmla="*/ 1049337 w 2378076"/>
              <a:gd name="connsiteY100" fmla="*/ 425389 h 902582"/>
              <a:gd name="connsiteX101" fmla="*/ 1049337 w 2378076"/>
              <a:gd name="connsiteY101" fmla="*/ 589303 h 902582"/>
              <a:gd name="connsiteX102" fmla="*/ 1041003 w 2378076"/>
              <a:gd name="connsiteY102" fmla="*/ 597781 h 902582"/>
              <a:gd name="connsiteX103" fmla="*/ 1002109 w 2378076"/>
              <a:gd name="connsiteY103" fmla="*/ 597781 h 902582"/>
              <a:gd name="connsiteX104" fmla="*/ 993775 w 2378076"/>
              <a:gd name="connsiteY104" fmla="*/ 589303 h 902582"/>
              <a:gd name="connsiteX105" fmla="*/ 993775 w 2378076"/>
              <a:gd name="connsiteY105" fmla="*/ 351911 h 902582"/>
              <a:gd name="connsiteX106" fmla="*/ 1002109 w 2378076"/>
              <a:gd name="connsiteY106" fmla="*/ 343432 h 902582"/>
              <a:gd name="connsiteX107" fmla="*/ 1041003 w 2378076"/>
              <a:gd name="connsiteY107" fmla="*/ 343432 h 902582"/>
              <a:gd name="connsiteX108" fmla="*/ 1049337 w 2378076"/>
              <a:gd name="connsiteY108" fmla="*/ 351911 h 902582"/>
              <a:gd name="connsiteX109" fmla="*/ 1049337 w 2378076"/>
              <a:gd name="connsiteY109" fmla="*/ 368867 h 902582"/>
              <a:gd name="connsiteX110" fmla="*/ 1116013 w 2378076"/>
              <a:gd name="connsiteY110" fmla="*/ 340606 h 902582"/>
              <a:gd name="connsiteX111" fmla="*/ 843157 w 2378076"/>
              <a:gd name="connsiteY111" fmla="*/ 335843 h 902582"/>
              <a:gd name="connsiteX112" fmla="*/ 930276 w 2378076"/>
              <a:gd name="connsiteY112" fmla="*/ 423390 h 902582"/>
              <a:gd name="connsiteX113" fmla="*/ 930276 w 2378076"/>
              <a:gd name="connsiteY113" fmla="*/ 592835 h 902582"/>
              <a:gd name="connsiteX114" fmla="*/ 927466 w 2378076"/>
              <a:gd name="connsiteY114" fmla="*/ 601307 h 902582"/>
              <a:gd name="connsiteX115" fmla="*/ 919035 w 2378076"/>
              <a:gd name="connsiteY115" fmla="*/ 604131 h 902582"/>
              <a:gd name="connsiteX116" fmla="*/ 879691 w 2378076"/>
              <a:gd name="connsiteY116" fmla="*/ 587187 h 902582"/>
              <a:gd name="connsiteX117" fmla="*/ 798192 w 2378076"/>
              <a:gd name="connsiteY117" fmla="*/ 604131 h 902582"/>
              <a:gd name="connsiteX118" fmla="*/ 722313 w 2378076"/>
              <a:gd name="connsiteY118" fmla="*/ 522233 h 902582"/>
              <a:gd name="connsiteX119" fmla="*/ 809433 w 2378076"/>
              <a:gd name="connsiteY119" fmla="*/ 445983 h 902582"/>
              <a:gd name="connsiteX120" fmla="*/ 871260 w 2378076"/>
              <a:gd name="connsiteY120" fmla="*/ 440334 h 902582"/>
              <a:gd name="connsiteX121" fmla="*/ 871260 w 2378076"/>
              <a:gd name="connsiteY121" fmla="*/ 423390 h 902582"/>
              <a:gd name="connsiteX122" fmla="*/ 840346 w 2378076"/>
              <a:gd name="connsiteY122" fmla="*/ 392325 h 902582"/>
              <a:gd name="connsiteX123" fmla="*/ 750416 w 2378076"/>
              <a:gd name="connsiteY123" fmla="*/ 397973 h 902582"/>
              <a:gd name="connsiteX124" fmla="*/ 744796 w 2378076"/>
              <a:gd name="connsiteY124" fmla="*/ 395149 h 902582"/>
              <a:gd name="connsiteX125" fmla="*/ 741985 w 2378076"/>
              <a:gd name="connsiteY125" fmla="*/ 389501 h 902582"/>
              <a:gd name="connsiteX126" fmla="*/ 739175 w 2378076"/>
              <a:gd name="connsiteY126" fmla="*/ 355612 h 902582"/>
              <a:gd name="connsiteX127" fmla="*/ 747606 w 2378076"/>
              <a:gd name="connsiteY127" fmla="*/ 347140 h 902582"/>
              <a:gd name="connsiteX128" fmla="*/ 843157 w 2378076"/>
              <a:gd name="connsiteY128" fmla="*/ 335843 h 902582"/>
              <a:gd name="connsiteX129" fmla="*/ 396875 w 2378076"/>
              <a:gd name="connsiteY129" fmla="*/ 335843 h 902582"/>
              <a:gd name="connsiteX130" fmla="*/ 511175 w 2378076"/>
              <a:gd name="connsiteY130" fmla="*/ 469987 h 902582"/>
              <a:gd name="connsiteX131" fmla="*/ 396875 w 2378076"/>
              <a:gd name="connsiteY131" fmla="*/ 604131 h 902582"/>
              <a:gd name="connsiteX132" fmla="*/ 282575 w 2378076"/>
              <a:gd name="connsiteY132" fmla="*/ 469987 h 902582"/>
              <a:gd name="connsiteX133" fmla="*/ 396875 w 2378076"/>
              <a:gd name="connsiteY133" fmla="*/ 335843 h 902582"/>
              <a:gd name="connsiteX134" fmla="*/ 103585 w 2378076"/>
              <a:gd name="connsiteY134" fmla="*/ 300918 h 902582"/>
              <a:gd name="connsiteX135" fmla="*/ 61913 w 2378076"/>
              <a:gd name="connsiteY135" fmla="*/ 303759 h 902582"/>
              <a:gd name="connsiteX136" fmla="*/ 61913 w 2378076"/>
              <a:gd name="connsiteY136" fmla="*/ 406027 h 902582"/>
              <a:gd name="connsiteX137" fmla="*/ 123032 w 2378076"/>
              <a:gd name="connsiteY137" fmla="*/ 406027 h 902582"/>
              <a:gd name="connsiteX138" fmla="*/ 184151 w 2378076"/>
              <a:gd name="connsiteY138" fmla="*/ 354893 h 902582"/>
              <a:gd name="connsiteX139" fmla="*/ 125810 w 2378076"/>
              <a:gd name="connsiteY139" fmla="*/ 300918 h 902582"/>
              <a:gd name="connsiteX140" fmla="*/ 103585 w 2378076"/>
              <a:gd name="connsiteY140" fmla="*/ 300918 h 902582"/>
              <a:gd name="connsiteX141" fmla="*/ 614557 w 2378076"/>
              <a:gd name="connsiteY141" fmla="*/ 285043 h 902582"/>
              <a:gd name="connsiteX142" fmla="*/ 622912 w 2378076"/>
              <a:gd name="connsiteY142" fmla="*/ 285043 h 902582"/>
              <a:gd name="connsiteX143" fmla="*/ 625698 w 2378076"/>
              <a:gd name="connsiteY143" fmla="*/ 293524 h 902582"/>
              <a:gd name="connsiteX144" fmla="*/ 625698 w 2378076"/>
              <a:gd name="connsiteY144" fmla="*/ 344407 h 902582"/>
              <a:gd name="connsiteX145" fmla="*/ 684184 w 2378076"/>
              <a:gd name="connsiteY145" fmla="*/ 344407 h 902582"/>
              <a:gd name="connsiteX146" fmla="*/ 692540 w 2378076"/>
              <a:gd name="connsiteY146" fmla="*/ 352888 h 902582"/>
              <a:gd name="connsiteX147" fmla="*/ 692540 w 2378076"/>
              <a:gd name="connsiteY147" fmla="*/ 386811 h 902582"/>
              <a:gd name="connsiteX148" fmla="*/ 684184 w 2378076"/>
              <a:gd name="connsiteY148" fmla="*/ 395291 h 902582"/>
              <a:gd name="connsiteX149" fmla="*/ 625698 w 2378076"/>
              <a:gd name="connsiteY149" fmla="*/ 395291 h 902582"/>
              <a:gd name="connsiteX150" fmla="*/ 625698 w 2378076"/>
              <a:gd name="connsiteY150" fmla="*/ 499885 h 902582"/>
              <a:gd name="connsiteX151" fmla="*/ 650763 w 2378076"/>
              <a:gd name="connsiteY151" fmla="*/ 550769 h 902582"/>
              <a:gd name="connsiteX152" fmla="*/ 684184 w 2378076"/>
              <a:gd name="connsiteY152" fmla="*/ 547942 h 902582"/>
              <a:gd name="connsiteX153" fmla="*/ 692540 w 2378076"/>
              <a:gd name="connsiteY153" fmla="*/ 559249 h 902582"/>
              <a:gd name="connsiteX154" fmla="*/ 695325 w 2378076"/>
              <a:gd name="connsiteY154" fmla="*/ 590345 h 902582"/>
              <a:gd name="connsiteX155" fmla="*/ 686969 w 2378076"/>
              <a:gd name="connsiteY155" fmla="*/ 601652 h 902582"/>
              <a:gd name="connsiteX156" fmla="*/ 642408 w 2378076"/>
              <a:gd name="connsiteY156" fmla="*/ 607306 h 902582"/>
              <a:gd name="connsiteX157" fmla="*/ 567211 w 2378076"/>
              <a:gd name="connsiteY157" fmla="*/ 508366 h 902582"/>
              <a:gd name="connsiteX158" fmla="*/ 567211 w 2378076"/>
              <a:gd name="connsiteY158" fmla="*/ 395291 h 902582"/>
              <a:gd name="connsiteX159" fmla="*/ 544930 w 2378076"/>
              <a:gd name="connsiteY159" fmla="*/ 395291 h 902582"/>
              <a:gd name="connsiteX160" fmla="*/ 536575 w 2378076"/>
              <a:gd name="connsiteY160" fmla="*/ 386811 h 902582"/>
              <a:gd name="connsiteX161" fmla="*/ 536575 w 2378076"/>
              <a:gd name="connsiteY161" fmla="*/ 352888 h 902582"/>
              <a:gd name="connsiteX162" fmla="*/ 544930 w 2378076"/>
              <a:gd name="connsiteY162" fmla="*/ 344407 h 902582"/>
              <a:gd name="connsiteX163" fmla="*/ 567211 w 2378076"/>
              <a:gd name="connsiteY163" fmla="*/ 344407 h 902582"/>
              <a:gd name="connsiteX164" fmla="*/ 567211 w 2378076"/>
              <a:gd name="connsiteY164" fmla="*/ 302004 h 902582"/>
              <a:gd name="connsiteX165" fmla="*/ 575566 w 2378076"/>
              <a:gd name="connsiteY165" fmla="*/ 293524 h 902582"/>
              <a:gd name="connsiteX166" fmla="*/ 614557 w 2378076"/>
              <a:gd name="connsiteY166" fmla="*/ 285043 h 902582"/>
              <a:gd name="connsiteX167" fmla="*/ 117618 w 2378076"/>
              <a:gd name="connsiteY167" fmla="*/ 245356 h 902582"/>
              <a:gd name="connsiteX168" fmla="*/ 126019 w 2378076"/>
              <a:gd name="connsiteY168" fmla="*/ 245356 h 902582"/>
              <a:gd name="connsiteX169" fmla="*/ 246438 w 2378076"/>
              <a:gd name="connsiteY169" fmla="*/ 352493 h 902582"/>
              <a:gd name="connsiteX170" fmla="*/ 184828 w 2378076"/>
              <a:gd name="connsiteY170" fmla="*/ 445534 h 902582"/>
              <a:gd name="connsiteX171" fmla="*/ 249238 w 2378076"/>
              <a:gd name="connsiteY171" fmla="*/ 586504 h 902582"/>
              <a:gd name="connsiteX172" fmla="*/ 246438 w 2378076"/>
              <a:gd name="connsiteY172" fmla="*/ 594962 h 902582"/>
              <a:gd name="connsiteX173" fmla="*/ 238037 w 2378076"/>
              <a:gd name="connsiteY173" fmla="*/ 597781 h 902582"/>
              <a:gd name="connsiteX174" fmla="*/ 193230 w 2378076"/>
              <a:gd name="connsiteY174" fmla="*/ 597781 h 902582"/>
              <a:gd name="connsiteX175" fmla="*/ 184828 w 2378076"/>
              <a:gd name="connsiteY175" fmla="*/ 592142 h 902582"/>
              <a:gd name="connsiteX176" fmla="*/ 128820 w 2378076"/>
              <a:gd name="connsiteY176" fmla="*/ 462450 h 902582"/>
              <a:gd name="connsiteX177" fmla="*/ 61610 w 2378076"/>
              <a:gd name="connsiteY177" fmla="*/ 459631 h 902582"/>
              <a:gd name="connsiteX178" fmla="*/ 61610 w 2378076"/>
              <a:gd name="connsiteY178" fmla="*/ 589323 h 902582"/>
              <a:gd name="connsiteX179" fmla="*/ 50408 w 2378076"/>
              <a:gd name="connsiteY179" fmla="*/ 597781 h 902582"/>
              <a:gd name="connsiteX180" fmla="*/ 11202 w 2378076"/>
              <a:gd name="connsiteY180" fmla="*/ 597781 h 902582"/>
              <a:gd name="connsiteX181" fmla="*/ 0 w 2378076"/>
              <a:gd name="connsiteY181" fmla="*/ 589323 h 902582"/>
              <a:gd name="connsiteX182" fmla="*/ 0 w 2378076"/>
              <a:gd name="connsiteY182" fmla="*/ 262273 h 902582"/>
              <a:gd name="connsiteX183" fmla="*/ 8402 w 2378076"/>
              <a:gd name="connsiteY183" fmla="*/ 250995 h 902582"/>
              <a:gd name="connsiteX184" fmla="*/ 117618 w 2378076"/>
              <a:gd name="connsiteY184" fmla="*/ 245356 h 902582"/>
              <a:gd name="connsiteX185" fmla="*/ 1968123 w 2378076"/>
              <a:gd name="connsiteY185" fmla="*/ 200530 h 902582"/>
              <a:gd name="connsiteX186" fmla="*/ 1965325 w 2378076"/>
              <a:gd name="connsiteY186" fmla="*/ 211723 h 902582"/>
              <a:gd name="connsiteX187" fmla="*/ 1976518 w 2378076"/>
              <a:gd name="connsiteY187" fmla="*/ 348840 h 902582"/>
              <a:gd name="connsiteX188" fmla="*/ 1982115 w 2378076"/>
              <a:gd name="connsiteY188" fmla="*/ 362831 h 902582"/>
              <a:gd name="connsiteX189" fmla="*/ 1996106 w 2378076"/>
              <a:gd name="connsiteY189" fmla="*/ 360033 h 902582"/>
              <a:gd name="connsiteX190" fmla="*/ 2119232 w 2378076"/>
              <a:gd name="connsiteY190" fmla="*/ 301269 h 902582"/>
              <a:gd name="connsiteX191" fmla="*/ 2130425 w 2378076"/>
              <a:gd name="connsiteY191" fmla="*/ 292874 h 902582"/>
              <a:gd name="connsiteX192" fmla="*/ 2124828 w 2378076"/>
              <a:gd name="connsiteY192" fmla="*/ 284479 h 902582"/>
              <a:gd name="connsiteX193" fmla="*/ 1979317 w 2378076"/>
              <a:gd name="connsiteY193" fmla="*/ 200530 h 902582"/>
              <a:gd name="connsiteX194" fmla="*/ 1968123 w 2378076"/>
              <a:gd name="connsiteY194" fmla="*/ 200530 h 902582"/>
              <a:gd name="connsiteX195" fmla="*/ 1890255 w 2378076"/>
              <a:gd name="connsiteY195" fmla="*/ 199484 h 902582"/>
              <a:gd name="connsiteX196" fmla="*/ 1884658 w 2378076"/>
              <a:gd name="connsiteY196" fmla="*/ 200536 h 902582"/>
              <a:gd name="connsiteX197" fmla="*/ 1739147 w 2378076"/>
              <a:gd name="connsiteY197" fmla="*/ 284673 h 902582"/>
              <a:gd name="connsiteX198" fmla="*/ 1733550 w 2378076"/>
              <a:gd name="connsiteY198" fmla="*/ 293087 h 902582"/>
              <a:gd name="connsiteX199" fmla="*/ 1744743 w 2378076"/>
              <a:gd name="connsiteY199" fmla="*/ 301501 h 902582"/>
              <a:gd name="connsiteX200" fmla="*/ 1867869 w 2378076"/>
              <a:gd name="connsiteY200" fmla="*/ 363202 h 902582"/>
              <a:gd name="connsiteX201" fmla="*/ 1881860 w 2378076"/>
              <a:gd name="connsiteY201" fmla="*/ 363202 h 902582"/>
              <a:gd name="connsiteX202" fmla="*/ 1887457 w 2378076"/>
              <a:gd name="connsiteY202" fmla="*/ 351983 h 902582"/>
              <a:gd name="connsiteX203" fmla="*/ 1898650 w 2378076"/>
              <a:gd name="connsiteY203" fmla="*/ 214559 h 902582"/>
              <a:gd name="connsiteX204" fmla="*/ 1895852 w 2378076"/>
              <a:gd name="connsiteY204" fmla="*/ 200536 h 902582"/>
              <a:gd name="connsiteX205" fmla="*/ 1890255 w 2378076"/>
              <a:gd name="connsiteY205" fmla="*/ 199484 h 902582"/>
              <a:gd name="connsiteX206" fmla="*/ 1932782 w 2378076"/>
              <a:gd name="connsiteY206" fmla="*/ 151693 h 902582"/>
              <a:gd name="connsiteX207" fmla="*/ 2227264 w 2378076"/>
              <a:gd name="connsiteY207" fmla="*/ 449350 h 902582"/>
              <a:gd name="connsiteX208" fmla="*/ 1932782 w 2378076"/>
              <a:gd name="connsiteY208" fmla="*/ 747007 h 902582"/>
              <a:gd name="connsiteX209" fmla="*/ 1638300 w 2378076"/>
              <a:gd name="connsiteY209" fmla="*/ 449350 h 902582"/>
              <a:gd name="connsiteX210" fmla="*/ 1932782 w 2378076"/>
              <a:gd name="connsiteY210" fmla="*/ 151693 h 902582"/>
              <a:gd name="connsiteX211" fmla="*/ 1931988 w 2378076"/>
              <a:gd name="connsiteY211" fmla="*/ 108832 h 902582"/>
              <a:gd name="connsiteX212" fmla="*/ 1597025 w 2378076"/>
              <a:gd name="connsiteY212" fmla="*/ 447764 h 902582"/>
              <a:gd name="connsiteX213" fmla="*/ 1931988 w 2378076"/>
              <a:gd name="connsiteY213" fmla="*/ 786696 h 902582"/>
              <a:gd name="connsiteX214" fmla="*/ 2266951 w 2378076"/>
              <a:gd name="connsiteY214" fmla="*/ 447764 h 902582"/>
              <a:gd name="connsiteX215" fmla="*/ 1931988 w 2378076"/>
              <a:gd name="connsiteY215" fmla="*/ 108832 h 902582"/>
              <a:gd name="connsiteX216" fmla="*/ 1914436 w 2378076"/>
              <a:gd name="connsiteY216" fmla="*/ 2117 h 902582"/>
              <a:gd name="connsiteX217" fmla="*/ 1917229 w 2378076"/>
              <a:gd name="connsiteY217" fmla="*/ 2117 h 902582"/>
              <a:gd name="connsiteX218" fmla="*/ 1945160 w 2378076"/>
              <a:gd name="connsiteY218" fmla="*/ 2117 h 902582"/>
              <a:gd name="connsiteX219" fmla="*/ 1947953 w 2378076"/>
              <a:gd name="connsiteY219" fmla="*/ 2117 h 902582"/>
              <a:gd name="connsiteX220" fmla="*/ 1964711 w 2378076"/>
              <a:gd name="connsiteY220" fmla="*/ 69864 h 902582"/>
              <a:gd name="connsiteX221" fmla="*/ 1995434 w 2378076"/>
              <a:gd name="connsiteY221" fmla="*/ 75509 h 902582"/>
              <a:gd name="connsiteX222" fmla="*/ 2031743 w 2378076"/>
              <a:gd name="connsiteY222" fmla="*/ 13408 h 902582"/>
              <a:gd name="connsiteX223" fmla="*/ 2059673 w 2378076"/>
              <a:gd name="connsiteY223" fmla="*/ 19054 h 902582"/>
              <a:gd name="connsiteX224" fmla="*/ 2062466 w 2378076"/>
              <a:gd name="connsiteY224" fmla="*/ 19054 h 902582"/>
              <a:gd name="connsiteX225" fmla="*/ 2062466 w 2378076"/>
              <a:gd name="connsiteY225" fmla="*/ 21876 h 902582"/>
              <a:gd name="connsiteX226" fmla="*/ 2068052 w 2378076"/>
              <a:gd name="connsiteY226" fmla="*/ 55750 h 902582"/>
              <a:gd name="connsiteX227" fmla="*/ 2062466 w 2378076"/>
              <a:gd name="connsiteY227" fmla="*/ 92446 h 902582"/>
              <a:gd name="connsiteX228" fmla="*/ 2090396 w 2378076"/>
              <a:gd name="connsiteY228" fmla="*/ 103737 h 902582"/>
              <a:gd name="connsiteX229" fmla="*/ 2140670 w 2378076"/>
              <a:gd name="connsiteY229" fmla="*/ 55750 h 902582"/>
              <a:gd name="connsiteX230" fmla="*/ 2140670 w 2378076"/>
              <a:gd name="connsiteY230" fmla="*/ 52927 h 902582"/>
              <a:gd name="connsiteX231" fmla="*/ 2143463 w 2378076"/>
              <a:gd name="connsiteY231" fmla="*/ 55750 h 902582"/>
              <a:gd name="connsiteX232" fmla="*/ 2168600 w 2378076"/>
              <a:gd name="connsiteY232" fmla="*/ 69864 h 902582"/>
              <a:gd name="connsiteX233" fmla="*/ 2168600 w 2378076"/>
              <a:gd name="connsiteY233" fmla="*/ 72686 h 902582"/>
              <a:gd name="connsiteX234" fmla="*/ 2149049 w 2378076"/>
              <a:gd name="connsiteY234" fmla="*/ 140433 h 902582"/>
              <a:gd name="connsiteX235" fmla="*/ 2174186 w 2378076"/>
              <a:gd name="connsiteY235" fmla="*/ 157370 h 902582"/>
              <a:gd name="connsiteX236" fmla="*/ 2235633 w 2378076"/>
              <a:gd name="connsiteY236" fmla="*/ 123496 h 902582"/>
              <a:gd name="connsiteX237" fmla="*/ 2257977 w 2378076"/>
              <a:gd name="connsiteY237" fmla="*/ 143256 h 902582"/>
              <a:gd name="connsiteX238" fmla="*/ 2257977 w 2378076"/>
              <a:gd name="connsiteY238" fmla="*/ 146079 h 902582"/>
              <a:gd name="connsiteX239" fmla="*/ 2221667 w 2378076"/>
              <a:gd name="connsiteY239" fmla="*/ 208180 h 902582"/>
              <a:gd name="connsiteX240" fmla="*/ 2241219 w 2378076"/>
              <a:gd name="connsiteY240" fmla="*/ 230762 h 902582"/>
              <a:gd name="connsiteX241" fmla="*/ 2308251 w 2378076"/>
              <a:gd name="connsiteY241" fmla="*/ 213825 h 902582"/>
              <a:gd name="connsiteX242" fmla="*/ 2311044 w 2378076"/>
              <a:gd name="connsiteY242" fmla="*/ 213825 h 902582"/>
              <a:gd name="connsiteX243" fmla="*/ 2325009 w 2378076"/>
              <a:gd name="connsiteY243" fmla="*/ 239230 h 902582"/>
              <a:gd name="connsiteX244" fmla="*/ 2325009 w 2378076"/>
              <a:gd name="connsiteY244" fmla="*/ 242053 h 902582"/>
              <a:gd name="connsiteX245" fmla="*/ 2274735 w 2378076"/>
              <a:gd name="connsiteY245" fmla="*/ 292863 h 902582"/>
              <a:gd name="connsiteX246" fmla="*/ 2285907 w 2378076"/>
              <a:gd name="connsiteY246" fmla="*/ 321091 h 902582"/>
              <a:gd name="connsiteX247" fmla="*/ 2355732 w 2378076"/>
              <a:gd name="connsiteY247" fmla="*/ 321091 h 902582"/>
              <a:gd name="connsiteX248" fmla="*/ 2358525 w 2378076"/>
              <a:gd name="connsiteY248" fmla="*/ 321091 h 902582"/>
              <a:gd name="connsiteX249" fmla="*/ 2366904 w 2378076"/>
              <a:gd name="connsiteY249" fmla="*/ 349318 h 902582"/>
              <a:gd name="connsiteX250" fmla="*/ 2366904 w 2378076"/>
              <a:gd name="connsiteY250" fmla="*/ 352141 h 902582"/>
              <a:gd name="connsiteX251" fmla="*/ 2364111 w 2378076"/>
              <a:gd name="connsiteY251" fmla="*/ 352141 h 902582"/>
              <a:gd name="connsiteX252" fmla="*/ 2305458 w 2378076"/>
              <a:gd name="connsiteY252" fmla="*/ 388837 h 902582"/>
              <a:gd name="connsiteX253" fmla="*/ 2308251 w 2378076"/>
              <a:gd name="connsiteY253" fmla="*/ 417065 h 902582"/>
              <a:gd name="connsiteX254" fmla="*/ 2375283 w 2378076"/>
              <a:gd name="connsiteY254" fmla="*/ 436824 h 902582"/>
              <a:gd name="connsiteX255" fmla="*/ 2378076 w 2378076"/>
              <a:gd name="connsiteY255" fmla="*/ 436824 h 902582"/>
              <a:gd name="connsiteX256" fmla="*/ 2378076 w 2378076"/>
              <a:gd name="connsiteY256" fmla="*/ 450938 h 902582"/>
              <a:gd name="connsiteX257" fmla="*/ 2378076 w 2378076"/>
              <a:gd name="connsiteY257" fmla="*/ 467875 h 902582"/>
              <a:gd name="connsiteX258" fmla="*/ 2375283 w 2378076"/>
              <a:gd name="connsiteY258" fmla="*/ 467875 h 902582"/>
              <a:gd name="connsiteX259" fmla="*/ 2308251 w 2378076"/>
              <a:gd name="connsiteY259" fmla="*/ 487634 h 902582"/>
              <a:gd name="connsiteX260" fmla="*/ 2302665 w 2378076"/>
              <a:gd name="connsiteY260" fmla="*/ 515862 h 902582"/>
              <a:gd name="connsiteX261" fmla="*/ 2364111 w 2378076"/>
              <a:gd name="connsiteY261" fmla="*/ 552558 h 902582"/>
              <a:gd name="connsiteX262" fmla="*/ 2364111 w 2378076"/>
              <a:gd name="connsiteY262" fmla="*/ 555381 h 902582"/>
              <a:gd name="connsiteX263" fmla="*/ 2358525 w 2378076"/>
              <a:gd name="connsiteY263" fmla="*/ 583609 h 902582"/>
              <a:gd name="connsiteX264" fmla="*/ 2355732 w 2378076"/>
              <a:gd name="connsiteY264" fmla="*/ 583609 h 902582"/>
              <a:gd name="connsiteX265" fmla="*/ 2285907 w 2378076"/>
              <a:gd name="connsiteY265" fmla="*/ 583609 h 902582"/>
              <a:gd name="connsiteX266" fmla="*/ 2274735 w 2378076"/>
              <a:gd name="connsiteY266" fmla="*/ 611836 h 902582"/>
              <a:gd name="connsiteX267" fmla="*/ 2325009 w 2378076"/>
              <a:gd name="connsiteY267" fmla="*/ 659824 h 902582"/>
              <a:gd name="connsiteX268" fmla="*/ 2325009 w 2378076"/>
              <a:gd name="connsiteY268" fmla="*/ 662646 h 902582"/>
              <a:gd name="connsiteX269" fmla="*/ 2311044 w 2378076"/>
              <a:gd name="connsiteY269" fmla="*/ 688051 h 902582"/>
              <a:gd name="connsiteX270" fmla="*/ 2308251 w 2378076"/>
              <a:gd name="connsiteY270" fmla="*/ 690874 h 902582"/>
              <a:gd name="connsiteX271" fmla="*/ 2238425 w 2378076"/>
              <a:gd name="connsiteY271" fmla="*/ 671115 h 902582"/>
              <a:gd name="connsiteX272" fmla="*/ 2221667 w 2378076"/>
              <a:gd name="connsiteY272" fmla="*/ 696520 h 902582"/>
              <a:gd name="connsiteX273" fmla="*/ 2257977 w 2378076"/>
              <a:gd name="connsiteY273" fmla="*/ 758621 h 902582"/>
              <a:gd name="connsiteX274" fmla="*/ 2255184 w 2378076"/>
              <a:gd name="connsiteY274" fmla="*/ 758621 h 902582"/>
              <a:gd name="connsiteX275" fmla="*/ 2235633 w 2378076"/>
              <a:gd name="connsiteY275" fmla="*/ 781203 h 902582"/>
              <a:gd name="connsiteX276" fmla="*/ 2232839 w 2378076"/>
              <a:gd name="connsiteY276" fmla="*/ 781203 h 902582"/>
              <a:gd name="connsiteX277" fmla="*/ 2171393 w 2378076"/>
              <a:gd name="connsiteY277" fmla="*/ 744507 h 902582"/>
              <a:gd name="connsiteX278" fmla="*/ 2149049 w 2378076"/>
              <a:gd name="connsiteY278" fmla="*/ 764266 h 902582"/>
              <a:gd name="connsiteX279" fmla="*/ 2168600 w 2378076"/>
              <a:gd name="connsiteY279" fmla="*/ 829190 h 902582"/>
              <a:gd name="connsiteX280" fmla="*/ 2168600 w 2378076"/>
              <a:gd name="connsiteY280" fmla="*/ 832013 h 902582"/>
              <a:gd name="connsiteX281" fmla="*/ 2165807 w 2378076"/>
              <a:gd name="connsiteY281" fmla="*/ 834836 h 902582"/>
              <a:gd name="connsiteX282" fmla="*/ 2140670 w 2378076"/>
              <a:gd name="connsiteY282" fmla="*/ 848949 h 902582"/>
              <a:gd name="connsiteX283" fmla="*/ 2090396 w 2378076"/>
              <a:gd name="connsiteY283" fmla="*/ 798140 h 902582"/>
              <a:gd name="connsiteX284" fmla="*/ 2062466 w 2378076"/>
              <a:gd name="connsiteY284" fmla="*/ 809431 h 902582"/>
              <a:gd name="connsiteX285" fmla="*/ 2065259 w 2378076"/>
              <a:gd name="connsiteY285" fmla="*/ 846127 h 902582"/>
              <a:gd name="connsiteX286" fmla="*/ 2062466 w 2378076"/>
              <a:gd name="connsiteY286" fmla="*/ 882823 h 902582"/>
              <a:gd name="connsiteX287" fmla="*/ 2059673 w 2378076"/>
              <a:gd name="connsiteY287" fmla="*/ 882823 h 902582"/>
              <a:gd name="connsiteX288" fmla="*/ 2031743 w 2378076"/>
              <a:gd name="connsiteY288" fmla="*/ 891291 h 902582"/>
              <a:gd name="connsiteX289" fmla="*/ 1995434 w 2378076"/>
              <a:gd name="connsiteY289" fmla="*/ 829190 h 902582"/>
              <a:gd name="connsiteX290" fmla="*/ 1967504 w 2378076"/>
              <a:gd name="connsiteY290" fmla="*/ 832013 h 902582"/>
              <a:gd name="connsiteX291" fmla="*/ 1947953 w 2378076"/>
              <a:gd name="connsiteY291" fmla="*/ 902582 h 902582"/>
              <a:gd name="connsiteX292" fmla="*/ 1945160 w 2378076"/>
              <a:gd name="connsiteY292" fmla="*/ 902582 h 902582"/>
              <a:gd name="connsiteX293" fmla="*/ 1917229 w 2378076"/>
              <a:gd name="connsiteY293" fmla="*/ 902582 h 902582"/>
              <a:gd name="connsiteX294" fmla="*/ 1914436 w 2378076"/>
              <a:gd name="connsiteY294" fmla="*/ 902582 h 902582"/>
              <a:gd name="connsiteX295" fmla="*/ 1897678 w 2378076"/>
              <a:gd name="connsiteY295" fmla="*/ 832013 h 902582"/>
              <a:gd name="connsiteX296" fmla="*/ 1866955 w 2378076"/>
              <a:gd name="connsiteY296" fmla="*/ 829190 h 902582"/>
              <a:gd name="connsiteX297" fmla="*/ 1833439 w 2378076"/>
              <a:gd name="connsiteY297" fmla="*/ 891291 h 902582"/>
              <a:gd name="connsiteX298" fmla="*/ 1830646 w 2378076"/>
              <a:gd name="connsiteY298" fmla="*/ 891291 h 902582"/>
              <a:gd name="connsiteX299" fmla="*/ 1802716 w 2378076"/>
              <a:gd name="connsiteY299" fmla="*/ 882823 h 902582"/>
              <a:gd name="connsiteX300" fmla="*/ 1799923 w 2378076"/>
              <a:gd name="connsiteY300" fmla="*/ 882823 h 902582"/>
              <a:gd name="connsiteX301" fmla="*/ 1799923 w 2378076"/>
              <a:gd name="connsiteY301" fmla="*/ 880000 h 902582"/>
              <a:gd name="connsiteX302" fmla="*/ 1797130 w 2378076"/>
              <a:gd name="connsiteY302" fmla="*/ 846127 h 902582"/>
              <a:gd name="connsiteX303" fmla="*/ 1799923 w 2378076"/>
              <a:gd name="connsiteY303" fmla="*/ 809431 h 902582"/>
              <a:gd name="connsiteX304" fmla="*/ 1774786 w 2378076"/>
              <a:gd name="connsiteY304" fmla="*/ 798140 h 902582"/>
              <a:gd name="connsiteX305" fmla="*/ 1724512 w 2378076"/>
              <a:gd name="connsiteY305" fmla="*/ 848949 h 902582"/>
              <a:gd name="connsiteX306" fmla="*/ 1721719 w 2378076"/>
              <a:gd name="connsiteY306" fmla="*/ 851772 h 902582"/>
              <a:gd name="connsiteX307" fmla="*/ 1721719 w 2378076"/>
              <a:gd name="connsiteY307" fmla="*/ 848949 h 902582"/>
              <a:gd name="connsiteX308" fmla="*/ 1696582 w 2378076"/>
              <a:gd name="connsiteY308" fmla="*/ 834836 h 902582"/>
              <a:gd name="connsiteX309" fmla="*/ 1696582 w 2378076"/>
              <a:gd name="connsiteY309" fmla="*/ 832013 h 902582"/>
              <a:gd name="connsiteX310" fmla="*/ 1713340 w 2378076"/>
              <a:gd name="connsiteY310" fmla="*/ 764266 h 902582"/>
              <a:gd name="connsiteX311" fmla="*/ 1690996 w 2378076"/>
              <a:gd name="connsiteY311" fmla="*/ 744507 h 902582"/>
              <a:gd name="connsiteX312" fmla="*/ 1629549 w 2378076"/>
              <a:gd name="connsiteY312" fmla="*/ 781203 h 902582"/>
              <a:gd name="connsiteX313" fmla="*/ 1626756 w 2378076"/>
              <a:gd name="connsiteY313" fmla="*/ 781203 h 902582"/>
              <a:gd name="connsiteX314" fmla="*/ 1607205 w 2378076"/>
              <a:gd name="connsiteY314" fmla="*/ 761443 h 902582"/>
              <a:gd name="connsiteX315" fmla="*/ 1604412 w 2378076"/>
              <a:gd name="connsiteY315" fmla="*/ 758621 h 902582"/>
              <a:gd name="connsiteX316" fmla="*/ 1640722 w 2378076"/>
              <a:gd name="connsiteY316" fmla="*/ 696520 h 902582"/>
              <a:gd name="connsiteX317" fmla="*/ 1623963 w 2378076"/>
              <a:gd name="connsiteY317" fmla="*/ 671115 h 902582"/>
              <a:gd name="connsiteX318" fmla="*/ 1554138 w 2378076"/>
              <a:gd name="connsiteY318" fmla="*/ 690874 h 902582"/>
              <a:gd name="connsiteX319" fmla="*/ 1537380 w 2378076"/>
              <a:gd name="connsiteY319" fmla="*/ 665469 h 902582"/>
              <a:gd name="connsiteX320" fmla="*/ 1537380 w 2378076"/>
              <a:gd name="connsiteY320" fmla="*/ 662646 h 902582"/>
              <a:gd name="connsiteX321" fmla="*/ 1587654 w 2378076"/>
              <a:gd name="connsiteY321" fmla="*/ 611836 h 902582"/>
              <a:gd name="connsiteX322" fmla="*/ 1576482 w 2378076"/>
              <a:gd name="connsiteY322" fmla="*/ 583609 h 902582"/>
              <a:gd name="connsiteX323" fmla="*/ 1506657 w 2378076"/>
              <a:gd name="connsiteY323" fmla="*/ 583609 h 902582"/>
              <a:gd name="connsiteX324" fmla="*/ 1503864 w 2378076"/>
              <a:gd name="connsiteY324" fmla="*/ 583609 h 902582"/>
              <a:gd name="connsiteX325" fmla="*/ 1495485 w 2378076"/>
              <a:gd name="connsiteY325" fmla="*/ 555381 h 902582"/>
              <a:gd name="connsiteX326" fmla="*/ 1495485 w 2378076"/>
              <a:gd name="connsiteY326" fmla="*/ 552558 h 902582"/>
              <a:gd name="connsiteX327" fmla="*/ 1498278 w 2378076"/>
              <a:gd name="connsiteY327" fmla="*/ 552558 h 902582"/>
              <a:gd name="connsiteX328" fmla="*/ 1559724 w 2378076"/>
              <a:gd name="connsiteY328" fmla="*/ 515862 h 902582"/>
              <a:gd name="connsiteX329" fmla="*/ 1554138 w 2378076"/>
              <a:gd name="connsiteY329" fmla="*/ 484812 h 902582"/>
              <a:gd name="connsiteX330" fmla="*/ 1487106 w 2378076"/>
              <a:gd name="connsiteY330" fmla="*/ 467875 h 902582"/>
              <a:gd name="connsiteX331" fmla="*/ 1484313 w 2378076"/>
              <a:gd name="connsiteY331" fmla="*/ 467875 h 902582"/>
              <a:gd name="connsiteX332" fmla="*/ 1484313 w 2378076"/>
              <a:gd name="connsiteY332" fmla="*/ 465052 h 902582"/>
              <a:gd name="connsiteX333" fmla="*/ 1484313 w 2378076"/>
              <a:gd name="connsiteY333" fmla="*/ 450938 h 902582"/>
              <a:gd name="connsiteX334" fmla="*/ 1484313 w 2378076"/>
              <a:gd name="connsiteY334" fmla="*/ 436824 h 902582"/>
              <a:gd name="connsiteX335" fmla="*/ 1484313 w 2378076"/>
              <a:gd name="connsiteY335" fmla="*/ 434002 h 902582"/>
              <a:gd name="connsiteX336" fmla="*/ 1487106 w 2378076"/>
              <a:gd name="connsiteY336" fmla="*/ 434002 h 902582"/>
              <a:gd name="connsiteX337" fmla="*/ 1554138 w 2378076"/>
              <a:gd name="connsiteY337" fmla="*/ 417065 h 902582"/>
              <a:gd name="connsiteX338" fmla="*/ 1556931 w 2378076"/>
              <a:gd name="connsiteY338" fmla="*/ 386014 h 902582"/>
              <a:gd name="connsiteX339" fmla="*/ 1498278 w 2378076"/>
              <a:gd name="connsiteY339" fmla="*/ 352141 h 902582"/>
              <a:gd name="connsiteX340" fmla="*/ 1495485 w 2378076"/>
              <a:gd name="connsiteY340" fmla="*/ 349318 h 902582"/>
              <a:gd name="connsiteX341" fmla="*/ 1503864 w 2378076"/>
              <a:gd name="connsiteY341" fmla="*/ 321091 h 902582"/>
              <a:gd name="connsiteX342" fmla="*/ 1503864 w 2378076"/>
              <a:gd name="connsiteY342" fmla="*/ 318268 h 902582"/>
              <a:gd name="connsiteX343" fmla="*/ 1506657 w 2378076"/>
              <a:gd name="connsiteY343" fmla="*/ 318268 h 902582"/>
              <a:gd name="connsiteX344" fmla="*/ 1576482 w 2378076"/>
              <a:gd name="connsiteY344" fmla="*/ 318268 h 902582"/>
              <a:gd name="connsiteX345" fmla="*/ 1587654 w 2378076"/>
              <a:gd name="connsiteY345" fmla="*/ 292863 h 902582"/>
              <a:gd name="connsiteX346" fmla="*/ 1537380 w 2378076"/>
              <a:gd name="connsiteY346" fmla="*/ 242053 h 902582"/>
              <a:gd name="connsiteX347" fmla="*/ 1537380 w 2378076"/>
              <a:gd name="connsiteY347" fmla="*/ 239230 h 902582"/>
              <a:gd name="connsiteX348" fmla="*/ 1551345 w 2378076"/>
              <a:gd name="connsiteY348" fmla="*/ 213825 h 902582"/>
              <a:gd name="connsiteX349" fmla="*/ 1554138 w 2378076"/>
              <a:gd name="connsiteY349" fmla="*/ 213825 h 902582"/>
              <a:gd name="connsiteX350" fmla="*/ 1621170 w 2378076"/>
              <a:gd name="connsiteY350" fmla="*/ 230762 h 902582"/>
              <a:gd name="connsiteX351" fmla="*/ 1640722 w 2378076"/>
              <a:gd name="connsiteY351" fmla="*/ 208180 h 902582"/>
              <a:gd name="connsiteX352" fmla="*/ 1604412 w 2378076"/>
              <a:gd name="connsiteY352" fmla="*/ 146079 h 902582"/>
              <a:gd name="connsiteX353" fmla="*/ 1604412 w 2378076"/>
              <a:gd name="connsiteY353" fmla="*/ 143256 h 902582"/>
              <a:gd name="connsiteX354" fmla="*/ 1626756 w 2378076"/>
              <a:gd name="connsiteY354" fmla="*/ 123496 h 902582"/>
              <a:gd name="connsiteX355" fmla="*/ 1626756 w 2378076"/>
              <a:gd name="connsiteY355" fmla="*/ 120674 h 902582"/>
              <a:gd name="connsiteX356" fmla="*/ 1629549 w 2378076"/>
              <a:gd name="connsiteY356" fmla="*/ 120674 h 902582"/>
              <a:gd name="connsiteX357" fmla="*/ 1688203 w 2378076"/>
              <a:gd name="connsiteY357" fmla="*/ 157370 h 902582"/>
              <a:gd name="connsiteX358" fmla="*/ 1710547 w 2378076"/>
              <a:gd name="connsiteY358" fmla="*/ 140433 h 902582"/>
              <a:gd name="connsiteX359" fmla="*/ 1693789 w 2378076"/>
              <a:gd name="connsiteY359" fmla="*/ 72686 h 902582"/>
              <a:gd name="connsiteX360" fmla="*/ 1693789 w 2378076"/>
              <a:gd name="connsiteY360" fmla="*/ 69864 h 902582"/>
              <a:gd name="connsiteX361" fmla="*/ 1718926 w 2378076"/>
              <a:gd name="connsiteY361" fmla="*/ 52927 h 902582"/>
              <a:gd name="connsiteX362" fmla="*/ 1721719 w 2378076"/>
              <a:gd name="connsiteY362" fmla="*/ 52927 h 902582"/>
              <a:gd name="connsiteX363" fmla="*/ 1721719 w 2378076"/>
              <a:gd name="connsiteY363" fmla="*/ 55750 h 902582"/>
              <a:gd name="connsiteX364" fmla="*/ 1771993 w 2378076"/>
              <a:gd name="connsiteY364" fmla="*/ 103737 h 902582"/>
              <a:gd name="connsiteX365" fmla="*/ 1799923 w 2378076"/>
              <a:gd name="connsiteY365" fmla="*/ 92446 h 902582"/>
              <a:gd name="connsiteX366" fmla="*/ 1794337 w 2378076"/>
              <a:gd name="connsiteY366" fmla="*/ 55750 h 902582"/>
              <a:gd name="connsiteX367" fmla="*/ 1799923 w 2378076"/>
              <a:gd name="connsiteY367" fmla="*/ 21876 h 902582"/>
              <a:gd name="connsiteX368" fmla="*/ 1799923 w 2378076"/>
              <a:gd name="connsiteY368" fmla="*/ 19054 h 902582"/>
              <a:gd name="connsiteX369" fmla="*/ 1827853 w 2378076"/>
              <a:gd name="connsiteY369" fmla="*/ 13408 h 902582"/>
              <a:gd name="connsiteX370" fmla="*/ 1830646 w 2378076"/>
              <a:gd name="connsiteY370" fmla="*/ 10585 h 902582"/>
              <a:gd name="connsiteX371" fmla="*/ 1830646 w 2378076"/>
              <a:gd name="connsiteY371" fmla="*/ 13408 h 902582"/>
              <a:gd name="connsiteX372" fmla="*/ 1866955 w 2378076"/>
              <a:gd name="connsiteY372" fmla="*/ 75509 h 902582"/>
              <a:gd name="connsiteX373" fmla="*/ 1897678 w 2378076"/>
              <a:gd name="connsiteY373" fmla="*/ 69864 h 902582"/>
              <a:gd name="connsiteX374" fmla="*/ 1914436 w 2378076"/>
              <a:gd name="connsiteY374" fmla="*/ 2117 h 90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2378076" h="902582">
                <a:moveTo>
                  <a:pt x="1869753" y="541874"/>
                </a:moveTo>
                <a:cubicBezTo>
                  <a:pt x="1869753" y="541874"/>
                  <a:pt x="1869753" y="541874"/>
                  <a:pt x="1745039" y="604157"/>
                </a:cubicBezTo>
                <a:cubicBezTo>
                  <a:pt x="1742268" y="604157"/>
                  <a:pt x="1736725" y="606988"/>
                  <a:pt x="1736725" y="609819"/>
                </a:cubicBezTo>
                <a:cubicBezTo>
                  <a:pt x="1736725" y="612651"/>
                  <a:pt x="1736725" y="612651"/>
                  <a:pt x="1736725" y="612651"/>
                </a:cubicBezTo>
                <a:cubicBezTo>
                  <a:pt x="1736725" y="615482"/>
                  <a:pt x="1739496" y="618313"/>
                  <a:pt x="1742268" y="621144"/>
                </a:cubicBezTo>
                <a:cubicBezTo>
                  <a:pt x="1783839" y="666440"/>
                  <a:pt x="1825410" y="691920"/>
                  <a:pt x="1886381" y="706075"/>
                </a:cubicBezTo>
                <a:cubicBezTo>
                  <a:pt x="1889152" y="706075"/>
                  <a:pt x="1891924" y="708906"/>
                  <a:pt x="1894695" y="706075"/>
                </a:cubicBezTo>
                <a:cubicBezTo>
                  <a:pt x="1897467" y="703244"/>
                  <a:pt x="1900238" y="700413"/>
                  <a:pt x="1897467" y="691920"/>
                </a:cubicBezTo>
                <a:cubicBezTo>
                  <a:pt x="1897467" y="691920"/>
                  <a:pt x="1897467" y="691920"/>
                  <a:pt x="1889152" y="553198"/>
                </a:cubicBezTo>
                <a:cubicBezTo>
                  <a:pt x="1889152" y="547536"/>
                  <a:pt x="1886381" y="544705"/>
                  <a:pt x="1883610" y="541874"/>
                </a:cubicBezTo>
                <a:cubicBezTo>
                  <a:pt x="1878067" y="539043"/>
                  <a:pt x="1875295" y="539043"/>
                  <a:pt x="1869753" y="541874"/>
                </a:cubicBezTo>
                <a:close/>
                <a:moveTo>
                  <a:pt x="1982115" y="539043"/>
                </a:moveTo>
                <a:cubicBezTo>
                  <a:pt x="1979317" y="541868"/>
                  <a:pt x="1976518" y="547519"/>
                  <a:pt x="1976518" y="550344"/>
                </a:cubicBezTo>
                <a:cubicBezTo>
                  <a:pt x="1976518" y="550344"/>
                  <a:pt x="1976518" y="550344"/>
                  <a:pt x="1965325" y="691605"/>
                </a:cubicBezTo>
                <a:cubicBezTo>
                  <a:pt x="1965325" y="694430"/>
                  <a:pt x="1965325" y="700081"/>
                  <a:pt x="1968123" y="702906"/>
                </a:cubicBezTo>
                <a:cubicBezTo>
                  <a:pt x="1970922" y="705731"/>
                  <a:pt x="1973720" y="705731"/>
                  <a:pt x="1979317" y="702906"/>
                </a:cubicBezTo>
                <a:cubicBezTo>
                  <a:pt x="2038081" y="688780"/>
                  <a:pt x="2082854" y="663353"/>
                  <a:pt x="2124828" y="618149"/>
                </a:cubicBezTo>
                <a:cubicBezTo>
                  <a:pt x="2127627" y="615324"/>
                  <a:pt x="2130425" y="612499"/>
                  <a:pt x="2130425" y="609674"/>
                </a:cubicBezTo>
                <a:cubicBezTo>
                  <a:pt x="2127627" y="606849"/>
                  <a:pt x="2124828" y="604023"/>
                  <a:pt x="2119232" y="601198"/>
                </a:cubicBezTo>
                <a:cubicBezTo>
                  <a:pt x="2119232" y="601198"/>
                  <a:pt x="2119232" y="601198"/>
                  <a:pt x="1996106" y="539043"/>
                </a:cubicBezTo>
                <a:cubicBezTo>
                  <a:pt x="1990510" y="539043"/>
                  <a:pt x="1987711" y="539043"/>
                  <a:pt x="1982115" y="539043"/>
                </a:cubicBezTo>
                <a:close/>
                <a:moveTo>
                  <a:pt x="871538" y="485068"/>
                </a:moveTo>
                <a:lnTo>
                  <a:pt x="814983" y="487862"/>
                </a:lnTo>
                <a:cubicBezTo>
                  <a:pt x="792361" y="490656"/>
                  <a:pt x="781050" y="501832"/>
                  <a:pt x="781050" y="521390"/>
                </a:cubicBezTo>
                <a:cubicBezTo>
                  <a:pt x="781050" y="532566"/>
                  <a:pt x="783878" y="554918"/>
                  <a:pt x="806500" y="554918"/>
                </a:cubicBezTo>
                <a:cubicBezTo>
                  <a:pt x="834777" y="554918"/>
                  <a:pt x="871538" y="543742"/>
                  <a:pt x="871538" y="543742"/>
                </a:cubicBezTo>
                <a:cubicBezTo>
                  <a:pt x="871538" y="485068"/>
                  <a:pt x="871538" y="485068"/>
                  <a:pt x="871538" y="485068"/>
                </a:cubicBezTo>
                <a:close/>
                <a:moveTo>
                  <a:pt x="396876" y="389818"/>
                </a:moveTo>
                <a:cubicBezTo>
                  <a:pt x="355204" y="389818"/>
                  <a:pt x="341313" y="412372"/>
                  <a:pt x="341313" y="471575"/>
                </a:cubicBezTo>
                <a:cubicBezTo>
                  <a:pt x="341313" y="522320"/>
                  <a:pt x="349648" y="553331"/>
                  <a:pt x="396876" y="553331"/>
                </a:cubicBezTo>
                <a:cubicBezTo>
                  <a:pt x="444104" y="553331"/>
                  <a:pt x="452438" y="522320"/>
                  <a:pt x="452438" y="471575"/>
                </a:cubicBezTo>
                <a:cubicBezTo>
                  <a:pt x="452438" y="412372"/>
                  <a:pt x="435769" y="389818"/>
                  <a:pt x="396876" y="389818"/>
                </a:cubicBezTo>
                <a:close/>
                <a:moveTo>
                  <a:pt x="1964442" y="378529"/>
                </a:moveTo>
                <a:cubicBezTo>
                  <a:pt x="1960604" y="379235"/>
                  <a:pt x="1957114" y="381352"/>
                  <a:pt x="1954322" y="385585"/>
                </a:cubicBezTo>
                <a:cubicBezTo>
                  <a:pt x="1948738" y="394052"/>
                  <a:pt x="1951530" y="402518"/>
                  <a:pt x="1957114" y="408163"/>
                </a:cubicBezTo>
                <a:cubicBezTo>
                  <a:pt x="1971073" y="416629"/>
                  <a:pt x="1979448" y="433563"/>
                  <a:pt x="1979448" y="450496"/>
                </a:cubicBezTo>
                <a:cubicBezTo>
                  <a:pt x="1979448" y="475896"/>
                  <a:pt x="1957114" y="498474"/>
                  <a:pt x="1931987" y="498474"/>
                </a:cubicBezTo>
                <a:cubicBezTo>
                  <a:pt x="1906861" y="498474"/>
                  <a:pt x="1884527" y="475896"/>
                  <a:pt x="1884527" y="450496"/>
                </a:cubicBezTo>
                <a:cubicBezTo>
                  <a:pt x="1884527" y="433563"/>
                  <a:pt x="1892902" y="416629"/>
                  <a:pt x="1906861" y="408163"/>
                </a:cubicBezTo>
                <a:cubicBezTo>
                  <a:pt x="1912445" y="402518"/>
                  <a:pt x="1915237" y="394052"/>
                  <a:pt x="1909653" y="385585"/>
                </a:cubicBezTo>
                <a:cubicBezTo>
                  <a:pt x="1904069" y="377118"/>
                  <a:pt x="1895694" y="377118"/>
                  <a:pt x="1887319" y="382763"/>
                </a:cubicBezTo>
                <a:cubicBezTo>
                  <a:pt x="1864984" y="396874"/>
                  <a:pt x="1851025" y="422274"/>
                  <a:pt x="1851025" y="450496"/>
                </a:cubicBezTo>
                <a:cubicBezTo>
                  <a:pt x="1851025" y="492829"/>
                  <a:pt x="1887319" y="529518"/>
                  <a:pt x="1931987" y="529518"/>
                </a:cubicBezTo>
                <a:cubicBezTo>
                  <a:pt x="1976656" y="529518"/>
                  <a:pt x="2012950" y="492829"/>
                  <a:pt x="2012950" y="450496"/>
                </a:cubicBezTo>
                <a:cubicBezTo>
                  <a:pt x="2012950" y="422274"/>
                  <a:pt x="1998991" y="396874"/>
                  <a:pt x="1976656" y="379940"/>
                </a:cubicBezTo>
                <a:cubicBezTo>
                  <a:pt x="1972469" y="378529"/>
                  <a:pt x="1968281" y="377824"/>
                  <a:pt x="1964442" y="378529"/>
                </a:cubicBezTo>
                <a:close/>
                <a:moveTo>
                  <a:pt x="2166711" y="358068"/>
                </a:moveTo>
                <a:cubicBezTo>
                  <a:pt x="2163905" y="358068"/>
                  <a:pt x="2158292" y="358068"/>
                  <a:pt x="2155485" y="360888"/>
                </a:cubicBezTo>
                <a:cubicBezTo>
                  <a:pt x="2155485" y="360888"/>
                  <a:pt x="2155485" y="360888"/>
                  <a:pt x="2040419" y="439837"/>
                </a:cubicBezTo>
                <a:cubicBezTo>
                  <a:pt x="2034806" y="442656"/>
                  <a:pt x="2032000" y="448295"/>
                  <a:pt x="2032000" y="451115"/>
                </a:cubicBezTo>
                <a:cubicBezTo>
                  <a:pt x="2032000" y="456754"/>
                  <a:pt x="2034806" y="459574"/>
                  <a:pt x="2040419" y="462393"/>
                </a:cubicBezTo>
                <a:cubicBezTo>
                  <a:pt x="2040419" y="462393"/>
                  <a:pt x="2040419" y="462393"/>
                  <a:pt x="2155485" y="541342"/>
                </a:cubicBezTo>
                <a:cubicBezTo>
                  <a:pt x="2158292" y="544162"/>
                  <a:pt x="2161098" y="546981"/>
                  <a:pt x="2166711" y="544162"/>
                </a:cubicBezTo>
                <a:cubicBezTo>
                  <a:pt x="2169518" y="544162"/>
                  <a:pt x="2169518" y="541342"/>
                  <a:pt x="2172324" y="535703"/>
                </a:cubicBezTo>
                <a:cubicBezTo>
                  <a:pt x="2189163" y="476491"/>
                  <a:pt x="2189163" y="425739"/>
                  <a:pt x="2172324" y="366527"/>
                </a:cubicBezTo>
                <a:cubicBezTo>
                  <a:pt x="2172324" y="363707"/>
                  <a:pt x="2169518" y="358068"/>
                  <a:pt x="2166711" y="358068"/>
                </a:cubicBezTo>
                <a:close/>
                <a:moveTo>
                  <a:pt x="1697038" y="358068"/>
                </a:moveTo>
                <a:cubicBezTo>
                  <a:pt x="1694260" y="360888"/>
                  <a:pt x="1691482" y="363707"/>
                  <a:pt x="1691482" y="366527"/>
                </a:cubicBezTo>
                <a:cubicBezTo>
                  <a:pt x="1674813" y="428558"/>
                  <a:pt x="1674813" y="476491"/>
                  <a:pt x="1691482" y="535703"/>
                </a:cubicBezTo>
                <a:cubicBezTo>
                  <a:pt x="1691482" y="541342"/>
                  <a:pt x="1694260" y="544162"/>
                  <a:pt x="1697038" y="544162"/>
                </a:cubicBezTo>
                <a:cubicBezTo>
                  <a:pt x="1699816" y="546981"/>
                  <a:pt x="1702594" y="544162"/>
                  <a:pt x="1708151" y="541342"/>
                </a:cubicBezTo>
                <a:lnTo>
                  <a:pt x="1822054" y="462393"/>
                </a:lnTo>
                <a:cubicBezTo>
                  <a:pt x="1827610" y="459574"/>
                  <a:pt x="1830388" y="456754"/>
                  <a:pt x="1830388" y="451115"/>
                </a:cubicBezTo>
                <a:cubicBezTo>
                  <a:pt x="1830388" y="448295"/>
                  <a:pt x="1827610" y="442656"/>
                  <a:pt x="1822054" y="439837"/>
                </a:cubicBezTo>
                <a:cubicBezTo>
                  <a:pt x="1822054" y="439837"/>
                  <a:pt x="1822054" y="439837"/>
                  <a:pt x="1708151" y="363707"/>
                </a:cubicBezTo>
                <a:cubicBezTo>
                  <a:pt x="1705372" y="360888"/>
                  <a:pt x="1702594" y="358068"/>
                  <a:pt x="1697038" y="358068"/>
                </a:cubicBezTo>
                <a:close/>
                <a:moveTo>
                  <a:pt x="1170028" y="343781"/>
                </a:moveTo>
                <a:cubicBezTo>
                  <a:pt x="1170028" y="343781"/>
                  <a:pt x="1170028" y="343781"/>
                  <a:pt x="1206276" y="343781"/>
                </a:cubicBezTo>
                <a:cubicBezTo>
                  <a:pt x="1211853" y="343781"/>
                  <a:pt x="1214641" y="346602"/>
                  <a:pt x="1214641" y="349423"/>
                </a:cubicBezTo>
                <a:cubicBezTo>
                  <a:pt x="1214641" y="349423"/>
                  <a:pt x="1214641" y="349423"/>
                  <a:pt x="1267619" y="541235"/>
                </a:cubicBezTo>
                <a:cubicBezTo>
                  <a:pt x="1267619" y="541235"/>
                  <a:pt x="1267619" y="541235"/>
                  <a:pt x="1270407" y="541235"/>
                </a:cubicBezTo>
                <a:cubicBezTo>
                  <a:pt x="1270407" y="541235"/>
                  <a:pt x="1270407" y="541235"/>
                  <a:pt x="1320597" y="349423"/>
                </a:cubicBezTo>
                <a:cubicBezTo>
                  <a:pt x="1320597" y="346602"/>
                  <a:pt x="1326173" y="343781"/>
                  <a:pt x="1328962" y="343781"/>
                </a:cubicBezTo>
                <a:cubicBezTo>
                  <a:pt x="1328962" y="343781"/>
                  <a:pt x="1328962" y="343781"/>
                  <a:pt x="1367998" y="343781"/>
                </a:cubicBezTo>
                <a:cubicBezTo>
                  <a:pt x="1370786" y="343781"/>
                  <a:pt x="1373575" y="343781"/>
                  <a:pt x="1373575" y="346602"/>
                </a:cubicBezTo>
                <a:cubicBezTo>
                  <a:pt x="1376363" y="349423"/>
                  <a:pt x="1376363" y="352244"/>
                  <a:pt x="1376363" y="355064"/>
                </a:cubicBezTo>
                <a:cubicBezTo>
                  <a:pt x="1376363" y="355064"/>
                  <a:pt x="1376363" y="355064"/>
                  <a:pt x="1370786" y="383272"/>
                </a:cubicBezTo>
                <a:cubicBezTo>
                  <a:pt x="1365210" y="397376"/>
                  <a:pt x="1359633" y="417121"/>
                  <a:pt x="1354057" y="439687"/>
                </a:cubicBezTo>
                <a:cubicBezTo>
                  <a:pt x="1342903" y="490461"/>
                  <a:pt x="1323385" y="560980"/>
                  <a:pt x="1309444" y="614575"/>
                </a:cubicBezTo>
                <a:cubicBezTo>
                  <a:pt x="1298290" y="662528"/>
                  <a:pt x="1273196" y="685094"/>
                  <a:pt x="1236948" y="685094"/>
                </a:cubicBezTo>
                <a:cubicBezTo>
                  <a:pt x="1234159" y="685094"/>
                  <a:pt x="1234159" y="685094"/>
                  <a:pt x="1234159" y="685094"/>
                </a:cubicBezTo>
                <a:cubicBezTo>
                  <a:pt x="1211853" y="685094"/>
                  <a:pt x="1183970" y="682273"/>
                  <a:pt x="1170028" y="676632"/>
                </a:cubicBezTo>
                <a:cubicBezTo>
                  <a:pt x="1164452" y="676632"/>
                  <a:pt x="1161663" y="673811"/>
                  <a:pt x="1161663" y="668170"/>
                </a:cubicBezTo>
                <a:cubicBezTo>
                  <a:pt x="1161663" y="668170"/>
                  <a:pt x="1161663" y="668170"/>
                  <a:pt x="1161663" y="642783"/>
                </a:cubicBezTo>
                <a:cubicBezTo>
                  <a:pt x="1161663" y="639962"/>
                  <a:pt x="1161663" y="637141"/>
                  <a:pt x="1164452" y="637141"/>
                </a:cubicBezTo>
                <a:cubicBezTo>
                  <a:pt x="1167240" y="634320"/>
                  <a:pt x="1170028" y="631500"/>
                  <a:pt x="1172817" y="634320"/>
                </a:cubicBezTo>
                <a:cubicBezTo>
                  <a:pt x="1172817" y="634320"/>
                  <a:pt x="1172817" y="634320"/>
                  <a:pt x="1220218" y="637141"/>
                </a:cubicBezTo>
                <a:cubicBezTo>
                  <a:pt x="1248101" y="637141"/>
                  <a:pt x="1250889" y="620217"/>
                  <a:pt x="1253677" y="611754"/>
                </a:cubicBezTo>
                <a:cubicBezTo>
                  <a:pt x="1253677" y="611754"/>
                  <a:pt x="1253677" y="611754"/>
                  <a:pt x="1253677" y="608933"/>
                </a:cubicBezTo>
                <a:cubicBezTo>
                  <a:pt x="1256466" y="606113"/>
                  <a:pt x="1256466" y="603292"/>
                  <a:pt x="1259254" y="597650"/>
                </a:cubicBezTo>
                <a:cubicBezTo>
                  <a:pt x="1259254" y="597650"/>
                  <a:pt x="1259254" y="597650"/>
                  <a:pt x="1248101" y="597650"/>
                </a:cubicBezTo>
                <a:cubicBezTo>
                  <a:pt x="1228583" y="597650"/>
                  <a:pt x="1217429" y="580726"/>
                  <a:pt x="1214641" y="569443"/>
                </a:cubicBezTo>
                <a:cubicBezTo>
                  <a:pt x="1214641" y="569443"/>
                  <a:pt x="1214641" y="569443"/>
                  <a:pt x="1158875" y="355064"/>
                </a:cubicBezTo>
                <a:cubicBezTo>
                  <a:pt x="1158875" y="352244"/>
                  <a:pt x="1158875" y="349423"/>
                  <a:pt x="1161663" y="346602"/>
                </a:cubicBezTo>
                <a:cubicBezTo>
                  <a:pt x="1164452" y="343781"/>
                  <a:pt x="1167240" y="343781"/>
                  <a:pt x="1170028" y="343781"/>
                </a:cubicBezTo>
                <a:close/>
                <a:moveTo>
                  <a:pt x="1116013" y="340606"/>
                </a:moveTo>
                <a:cubicBezTo>
                  <a:pt x="1118791" y="340606"/>
                  <a:pt x="1121569" y="340606"/>
                  <a:pt x="1124347" y="343432"/>
                </a:cubicBezTo>
                <a:cubicBezTo>
                  <a:pt x="1127125" y="343432"/>
                  <a:pt x="1127125" y="346258"/>
                  <a:pt x="1127125" y="349085"/>
                </a:cubicBezTo>
                <a:cubicBezTo>
                  <a:pt x="1127125" y="349085"/>
                  <a:pt x="1127125" y="349085"/>
                  <a:pt x="1127125" y="385824"/>
                </a:cubicBezTo>
                <a:cubicBezTo>
                  <a:pt x="1127125" y="388650"/>
                  <a:pt x="1124347" y="394302"/>
                  <a:pt x="1118791" y="394302"/>
                </a:cubicBezTo>
                <a:cubicBezTo>
                  <a:pt x="1085453" y="397128"/>
                  <a:pt x="1060450" y="416911"/>
                  <a:pt x="1049337" y="425389"/>
                </a:cubicBezTo>
                <a:cubicBezTo>
                  <a:pt x="1049337" y="425389"/>
                  <a:pt x="1049337" y="425389"/>
                  <a:pt x="1049337" y="589303"/>
                </a:cubicBezTo>
                <a:cubicBezTo>
                  <a:pt x="1049337" y="594955"/>
                  <a:pt x="1046559" y="597781"/>
                  <a:pt x="1041003" y="597781"/>
                </a:cubicBezTo>
                <a:cubicBezTo>
                  <a:pt x="1041003" y="597781"/>
                  <a:pt x="1041003" y="597781"/>
                  <a:pt x="1002109" y="597781"/>
                </a:cubicBezTo>
                <a:cubicBezTo>
                  <a:pt x="996553" y="597781"/>
                  <a:pt x="993775" y="594955"/>
                  <a:pt x="993775" y="589303"/>
                </a:cubicBezTo>
                <a:cubicBezTo>
                  <a:pt x="993775" y="589303"/>
                  <a:pt x="993775" y="589303"/>
                  <a:pt x="993775" y="351911"/>
                </a:cubicBezTo>
                <a:cubicBezTo>
                  <a:pt x="993775" y="346258"/>
                  <a:pt x="996553" y="343432"/>
                  <a:pt x="1002109" y="343432"/>
                </a:cubicBezTo>
                <a:cubicBezTo>
                  <a:pt x="1002109" y="343432"/>
                  <a:pt x="1002109" y="343432"/>
                  <a:pt x="1041003" y="343432"/>
                </a:cubicBezTo>
                <a:cubicBezTo>
                  <a:pt x="1046559" y="343432"/>
                  <a:pt x="1049337" y="346258"/>
                  <a:pt x="1049337" y="351911"/>
                </a:cubicBezTo>
                <a:cubicBezTo>
                  <a:pt x="1049337" y="351911"/>
                  <a:pt x="1049337" y="351911"/>
                  <a:pt x="1049337" y="368867"/>
                </a:cubicBezTo>
                <a:cubicBezTo>
                  <a:pt x="1066006" y="357563"/>
                  <a:pt x="1091009" y="340606"/>
                  <a:pt x="1116013" y="340606"/>
                </a:cubicBezTo>
                <a:close/>
                <a:moveTo>
                  <a:pt x="843157" y="335843"/>
                </a:moveTo>
                <a:cubicBezTo>
                  <a:pt x="902173" y="335843"/>
                  <a:pt x="930276" y="364084"/>
                  <a:pt x="930276" y="423390"/>
                </a:cubicBezTo>
                <a:cubicBezTo>
                  <a:pt x="930276" y="592835"/>
                  <a:pt x="930276" y="592835"/>
                  <a:pt x="930276" y="592835"/>
                </a:cubicBezTo>
                <a:cubicBezTo>
                  <a:pt x="930276" y="595659"/>
                  <a:pt x="927466" y="598483"/>
                  <a:pt x="927466" y="601307"/>
                </a:cubicBezTo>
                <a:cubicBezTo>
                  <a:pt x="924656" y="604131"/>
                  <a:pt x="921845" y="604131"/>
                  <a:pt x="919035" y="604131"/>
                </a:cubicBezTo>
                <a:cubicBezTo>
                  <a:pt x="899363" y="601307"/>
                  <a:pt x="890932" y="595659"/>
                  <a:pt x="879691" y="587187"/>
                </a:cubicBezTo>
                <a:cubicBezTo>
                  <a:pt x="879691" y="587187"/>
                  <a:pt x="837536" y="604131"/>
                  <a:pt x="798192" y="604131"/>
                </a:cubicBezTo>
                <a:cubicBezTo>
                  <a:pt x="750416" y="604131"/>
                  <a:pt x="722313" y="575890"/>
                  <a:pt x="722313" y="522233"/>
                </a:cubicBezTo>
                <a:cubicBezTo>
                  <a:pt x="722313" y="471399"/>
                  <a:pt x="747606" y="448807"/>
                  <a:pt x="809433" y="445983"/>
                </a:cubicBezTo>
                <a:cubicBezTo>
                  <a:pt x="871260" y="440334"/>
                  <a:pt x="871260" y="440334"/>
                  <a:pt x="871260" y="440334"/>
                </a:cubicBezTo>
                <a:cubicBezTo>
                  <a:pt x="871260" y="423390"/>
                  <a:pt x="871260" y="423390"/>
                  <a:pt x="871260" y="423390"/>
                </a:cubicBezTo>
                <a:cubicBezTo>
                  <a:pt x="871260" y="403621"/>
                  <a:pt x="860018" y="392325"/>
                  <a:pt x="840346" y="392325"/>
                </a:cubicBezTo>
                <a:cubicBezTo>
                  <a:pt x="812243" y="392325"/>
                  <a:pt x="772899" y="397973"/>
                  <a:pt x="750416" y="397973"/>
                </a:cubicBezTo>
                <a:cubicBezTo>
                  <a:pt x="747606" y="397973"/>
                  <a:pt x="747606" y="397973"/>
                  <a:pt x="744796" y="395149"/>
                </a:cubicBezTo>
                <a:cubicBezTo>
                  <a:pt x="741985" y="395149"/>
                  <a:pt x="741985" y="392325"/>
                  <a:pt x="741985" y="389501"/>
                </a:cubicBezTo>
                <a:cubicBezTo>
                  <a:pt x="739175" y="355612"/>
                  <a:pt x="739175" y="355612"/>
                  <a:pt x="739175" y="355612"/>
                </a:cubicBezTo>
                <a:cubicBezTo>
                  <a:pt x="739175" y="352788"/>
                  <a:pt x="741985" y="347140"/>
                  <a:pt x="747606" y="347140"/>
                </a:cubicBezTo>
                <a:cubicBezTo>
                  <a:pt x="767278" y="344316"/>
                  <a:pt x="815054" y="335843"/>
                  <a:pt x="843157" y="335843"/>
                </a:cubicBezTo>
                <a:close/>
                <a:moveTo>
                  <a:pt x="396875" y="335843"/>
                </a:moveTo>
                <a:cubicBezTo>
                  <a:pt x="460001" y="335843"/>
                  <a:pt x="511175" y="395901"/>
                  <a:pt x="511175" y="469987"/>
                </a:cubicBezTo>
                <a:cubicBezTo>
                  <a:pt x="511175" y="544073"/>
                  <a:pt x="460001" y="604131"/>
                  <a:pt x="396875" y="604131"/>
                </a:cubicBezTo>
                <a:cubicBezTo>
                  <a:pt x="333749" y="604131"/>
                  <a:pt x="282575" y="544073"/>
                  <a:pt x="282575" y="469987"/>
                </a:cubicBezTo>
                <a:cubicBezTo>
                  <a:pt x="282575" y="395901"/>
                  <a:pt x="333749" y="335843"/>
                  <a:pt x="396875" y="335843"/>
                </a:cubicBezTo>
                <a:close/>
                <a:moveTo>
                  <a:pt x="103585" y="300918"/>
                </a:moveTo>
                <a:cubicBezTo>
                  <a:pt x="81360" y="300918"/>
                  <a:pt x="67470" y="300918"/>
                  <a:pt x="61913" y="303759"/>
                </a:cubicBezTo>
                <a:cubicBezTo>
                  <a:pt x="61913" y="406027"/>
                  <a:pt x="61913" y="406027"/>
                  <a:pt x="61913" y="406027"/>
                </a:cubicBezTo>
                <a:cubicBezTo>
                  <a:pt x="73026" y="406027"/>
                  <a:pt x="92473" y="408868"/>
                  <a:pt x="123032" y="406027"/>
                </a:cubicBezTo>
                <a:cubicBezTo>
                  <a:pt x="159148" y="406027"/>
                  <a:pt x="184151" y="386142"/>
                  <a:pt x="184151" y="354893"/>
                </a:cubicBezTo>
                <a:cubicBezTo>
                  <a:pt x="184151" y="329326"/>
                  <a:pt x="167482" y="300918"/>
                  <a:pt x="125810" y="300918"/>
                </a:cubicBezTo>
                <a:cubicBezTo>
                  <a:pt x="103585" y="300918"/>
                  <a:pt x="103585" y="300918"/>
                  <a:pt x="103585" y="300918"/>
                </a:cubicBezTo>
                <a:close/>
                <a:moveTo>
                  <a:pt x="614557" y="285043"/>
                </a:moveTo>
                <a:cubicBezTo>
                  <a:pt x="617342" y="285043"/>
                  <a:pt x="620127" y="285043"/>
                  <a:pt x="622912" y="285043"/>
                </a:cubicBezTo>
                <a:cubicBezTo>
                  <a:pt x="622912" y="287870"/>
                  <a:pt x="625698" y="290697"/>
                  <a:pt x="625698" y="293524"/>
                </a:cubicBezTo>
                <a:cubicBezTo>
                  <a:pt x="625698" y="344407"/>
                  <a:pt x="625698" y="344407"/>
                  <a:pt x="625698" y="344407"/>
                </a:cubicBezTo>
                <a:cubicBezTo>
                  <a:pt x="684184" y="344407"/>
                  <a:pt x="684184" y="344407"/>
                  <a:pt x="684184" y="344407"/>
                </a:cubicBezTo>
                <a:cubicBezTo>
                  <a:pt x="689755" y="344407"/>
                  <a:pt x="692540" y="347234"/>
                  <a:pt x="692540" y="352888"/>
                </a:cubicBezTo>
                <a:cubicBezTo>
                  <a:pt x="692540" y="386811"/>
                  <a:pt x="692540" y="386811"/>
                  <a:pt x="692540" y="386811"/>
                </a:cubicBezTo>
                <a:cubicBezTo>
                  <a:pt x="692540" y="392464"/>
                  <a:pt x="689755" y="395291"/>
                  <a:pt x="684184" y="395291"/>
                </a:cubicBezTo>
                <a:cubicBezTo>
                  <a:pt x="625698" y="395291"/>
                  <a:pt x="625698" y="395291"/>
                  <a:pt x="625698" y="395291"/>
                </a:cubicBezTo>
                <a:cubicBezTo>
                  <a:pt x="625698" y="499885"/>
                  <a:pt x="625698" y="499885"/>
                  <a:pt x="625698" y="499885"/>
                </a:cubicBezTo>
                <a:cubicBezTo>
                  <a:pt x="625698" y="536635"/>
                  <a:pt x="625698" y="550769"/>
                  <a:pt x="650763" y="550769"/>
                </a:cubicBezTo>
                <a:cubicBezTo>
                  <a:pt x="661904" y="550769"/>
                  <a:pt x="675829" y="547942"/>
                  <a:pt x="684184" y="547942"/>
                </a:cubicBezTo>
                <a:cubicBezTo>
                  <a:pt x="689755" y="547942"/>
                  <a:pt x="692540" y="553596"/>
                  <a:pt x="692540" y="559249"/>
                </a:cubicBezTo>
                <a:cubicBezTo>
                  <a:pt x="695325" y="590345"/>
                  <a:pt x="695325" y="590345"/>
                  <a:pt x="695325" y="590345"/>
                </a:cubicBezTo>
                <a:cubicBezTo>
                  <a:pt x="695325" y="595999"/>
                  <a:pt x="692540" y="598826"/>
                  <a:pt x="686969" y="601652"/>
                </a:cubicBezTo>
                <a:cubicBezTo>
                  <a:pt x="673044" y="601652"/>
                  <a:pt x="656334" y="607306"/>
                  <a:pt x="642408" y="607306"/>
                </a:cubicBezTo>
                <a:cubicBezTo>
                  <a:pt x="586706" y="607306"/>
                  <a:pt x="567211" y="584691"/>
                  <a:pt x="567211" y="508366"/>
                </a:cubicBezTo>
                <a:cubicBezTo>
                  <a:pt x="567211" y="395291"/>
                  <a:pt x="567211" y="395291"/>
                  <a:pt x="567211" y="395291"/>
                </a:cubicBezTo>
                <a:cubicBezTo>
                  <a:pt x="544930" y="395291"/>
                  <a:pt x="544930" y="395291"/>
                  <a:pt x="544930" y="395291"/>
                </a:cubicBezTo>
                <a:cubicBezTo>
                  <a:pt x="539360" y="395291"/>
                  <a:pt x="536575" y="392464"/>
                  <a:pt x="536575" y="386811"/>
                </a:cubicBezTo>
                <a:cubicBezTo>
                  <a:pt x="536575" y="352888"/>
                  <a:pt x="536575" y="352888"/>
                  <a:pt x="536575" y="352888"/>
                </a:cubicBezTo>
                <a:cubicBezTo>
                  <a:pt x="536575" y="347234"/>
                  <a:pt x="539360" y="344407"/>
                  <a:pt x="544930" y="344407"/>
                </a:cubicBezTo>
                <a:cubicBezTo>
                  <a:pt x="567211" y="344407"/>
                  <a:pt x="567211" y="344407"/>
                  <a:pt x="567211" y="344407"/>
                </a:cubicBezTo>
                <a:cubicBezTo>
                  <a:pt x="567211" y="302004"/>
                  <a:pt x="567211" y="302004"/>
                  <a:pt x="567211" y="302004"/>
                </a:cubicBezTo>
                <a:cubicBezTo>
                  <a:pt x="567211" y="299178"/>
                  <a:pt x="569996" y="296351"/>
                  <a:pt x="575566" y="293524"/>
                </a:cubicBezTo>
                <a:cubicBezTo>
                  <a:pt x="614557" y="285043"/>
                  <a:pt x="614557" y="285043"/>
                  <a:pt x="614557" y="285043"/>
                </a:cubicBezTo>
                <a:close/>
                <a:moveTo>
                  <a:pt x="117618" y="245356"/>
                </a:moveTo>
                <a:cubicBezTo>
                  <a:pt x="123219" y="245356"/>
                  <a:pt x="126019" y="245356"/>
                  <a:pt x="126019" y="245356"/>
                </a:cubicBezTo>
                <a:cubicBezTo>
                  <a:pt x="224034" y="245356"/>
                  <a:pt x="246438" y="304564"/>
                  <a:pt x="246438" y="352493"/>
                </a:cubicBezTo>
                <a:cubicBezTo>
                  <a:pt x="246438" y="394784"/>
                  <a:pt x="226835" y="425798"/>
                  <a:pt x="184828" y="445534"/>
                </a:cubicBezTo>
                <a:lnTo>
                  <a:pt x="249238" y="586504"/>
                </a:lnTo>
                <a:cubicBezTo>
                  <a:pt x="249238" y="589323"/>
                  <a:pt x="249238" y="592142"/>
                  <a:pt x="246438" y="594962"/>
                </a:cubicBezTo>
                <a:cubicBezTo>
                  <a:pt x="246438" y="597781"/>
                  <a:pt x="243637" y="597781"/>
                  <a:pt x="238037" y="597781"/>
                </a:cubicBezTo>
                <a:cubicBezTo>
                  <a:pt x="193230" y="597781"/>
                  <a:pt x="193230" y="597781"/>
                  <a:pt x="193230" y="597781"/>
                </a:cubicBezTo>
                <a:cubicBezTo>
                  <a:pt x="190429" y="597781"/>
                  <a:pt x="187629" y="597781"/>
                  <a:pt x="184828" y="592142"/>
                </a:cubicBezTo>
                <a:cubicBezTo>
                  <a:pt x="128820" y="462450"/>
                  <a:pt x="128820" y="462450"/>
                  <a:pt x="128820" y="462450"/>
                </a:cubicBezTo>
                <a:cubicBezTo>
                  <a:pt x="98015" y="462450"/>
                  <a:pt x="72811" y="459631"/>
                  <a:pt x="61610" y="459631"/>
                </a:cubicBezTo>
                <a:cubicBezTo>
                  <a:pt x="61610" y="589323"/>
                  <a:pt x="61610" y="589323"/>
                  <a:pt x="61610" y="589323"/>
                </a:cubicBezTo>
                <a:cubicBezTo>
                  <a:pt x="61610" y="594962"/>
                  <a:pt x="56009" y="597781"/>
                  <a:pt x="50408" y="597781"/>
                </a:cubicBezTo>
                <a:cubicBezTo>
                  <a:pt x="11202" y="597781"/>
                  <a:pt x="11202" y="597781"/>
                  <a:pt x="11202" y="597781"/>
                </a:cubicBezTo>
                <a:cubicBezTo>
                  <a:pt x="5601" y="597781"/>
                  <a:pt x="0" y="594962"/>
                  <a:pt x="0" y="589323"/>
                </a:cubicBezTo>
                <a:cubicBezTo>
                  <a:pt x="0" y="262273"/>
                  <a:pt x="0" y="262273"/>
                  <a:pt x="0" y="262273"/>
                </a:cubicBezTo>
                <a:cubicBezTo>
                  <a:pt x="0" y="256634"/>
                  <a:pt x="5601" y="250995"/>
                  <a:pt x="8402" y="250995"/>
                </a:cubicBezTo>
                <a:cubicBezTo>
                  <a:pt x="61610" y="245356"/>
                  <a:pt x="103616" y="245356"/>
                  <a:pt x="117618" y="245356"/>
                </a:cubicBezTo>
                <a:close/>
                <a:moveTo>
                  <a:pt x="1968123" y="200530"/>
                </a:moveTo>
                <a:cubicBezTo>
                  <a:pt x="1965325" y="203328"/>
                  <a:pt x="1965325" y="206126"/>
                  <a:pt x="1965325" y="211723"/>
                </a:cubicBezTo>
                <a:cubicBezTo>
                  <a:pt x="1965325" y="211723"/>
                  <a:pt x="1965325" y="211723"/>
                  <a:pt x="1976518" y="348840"/>
                </a:cubicBezTo>
                <a:cubicBezTo>
                  <a:pt x="1976518" y="354436"/>
                  <a:pt x="1979317" y="360033"/>
                  <a:pt x="1982115" y="362831"/>
                </a:cubicBezTo>
                <a:cubicBezTo>
                  <a:pt x="1984913" y="362831"/>
                  <a:pt x="1990510" y="362831"/>
                  <a:pt x="1996106" y="360033"/>
                </a:cubicBezTo>
                <a:cubicBezTo>
                  <a:pt x="1996106" y="360033"/>
                  <a:pt x="1996106" y="360033"/>
                  <a:pt x="2119232" y="301269"/>
                </a:cubicBezTo>
                <a:cubicBezTo>
                  <a:pt x="2124828" y="298470"/>
                  <a:pt x="2127627" y="298470"/>
                  <a:pt x="2130425" y="292874"/>
                </a:cubicBezTo>
                <a:cubicBezTo>
                  <a:pt x="2130425" y="290075"/>
                  <a:pt x="2127627" y="287277"/>
                  <a:pt x="2124828" y="284479"/>
                </a:cubicBezTo>
                <a:cubicBezTo>
                  <a:pt x="2082854" y="239706"/>
                  <a:pt x="2038081" y="214521"/>
                  <a:pt x="1979317" y="200530"/>
                </a:cubicBezTo>
                <a:cubicBezTo>
                  <a:pt x="1976518" y="197731"/>
                  <a:pt x="1970922" y="197731"/>
                  <a:pt x="1968123" y="200530"/>
                </a:cubicBezTo>
                <a:close/>
                <a:moveTo>
                  <a:pt x="1890255" y="199484"/>
                </a:moveTo>
                <a:cubicBezTo>
                  <a:pt x="1888156" y="199835"/>
                  <a:pt x="1886057" y="200536"/>
                  <a:pt x="1884658" y="200536"/>
                </a:cubicBezTo>
                <a:cubicBezTo>
                  <a:pt x="1825894" y="214559"/>
                  <a:pt x="1781121" y="239800"/>
                  <a:pt x="1739147" y="284673"/>
                </a:cubicBezTo>
                <a:cubicBezTo>
                  <a:pt x="1736348" y="287478"/>
                  <a:pt x="1733550" y="290282"/>
                  <a:pt x="1733550" y="293087"/>
                </a:cubicBezTo>
                <a:cubicBezTo>
                  <a:pt x="1736348" y="298696"/>
                  <a:pt x="1739147" y="301501"/>
                  <a:pt x="1744743" y="301501"/>
                </a:cubicBezTo>
                <a:cubicBezTo>
                  <a:pt x="1744743" y="301501"/>
                  <a:pt x="1744743" y="301501"/>
                  <a:pt x="1867869" y="363202"/>
                </a:cubicBezTo>
                <a:cubicBezTo>
                  <a:pt x="1873465" y="366006"/>
                  <a:pt x="1876264" y="366006"/>
                  <a:pt x="1881860" y="363202"/>
                </a:cubicBezTo>
                <a:cubicBezTo>
                  <a:pt x="1884658" y="360397"/>
                  <a:pt x="1887457" y="357592"/>
                  <a:pt x="1887457" y="351983"/>
                </a:cubicBezTo>
                <a:cubicBezTo>
                  <a:pt x="1887457" y="351983"/>
                  <a:pt x="1887457" y="351983"/>
                  <a:pt x="1898650" y="214559"/>
                </a:cubicBezTo>
                <a:cubicBezTo>
                  <a:pt x="1898650" y="206145"/>
                  <a:pt x="1895852" y="203340"/>
                  <a:pt x="1895852" y="200536"/>
                </a:cubicBezTo>
                <a:cubicBezTo>
                  <a:pt x="1894453" y="199134"/>
                  <a:pt x="1892354" y="199134"/>
                  <a:pt x="1890255" y="199484"/>
                </a:cubicBezTo>
                <a:close/>
                <a:moveTo>
                  <a:pt x="1932782" y="151693"/>
                </a:moveTo>
                <a:cubicBezTo>
                  <a:pt x="2095420" y="151693"/>
                  <a:pt x="2227264" y="284959"/>
                  <a:pt x="2227264" y="449350"/>
                </a:cubicBezTo>
                <a:cubicBezTo>
                  <a:pt x="2227264" y="613741"/>
                  <a:pt x="2095420" y="747007"/>
                  <a:pt x="1932782" y="747007"/>
                </a:cubicBezTo>
                <a:cubicBezTo>
                  <a:pt x="1770144" y="747007"/>
                  <a:pt x="1638300" y="613741"/>
                  <a:pt x="1638300" y="449350"/>
                </a:cubicBezTo>
                <a:cubicBezTo>
                  <a:pt x="1638300" y="284959"/>
                  <a:pt x="1770144" y="151693"/>
                  <a:pt x="1932782" y="151693"/>
                </a:cubicBezTo>
                <a:close/>
                <a:moveTo>
                  <a:pt x="1931988" y="108832"/>
                </a:moveTo>
                <a:cubicBezTo>
                  <a:pt x="1746993" y="108832"/>
                  <a:pt x="1597025" y="260577"/>
                  <a:pt x="1597025" y="447764"/>
                </a:cubicBezTo>
                <a:cubicBezTo>
                  <a:pt x="1597025" y="634951"/>
                  <a:pt x="1746993" y="786696"/>
                  <a:pt x="1931988" y="786696"/>
                </a:cubicBezTo>
                <a:cubicBezTo>
                  <a:pt x="2116983" y="786696"/>
                  <a:pt x="2266951" y="634951"/>
                  <a:pt x="2266951" y="447764"/>
                </a:cubicBezTo>
                <a:cubicBezTo>
                  <a:pt x="2266951" y="260577"/>
                  <a:pt x="2116983" y="108832"/>
                  <a:pt x="1931988" y="108832"/>
                </a:cubicBezTo>
                <a:close/>
                <a:moveTo>
                  <a:pt x="1914436" y="2117"/>
                </a:moveTo>
                <a:cubicBezTo>
                  <a:pt x="1914436" y="2117"/>
                  <a:pt x="1914436" y="2117"/>
                  <a:pt x="1917229" y="2117"/>
                </a:cubicBezTo>
                <a:cubicBezTo>
                  <a:pt x="1925608" y="-706"/>
                  <a:pt x="1936781" y="-706"/>
                  <a:pt x="1945160" y="2117"/>
                </a:cubicBezTo>
                <a:cubicBezTo>
                  <a:pt x="1945160" y="2117"/>
                  <a:pt x="1945160" y="2117"/>
                  <a:pt x="1947953" y="2117"/>
                </a:cubicBezTo>
                <a:cubicBezTo>
                  <a:pt x="1959125" y="21876"/>
                  <a:pt x="1964711" y="47281"/>
                  <a:pt x="1964711" y="69864"/>
                </a:cubicBezTo>
                <a:cubicBezTo>
                  <a:pt x="1970297" y="69864"/>
                  <a:pt x="1992641" y="72686"/>
                  <a:pt x="1995434" y="75509"/>
                </a:cubicBezTo>
                <a:cubicBezTo>
                  <a:pt x="2001020" y="50104"/>
                  <a:pt x="2014985" y="27522"/>
                  <a:pt x="2031743" y="13408"/>
                </a:cubicBezTo>
                <a:cubicBezTo>
                  <a:pt x="2042915" y="13408"/>
                  <a:pt x="2054087" y="16231"/>
                  <a:pt x="2059673" y="19054"/>
                </a:cubicBezTo>
                <a:cubicBezTo>
                  <a:pt x="2059673" y="19054"/>
                  <a:pt x="2059673" y="19054"/>
                  <a:pt x="2062466" y="19054"/>
                </a:cubicBezTo>
                <a:cubicBezTo>
                  <a:pt x="2062466" y="19054"/>
                  <a:pt x="2062466" y="19054"/>
                  <a:pt x="2062466" y="21876"/>
                </a:cubicBezTo>
                <a:cubicBezTo>
                  <a:pt x="2065259" y="33168"/>
                  <a:pt x="2068052" y="44459"/>
                  <a:pt x="2068052" y="55750"/>
                </a:cubicBezTo>
                <a:cubicBezTo>
                  <a:pt x="2068052" y="69864"/>
                  <a:pt x="2065259" y="81155"/>
                  <a:pt x="2062466" y="92446"/>
                </a:cubicBezTo>
                <a:cubicBezTo>
                  <a:pt x="2065259" y="95269"/>
                  <a:pt x="2087603" y="103737"/>
                  <a:pt x="2090396" y="103737"/>
                </a:cubicBezTo>
                <a:cubicBezTo>
                  <a:pt x="2104361" y="83977"/>
                  <a:pt x="2121119" y="64218"/>
                  <a:pt x="2140670" y="55750"/>
                </a:cubicBezTo>
                <a:cubicBezTo>
                  <a:pt x="2140670" y="55750"/>
                  <a:pt x="2140670" y="55750"/>
                  <a:pt x="2140670" y="52927"/>
                </a:cubicBezTo>
                <a:cubicBezTo>
                  <a:pt x="2140670" y="52927"/>
                  <a:pt x="2140670" y="52927"/>
                  <a:pt x="2143463" y="55750"/>
                </a:cubicBezTo>
                <a:cubicBezTo>
                  <a:pt x="2149049" y="58573"/>
                  <a:pt x="2160221" y="64218"/>
                  <a:pt x="2168600" y="69864"/>
                </a:cubicBezTo>
                <a:cubicBezTo>
                  <a:pt x="2168600" y="69864"/>
                  <a:pt x="2168600" y="72686"/>
                  <a:pt x="2168600" y="72686"/>
                </a:cubicBezTo>
                <a:cubicBezTo>
                  <a:pt x="2168600" y="95269"/>
                  <a:pt x="2163014" y="117851"/>
                  <a:pt x="2149049" y="140433"/>
                </a:cubicBezTo>
                <a:cubicBezTo>
                  <a:pt x="2151842" y="143256"/>
                  <a:pt x="2171393" y="157370"/>
                  <a:pt x="2174186" y="157370"/>
                </a:cubicBezTo>
                <a:cubicBezTo>
                  <a:pt x="2190944" y="140433"/>
                  <a:pt x="2213288" y="129142"/>
                  <a:pt x="2235633" y="123496"/>
                </a:cubicBezTo>
                <a:cubicBezTo>
                  <a:pt x="2244012" y="129142"/>
                  <a:pt x="2252391" y="137610"/>
                  <a:pt x="2257977" y="143256"/>
                </a:cubicBezTo>
                <a:cubicBezTo>
                  <a:pt x="2257977" y="143256"/>
                  <a:pt x="2257977" y="143256"/>
                  <a:pt x="2257977" y="146079"/>
                </a:cubicBezTo>
                <a:cubicBezTo>
                  <a:pt x="2252391" y="168661"/>
                  <a:pt x="2238425" y="191243"/>
                  <a:pt x="2221667" y="208180"/>
                </a:cubicBezTo>
                <a:cubicBezTo>
                  <a:pt x="2224461" y="211002"/>
                  <a:pt x="2238425" y="230762"/>
                  <a:pt x="2241219" y="230762"/>
                </a:cubicBezTo>
                <a:cubicBezTo>
                  <a:pt x="2260770" y="219471"/>
                  <a:pt x="2285907" y="213825"/>
                  <a:pt x="2308251" y="213825"/>
                </a:cubicBezTo>
                <a:cubicBezTo>
                  <a:pt x="2308251" y="213825"/>
                  <a:pt x="2308251" y="213825"/>
                  <a:pt x="2311044" y="213825"/>
                </a:cubicBezTo>
                <a:cubicBezTo>
                  <a:pt x="2316630" y="222293"/>
                  <a:pt x="2322216" y="233585"/>
                  <a:pt x="2325009" y="239230"/>
                </a:cubicBezTo>
                <a:cubicBezTo>
                  <a:pt x="2325009" y="239230"/>
                  <a:pt x="2325009" y="239230"/>
                  <a:pt x="2325009" y="242053"/>
                </a:cubicBezTo>
                <a:cubicBezTo>
                  <a:pt x="2313837" y="261812"/>
                  <a:pt x="2297079" y="281572"/>
                  <a:pt x="2274735" y="292863"/>
                </a:cubicBezTo>
                <a:cubicBezTo>
                  <a:pt x="2277528" y="295686"/>
                  <a:pt x="2285907" y="318268"/>
                  <a:pt x="2285907" y="321091"/>
                </a:cubicBezTo>
                <a:cubicBezTo>
                  <a:pt x="2311044" y="315445"/>
                  <a:pt x="2336181" y="312622"/>
                  <a:pt x="2355732" y="321091"/>
                </a:cubicBezTo>
                <a:cubicBezTo>
                  <a:pt x="2355732" y="321091"/>
                  <a:pt x="2355732" y="321091"/>
                  <a:pt x="2358525" y="321091"/>
                </a:cubicBezTo>
                <a:cubicBezTo>
                  <a:pt x="2361318" y="329559"/>
                  <a:pt x="2364111" y="340850"/>
                  <a:pt x="2366904" y="349318"/>
                </a:cubicBezTo>
                <a:cubicBezTo>
                  <a:pt x="2366904" y="349318"/>
                  <a:pt x="2366904" y="349318"/>
                  <a:pt x="2366904" y="352141"/>
                </a:cubicBezTo>
                <a:cubicBezTo>
                  <a:pt x="2366904" y="352141"/>
                  <a:pt x="2366904" y="352141"/>
                  <a:pt x="2364111" y="352141"/>
                </a:cubicBezTo>
                <a:cubicBezTo>
                  <a:pt x="2350146" y="369078"/>
                  <a:pt x="2327802" y="380369"/>
                  <a:pt x="2305458" y="388837"/>
                </a:cubicBezTo>
                <a:cubicBezTo>
                  <a:pt x="2305458" y="391660"/>
                  <a:pt x="2308251" y="414242"/>
                  <a:pt x="2308251" y="417065"/>
                </a:cubicBezTo>
                <a:cubicBezTo>
                  <a:pt x="2333388" y="417065"/>
                  <a:pt x="2358525" y="425533"/>
                  <a:pt x="2375283" y="436824"/>
                </a:cubicBezTo>
                <a:cubicBezTo>
                  <a:pt x="2375283" y="436824"/>
                  <a:pt x="2375283" y="436824"/>
                  <a:pt x="2378076" y="436824"/>
                </a:cubicBezTo>
                <a:cubicBezTo>
                  <a:pt x="2378076" y="442470"/>
                  <a:pt x="2378076" y="448115"/>
                  <a:pt x="2378076" y="450938"/>
                </a:cubicBezTo>
                <a:cubicBezTo>
                  <a:pt x="2378076" y="456584"/>
                  <a:pt x="2378076" y="462229"/>
                  <a:pt x="2378076" y="467875"/>
                </a:cubicBezTo>
                <a:cubicBezTo>
                  <a:pt x="2378076" y="467875"/>
                  <a:pt x="2378076" y="467875"/>
                  <a:pt x="2375283" y="467875"/>
                </a:cubicBezTo>
                <a:cubicBezTo>
                  <a:pt x="2358525" y="479166"/>
                  <a:pt x="2333388" y="487634"/>
                  <a:pt x="2308251" y="487634"/>
                </a:cubicBezTo>
                <a:cubicBezTo>
                  <a:pt x="2308251" y="490457"/>
                  <a:pt x="2305458" y="513039"/>
                  <a:pt x="2302665" y="515862"/>
                </a:cubicBezTo>
                <a:cubicBezTo>
                  <a:pt x="2327802" y="524330"/>
                  <a:pt x="2350146" y="535621"/>
                  <a:pt x="2364111" y="552558"/>
                </a:cubicBezTo>
                <a:cubicBezTo>
                  <a:pt x="2364111" y="552558"/>
                  <a:pt x="2364111" y="552558"/>
                  <a:pt x="2364111" y="555381"/>
                </a:cubicBezTo>
                <a:cubicBezTo>
                  <a:pt x="2364111" y="563849"/>
                  <a:pt x="2361318" y="575140"/>
                  <a:pt x="2358525" y="583609"/>
                </a:cubicBezTo>
                <a:cubicBezTo>
                  <a:pt x="2358525" y="583609"/>
                  <a:pt x="2358525" y="583609"/>
                  <a:pt x="2355732" y="583609"/>
                </a:cubicBezTo>
                <a:cubicBezTo>
                  <a:pt x="2333388" y="589254"/>
                  <a:pt x="2308251" y="589254"/>
                  <a:pt x="2285907" y="583609"/>
                </a:cubicBezTo>
                <a:cubicBezTo>
                  <a:pt x="2285907" y="586431"/>
                  <a:pt x="2274735" y="606191"/>
                  <a:pt x="2274735" y="611836"/>
                </a:cubicBezTo>
                <a:cubicBezTo>
                  <a:pt x="2294286" y="623127"/>
                  <a:pt x="2313837" y="642887"/>
                  <a:pt x="2325009" y="659824"/>
                </a:cubicBezTo>
                <a:cubicBezTo>
                  <a:pt x="2325009" y="659824"/>
                  <a:pt x="2325009" y="659824"/>
                  <a:pt x="2325009" y="662646"/>
                </a:cubicBezTo>
                <a:cubicBezTo>
                  <a:pt x="2322216" y="671115"/>
                  <a:pt x="2313837" y="682406"/>
                  <a:pt x="2311044" y="688051"/>
                </a:cubicBezTo>
                <a:cubicBezTo>
                  <a:pt x="2311044" y="688051"/>
                  <a:pt x="2311044" y="688051"/>
                  <a:pt x="2308251" y="690874"/>
                </a:cubicBezTo>
                <a:cubicBezTo>
                  <a:pt x="2285907" y="690874"/>
                  <a:pt x="2260770" y="682406"/>
                  <a:pt x="2238425" y="671115"/>
                </a:cubicBezTo>
                <a:cubicBezTo>
                  <a:pt x="2238425" y="673937"/>
                  <a:pt x="2224461" y="693697"/>
                  <a:pt x="2221667" y="696520"/>
                </a:cubicBezTo>
                <a:cubicBezTo>
                  <a:pt x="2238425" y="713456"/>
                  <a:pt x="2252391" y="736038"/>
                  <a:pt x="2257977" y="758621"/>
                </a:cubicBezTo>
                <a:cubicBezTo>
                  <a:pt x="2257977" y="758621"/>
                  <a:pt x="2257977" y="758621"/>
                  <a:pt x="2255184" y="758621"/>
                </a:cubicBezTo>
                <a:cubicBezTo>
                  <a:pt x="2252391" y="767089"/>
                  <a:pt x="2241219" y="775557"/>
                  <a:pt x="2235633" y="781203"/>
                </a:cubicBezTo>
                <a:cubicBezTo>
                  <a:pt x="2235633" y="781203"/>
                  <a:pt x="2235633" y="781203"/>
                  <a:pt x="2232839" y="781203"/>
                </a:cubicBezTo>
                <a:cubicBezTo>
                  <a:pt x="2213288" y="775557"/>
                  <a:pt x="2190944" y="761443"/>
                  <a:pt x="2171393" y="744507"/>
                </a:cubicBezTo>
                <a:cubicBezTo>
                  <a:pt x="2168600" y="747330"/>
                  <a:pt x="2151842" y="761443"/>
                  <a:pt x="2149049" y="764266"/>
                </a:cubicBezTo>
                <a:cubicBezTo>
                  <a:pt x="2160221" y="784026"/>
                  <a:pt x="2168600" y="809431"/>
                  <a:pt x="2168600" y="829190"/>
                </a:cubicBezTo>
                <a:cubicBezTo>
                  <a:pt x="2168600" y="832013"/>
                  <a:pt x="2168600" y="832013"/>
                  <a:pt x="2168600" y="832013"/>
                </a:cubicBezTo>
                <a:cubicBezTo>
                  <a:pt x="2168600" y="832013"/>
                  <a:pt x="2168600" y="832013"/>
                  <a:pt x="2165807" y="834836"/>
                </a:cubicBezTo>
                <a:cubicBezTo>
                  <a:pt x="2160221" y="840481"/>
                  <a:pt x="2149049" y="846127"/>
                  <a:pt x="2140670" y="848949"/>
                </a:cubicBezTo>
                <a:cubicBezTo>
                  <a:pt x="2121119" y="837658"/>
                  <a:pt x="2101568" y="820722"/>
                  <a:pt x="2090396" y="798140"/>
                </a:cubicBezTo>
                <a:cubicBezTo>
                  <a:pt x="2087603" y="800962"/>
                  <a:pt x="2065259" y="809431"/>
                  <a:pt x="2062466" y="809431"/>
                </a:cubicBezTo>
                <a:cubicBezTo>
                  <a:pt x="2065259" y="820722"/>
                  <a:pt x="2065259" y="834836"/>
                  <a:pt x="2065259" y="846127"/>
                </a:cubicBezTo>
                <a:cubicBezTo>
                  <a:pt x="2065259" y="857418"/>
                  <a:pt x="2065259" y="871532"/>
                  <a:pt x="2062466" y="882823"/>
                </a:cubicBezTo>
                <a:cubicBezTo>
                  <a:pt x="2062466" y="882823"/>
                  <a:pt x="2062466" y="882823"/>
                  <a:pt x="2059673" y="882823"/>
                </a:cubicBezTo>
                <a:cubicBezTo>
                  <a:pt x="2054087" y="885646"/>
                  <a:pt x="2040122" y="888468"/>
                  <a:pt x="2031743" y="891291"/>
                </a:cubicBezTo>
                <a:cubicBezTo>
                  <a:pt x="2014985" y="874354"/>
                  <a:pt x="2001020" y="851772"/>
                  <a:pt x="1995434" y="829190"/>
                </a:cubicBezTo>
                <a:cubicBezTo>
                  <a:pt x="1992641" y="829190"/>
                  <a:pt x="1970297" y="832013"/>
                  <a:pt x="1967504" y="832013"/>
                </a:cubicBezTo>
                <a:cubicBezTo>
                  <a:pt x="1964711" y="857418"/>
                  <a:pt x="1959125" y="882823"/>
                  <a:pt x="1947953" y="902582"/>
                </a:cubicBezTo>
                <a:cubicBezTo>
                  <a:pt x="1947953" y="902582"/>
                  <a:pt x="1947953" y="902582"/>
                  <a:pt x="1945160" y="902582"/>
                </a:cubicBezTo>
                <a:cubicBezTo>
                  <a:pt x="1939574" y="902582"/>
                  <a:pt x="1925608" y="902582"/>
                  <a:pt x="1917229" y="902582"/>
                </a:cubicBezTo>
                <a:cubicBezTo>
                  <a:pt x="1917229" y="902582"/>
                  <a:pt x="1917229" y="902582"/>
                  <a:pt x="1914436" y="902582"/>
                </a:cubicBezTo>
                <a:cubicBezTo>
                  <a:pt x="1903264" y="882823"/>
                  <a:pt x="1897678" y="857418"/>
                  <a:pt x="1897678" y="832013"/>
                </a:cubicBezTo>
                <a:cubicBezTo>
                  <a:pt x="1894885" y="832013"/>
                  <a:pt x="1869748" y="829190"/>
                  <a:pt x="1866955" y="829190"/>
                </a:cubicBezTo>
                <a:cubicBezTo>
                  <a:pt x="1861369" y="851772"/>
                  <a:pt x="1847404" y="874354"/>
                  <a:pt x="1833439" y="891291"/>
                </a:cubicBezTo>
                <a:cubicBezTo>
                  <a:pt x="1833439" y="891291"/>
                  <a:pt x="1833439" y="891291"/>
                  <a:pt x="1830646" y="891291"/>
                </a:cubicBezTo>
                <a:cubicBezTo>
                  <a:pt x="1822267" y="888468"/>
                  <a:pt x="1808302" y="885646"/>
                  <a:pt x="1802716" y="882823"/>
                </a:cubicBezTo>
                <a:cubicBezTo>
                  <a:pt x="1802716" y="882823"/>
                  <a:pt x="1802716" y="882823"/>
                  <a:pt x="1799923" y="882823"/>
                </a:cubicBezTo>
                <a:cubicBezTo>
                  <a:pt x="1799923" y="882823"/>
                  <a:pt x="1799923" y="882823"/>
                  <a:pt x="1799923" y="880000"/>
                </a:cubicBezTo>
                <a:cubicBezTo>
                  <a:pt x="1797130" y="871532"/>
                  <a:pt x="1797130" y="857418"/>
                  <a:pt x="1797130" y="846127"/>
                </a:cubicBezTo>
                <a:cubicBezTo>
                  <a:pt x="1797130" y="834836"/>
                  <a:pt x="1797130" y="820722"/>
                  <a:pt x="1799923" y="809431"/>
                </a:cubicBezTo>
                <a:cubicBezTo>
                  <a:pt x="1797130" y="809431"/>
                  <a:pt x="1777579" y="800962"/>
                  <a:pt x="1774786" y="798140"/>
                </a:cubicBezTo>
                <a:cubicBezTo>
                  <a:pt x="1760821" y="820722"/>
                  <a:pt x="1744063" y="837658"/>
                  <a:pt x="1724512" y="848949"/>
                </a:cubicBezTo>
                <a:cubicBezTo>
                  <a:pt x="1724512" y="848949"/>
                  <a:pt x="1724512" y="848949"/>
                  <a:pt x="1721719" y="851772"/>
                </a:cubicBezTo>
                <a:cubicBezTo>
                  <a:pt x="1721719" y="851772"/>
                  <a:pt x="1721719" y="851772"/>
                  <a:pt x="1721719" y="848949"/>
                </a:cubicBezTo>
                <a:cubicBezTo>
                  <a:pt x="1713340" y="846127"/>
                  <a:pt x="1702168" y="840481"/>
                  <a:pt x="1696582" y="834836"/>
                </a:cubicBezTo>
                <a:cubicBezTo>
                  <a:pt x="1696582" y="834836"/>
                  <a:pt x="1696582" y="832013"/>
                  <a:pt x="1696582" y="832013"/>
                </a:cubicBezTo>
                <a:cubicBezTo>
                  <a:pt x="1696582" y="809431"/>
                  <a:pt x="1702168" y="786848"/>
                  <a:pt x="1713340" y="764266"/>
                </a:cubicBezTo>
                <a:cubicBezTo>
                  <a:pt x="1710547" y="761443"/>
                  <a:pt x="1693789" y="747330"/>
                  <a:pt x="1690996" y="744507"/>
                </a:cubicBezTo>
                <a:cubicBezTo>
                  <a:pt x="1671445" y="764266"/>
                  <a:pt x="1649101" y="775557"/>
                  <a:pt x="1629549" y="781203"/>
                </a:cubicBezTo>
                <a:cubicBezTo>
                  <a:pt x="1629549" y="781203"/>
                  <a:pt x="1629549" y="781203"/>
                  <a:pt x="1626756" y="781203"/>
                </a:cubicBezTo>
                <a:cubicBezTo>
                  <a:pt x="1621170" y="775557"/>
                  <a:pt x="1609998" y="767089"/>
                  <a:pt x="1607205" y="761443"/>
                </a:cubicBezTo>
                <a:cubicBezTo>
                  <a:pt x="1607205" y="761443"/>
                  <a:pt x="1607205" y="761443"/>
                  <a:pt x="1604412" y="758621"/>
                </a:cubicBezTo>
                <a:cubicBezTo>
                  <a:pt x="1609998" y="736038"/>
                  <a:pt x="1623963" y="713456"/>
                  <a:pt x="1640722" y="696520"/>
                </a:cubicBezTo>
                <a:cubicBezTo>
                  <a:pt x="1637929" y="693697"/>
                  <a:pt x="1623963" y="673937"/>
                  <a:pt x="1623963" y="671115"/>
                </a:cubicBezTo>
                <a:cubicBezTo>
                  <a:pt x="1601619" y="685229"/>
                  <a:pt x="1576482" y="690874"/>
                  <a:pt x="1554138" y="690874"/>
                </a:cubicBezTo>
                <a:cubicBezTo>
                  <a:pt x="1548552" y="682406"/>
                  <a:pt x="1540173" y="671115"/>
                  <a:pt x="1537380" y="665469"/>
                </a:cubicBezTo>
                <a:cubicBezTo>
                  <a:pt x="1537380" y="665469"/>
                  <a:pt x="1537380" y="665469"/>
                  <a:pt x="1537380" y="662646"/>
                </a:cubicBezTo>
                <a:cubicBezTo>
                  <a:pt x="1548552" y="642887"/>
                  <a:pt x="1568103" y="623127"/>
                  <a:pt x="1587654" y="611836"/>
                </a:cubicBezTo>
                <a:cubicBezTo>
                  <a:pt x="1587654" y="609014"/>
                  <a:pt x="1576482" y="586431"/>
                  <a:pt x="1576482" y="583609"/>
                </a:cubicBezTo>
                <a:cubicBezTo>
                  <a:pt x="1554138" y="589254"/>
                  <a:pt x="1526208" y="592077"/>
                  <a:pt x="1506657" y="583609"/>
                </a:cubicBezTo>
                <a:cubicBezTo>
                  <a:pt x="1506657" y="583609"/>
                  <a:pt x="1506657" y="583609"/>
                  <a:pt x="1503864" y="583609"/>
                </a:cubicBezTo>
                <a:cubicBezTo>
                  <a:pt x="1501071" y="575140"/>
                  <a:pt x="1498278" y="563849"/>
                  <a:pt x="1495485" y="555381"/>
                </a:cubicBezTo>
                <a:cubicBezTo>
                  <a:pt x="1495485" y="555381"/>
                  <a:pt x="1495485" y="555381"/>
                  <a:pt x="1495485" y="552558"/>
                </a:cubicBezTo>
                <a:cubicBezTo>
                  <a:pt x="1495485" y="552558"/>
                  <a:pt x="1495485" y="552558"/>
                  <a:pt x="1498278" y="552558"/>
                </a:cubicBezTo>
                <a:cubicBezTo>
                  <a:pt x="1512243" y="535621"/>
                  <a:pt x="1534587" y="524330"/>
                  <a:pt x="1559724" y="515862"/>
                </a:cubicBezTo>
                <a:cubicBezTo>
                  <a:pt x="1556931" y="513039"/>
                  <a:pt x="1554138" y="490457"/>
                  <a:pt x="1554138" y="484812"/>
                </a:cubicBezTo>
                <a:cubicBezTo>
                  <a:pt x="1529001" y="484812"/>
                  <a:pt x="1503864" y="479166"/>
                  <a:pt x="1487106" y="467875"/>
                </a:cubicBezTo>
                <a:cubicBezTo>
                  <a:pt x="1487106" y="467875"/>
                  <a:pt x="1487106" y="467875"/>
                  <a:pt x="1484313" y="467875"/>
                </a:cubicBezTo>
                <a:cubicBezTo>
                  <a:pt x="1484313" y="467875"/>
                  <a:pt x="1484313" y="467875"/>
                  <a:pt x="1484313" y="465052"/>
                </a:cubicBezTo>
                <a:cubicBezTo>
                  <a:pt x="1484313" y="462229"/>
                  <a:pt x="1484313" y="456584"/>
                  <a:pt x="1484313" y="450938"/>
                </a:cubicBezTo>
                <a:cubicBezTo>
                  <a:pt x="1484313" y="445293"/>
                  <a:pt x="1484313" y="439647"/>
                  <a:pt x="1484313" y="436824"/>
                </a:cubicBezTo>
                <a:cubicBezTo>
                  <a:pt x="1484313" y="436824"/>
                  <a:pt x="1484313" y="436824"/>
                  <a:pt x="1484313" y="434002"/>
                </a:cubicBezTo>
                <a:cubicBezTo>
                  <a:pt x="1484313" y="434002"/>
                  <a:pt x="1484313" y="434002"/>
                  <a:pt x="1487106" y="434002"/>
                </a:cubicBezTo>
                <a:cubicBezTo>
                  <a:pt x="1503864" y="422710"/>
                  <a:pt x="1529001" y="417065"/>
                  <a:pt x="1554138" y="417065"/>
                </a:cubicBezTo>
                <a:cubicBezTo>
                  <a:pt x="1554138" y="414242"/>
                  <a:pt x="1556931" y="388837"/>
                  <a:pt x="1556931" y="386014"/>
                </a:cubicBezTo>
                <a:cubicBezTo>
                  <a:pt x="1534587" y="380369"/>
                  <a:pt x="1512243" y="366255"/>
                  <a:pt x="1498278" y="352141"/>
                </a:cubicBezTo>
                <a:cubicBezTo>
                  <a:pt x="1498278" y="352141"/>
                  <a:pt x="1498278" y="352141"/>
                  <a:pt x="1495485" y="349318"/>
                </a:cubicBezTo>
                <a:cubicBezTo>
                  <a:pt x="1498278" y="340850"/>
                  <a:pt x="1501071" y="329559"/>
                  <a:pt x="1503864" y="321091"/>
                </a:cubicBezTo>
                <a:cubicBezTo>
                  <a:pt x="1503864" y="321091"/>
                  <a:pt x="1503864" y="321091"/>
                  <a:pt x="1503864" y="318268"/>
                </a:cubicBezTo>
                <a:cubicBezTo>
                  <a:pt x="1503864" y="318268"/>
                  <a:pt x="1503864" y="318268"/>
                  <a:pt x="1506657" y="318268"/>
                </a:cubicBezTo>
                <a:cubicBezTo>
                  <a:pt x="1526208" y="312622"/>
                  <a:pt x="1551345" y="312622"/>
                  <a:pt x="1576482" y="318268"/>
                </a:cubicBezTo>
                <a:cubicBezTo>
                  <a:pt x="1576482" y="315445"/>
                  <a:pt x="1584861" y="295686"/>
                  <a:pt x="1587654" y="292863"/>
                </a:cubicBezTo>
                <a:cubicBezTo>
                  <a:pt x="1565310" y="278749"/>
                  <a:pt x="1548552" y="261812"/>
                  <a:pt x="1537380" y="242053"/>
                </a:cubicBezTo>
                <a:cubicBezTo>
                  <a:pt x="1537380" y="242053"/>
                  <a:pt x="1537380" y="242053"/>
                  <a:pt x="1537380" y="239230"/>
                </a:cubicBezTo>
                <a:cubicBezTo>
                  <a:pt x="1540173" y="230762"/>
                  <a:pt x="1545759" y="219471"/>
                  <a:pt x="1551345" y="213825"/>
                </a:cubicBezTo>
                <a:cubicBezTo>
                  <a:pt x="1551345" y="213825"/>
                  <a:pt x="1551345" y="213825"/>
                  <a:pt x="1554138" y="213825"/>
                </a:cubicBezTo>
                <a:cubicBezTo>
                  <a:pt x="1576482" y="213825"/>
                  <a:pt x="1601619" y="219471"/>
                  <a:pt x="1621170" y="230762"/>
                </a:cubicBezTo>
                <a:cubicBezTo>
                  <a:pt x="1623963" y="227939"/>
                  <a:pt x="1637929" y="208180"/>
                  <a:pt x="1640722" y="208180"/>
                </a:cubicBezTo>
                <a:cubicBezTo>
                  <a:pt x="1623963" y="188420"/>
                  <a:pt x="1609998" y="165838"/>
                  <a:pt x="1604412" y="146079"/>
                </a:cubicBezTo>
                <a:cubicBezTo>
                  <a:pt x="1604412" y="146079"/>
                  <a:pt x="1604412" y="146079"/>
                  <a:pt x="1604412" y="143256"/>
                </a:cubicBezTo>
                <a:cubicBezTo>
                  <a:pt x="1609998" y="134787"/>
                  <a:pt x="1618377" y="126319"/>
                  <a:pt x="1626756" y="123496"/>
                </a:cubicBezTo>
                <a:cubicBezTo>
                  <a:pt x="1626756" y="123496"/>
                  <a:pt x="1626756" y="123496"/>
                  <a:pt x="1626756" y="120674"/>
                </a:cubicBezTo>
                <a:cubicBezTo>
                  <a:pt x="1626756" y="120674"/>
                  <a:pt x="1626756" y="120674"/>
                  <a:pt x="1629549" y="120674"/>
                </a:cubicBezTo>
                <a:cubicBezTo>
                  <a:pt x="1649101" y="126319"/>
                  <a:pt x="1671445" y="140433"/>
                  <a:pt x="1688203" y="157370"/>
                </a:cubicBezTo>
                <a:cubicBezTo>
                  <a:pt x="1690996" y="154547"/>
                  <a:pt x="1707754" y="143256"/>
                  <a:pt x="1710547" y="140433"/>
                </a:cubicBezTo>
                <a:cubicBezTo>
                  <a:pt x="1699375" y="117851"/>
                  <a:pt x="1693789" y="95269"/>
                  <a:pt x="1693789" y="72686"/>
                </a:cubicBezTo>
                <a:cubicBezTo>
                  <a:pt x="1693789" y="72686"/>
                  <a:pt x="1693789" y="69864"/>
                  <a:pt x="1693789" y="69864"/>
                </a:cubicBezTo>
                <a:cubicBezTo>
                  <a:pt x="1702168" y="64218"/>
                  <a:pt x="1710547" y="58573"/>
                  <a:pt x="1718926" y="52927"/>
                </a:cubicBezTo>
                <a:cubicBezTo>
                  <a:pt x="1718926" y="52927"/>
                  <a:pt x="1718926" y="52927"/>
                  <a:pt x="1721719" y="52927"/>
                </a:cubicBezTo>
                <a:cubicBezTo>
                  <a:pt x="1721719" y="52927"/>
                  <a:pt x="1721719" y="52927"/>
                  <a:pt x="1721719" y="55750"/>
                </a:cubicBezTo>
                <a:cubicBezTo>
                  <a:pt x="1741270" y="64218"/>
                  <a:pt x="1758028" y="83977"/>
                  <a:pt x="1771993" y="103737"/>
                </a:cubicBezTo>
                <a:cubicBezTo>
                  <a:pt x="1774786" y="103737"/>
                  <a:pt x="1797130" y="92446"/>
                  <a:pt x="1799923" y="92446"/>
                </a:cubicBezTo>
                <a:cubicBezTo>
                  <a:pt x="1797130" y="81155"/>
                  <a:pt x="1794337" y="69864"/>
                  <a:pt x="1794337" y="55750"/>
                </a:cubicBezTo>
                <a:cubicBezTo>
                  <a:pt x="1794337" y="44459"/>
                  <a:pt x="1797130" y="33168"/>
                  <a:pt x="1799923" y="21876"/>
                </a:cubicBezTo>
                <a:cubicBezTo>
                  <a:pt x="1799923" y="21876"/>
                  <a:pt x="1799923" y="21876"/>
                  <a:pt x="1799923" y="19054"/>
                </a:cubicBezTo>
                <a:cubicBezTo>
                  <a:pt x="1808302" y="16231"/>
                  <a:pt x="1819474" y="13408"/>
                  <a:pt x="1827853" y="13408"/>
                </a:cubicBezTo>
                <a:cubicBezTo>
                  <a:pt x="1827853" y="13408"/>
                  <a:pt x="1827853" y="13408"/>
                  <a:pt x="1830646" y="10585"/>
                </a:cubicBezTo>
                <a:cubicBezTo>
                  <a:pt x="1830646" y="10585"/>
                  <a:pt x="1830646" y="10585"/>
                  <a:pt x="1830646" y="13408"/>
                </a:cubicBezTo>
                <a:cubicBezTo>
                  <a:pt x="1847404" y="27522"/>
                  <a:pt x="1858576" y="50104"/>
                  <a:pt x="1866955" y="75509"/>
                </a:cubicBezTo>
                <a:cubicBezTo>
                  <a:pt x="1869748" y="72686"/>
                  <a:pt x="1892092" y="69864"/>
                  <a:pt x="1897678" y="69864"/>
                </a:cubicBezTo>
                <a:cubicBezTo>
                  <a:pt x="1897678" y="47281"/>
                  <a:pt x="1903264" y="21876"/>
                  <a:pt x="1914436" y="21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800" dirty="0"/>
          </a:p>
        </p:txBody>
      </p:sp>
      <p:grpSp>
        <p:nvGrpSpPr>
          <p:cNvPr id="46" name="Group 45">
            <a:extLst>
              <a:ext uri="{FF2B5EF4-FFF2-40B4-BE49-F238E27FC236}">
                <a16:creationId xmlns:a16="http://schemas.microsoft.com/office/drawing/2014/main" id="{246B794E-5CDF-486C-BB16-FB17144FE6EB}"/>
              </a:ext>
            </a:extLst>
          </p:cNvPr>
          <p:cNvGrpSpPr/>
          <p:nvPr userDrawn="1"/>
        </p:nvGrpSpPr>
        <p:grpSpPr>
          <a:xfrm>
            <a:off x="408412" y="6984918"/>
            <a:ext cx="4670356" cy="430863"/>
            <a:chOff x="408412" y="6984916"/>
            <a:chExt cx="4670356" cy="430863"/>
          </a:xfrm>
        </p:grpSpPr>
        <p:grpSp>
          <p:nvGrpSpPr>
            <p:cNvPr id="70" name="Group 69">
              <a:extLst>
                <a:ext uri="{FF2B5EF4-FFF2-40B4-BE49-F238E27FC236}">
                  <a16:creationId xmlns:a16="http://schemas.microsoft.com/office/drawing/2014/main" id="{149BFEB0-AA7C-4113-8CCE-423163CF04E0}"/>
                </a:ext>
              </a:extLst>
            </p:cNvPr>
            <p:cNvGrpSpPr/>
            <p:nvPr userDrawn="1"/>
          </p:nvGrpSpPr>
          <p:grpSpPr>
            <a:xfrm>
              <a:off x="1383401" y="6984916"/>
              <a:ext cx="3695367" cy="430863"/>
              <a:chOff x="1316510" y="6885708"/>
              <a:chExt cx="3695367" cy="430863"/>
            </a:xfrm>
          </p:grpSpPr>
          <p:sp>
            <p:nvSpPr>
              <p:cNvPr id="73" name="Rectangle 72">
                <a:extLst>
                  <a:ext uri="{FF2B5EF4-FFF2-40B4-BE49-F238E27FC236}">
                    <a16:creationId xmlns:a16="http://schemas.microsoft.com/office/drawing/2014/main" id="{0CDA0D59-9C48-4EC6-A43D-6CD41A11367B}"/>
                  </a:ext>
                </a:extLst>
              </p:cNvPr>
              <p:cNvSpPr/>
              <p:nvPr userDrawn="1"/>
            </p:nvSpPr>
            <p:spPr>
              <a:xfrm>
                <a:off x="1316510" y="6885708"/>
                <a:ext cx="893202" cy="202251"/>
              </a:xfrm>
              <a:prstGeom prst="rect">
                <a:avLst/>
              </a:prstGeom>
              <a:solidFill>
                <a:srgbClr val="17458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en-US" sz="525" dirty="0"/>
                  <a:t>Royal Blue</a:t>
                </a:r>
                <a:br>
                  <a:rPr lang="en-US" sz="525" dirty="0"/>
                </a:br>
                <a:r>
                  <a:rPr lang="en-US" sz="450" dirty="0"/>
                  <a:t>R23,G69,B143</a:t>
                </a:r>
                <a:endParaRPr lang="en-US" sz="525" dirty="0"/>
              </a:p>
            </p:txBody>
          </p:sp>
          <p:sp>
            <p:nvSpPr>
              <p:cNvPr id="74" name="Rectangle 73">
                <a:extLst>
                  <a:ext uri="{FF2B5EF4-FFF2-40B4-BE49-F238E27FC236}">
                    <a16:creationId xmlns:a16="http://schemas.microsoft.com/office/drawing/2014/main" id="{9C8F43D5-A3A0-4CA4-A48D-C1DA97474E37}"/>
                  </a:ext>
                </a:extLst>
              </p:cNvPr>
              <p:cNvSpPr/>
              <p:nvPr userDrawn="1"/>
            </p:nvSpPr>
            <p:spPr>
              <a:xfrm>
                <a:off x="2250565" y="6885708"/>
                <a:ext cx="893202" cy="202251"/>
              </a:xfrm>
              <a:prstGeom prst="rect">
                <a:avLst/>
              </a:prstGeom>
              <a:solidFill>
                <a:srgbClr val="005DA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525" dirty="0"/>
                  <a:t>Azure</a:t>
                </a:r>
                <a:br>
                  <a:rPr lang="en-US" sz="450" dirty="0"/>
                </a:br>
                <a:r>
                  <a:rPr lang="en-US" sz="450" dirty="0">
                    <a:solidFill>
                      <a:schemeClr val="bg1"/>
                    </a:solidFill>
                  </a:rPr>
                  <a:t>R0,G93,B170</a:t>
                </a:r>
              </a:p>
            </p:txBody>
          </p:sp>
          <p:sp>
            <p:nvSpPr>
              <p:cNvPr id="75" name="Rectangle 74">
                <a:extLst>
                  <a:ext uri="{FF2B5EF4-FFF2-40B4-BE49-F238E27FC236}">
                    <a16:creationId xmlns:a16="http://schemas.microsoft.com/office/drawing/2014/main" id="{495E0B98-5E73-4197-9D7D-35EB6E0A37AB}"/>
                  </a:ext>
                </a:extLst>
              </p:cNvPr>
              <p:cNvSpPr/>
              <p:nvPr userDrawn="1"/>
            </p:nvSpPr>
            <p:spPr>
              <a:xfrm>
                <a:off x="3184620" y="6885708"/>
                <a:ext cx="893202" cy="202251"/>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525" dirty="0">
                    <a:solidFill>
                      <a:schemeClr val="tx1"/>
                    </a:solidFill>
                  </a:rPr>
                  <a:t>Sky Blue </a:t>
                </a:r>
                <a:br>
                  <a:rPr lang="en-US" sz="450" dirty="0">
                    <a:solidFill>
                      <a:schemeClr val="tx1"/>
                    </a:solidFill>
                  </a:rPr>
                </a:br>
                <a:r>
                  <a:rPr lang="en-US" sz="450" dirty="0">
                    <a:solidFill>
                      <a:schemeClr val="tx1"/>
                    </a:solidFill>
                  </a:rPr>
                  <a:t>R1,G180,B231</a:t>
                </a:r>
              </a:p>
            </p:txBody>
          </p:sp>
          <p:sp>
            <p:nvSpPr>
              <p:cNvPr id="76" name="Rectangle 75">
                <a:extLst>
                  <a:ext uri="{FF2B5EF4-FFF2-40B4-BE49-F238E27FC236}">
                    <a16:creationId xmlns:a16="http://schemas.microsoft.com/office/drawing/2014/main" id="{71E96884-F4F6-4F83-AC43-4C4B5EBB857B}"/>
                  </a:ext>
                </a:extLst>
              </p:cNvPr>
              <p:cNvSpPr/>
              <p:nvPr userDrawn="1"/>
            </p:nvSpPr>
            <p:spPr>
              <a:xfrm>
                <a:off x="3184620" y="7114320"/>
                <a:ext cx="893202" cy="202251"/>
              </a:xfrm>
              <a:prstGeom prst="rect">
                <a:avLst/>
              </a:prstGeom>
              <a:solidFill>
                <a:srgbClr val="87217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525" dirty="0"/>
                  <a:t>Violet</a:t>
                </a:r>
                <a:br>
                  <a:rPr lang="en-US" sz="450" dirty="0"/>
                </a:br>
                <a:r>
                  <a:rPr lang="en-US" sz="450" dirty="0"/>
                  <a:t>R135,G33,B117</a:t>
                </a:r>
              </a:p>
            </p:txBody>
          </p:sp>
          <p:sp>
            <p:nvSpPr>
              <p:cNvPr id="77" name="Rectangle 76">
                <a:extLst>
                  <a:ext uri="{FF2B5EF4-FFF2-40B4-BE49-F238E27FC236}">
                    <a16:creationId xmlns:a16="http://schemas.microsoft.com/office/drawing/2014/main" id="{66406774-A8FD-4739-AB55-039AF6BAFEC9}"/>
                  </a:ext>
                </a:extLst>
              </p:cNvPr>
              <p:cNvSpPr/>
              <p:nvPr userDrawn="1"/>
            </p:nvSpPr>
            <p:spPr>
              <a:xfrm>
                <a:off x="4118675" y="7114320"/>
                <a:ext cx="893202" cy="202251"/>
              </a:xfrm>
              <a:prstGeom prst="rect">
                <a:avLst/>
              </a:prstGeom>
              <a:solidFill>
                <a:srgbClr val="FF76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525" dirty="0"/>
                  <a:t>Orange</a:t>
                </a:r>
                <a:br>
                  <a:rPr lang="en-US" sz="450" dirty="0"/>
                </a:br>
                <a:r>
                  <a:rPr lang="en-US" sz="450" dirty="0"/>
                  <a:t>R255,G118,B0</a:t>
                </a:r>
              </a:p>
            </p:txBody>
          </p:sp>
          <p:sp>
            <p:nvSpPr>
              <p:cNvPr id="78" name="Rectangle 77">
                <a:extLst>
                  <a:ext uri="{FF2B5EF4-FFF2-40B4-BE49-F238E27FC236}">
                    <a16:creationId xmlns:a16="http://schemas.microsoft.com/office/drawing/2014/main" id="{63FE7641-CFBD-41B8-837F-866CB9A4B765}"/>
                  </a:ext>
                </a:extLst>
              </p:cNvPr>
              <p:cNvSpPr/>
              <p:nvPr userDrawn="1"/>
            </p:nvSpPr>
            <p:spPr>
              <a:xfrm>
                <a:off x="4118675" y="6885708"/>
                <a:ext cx="893202" cy="202251"/>
              </a:xfrm>
              <a:prstGeom prst="rect">
                <a:avLst/>
              </a:prstGeom>
              <a:solidFill>
                <a:srgbClr val="F7A81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525" dirty="0">
                    <a:solidFill>
                      <a:schemeClr val="tx1"/>
                    </a:solidFill>
                  </a:rPr>
                  <a:t>Gold</a:t>
                </a:r>
                <a:br>
                  <a:rPr lang="en-US" sz="450" dirty="0">
                    <a:solidFill>
                      <a:schemeClr val="tx1"/>
                    </a:solidFill>
                  </a:rPr>
                </a:br>
                <a:r>
                  <a:rPr lang="en-US" sz="450" dirty="0">
                    <a:solidFill>
                      <a:schemeClr val="tx1"/>
                    </a:solidFill>
                  </a:rPr>
                  <a:t>R247,G168,B27</a:t>
                </a:r>
              </a:p>
            </p:txBody>
          </p:sp>
          <p:sp>
            <p:nvSpPr>
              <p:cNvPr id="79" name="Rectangle 78">
                <a:extLst>
                  <a:ext uri="{FF2B5EF4-FFF2-40B4-BE49-F238E27FC236}">
                    <a16:creationId xmlns:a16="http://schemas.microsoft.com/office/drawing/2014/main" id="{60A0AD2B-06D2-4090-B486-69D0A0E3B851}"/>
                  </a:ext>
                </a:extLst>
              </p:cNvPr>
              <p:cNvSpPr/>
              <p:nvPr userDrawn="1"/>
            </p:nvSpPr>
            <p:spPr>
              <a:xfrm>
                <a:off x="1316510" y="7114320"/>
                <a:ext cx="893202" cy="202251"/>
              </a:xfrm>
              <a:prstGeom prst="rect">
                <a:avLst/>
              </a:prstGeom>
              <a:solidFill>
                <a:srgbClr val="D91B5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525" dirty="0">
                    <a:solidFill>
                      <a:schemeClr val="bg1"/>
                    </a:solidFill>
                  </a:rPr>
                  <a:t>Cranberry</a:t>
                </a:r>
                <a:br>
                  <a:rPr lang="en-US" sz="450" dirty="0">
                    <a:solidFill>
                      <a:schemeClr val="bg1"/>
                    </a:solidFill>
                  </a:rPr>
                </a:br>
                <a:r>
                  <a:rPr lang="en-US" sz="450" dirty="0">
                    <a:solidFill>
                      <a:schemeClr val="bg1"/>
                    </a:solidFill>
                  </a:rPr>
                  <a:t>R217,G27, B92</a:t>
                </a:r>
              </a:p>
            </p:txBody>
          </p:sp>
          <p:sp>
            <p:nvSpPr>
              <p:cNvPr id="80" name="Rectangle 79">
                <a:extLst>
                  <a:ext uri="{FF2B5EF4-FFF2-40B4-BE49-F238E27FC236}">
                    <a16:creationId xmlns:a16="http://schemas.microsoft.com/office/drawing/2014/main" id="{18274E96-7854-449E-87EB-5581B010092B}"/>
                  </a:ext>
                </a:extLst>
              </p:cNvPr>
              <p:cNvSpPr/>
              <p:nvPr userDrawn="1"/>
            </p:nvSpPr>
            <p:spPr>
              <a:xfrm>
                <a:off x="2250565" y="7114320"/>
                <a:ext cx="893202" cy="202251"/>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525" dirty="0"/>
                  <a:t>Turquoise</a:t>
                </a:r>
                <a:br>
                  <a:rPr lang="en-US" sz="450" dirty="0"/>
                </a:br>
                <a:r>
                  <a:rPr lang="en-US" sz="450" dirty="0"/>
                  <a:t>R0,G153,B153</a:t>
                </a:r>
              </a:p>
            </p:txBody>
          </p:sp>
        </p:grpSp>
        <p:sp>
          <p:nvSpPr>
            <p:cNvPr id="71" name="TextBox 70">
              <a:extLst>
                <a:ext uri="{FF2B5EF4-FFF2-40B4-BE49-F238E27FC236}">
                  <a16:creationId xmlns:a16="http://schemas.microsoft.com/office/drawing/2014/main" id="{2560BAAB-A3C2-46BF-A7FA-BC05902CB8BC}"/>
                </a:ext>
              </a:extLst>
            </p:cNvPr>
            <p:cNvSpPr txBox="1"/>
            <p:nvPr userDrawn="1"/>
          </p:nvSpPr>
          <p:spPr>
            <a:xfrm>
              <a:off x="408412" y="6984916"/>
              <a:ext cx="940962" cy="184666"/>
            </a:xfrm>
            <a:prstGeom prst="rect">
              <a:avLst/>
            </a:prstGeom>
            <a:noFill/>
          </p:spPr>
          <p:txBody>
            <a:bodyPr wrap="none" lIns="0" rIns="0" rtlCol="0">
              <a:spAutoFit/>
            </a:bodyPr>
            <a:lstStyle/>
            <a:p>
              <a:pPr algn="r"/>
              <a:r>
                <a:rPr lang="en-US" sz="600" b="1" dirty="0">
                  <a:solidFill>
                    <a:schemeClr val="tx1"/>
                  </a:solidFill>
                </a:rPr>
                <a:t>Rotary Leadership Colors</a:t>
              </a:r>
            </a:p>
          </p:txBody>
        </p:sp>
        <p:sp>
          <p:nvSpPr>
            <p:cNvPr id="72" name="TextBox 71">
              <a:extLst>
                <a:ext uri="{FF2B5EF4-FFF2-40B4-BE49-F238E27FC236}">
                  <a16:creationId xmlns:a16="http://schemas.microsoft.com/office/drawing/2014/main" id="{157B943F-E514-4244-B35D-4D3724D292D0}"/>
                </a:ext>
              </a:extLst>
            </p:cNvPr>
            <p:cNvSpPr txBox="1"/>
            <p:nvPr userDrawn="1"/>
          </p:nvSpPr>
          <p:spPr>
            <a:xfrm>
              <a:off x="685002" y="7221372"/>
              <a:ext cx="658835" cy="184666"/>
            </a:xfrm>
            <a:prstGeom prst="rect">
              <a:avLst/>
            </a:prstGeom>
            <a:noFill/>
          </p:spPr>
          <p:txBody>
            <a:bodyPr wrap="none" lIns="0" rIns="0" rtlCol="0">
              <a:spAutoFit/>
            </a:bodyPr>
            <a:lstStyle>
              <a:defPPr>
                <a:defRPr lang="en-US"/>
              </a:defPPr>
              <a:lvl1pPr algn="r">
                <a:defRPr sz="800" b="1"/>
              </a:lvl1pPr>
            </a:lstStyle>
            <a:p>
              <a:pPr lvl="0"/>
              <a:r>
                <a:rPr lang="en-US" sz="600" dirty="0">
                  <a:solidFill>
                    <a:schemeClr val="tx1">
                      <a:lumMod val="65000"/>
                      <a:lumOff val="35000"/>
                    </a:schemeClr>
                  </a:solidFill>
                </a:rPr>
                <a:t>Secondary Colors</a:t>
              </a:r>
            </a:p>
          </p:txBody>
        </p:sp>
      </p:grpSp>
      <p:sp>
        <p:nvSpPr>
          <p:cNvPr id="144" name="Freeform: Shape 143" hidden="1">
            <a:extLst>
              <a:ext uri="{FF2B5EF4-FFF2-40B4-BE49-F238E27FC236}">
                <a16:creationId xmlns:a16="http://schemas.microsoft.com/office/drawing/2014/main" id="{77B988ED-1FB9-449B-8388-E97A219E2298}"/>
              </a:ext>
            </a:extLst>
          </p:cNvPr>
          <p:cNvSpPr/>
          <p:nvPr userDrawn="1"/>
        </p:nvSpPr>
        <p:spPr>
          <a:xfrm>
            <a:off x="2209799" y="-1027549"/>
            <a:ext cx="2114552" cy="800100"/>
          </a:xfrm>
          <a:custGeom>
            <a:avLst/>
            <a:gdLst>
              <a:gd name="connsiteX0" fmla="*/ 2068305 w 2114552"/>
              <a:gd name="connsiteY0" fmla="*/ 749732 h 800100"/>
              <a:gd name="connsiteX1" fmla="*/ 2068305 w 2114552"/>
              <a:gd name="connsiteY1" fmla="*/ 761609 h 800100"/>
              <a:gd name="connsiteX2" fmla="*/ 2076013 w 2114552"/>
              <a:gd name="connsiteY2" fmla="*/ 761609 h 800100"/>
              <a:gd name="connsiteX3" fmla="*/ 2083551 w 2114552"/>
              <a:gd name="connsiteY3" fmla="*/ 759961 h 800100"/>
              <a:gd name="connsiteX4" fmla="*/ 2085563 w 2114552"/>
              <a:gd name="connsiteY4" fmla="*/ 755598 h 800100"/>
              <a:gd name="connsiteX5" fmla="*/ 2084594 w 2114552"/>
              <a:gd name="connsiteY5" fmla="*/ 752471 h 800100"/>
              <a:gd name="connsiteX6" fmla="*/ 2081903 w 2114552"/>
              <a:gd name="connsiteY6" fmla="*/ 750411 h 800100"/>
              <a:gd name="connsiteX7" fmla="*/ 2075528 w 2114552"/>
              <a:gd name="connsiteY7" fmla="*/ 749732 h 800100"/>
              <a:gd name="connsiteX8" fmla="*/ 2061954 w 2114552"/>
              <a:gd name="connsiteY8" fmla="*/ 744400 h 800100"/>
              <a:gd name="connsiteX9" fmla="*/ 2075480 w 2114552"/>
              <a:gd name="connsiteY9" fmla="*/ 744400 h 800100"/>
              <a:gd name="connsiteX10" fmla="*/ 2085514 w 2114552"/>
              <a:gd name="connsiteY10" fmla="*/ 745491 h 800100"/>
              <a:gd name="connsiteX11" fmla="*/ 2090459 w 2114552"/>
              <a:gd name="connsiteY11" fmla="*/ 749296 h 800100"/>
              <a:gd name="connsiteX12" fmla="*/ 2092301 w 2114552"/>
              <a:gd name="connsiteY12" fmla="*/ 755065 h 800100"/>
              <a:gd name="connsiteX13" fmla="*/ 2089223 w 2114552"/>
              <a:gd name="connsiteY13" fmla="*/ 762579 h 800100"/>
              <a:gd name="connsiteX14" fmla="*/ 2081055 w 2114552"/>
              <a:gd name="connsiteY14" fmla="*/ 766166 h 800100"/>
              <a:gd name="connsiteX15" fmla="*/ 2084400 w 2114552"/>
              <a:gd name="connsiteY15" fmla="*/ 768251 h 800100"/>
              <a:gd name="connsiteX16" fmla="*/ 2090217 w 2114552"/>
              <a:gd name="connsiteY16" fmla="*/ 776055 h 800100"/>
              <a:gd name="connsiteX17" fmla="*/ 2095016 w 2114552"/>
              <a:gd name="connsiteY17" fmla="*/ 783763 h 800100"/>
              <a:gd name="connsiteX18" fmla="*/ 2087260 w 2114552"/>
              <a:gd name="connsiteY18" fmla="*/ 783763 h 800100"/>
              <a:gd name="connsiteX19" fmla="*/ 2083769 w 2114552"/>
              <a:gd name="connsiteY19" fmla="*/ 777558 h 800100"/>
              <a:gd name="connsiteX20" fmla="*/ 2077128 w 2114552"/>
              <a:gd name="connsiteY20" fmla="*/ 768396 h 800100"/>
              <a:gd name="connsiteX21" fmla="*/ 2072038 w 2114552"/>
              <a:gd name="connsiteY21" fmla="*/ 767039 h 800100"/>
              <a:gd name="connsiteX22" fmla="*/ 2068305 w 2114552"/>
              <a:gd name="connsiteY22" fmla="*/ 767039 h 800100"/>
              <a:gd name="connsiteX23" fmla="*/ 2068305 w 2114552"/>
              <a:gd name="connsiteY23" fmla="*/ 783763 h 800100"/>
              <a:gd name="connsiteX24" fmla="*/ 2061954 w 2114552"/>
              <a:gd name="connsiteY24" fmla="*/ 783763 h 800100"/>
              <a:gd name="connsiteX25" fmla="*/ 834048 w 2114552"/>
              <a:gd name="connsiteY25" fmla="*/ 741362 h 800100"/>
              <a:gd name="connsiteX26" fmla="*/ 784225 w 2114552"/>
              <a:gd name="connsiteY26" fmla="*/ 766474 h 800100"/>
              <a:gd name="connsiteX27" fmla="*/ 804985 w 2114552"/>
              <a:gd name="connsiteY27" fmla="*/ 787400 h 800100"/>
              <a:gd name="connsiteX28" fmla="*/ 838200 w 2114552"/>
              <a:gd name="connsiteY28" fmla="*/ 745547 h 800100"/>
              <a:gd name="connsiteX29" fmla="*/ 838200 w 2114552"/>
              <a:gd name="connsiteY29" fmla="*/ 741362 h 800100"/>
              <a:gd name="connsiteX30" fmla="*/ 834048 w 2114552"/>
              <a:gd name="connsiteY30" fmla="*/ 741362 h 800100"/>
              <a:gd name="connsiteX31" fmla="*/ 2078001 w 2114552"/>
              <a:gd name="connsiteY31" fmla="*/ 733008 h 800100"/>
              <a:gd name="connsiteX32" fmla="*/ 2062997 w 2114552"/>
              <a:gd name="connsiteY32" fmla="*/ 736959 h 800100"/>
              <a:gd name="connsiteX33" fmla="*/ 2051581 w 2114552"/>
              <a:gd name="connsiteY33" fmla="*/ 748254 h 800100"/>
              <a:gd name="connsiteX34" fmla="*/ 2047460 w 2114552"/>
              <a:gd name="connsiteY34" fmla="*/ 763548 h 800100"/>
              <a:gd name="connsiteX35" fmla="*/ 2051508 w 2114552"/>
              <a:gd name="connsiteY35" fmla="*/ 778697 h 800100"/>
              <a:gd name="connsiteX36" fmla="*/ 2062827 w 2114552"/>
              <a:gd name="connsiteY36" fmla="*/ 789993 h 800100"/>
              <a:gd name="connsiteX37" fmla="*/ 2078001 w 2114552"/>
              <a:gd name="connsiteY37" fmla="*/ 794041 h 800100"/>
              <a:gd name="connsiteX38" fmla="*/ 2093174 w 2114552"/>
              <a:gd name="connsiteY38" fmla="*/ 789993 h 800100"/>
              <a:gd name="connsiteX39" fmla="*/ 2104469 w 2114552"/>
              <a:gd name="connsiteY39" fmla="*/ 778697 h 800100"/>
              <a:gd name="connsiteX40" fmla="*/ 2108493 w 2114552"/>
              <a:gd name="connsiteY40" fmla="*/ 763548 h 800100"/>
              <a:gd name="connsiteX41" fmla="*/ 2104397 w 2114552"/>
              <a:gd name="connsiteY41" fmla="*/ 748254 h 800100"/>
              <a:gd name="connsiteX42" fmla="*/ 2092980 w 2114552"/>
              <a:gd name="connsiteY42" fmla="*/ 736959 h 800100"/>
              <a:gd name="connsiteX43" fmla="*/ 2078001 w 2114552"/>
              <a:gd name="connsiteY43" fmla="*/ 733008 h 800100"/>
              <a:gd name="connsiteX44" fmla="*/ 2078001 w 2114552"/>
              <a:gd name="connsiteY44" fmla="*/ 726948 h 800100"/>
              <a:gd name="connsiteX45" fmla="*/ 2095985 w 2114552"/>
              <a:gd name="connsiteY45" fmla="*/ 731675 h 800100"/>
              <a:gd name="connsiteX46" fmla="*/ 2109656 w 2114552"/>
              <a:gd name="connsiteY46" fmla="*/ 745200 h 800100"/>
              <a:gd name="connsiteX47" fmla="*/ 2114552 w 2114552"/>
              <a:gd name="connsiteY47" fmla="*/ 763548 h 800100"/>
              <a:gd name="connsiteX48" fmla="*/ 2109729 w 2114552"/>
              <a:gd name="connsiteY48" fmla="*/ 781727 h 800100"/>
              <a:gd name="connsiteX49" fmla="*/ 2096204 w 2114552"/>
              <a:gd name="connsiteY49" fmla="*/ 795277 h 800100"/>
              <a:gd name="connsiteX50" fmla="*/ 2078001 w 2114552"/>
              <a:gd name="connsiteY50" fmla="*/ 800100 h 800100"/>
              <a:gd name="connsiteX51" fmla="*/ 2059797 w 2114552"/>
              <a:gd name="connsiteY51" fmla="*/ 795277 h 800100"/>
              <a:gd name="connsiteX52" fmla="*/ 2046248 w 2114552"/>
              <a:gd name="connsiteY52" fmla="*/ 781727 h 800100"/>
              <a:gd name="connsiteX53" fmla="*/ 2041400 w 2114552"/>
              <a:gd name="connsiteY53" fmla="*/ 763548 h 800100"/>
              <a:gd name="connsiteX54" fmla="*/ 2046321 w 2114552"/>
              <a:gd name="connsiteY54" fmla="*/ 745200 h 800100"/>
              <a:gd name="connsiteX55" fmla="*/ 2060016 w 2114552"/>
              <a:gd name="connsiteY55" fmla="*/ 731675 h 800100"/>
              <a:gd name="connsiteX56" fmla="*/ 2078001 w 2114552"/>
              <a:gd name="connsiteY56" fmla="*/ 726948 h 800100"/>
              <a:gd name="connsiteX57" fmla="*/ 1058070 w 2114552"/>
              <a:gd name="connsiteY57" fmla="*/ 692149 h 800100"/>
              <a:gd name="connsiteX58" fmla="*/ 1020763 w 2114552"/>
              <a:gd name="connsiteY58" fmla="*/ 739774 h 800100"/>
              <a:gd name="connsiteX59" fmla="*/ 1058070 w 2114552"/>
              <a:gd name="connsiteY59" fmla="*/ 787399 h 800100"/>
              <a:gd name="connsiteX60" fmla="*/ 1095377 w 2114552"/>
              <a:gd name="connsiteY60" fmla="*/ 739774 h 800100"/>
              <a:gd name="connsiteX61" fmla="*/ 1058070 w 2114552"/>
              <a:gd name="connsiteY61" fmla="*/ 692149 h 800100"/>
              <a:gd name="connsiteX62" fmla="*/ 692151 w 2114552"/>
              <a:gd name="connsiteY62" fmla="*/ 692149 h 800100"/>
              <a:gd name="connsiteX63" fmla="*/ 658813 w 2114552"/>
              <a:gd name="connsiteY63" fmla="*/ 739774 h 800100"/>
              <a:gd name="connsiteX64" fmla="*/ 692151 w 2114552"/>
              <a:gd name="connsiteY64" fmla="*/ 787399 h 800100"/>
              <a:gd name="connsiteX65" fmla="*/ 725489 w 2114552"/>
              <a:gd name="connsiteY65" fmla="*/ 739774 h 800100"/>
              <a:gd name="connsiteX66" fmla="*/ 692151 w 2114552"/>
              <a:gd name="connsiteY66" fmla="*/ 692149 h 800100"/>
              <a:gd name="connsiteX67" fmla="*/ 323056 w 2114552"/>
              <a:gd name="connsiteY67" fmla="*/ 692149 h 800100"/>
              <a:gd name="connsiteX68" fmla="*/ 285749 w 2114552"/>
              <a:gd name="connsiteY68" fmla="*/ 739774 h 800100"/>
              <a:gd name="connsiteX69" fmla="*/ 323056 w 2114552"/>
              <a:gd name="connsiteY69" fmla="*/ 787399 h 800100"/>
              <a:gd name="connsiteX70" fmla="*/ 360363 w 2114552"/>
              <a:gd name="connsiteY70" fmla="*/ 739774 h 800100"/>
              <a:gd name="connsiteX71" fmla="*/ 323056 w 2114552"/>
              <a:gd name="connsiteY71" fmla="*/ 692149 h 800100"/>
              <a:gd name="connsiteX72" fmla="*/ 966943 w 2114552"/>
              <a:gd name="connsiteY72" fmla="*/ 685949 h 800100"/>
              <a:gd name="connsiteX73" fmla="*/ 981464 w 2114552"/>
              <a:gd name="connsiteY73" fmla="*/ 685949 h 800100"/>
              <a:gd name="connsiteX74" fmla="*/ 981464 w 2114552"/>
              <a:gd name="connsiteY74" fmla="*/ 799333 h 800100"/>
              <a:gd name="connsiteX75" fmla="*/ 966943 w 2114552"/>
              <a:gd name="connsiteY75" fmla="*/ 799333 h 800100"/>
              <a:gd name="connsiteX76" fmla="*/ 1136650 w 2114552"/>
              <a:gd name="connsiteY76" fmla="*/ 684212 h 800100"/>
              <a:gd name="connsiteX77" fmla="*/ 1148897 w 2114552"/>
              <a:gd name="connsiteY77" fmla="*/ 684212 h 800100"/>
              <a:gd name="connsiteX78" fmla="*/ 1148897 w 2114552"/>
              <a:gd name="connsiteY78" fmla="*/ 704791 h 800100"/>
              <a:gd name="connsiteX79" fmla="*/ 1185636 w 2114552"/>
              <a:gd name="connsiteY79" fmla="*/ 684212 h 800100"/>
              <a:gd name="connsiteX80" fmla="*/ 1222375 w 2114552"/>
              <a:gd name="connsiteY80" fmla="*/ 725369 h 800100"/>
              <a:gd name="connsiteX81" fmla="*/ 1222375 w 2114552"/>
              <a:gd name="connsiteY81" fmla="*/ 795337 h 800100"/>
              <a:gd name="connsiteX82" fmla="*/ 1210129 w 2114552"/>
              <a:gd name="connsiteY82" fmla="*/ 795337 h 800100"/>
              <a:gd name="connsiteX83" fmla="*/ 1210129 w 2114552"/>
              <a:gd name="connsiteY83" fmla="*/ 729485 h 800100"/>
              <a:gd name="connsiteX84" fmla="*/ 1185636 w 2114552"/>
              <a:gd name="connsiteY84" fmla="*/ 692443 h 800100"/>
              <a:gd name="connsiteX85" fmla="*/ 1152979 w 2114552"/>
              <a:gd name="connsiteY85" fmla="*/ 733601 h 800100"/>
              <a:gd name="connsiteX86" fmla="*/ 1152979 w 2114552"/>
              <a:gd name="connsiteY86" fmla="*/ 795337 h 800100"/>
              <a:gd name="connsiteX87" fmla="*/ 1136650 w 2114552"/>
              <a:gd name="connsiteY87" fmla="*/ 795337 h 800100"/>
              <a:gd name="connsiteX88" fmla="*/ 1136650 w 2114552"/>
              <a:gd name="connsiteY88" fmla="*/ 713022 h 800100"/>
              <a:gd name="connsiteX89" fmla="*/ 1136650 w 2114552"/>
              <a:gd name="connsiteY89" fmla="*/ 684212 h 800100"/>
              <a:gd name="connsiteX90" fmla="*/ 1054894 w 2114552"/>
              <a:gd name="connsiteY90" fmla="*/ 684212 h 800100"/>
              <a:gd name="connsiteX91" fmla="*/ 1106488 w 2114552"/>
              <a:gd name="connsiteY91" fmla="*/ 742156 h 800100"/>
              <a:gd name="connsiteX92" fmla="*/ 1054894 w 2114552"/>
              <a:gd name="connsiteY92" fmla="*/ 800100 h 800100"/>
              <a:gd name="connsiteX93" fmla="*/ 1003300 w 2114552"/>
              <a:gd name="connsiteY93" fmla="*/ 742156 h 800100"/>
              <a:gd name="connsiteX94" fmla="*/ 1054894 w 2114552"/>
              <a:gd name="connsiteY94" fmla="*/ 684212 h 800100"/>
              <a:gd name="connsiteX95" fmla="*/ 812499 w 2114552"/>
              <a:gd name="connsiteY95" fmla="*/ 684212 h 800100"/>
              <a:gd name="connsiteX96" fmla="*/ 854076 w 2114552"/>
              <a:gd name="connsiteY96" fmla="*/ 725601 h 800100"/>
              <a:gd name="connsiteX97" fmla="*/ 854076 w 2114552"/>
              <a:gd name="connsiteY97" fmla="*/ 775267 h 800100"/>
              <a:gd name="connsiteX98" fmla="*/ 854076 w 2114552"/>
              <a:gd name="connsiteY98" fmla="*/ 795961 h 800100"/>
              <a:gd name="connsiteX99" fmla="*/ 841603 w 2114552"/>
              <a:gd name="connsiteY99" fmla="*/ 795961 h 800100"/>
              <a:gd name="connsiteX100" fmla="*/ 841603 w 2114552"/>
              <a:gd name="connsiteY100" fmla="*/ 779406 h 800100"/>
              <a:gd name="connsiteX101" fmla="*/ 837445 w 2114552"/>
              <a:gd name="connsiteY101" fmla="*/ 779406 h 800100"/>
              <a:gd name="connsiteX102" fmla="*/ 804183 w 2114552"/>
              <a:gd name="connsiteY102" fmla="*/ 800100 h 800100"/>
              <a:gd name="connsiteX103" fmla="*/ 766763 w 2114552"/>
              <a:gd name="connsiteY103" fmla="*/ 766989 h 800100"/>
              <a:gd name="connsiteX104" fmla="*/ 837445 w 2114552"/>
              <a:gd name="connsiteY104" fmla="*/ 729739 h 800100"/>
              <a:gd name="connsiteX105" fmla="*/ 837445 w 2114552"/>
              <a:gd name="connsiteY105" fmla="*/ 721462 h 800100"/>
              <a:gd name="connsiteX106" fmla="*/ 812499 w 2114552"/>
              <a:gd name="connsiteY106" fmla="*/ 692490 h 800100"/>
              <a:gd name="connsiteX107" fmla="*/ 779236 w 2114552"/>
              <a:gd name="connsiteY107" fmla="*/ 704906 h 800100"/>
              <a:gd name="connsiteX108" fmla="*/ 779236 w 2114552"/>
              <a:gd name="connsiteY108" fmla="*/ 688351 h 800100"/>
              <a:gd name="connsiteX109" fmla="*/ 812499 w 2114552"/>
              <a:gd name="connsiteY109" fmla="*/ 684212 h 800100"/>
              <a:gd name="connsiteX110" fmla="*/ 527050 w 2114552"/>
              <a:gd name="connsiteY110" fmla="*/ 684212 h 800100"/>
              <a:gd name="connsiteX111" fmla="*/ 539523 w 2114552"/>
              <a:gd name="connsiteY111" fmla="*/ 684212 h 800100"/>
              <a:gd name="connsiteX112" fmla="*/ 539523 w 2114552"/>
              <a:gd name="connsiteY112" fmla="*/ 704791 h 800100"/>
              <a:gd name="connsiteX113" fmla="*/ 576943 w 2114552"/>
              <a:gd name="connsiteY113" fmla="*/ 684212 h 800100"/>
              <a:gd name="connsiteX114" fmla="*/ 614363 w 2114552"/>
              <a:gd name="connsiteY114" fmla="*/ 725369 h 800100"/>
              <a:gd name="connsiteX115" fmla="*/ 614363 w 2114552"/>
              <a:gd name="connsiteY115" fmla="*/ 795337 h 800100"/>
              <a:gd name="connsiteX116" fmla="*/ 601890 w 2114552"/>
              <a:gd name="connsiteY116" fmla="*/ 795337 h 800100"/>
              <a:gd name="connsiteX117" fmla="*/ 601890 w 2114552"/>
              <a:gd name="connsiteY117" fmla="*/ 729485 h 800100"/>
              <a:gd name="connsiteX118" fmla="*/ 576943 w 2114552"/>
              <a:gd name="connsiteY118" fmla="*/ 692443 h 800100"/>
              <a:gd name="connsiteX119" fmla="*/ 543681 w 2114552"/>
              <a:gd name="connsiteY119" fmla="*/ 733601 h 800100"/>
              <a:gd name="connsiteX120" fmla="*/ 543681 w 2114552"/>
              <a:gd name="connsiteY120" fmla="*/ 795337 h 800100"/>
              <a:gd name="connsiteX121" fmla="*/ 527050 w 2114552"/>
              <a:gd name="connsiteY121" fmla="*/ 795337 h 800100"/>
              <a:gd name="connsiteX122" fmla="*/ 527050 w 2114552"/>
              <a:gd name="connsiteY122" fmla="*/ 713022 h 800100"/>
              <a:gd name="connsiteX123" fmla="*/ 527050 w 2114552"/>
              <a:gd name="connsiteY123" fmla="*/ 684212 h 800100"/>
              <a:gd name="connsiteX124" fmla="*/ 406400 w 2114552"/>
              <a:gd name="connsiteY124" fmla="*/ 684212 h 800100"/>
              <a:gd name="connsiteX125" fmla="*/ 418873 w 2114552"/>
              <a:gd name="connsiteY125" fmla="*/ 684212 h 800100"/>
              <a:gd name="connsiteX126" fmla="*/ 418873 w 2114552"/>
              <a:gd name="connsiteY126" fmla="*/ 754573 h 800100"/>
              <a:gd name="connsiteX127" fmla="*/ 443820 w 2114552"/>
              <a:gd name="connsiteY127" fmla="*/ 787683 h 800100"/>
              <a:gd name="connsiteX128" fmla="*/ 477082 w 2114552"/>
              <a:gd name="connsiteY128" fmla="*/ 746295 h 800100"/>
              <a:gd name="connsiteX129" fmla="*/ 477082 w 2114552"/>
              <a:gd name="connsiteY129" fmla="*/ 684212 h 800100"/>
              <a:gd name="connsiteX130" fmla="*/ 493713 w 2114552"/>
              <a:gd name="connsiteY130" fmla="*/ 684212 h 800100"/>
              <a:gd name="connsiteX131" fmla="*/ 493713 w 2114552"/>
              <a:gd name="connsiteY131" fmla="*/ 771128 h 800100"/>
              <a:gd name="connsiteX132" fmla="*/ 493713 w 2114552"/>
              <a:gd name="connsiteY132" fmla="*/ 795961 h 800100"/>
              <a:gd name="connsiteX133" fmla="*/ 481240 w 2114552"/>
              <a:gd name="connsiteY133" fmla="*/ 795961 h 800100"/>
              <a:gd name="connsiteX134" fmla="*/ 481240 w 2114552"/>
              <a:gd name="connsiteY134" fmla="*/ 779406 h 800100"/>
              <a:gd name="connsiteX135" fmla="*/ 443820 w 2114552"/>
              <a:gd name="connsiteY135" fmla="*/ 800100 h 800100"/>
              <a:gd name="connsiteX136" fmla="*/ 406400 w 2114552"/>
              <a:gd name="connsiteY136" fmla="*/ 758711 h 800100"/>
              <a:gd name="connsiteX137" fmla="*/ 406400 w 2114552"/>
              <a:gd name="connsiteY137" fmla="*/ 684212 h 800100"/>
              <a:gd name="connsiteX138" fmla="*/ 325437 w 2114552"/>
              <a:gd name="connsiteY138" fmla="*/ 684212 h 800100"/>
              <a:gd name="connsiteX139" fmla="*/ 377825 w 2114552"/>
              <a:gd name="connsiteY139" fmla="*/ 742156 h 800100"/>
              <a:gd name="connsiteX140" fmla="*/ 325437 w 2114552"/>
              <a:gd name="connsiteY140" fmla="*/ 800100 h 800100"/>
              <a:gd name="connsiteX141" fmla="*/ 273049 w 2114552"/>
              <a:gd name="connsiteY141" fmla="*/ 742156 h 800100"/>
              <a:gd name="connsiteX142" fmla="*/ 325437 w 2114552"/>
              <a:gd name="connsiteY142" fmla="*/ 684212 h 800100"/>
              <a:gd name="connsiteX143" fmla="*/ 1724027 w 2114552"/>
              <a:gd name="connsiteY143" fmla="*/ 666750 h 800100"/>
              <a:gd name="connsiteX144" fmla="*/ 1720852 w 2114552"/>
              <a:gd name="connsiteY144" fmla="*/ 679450 h 800100"/>
              <a:gd name="connsiteX145" fmla="*/ 1716089 w 2114552"/>
              <a:gd name="connsiteY145" fmla="*/ 687388 h 800100"/>
              <a:gd name="connsiteX146" fmla="*/ 1733552 w 2114552"/>
              <a:gd name="connsiteY146" fmla="*/ 687388 h 800100"/>
              <a:gd name="connsiteX147" fmla="*/ 1728789 w 2114552"/>
              <a:gd name="connsiteY147" fmla="*/ 679450 h 800100"/>
              <a:gd name="connsiteX148" fmla="*/ 1728922 w 2114552"/>
              <a:gd name="connsiteY148" fmla="*/ 654050 h 800100"/>
              <a:gd name="connsiteX149" fmla="*/ 1728922 w 2114552"/>
              <a:gd name="connsiteY149" fmla="*/ 658202 h 800100"/>
              <a:gd name="connsiteX150" fmla="*/ 1737124 w 2114552"/>
              <a:gd name="connsiteY150" fmla="*/ 678962 h 800100"/>
              <a:gd name="connsiteX151" fmla="*/ 1749427 w 2114552"/>
              <a:gd name="connsiteY151" fmla="*/ 703873 h 800100"/>
              <a:gd name="connsiteX152" fmla="*/ 1737124 w 2114552"/>
              <a:gd name="connsiteY152" fmla="*/ 703873 h 800100"/>
              <a:gd name="connsiteX153" fmla="*/ 1737124 w 2114552"/>
              <a:gd name="connsiteY153" fmla="*/ 695569 h 800100"/>
              <a:gd name="connsiteX154" fmla="*/ 1712517 w 2114552"/>
              <a:gd name="connsiteY154" fmla="*/ 695569 h 800100"/>
              <a:gd name="connsiteX155" fmla="*/ 1712517 w 2114552"/>
              <a:gd name="connsiteY155" fmla="*/ 708025 h 800100"/>
              <a:gd name="connsiteX156" fmla="*/ 1700214 w 2114552"/>
              <a:gd name="connsiteY156" fmla="*/ 703873 h 800100"/>
              <a:gd name="connsiteX157" fmla="*/ 1712517 w 2114552"/>
              <a:gd name="connsiteY157" fmla="*/ 678962 h 800100"/>
              <a:gd name="connsiteX158" fmla="*/ 1716618 w 2114552"/>
              <a:gd name="connsiteY158" fmla="*/ 658202 h 800100"/>
              <a:gd name="connsiteX159" fmla="*/ 1728922 w 2114552"/>
              <a:gd name="connsiteY159" fmla="*/ 654050 h 800100"/>
              <a:gd name="connsiteX160" fmla="*/ 907733 w 2114552"/>
              <a:gd name="connsiteY160" fmla="*/ 654049 h 800100"/>
              <a:gd name="connsiteX161" fmla="*/ 907733 w 2114552"/>
              <a:gd name="connsiteY161" fmla="*/ 683259 h 800100"/>
              <a:gd name="connsiteX162" fmla="*/ 932498 w 2114552"/>
              <a:gd name="connsiteY162" fmla="*/ 683259 h 800100"/>
              <a:gd name="connsiteX163" fmla="*/ 932498 w 2114552"/>
              <a:gd name="connsiteY163" fmla="*/ 695778 h 800100"/>
              <a:gd name="connsiteX164" fmla="*/ 907733 w 2114552"/>
              <a:gd name="connsiteY164" fmla="*/ 695778 h 800100"/>
              <a:gd name="connsiteX165" fmla="*/ 907733 w 2114552"/>
              <a:gd name="connsiteY165" fmla="*/ 770889 h 800100"/>
              <a:gd name="connsiteX166" fmla="*/ 924243 w 2114552"/>
              <a:gd name="connsiteY166" fmla="*/ 787580 h 800100"/>
              <a:gd name="connsiteX167" fmla="*/ 936626 w 2114552"/>
              <a:gd name="connsiteY167" fmla="*/ 783408 h 800100"/>
              <a:gd name="connsiteX168" fmla="*/ 936626 w 2114552"/>
              <a:gd name="connsiteY168" fmla="*/ 795926 h 800100"/>
              <a:gd name="connsiteX169" fmla="*/ 920116 w 2114552"/>
              <a:gd name="connsiteY169" fmla="*/ 800099 h 800100"/>
              <a:gd name="connsiteX170" fmla="*/ 895351 w 2114552"/>
              <a:gd name="connsiteY170" fmla="*/ 762543 h 800100"/>
              <a:gd name="connsiteX171" fmla="*/ 895351 w 2114552"/>
              <a:gd name="connsiteY171" fmla="*/ 695778 h 800100"/>
              <a:gd name="connsiteX172" fmla="*/ 874713 w 2114552"/>
              <a:gd name="connsiteY172" fmla="*/ 695778 h 800100"/>
              <a:gd name="connsiteX173" fmla="*/ 874713 w 2114552"/>
              <a:gd name="connsiteY173" fmla="*/ 683259 h 800100"/>
              <a:gd name="connsiteX174" fmla="*/ 895351 w 2114552"/>
              <a:gd name="connsiteY174" fmla="*/ 683259 h 800100"/>
              <a:gd name="connsiteX175" fmla="*/ 895351 w 2114552"/>
              <a:gd name="connsiteY175" fmla="*/ 658222 h 800100"/>
              <a:gd name="connsiteX176" fmla="*/ 907733 w 2114552"/>
              <a:gd name="connsiteY176" fmla="*/ 654049 h 800100"/>
              <a:gd name="connsiteX177" fmla="*/ 1658542 w 2114552"/>
              <a:gd name="connsiteY177" fmla="*/ 650875 h 800100"/>
              <a:gd name="connsiteX178" fmla="*/ 1666745 w 2114552"/>
              <a:gd name="connsiteY178" fmla="*/ 650875 h 800100"/>
              <a:gd name="connsiteX179" fmla="*/ 1683149 w 2114552"/>
              <a:gd name="connsiteY179" fmla="*/ 688242 h 800100"/>
              <a:gd name="connsiteX180" fmla="*/ 1687250 w 2114552"/>
              <a:gd name="connsiteY180" fmla="*/ 655027 h 800100"/>
              <a:gd name="connsiteX181" fmla="*/ 1695452 w 2114552"/>
              <a:gd name="connsiteY181" fmla="*/ 655027 h 800100"/>
              <a:gd name="connsiteX182" fmla="*/ 1687250 w 2114552"/>
              <a:gd name="connsiteY182" fmla="*/ 704850 h 800100"/>
              <a:gd name="connsiteX183" fmla="*/ 1679048 w 2114552"/>
              <a:gd name="connsiteY183" fmla="*/ 704850 h 800100"/>
              <a:gd name="connsiteX184" fmla="*/ 1662643 w 2114552"/>
              <a:gd name="connsiteY184" fmla="*/ 671635 h 800100"/>
              <a:gd name="connsiteX185" fmla="*/ 1658542 w 2114552"/>
              <a:gd name="connsiteY185" fmla="*/ 700698 h 800100"/>
              <a:gd name="connsiteX186" fmla="*/ 1646239 w 2114552"/>
              <a:gd name="connsiteY186" fmla="*/ 700698 h 800100"/>
              <a:gd name="connsiteX187" fmla="*/ 1658542 w 2114552"/>
              <a:gd name="connsiteY187" fmla="*/ 650875 h 800100"/>
              <a:gd name="connsiteX188" fmla="*/ 1787526 w 2114552"/>
              <a:gd name="connsiteY188" fmla="*/ 646113 h 800100"/>
              <a:gd name="connsiteX189" fmla="*/ 1787526 w 2114552"/>
              <a:gd name="connsiteY189" fmla="*/ 654504 h 800100"/>
              <a:gd name="connsiteX190" fmla="*/ 1771016 w 2114552"/>
              <a:gd name="connsiteY190" fmla="*/ 658700 h 800100"/>
              <a:gd name="connsiteX191" fmla="*/ 1779271 w 2114552"/>
              <a:gd name="connsiteY191" fmla="*/ 700655 h 800100"/>
              <a:gd name="connsiteX192" fmla="*/ 1771016 w 2114552"/>
              <a:gd name="connsiteY192" fmla="*/ 704851 h 800100"/>
              <a:gd name="connsiteX193" fmla="*/ 1762761 w 2114552"/>
              <a:gd name="connsiteY193" fmla="*/ 662895 h 800100"/>
              <a:gd name="connsiteX194" fmla="*/ 1746251 w 2114552"/>
              <a:gd name="connsiteY194" fmla="*/ 662895 h 800100"/>
              <a:gd name="connsiteX195" fmla="*/ 1746251 w 2114552"/>
              <a:gd name="connsiteY195" fmla="*/ 654504 h 800100"/>
              <a:gd name="connsiteX196" fmla="*/ 1787526 w 2114552"/>
              <a:gd name="connsiteY196" fmla="*/ 646113 h 800100"/>
              <a:gd name="connsiteX197" fmla="*/ 1617029 w 2114552"/>
              <a:gd name="connsiteY197" fmla="*/ 646113 h 800100"/>
              <a:gd name="connsiteX198" fmla="*/ 1617029 w 2114552"/>
              <a:gd name="connsiteY198" fmla="*/ 654051 h 800100"/>
              <a:gd name="connsiteX199" fmla="*/ 1612901 w 2114552"/>
              <a:gd name="connsiteY199" fmla="*/ 658019 h 800100"/>
              <a:gd name="connsiteX200" fmla="*/ 1625284 w 2114552"/>
              <a:gd name="connsiteY200" fmla="*/ 661988 h 800100"/>
              <a:gd name="connsiteX201" fmla="*/ 1633539 w 2114552"/>
              <a:gd name="connsiteY201" fmla="*/ 658019 h 800100"/>
              <a:gd name="connsiteX202" fmla="*/ 1633539 w 2114552"/>
              <a:gd name="connsiteY202" fmla="*/ 654051 h 800100"/>
              <a:gd name="connsiteX203" fmla="*/ 1629412 w 2114552"/>
              <a:gd name="connsiteY203" fmla="*/ 650082 h 800100"/>
              <a:gd name="connsiteX204" fmla="*/ 1617029 w 2114552"/>
              <a:gd name="connsiteY204" fmla="*/ 646113 h 800100"/>
              <a:gd name="connsiteX205" fmla="*/ 966943 w 2114552"/>
              <a:gd name="connsiteY205" fmla="*/ 643885 h 800100"/>
              <a:gd name="connsiteX206" fmla="*/ 981464 w 2114552"/>
              <a:gd name="connsiteY206" fmla="*/ 643885 h 800100"/>
              <a:gd name="connsiteX207" fmla="*/ 981464 w 2114552"/>
              <a:gd name="connsiteY207" fmla="*/ 660066 h 800100"/>
              <a:gd name="connsiteX208" fmla="*/ 966943 w 2114552"/>
              <a:gd name="connsiteY208" fmla="*/ 660066 h 800100"/>
              <a:gd name="connsiteX209" fmla="*/ 1795464 w 2114552"/>
              <a:gd name="connsiteY209" fmla="*/ 641350 h 800100"/>
              <a:gd name="connsiteX210" fmla="*/ 1807711 w 2114552"/>
              <a:gd name="connsiteY210" fmla="*/ 641350 h 800100"/>
              <a:gd name="connsiteX211" fmla="*/ 1824039 w 2114552"/>
              <a:gd name="connsiteY211" fmla="*/ 687917 h 800100"/>
              <a:gd name="connsiteX212" fmla="*/ 1811793 w 2114552"/>
              <a:gd name="connsiteY212" fmla="*/ 692150 h 800100"/>
              <a:gd name="connsiteX213" fmla="*/ 1795464 w 2114552"/>
              <a:gd name="connsiteY213" fmla="*/ 641350 h 800100"/>
              <a:gd name="connsiteX214" fmla="*/ 177800 w 2114552"/>
              <a:gd name="connsiteY214" fmla="*/ 641349 h 800100"/>
              <a:gd name="connsiteX215" fmla="*/ 252413 w 2114552"/>
              <a:gd name="connsiteY215" fmla="*/ 641349 h 800100"/>
              <a:gd name="connsiteX216" fmla="*/ 252413 w 2114552"/>
              <a:gd name="connsiteY216" fmla="*/ 654049 h 800100"/>
              <a:gd name="connsiteX217" fmla="*/ 195262 w 2114552"/>
              <a:gd name="connsiteY217" fmla="*/ 654049 h 800100"/>
              <a:gd name="connsiteX218" fmla="*/ 195262 w 2114552"/>
              <a:gd name="connsiteY218" fmla="*/ 712787 h 800100"/>
              <a:gd name="connsiteX219" fmla="*/ 249238 w 2114552"/>
              <a:gd name="connsiteY219" fmla="*/ 712787 h 800100"/>
              <a:gd name="connsiteX220" fmla="*/ 249238 w 2114552"/>
              <a:gd name="connsiteY220" fmla="*/ 725487 h 800100"/>
              <a:gd name="connsiteX221" fmla="*/ 195262 w 2114552"/>
              <a:gd name="connsiteY221" fmla="*/ 725487 h 800100"/>
              <a:gd name="connsiteX222" fmla="*/ 195262 w 2114552"/>
              <a:gd name="connsiteY222" fmla="*/ 795337 h 800100"/>
              <a:gd name="connsiteX223" fmla="*/ 177800 w 2114552"/>
              <a:gd name="connsiteY223" fmla="*/ 795337 h 800100"/>
              <a:gd name="connsiteX224" fmla="*/ 1612770 w 2114552"/>
              <a:gd name="connsiteY224" fmla="*/ 633413 h 800100"/>
              <a:gd name="connsiteX225" fmla="*/ 1633275 w 2114552"/>
              <a:gd name="connsiteY225" fmla="*/ 641668 h 800100"/>
              <a:gd name="connsiteX226" fmla="*/ 1641477 w 2114552"/>
              <a:gd name="connsiteY226" fmla="*/ 654051 h 800100"/>
              <a:gd name="connsiteX227" fmla="*/ 1641477 w 2114552"/>
              <a:gd name="connsiteY227" fmla="*/ 658178 h 800100"/>
              <a:gd name="connsiteX228" fmla="*/ 1629174 w 2114552"/>
              <a:gd name="connsiteY228" fmla="*/ 670561 h 800100"/>
              <a:gd name="connsiteX229" fmla="*/ 1633275 w 2114552"/>
              <a:gd name="connsiteY229" fmla="*/ 695326 h 800100"/>
              <a:gd name="connsiteX230" fmla="*/ 1620972 w 2114552"/>
              <a:gd name="connsiteY230" fmla="*/ 691198 h 800100"/>
              <a:gd name="connsiteX231" fmla="*/ 1620972 w 2114552"/>
              <a:gd name="connsiteY231" fmla="*/ 670561 h 800100"/>
              <a:gd name="connsiteX232" fmla="*/ 1608668 w 2114552"/>
              <a:gd name="connsiteY232" fmla="*/ 666433 h 800100"/>
              <a:gd name="connsiteX233" fmla="*/ 1604567 w 2114552"/>
              <a:gd name="connsiteY233" fmla="*/ 682943 h 800100"/>
              <a:gd name="connsiteX234" fmla="*/ 1592264 w 2114552"/>
              <a:gd name="connsiteY234" fmla="*/ 678816 h 800100"/>
              <a:gd name="connsiteX235" fmla="*/ 1604567 w 2114552"/>
              <a:gd name="connsiteY235" fmla="*/ 658178 h 800100"/>
              <a:gd name="connsiteX236" fmla="*/ 1604567 w 2114552"/>
              <a:gd name="connsiteY236" fmla="*/ 654051 h 800100"/>
              <a:gd name="connsiteX237" fmla="*/ 1612770 w 2114552"/>
              <a:gd name="connsiteY237" fmla="*/ 633413 h 800100"/>
              <a:gd name="connsiteX238" fmla="*/ 1855109 w 2114552"/>
              <a:gd name="connsiteY238" fmla="*/ 630214 h 800100"/>
              <a:gd name="connsiteX239" fmla="*/ 1844903 w 2114552"/>
              <a:gd name="connsiteY239" fmla="*/ 632818 h 800100"/>
              <a:gd name="connsiteX240" fmla="*/ 1836739 w 2114552"/>
              <a:gd name="connsiteY240" fmla="*/ 645320 h 800100"/>
              <a:gd name="connsiteX241" fmla="*/ 1836739 w 2114552"/>
              <a:gd name="connsiteY241" fmla="*/ 653655 h 800100"/>
              <a:gd name="connsiteX242" fmla="*/ 1840821 w 2114552"/>
              <a:gd name="connsiteY242" fmla="*/ 657822 h 800100"/>
              <a:gd name="connsiteX243" fmla="*/ 1857150 w 2114552"/>
              <a:gd name="connsiteY243" fmla="*/ 661989 h 800100"/>
              <a:gd name="connsiteX244" fmla="*/ 1861232 w 2114552"/>
              <a:gd name="connsiteY244" fmla="*/ 657822 h 800100"/>
              <a:gd name="connsiteX245" fmla="*/ 1865314 w 2114552"/>
              <a:gd name="connsiteY245" fmla="*/ 645320 h 800100"/>
              <a:gd name="connsiteX246" fmla="*/ 1865314 w 2114552"/>
              <a:gd name="connsiteY246" fmla="*/ 636986 h 800100"/>
              <a:gd name="connsiteX247" fmla="*/ 1855109 w 2114552"/>
              <a:gd name="connsiteY247" fmla="*/ 630214 h 800100"/>
              <a:gd name="connsiteX248" fmla="*/ 726110 w 2114552"/>
              <a:gd name="connsiteY248" fmla="*/ 628649 h 800100"/>
              <a:gd name="connsiteX249" fmla="*/ 742951 w 2114552"/>
              <a:gd name="connsiteY249" fmla="*/ 628649 h 800100"/>
              <a:gd name="connsiteX250" fmla="*/ 742951 w 2114552"/>
              <a:gd name="connsiteY250" fmla="*/ 795917 h 800100"/>
              <a:gd name="connsiteX251" fmla="*/ 726110 w 2114552"/>
              <a:gd name="connsiteY251" fmla="*/ 795917 h 800100"/>
              <a:gd name="connsiteX252" fmla="*/ 726110 w 2114552"/>
              <a:gd name="connsiteY252" fmla="*/ 779190 h 800100"/>
              <a:gd name="connsiteX253" fmla="*/ 692427 w 2114552"/>
              <a:gd name="connsiteY253" fmla="*/ 800099 h 800100"/>
              <a:gd name="connsiteX254" fmla="*/ 646113 w 2114552"/>
              <a:gd name="connsiteY254" fmla="*/ 741555 h 800100"/>
              <a:gd name="connsiteX255" fmla="*/ 692427 w 2114552"/>
              <a:gd name="connsiteY255" fmla="*/ 683011 h 800100"/>
              <a:gd name="connsiteX256" fmla="*/ 726110 w 2114552"/>
              <a:gd name="connsiteY256" fmla="*/ 703920 h 800100"/>
              <a:gd name="connsiteX257" fmla="*/ 726110 w 2114552"/>
              <a:gd name="connsiteY257" fmla="*/ 628649 h 800100"/>
              <a:gd name="connsiteX258" fmla="*/ 1857377 w 2114552"/>
              <a:gd name="connsiteY258" fmla="*/ 622131 h 800100"/>
              <a:gd name="connsiteX259" fmla="*/ 1874839 w 2114552"/>
              <a:gd name="connsiteY259" fmla="*/ 633868 h 800100"/>
              <a:gd name="connsiteX260" fmla="*/ 1874839 w 2114552"/>
              <a:gd name="connsiteY260" fmla="*/ 646114 h 800100"/>
              <a:gd name="connsiteX261" fmla="*/ 1874839 w 2114552"/>
              <a:gd name="connsiteY261" fmla="*/ 658360 h 800100"/>
              <a:gd name="connsiteX262" fmla="*/ 1862139 w 2114552"/>
              <a:gd name="connsiteY262" fmla="*/ 666525 h 800100"/>
              <a:gd name="connsiteX263" fmla="*/ 1828272 w 2114552"/>
              <a:gd name="connsiteY263" fmla="*/ 658360 h 800100"/>
              <a:gd name="connsiteX264" fmla="*/ 1824039 w 2114552"/>
              <a:gd name="connsiteY264" fmla="*/ 646114 h 800100"/>
              <a:gd name="connsiteX265" fmla="*/ 1836739 w 2114552"/>
              <a:gd name="connsiteY265" fmla="*/ 625703 h 800100"/>
              <a:gd name="connsiteX266" fmla="*/ 1857377 w 2114552"/>
              <a:gd name="connsiteY266" fmla="*/ 622131 h 800100"/>
              <a:gd name="connsiteX267" fmla="*/ 1571138 w 2114552"/>
              <a:gd name="connsiteY267" fmla="*/ 612775 h 800100"/>
              <a:gd name="connsiteX268" fmla="*/ 1600201 w 2114552"/>
              <a:gd name="connsiteY268" fmla="*/ 629285 h 800100"/>
              <a:gd name="connsiteX269" fmla="*/ 1596049 w 2114552"/>
              <a:gd name="connsiteY269" fmla="*/ 637540 h 800100"/>
              <a:gd name="connsiteX270" fmla="*/ 1575290 w 2114552"/>
              <a:gd name="connsiteY270" fmla="*/ 625158 h 800100"/>
              <a:gd name="connsiteX271" fmla="*/ 1571138 w 2114552"/>
              <a:gd name="connsiteY271" fmla="*/ 633413 h 800100"/>
              <a:gd name="connsiteX272" fmla="*/ 1583593 w 2114552"/>
              <a:gd name="connsiteY272" fmla="*/ 641668 h 800100"/>
              <a:gd name="connsiteX273" fmla="*/ 1579442 w 2114552"/>
              <a:gd name="connsiteY273" fmla="*/ 649923 h 800100"/>
              <a:gd name="connsiteX274" fmla="*/ 1566986 w 2114552"/>
              <a:gd name="connsiteY274" fmla="*/ 641668 h 800100"/>
              <a:gd name="connsiteX275" fmla="*/ 1558682 w 2114552"/>
              <a:gd name="connsiteY275" fmla="*/ 654050 h 800100"/>
              <a:gd name="connsiteX276" fmla="*/ 1579442 w 2114552"/>
              <a:gd name="connsiteY276" fmla="*/ 666433 h 800100"/>
              <a:gd name="connsiteX277" fmla="*/ 1575290 w 2114552"/>
              <a:gd name="connsiteY277" fmla="*/ 674688 h 800100"/>
              <a:gd name="connsiteX278" fmla="*/ 1546226 w 2114552"/>
              <a:gd name="connsiteY278" fmla="*/ 654050 h 800100"/>
              <a:gd name="connsiteX279" fmla="*/ 1571138 w 2114552"/>
              <a:gd name="connsiteY279" fmla="*/ 612775 h 800100"/>
              <a:gd name="connsiteX280" fmla="*/ 1898969 w 2114552"/>
              <a:gd name="connsiteY280" fmla="*/ 579438 h 800100"/>
              <a:gd name="connsiteX281" fmla="*/ 1931989 w 2114552"/>
              <a:gd name="connsiteY281" fmla="*/ 616943 h 800100"/>
              <a:gd name="connsiteX282" fmla="*/ 1923734 w 2114552"/>
              <a:gd name="connsiteY282" fmla="*/ 625277 h 800100"/>
              <a:gd name="connsiteX283" fmla="*/ 1890714 w 2114552"/>
              <a:gd name="connsiteY283" fmla="*/ 612776 h 800100"/>
              <a:gd name="connsiteX284" fmla="*/ 1907224 w 2114552"/>
              <a:gd name="connsiteY284" fmla="*/ 637779 h 800100"/>
              <a:gd name="connsiteX285" fmla="*/ 1898969 w 2114552"/>
              <a:gd name="connsiteY285" fmla="*/ 646113 h 800100"/>
              <a:gd name="connsiteX286" fmla="*/ 1870076 w 2114552"/>
              <a:gd name="connsiteY286" fmla="*/ 604441 h 800100"/>
              <a:gd name="connsiteX287" fmla="*/ 1878331 w 2114552"/>
              <a:gd name="connsiteY287" fmla="*/ 600274 h 800100"/>
              <a:gd name="connsiteX288" fmla="*/ 1911351 w 2114552"/>
              <a:gd name="connsiteY288" fmla="*/ 608608 h 800100"/>
              <a:gd name="connsiteX289" fmla="*/ 1890714 w 2114552"/>
              <a:gd name="connsiteY289" fmla="*/ 587772 h 800100"/>
              <a:gd name="connsiteX290" fmla="*/ 1898969 w 2114552"/>
              <a:gd name="connsiteY290" fmla="*/ 579438 h 800100"/>
              <a:gd name="connsiteX291" fmla="*/ 1534626 w 2114552"/>
              <a:gd name="connsiteY291" fmla="*/ 579438 h 800100"/>
              <a:gd name="connsiteX292" fmla="*/ 1563689 w 2114552"/>
              <a:gd name="connsiteY292" fmla="*/ 604350 h 800100"/>
              <a:gd name="connsiteX293" fmla="*/ 1559537 w 2114552"/>
              <a:gd name="connsiteY293" fmla="*/ 612653 h 800100"/>
              <a:gd name="connsiteX294" fmla="*/ 1547081 w 2114552"/>
              <a:gd name="connsiteY294" fmla="*/ 604350 h 800100"/>
              <a:gd name="connsiteX295" fmla="*/ 1518018 w 2114552"/>
              <a:gd name="connsiteY295" fmla="*/ 633413 h 800100"/>
              <a:gd name="connsiteX296" fmla="*/ 1509714 w 2114552"/>
              <a:gd name="connsiteY296" fmla="*/ 625109 h 800100"/>
              <a:gd name="connsiteX297" fmla="*/ 1538778 w 2114552"/>
              <a:gd name="connsiteY297" fmla="*/ 596046 h 800100"/>
              <a:gd name="connsiteX298" fmla="*/ 1526322 w 2114552"/>
              <a:gd name="connsiteY298" fmla="*/ 583590 h 800100"/>
              <a:gd name="connsiteX299" fmla="*/ 1534626 w 2114552"/>
              <a:gd name="connsiteY299" fmla="*/ 579438 h 800100"/>
              <a:gd name="connsiteX300" fmla="*/ 1924051 w 2114552"/>
              <a:gd name="connsiteY300" fmla="*/ 566738 h 800100"/>
              <a:gd name="connsiteX301" fmla="*/ 1931989 w 2114552"/>
              <a:gd name="connsiteY301" fmla="*/ 579438 h 800100"/>
              <a:gd name="connsiteX302" fmla="*/ 1936751 w 2114552"/>
              <a:gd name="connsiteY302" fmla="*/ 587376 h 800100"/>
              <a:gd name="connsiteX303" fmla="*/ 1944689 w 2114552"/>
              <a:gd name="connsiteY303" fmla="*/ 579438 h 800100"/>
              <a:gd name="connsiteX304" fmla="*/ 1944689 w 2114552"/>
              <a:gd name="connsiteY304" fmla="*/ 574676 h 800100"/>
              <a:gd name="connsiteX305" fmla="*/ 1919742 w 2114552"/>
              <a:gd name="connsiteY305" fmla="*/ 558800 h 800100"/>
              <a:gd name="connsiteX306" fmla="*/ 1970089 w 2114552"/>
              <a:gd name="connsiteY306" fmla="*/ 571103 h 800100"/>
              <a:gd name="connsiteX307" fmla="*/ 1965894 w 2114552"/>
              <a:gd name="connsiteY307" fmla="*/ 579305 h 800100"/>
              <a:gd name="connsiteX308" fmla="*/ 1961698 w 2114552"/>
              <a:gd name="connsiteY308" fmla="*/ 579305 h 800100"/>
              <a:gd name="connsiteX309" fmla="*/ 1953307 w 2114552"/>
              <a:gd name="connsiteY309" fmla="*/ 579305 h 800100"/>
              <a:gd name="connsiteX310" fmla="*/ 1940720 w 2114552"/>
              <a:gd name="connsiteY310" fmla="*/ 595710 h 800100"/>
              <a:gd name="connsiteX311" fmla="*/ 1944916 w 2114552"/>
              <a:gd name="connsiteY311" fmla="*/ 603912 h 800100"/>
              <a:gd name="connsiteX312" fmla="*/ 1940720 w 2114552"/>
              <a:gd name="connsiteY312" fmla="*/ 608013 h 800100"/>
              <a:gd name="connsiteX313" fmla="*/ 1919742 w 2114552"/>
              <a:gd name="connsiteY313" fmla="*/ 579305 h 800100"/>
              <a:gd name="connsiteX314" fmla="*/ 1911351 w 2114552"/>
              <a:gd name="connsiteY314" fmla="*/ 567002 h 800100"/>
              <a:gd name="connsiteX315" fmla="*/ 1500586 w 2114552"/>
              <a:gd name="connsiteY315" fmla="*/ 541338 h 800100"/>
              <a:gd name="connsiteX316" fmla="*/ 1508920 w 2114552"/>
              <a:gd name="connsiteY316" fmla="*/ 549805 h 800100"/>
              <a:gd name="connsiteX317" fmla="*/ 1496419 w 2114552"/>
              <a:gd name="connsiteY317" fmla="*/ 583671 h 800100"/>
              <a:gd name="connsiteX318" fmla="*/ 1521422 w 2114552"/>
              <a:gd name="connsiteY318" fmla="*/ 562505 h 800100"/>
              <a:gd name="connsiteX319" fmla="*/ 1525589 w 2114552"/>
              <a:gd name="connsiteY319" fmla="*/ 570971 h 800100"/>
              <a:gd name="connsiteX320" fmla="*/ 1488084 w 2114552"/>
              <a:gd name="connsiteY320" fmla="*/ 604838 h 800100"/>
              <a:gd name="connsiteX321" fmla="*/ 1479750 w 2114552"/>
              <a:gd name="connsiteY321" fmla="*/ 596371 h 800100"/>
              <a:gd name="connsiteX322" fmla="*/ 1492252 w 2114552"/>
              <a:gd name="connsiteY322" fmla="*/ 562505 h 800100"/>
              <a:gd name="connsiteX323" fmla="*/ 1467249 w 2114552"/>
              <a:gd name="connsiteY323" fmla="*/ 579438 h 800100"/>
              <a:gd name="connsiteX324" fmla="*/ 1458914 w 2114552"/>
              <a:gd name="connsiteY324" fmla="*/ 570971 h 800100"/>
              <a:gd name="connsiteX325" fmla="*/ 1500586 w 2114552"/>
              <a:gd name="connsiteY325" fmla="*/ 541338 h 800100"/>
              <a:gd name="connsiteX326" fmla="*/ 1936752 w 2114552"/>
              <a:gd name="connsiteY326" fmla="*/ 528638 h 800100"/>
              <a:gd name="connsiteX327" fmla="*/ 1973264 w 2114552"/>
              <a:gd name="connsiteY327" fmla="*/ 550863 h 800100"/>
              <a:gd name="connsiteX328" fmla="*/ 1985965 w 2114552"/>
              <a:gd name="connsiteY328" fmla="*/ 528638 h 800100"/>
              <a:gd name="connsiteX329" fmla="*/ 1993902 w 2114552"/>
              <a:gd name="connsiteY329" fmla="*/ 533401 h 800100"/>
              <a:gd name="connsiteX330" fmla="*/ 1978027 w 2114552"/>
              <a:gd name="connsiteY330" fmla="*/ 561976 h 800100"/>
              <a:gd name="connsiteX331" fmla="*/ 1931989 w 2114552"/>
              <a:gd name="connsiteY331" fmla="*/ 538163 h 800100"/>
              <a:gd name="connsiteX332" fmla="*/ 1492829 w 2114552"/>
              <a:gd name="connsiteY332" fmla="*/ 525463 h 800100"/>
              <a:gd name="connsiteX333" fmla="*/ 1497014 w 2114552"/>
              <a:gd name="connsiteY333" fmla="*/ 533798 h 800100"/>
              <a:gd name="connsiteX334" fmla="*/ 1455161 w 2114552"/>
              <a:gd name="connsiteY334" fmla="*/ 558801 h 800100"/>
              <a:gd name="connsiteX335" fmla="*/ 1450976 w 2114552"/>
              <a:gd name="connsiteY335" fmla="*/ 550467 h 800100"/>
              <a:gd name="connsiteX336" fmla="*/ 1492829 w 2114552"/>
              <a:gd name="connsiteY336" fmla="*/ 525463 h 800100"/>
              <a:gd name="connsiteX337" fmla="*/ 1482542 w 2114552"/>
              <a:gd name="connsiteY337" fmla="*/ 485751 h 800100"/>
              <a:gd name="connsiteX338" fmla="*/ 1476320 w 2114552"/>
              <a:gd name="connsiteY338" fmla="*/ 488355 h 800100"/>
              <a:gd name="connsiteX339" fmla="*/ 1430696 w 2114552"/>
              <a:gd name="connsiteY339" fmla="*/ 500857 h 800100"/>
              <a:gd name="connsiteX340" fmla="*/ 1422401 w 2114552"/>
              <a:gd name="connsiteY340" fmla="*/ 517526 h 800100"/>
              <a:gd name="connsiteX341" fmla="*/ 1716883 w 2114552"/>
              <a:gd name="connsiteY341" fmla="*/ 717551 h 800100"/>
              <a:gd name="connsiteX342" fmla="*/ 2011364 w 2114552"/>
              <a:gd name="connsiteY342" fmla="*/ 513358 h 800100"/>
              <a:gd name="connsiteX343" fmla="*/ 2003069 w 2114552"/>
              <a:gd name="connsiteY343" fmla="*/ 500857 h 800100"/>
              <a:gd name="connsiteX344" fmla="*/ 1957445 w 2114552"/>
              <a:gd name="connsiteY344" fmla="*/ 488355 h 800100"/>
              <a:gd name="connsiteX345" fmla="*/ 1951224 w 2114552"/>
              <a:gd name="connsiteY345" fmla="*/ 485751 h 800100"/>
              <a:gd name="connsiteX346" fmla="*/ 1945002 w 2114552"/>
              <a:gd name="connsiteY346" fmla="*/ 492522 h 800100"/>
              <a:gd name="connsiteX347" fmla="*/ 1716883 w 2114552"/>
              <a:gd name="connsiteY347" fmla="*/ 646709 h 800100"/>
              <a:gd name="connsiteX348" fmla="*/ 1488763 w 2114552"/>
              <a:gd name="connsiteY348" fmla="*/ 492522 h 800100"/>
              <a:gd name="connsiteX349" fmla="*/ 1482542 w 2114552"/>
              <a:gd name="connsiteY349" fmla="*/ 485751 h 800100"/>
              <a:gd name="connsiteX350" fmla="*/ 1662749 w 2114552"/>
              <a:gd name="connsiteY350" fmla="*/ 478852 h 800100"/>
              <a:gd name="connsiteX351" fmla="*/ 1551306 w 2114552"/>
              <a:gd name="connsiteY351" fmla="*/ 533313 h 800100"/>
              <a:gd name="connsiteX352" fmla="*/ 1543051 w 2114552"/>
              <a:gd name="connsiteY352" fmla="*/ 537502 h 800100"/>
              <a:gd name="connsiteX353" fmla="*/ 1543051 w 2114552"/>
              <a:gd name="connsiteY353" fmla="*/ 541691 h 800100"/>
              <a:gd name="connsiteX354" fmla="*/ 1547179 w 2114552"/>
              <a:gd name="connsiteY354" fmla="*/ 545880 h 800100"/>
              <a:gd name="connsiteX355" fmla="*/ 1675132 w 2114552"/>
              <a:gd name="connsiteY355" fmla="*/ 621287 h 800100"/>
              <a:gd name="connsiteX356" fmla="*/ 1683387 w 2114552"/>
              <a:gd name="connsiteY356" fmla="*/ 621287 h 800100"/>
              <a:gd name="connsiteX357" fmla="*/ 1687514 w 2114552"/>
              <a:gd name="connsiteY357" fmla="*/ 608719 h 800100"/>
              <a:gd name="connsiteX358" fmla="*/ 1679259 w 2114552"/>
              <a:gd name="connsiteY358" fmla="*/ 487231 h 800100"/>
              <a:gd name="connsiteX359" fmla="*/ 1675132 w 2114552"/>
              <a:gd name="connsiteY359" fmla="*/ 478852 h 800100"/>
              <a:gd name="connsiteX360" fmla="*/ 1662749 w 2114552"/>
              <a:gd name="connsiteY360" fmla="*/ 478852 h 800100"/>
              <a:gd name="connsiteX361" fmla="*/ 1762761 w 2114552"/>
              <a:gd name="connsiteY361" fmla="*/ 474663 h 800100"/>
              <a:gd name="connsiteX362" fmla="*/ 1758634 w 2114552"/>
              <a:gd name="connsiteY362" fmla="*/ 487182 h 800100"/>
              <a:gd name="connsiteX363" fmla="*/ 1746251 w 2114552"/>
              <a:gd name="connsiteY363" fmla="*/ 608194 h 800100"/>
              <a:gd name="connsiteX364" fmla="*/ 1750379 w 2114552"/>
              <a:gd name="connsiteY364" fmla="*/ 620713 h 800100"/>
              <a:gd name="connsiteX365" fmla="*/ 1758634 w 2114552"/>
              <a:gd name="connsiteY365" fmla="*/ 620713 h 800100"/>
              <a:gd name="connsiteX366" fmla="*/ 1886587 w 2114552"/>
              <a:gd name="connsiteY366" fmla="*/ 545602 h 800100"/>
              <a:gd name="connsiteX367" fmla="*/ 1890714 w 2114552"/>
              <a:gd name="connsiteY367" fmla="*/ 537256 h 800100"/>
              <a:gd name="connsiteX368" fmla="*/ 1882459 w 2114552"/>
              <a:gd name="connsiteY368" fmla="*/ 528910 h 800100"/>
              <a:gd name="connsiteX369" fmla="*/ 1775144 w 2114552"/>
              <a:gd name="connsiteY369" fmla="*/ 474663 h 800100"/>
              <a:gd name="connsiteX370" fmla="*/ 1762761 w 2114552"/>
              <a:gd name="connsiteY370" fmla="*/ 474663 h 800100"/>
              <a:gd name="connsiteX371" fmla="*/ 725572 w 2114552"/>
              <a:gd name="connsiteY371" fmla="*/ 428624 h 800100"/>
              <a:gd name="connsiteX372" fmla="*/ 696913 w 2114552"/>
              <a:gd name="connsiteY372" fmla="*/ 457993 h 800100"/>
              <a:gd name="connsiteX373" fmla="*/ 717384 w 2114552"/>
              <a:gd name="connsiteY373" fmla="*/ 487362 h 800100"/>
              <a:gd name="connsiteX374" fmla="*/ 774701 w 2114552"/>
              <a:gd name="connsiteY374" fmla="*/ 478971 h 800100"/>
              <a:gd name="connsiteX375" fmla="*/ 774701 w 2114552"/>
              <a:gd name="connsiteY375" fmla="*/ 428624 h 800100"/>
              <a:gd name="connsiteX376" fmla="*/ 352426 w 2114552"/>
              <a:gd name="connsiteY376" fmla="*/ 346073 h 800100"/>
              <a:gd name="connsiteX377" fmla="*/ 303213 w 2114552"/>
              <a:gd name="connsiteY377" fmla="*/ 412562 h 800100"/>
              <a:gd name="connsiteX378" fmla="*/ 352426 w 2114552"/>
              <a:gd name="connsiteY378" fmla="*/ 487361 h 800100"/>
              <a:gd name="connsiteX379" fmla="*/ 401638 w 2114552"/>
              <a:gd name="connsiteY379" fmla="*/ 412562 h 800100"/>
              <a:gd name="connsiteX380" fmla="*/ 352426 w 2114552"/>
              <a:gd name="connsiteY380" fmla="*/ 346073 h 800100"/>
              <a:gd name="connsiteX381" fmla="*/ 1704770 w 2114552"/>
              <a:gd name="connsiteY381" fmla="*/ 341312 h 800100"/>
              <a:gd name="connsiteX382" fmla="*/ 1704770 w 2114552"/>
              <a:gd name="connsiteY382" fmla="*/ 353885 h 800100"/>
              <a:gd name="connsiteX383" fmla="*/ 1671639 w 2114552"/>
              <a:gd name="connsiteY383" fmla="*/ 399986 h 800100"/>
              <a:gd name="connsiteX384" fmla="*/ 1717193 w 2114552"/>
              <a:gd name="connsiteY384" fmla="*/ 446087 h 800100"/>
              <a:gd name="connsiteX385" fmla="*/ 1766889 w 2114552"/>
              <a:gd name="connsiteY385" fmla="*/ 399986 h 800100"/>
              <a:gd name="connsiteX386" fmla="*/ 1729617 w 2114552"/>
              <a:gd name="connsiteY386" fmla="*/ 353885 h 800100"/>
              <a:gd name="connsiteX387" fmla="*/ 1729617 w 2114552"/>
              <a:gd name="connsiteY387" fmla="*/ 341312 h 800100"/>
              <a:gd name="connsiteX388" fmla="*/ 1704770 w 2114552"/>
              <a:gd name="connsiteY388" fmla="*/ 341312 h 800100"/>
              <a:gd name="connsiteX389" fmla="*/ 1716883 w 2114552"/>
              <a:gd name="connsiteY389" fmla="*/ 328612 h 800100"/>
              <a:gd name="connsiteX390" fmla="*/ 1787527 w 2114552"/>
              <a:gd name="connsiteY390" fmla="*/ 400050 h 800100"/>
              <a:gd name="connsiteX391" fmla="*/ 1716883 w 2114552"/>
              <a:gd name="connsiteY391" fmla="*/ 471488 h 800100"/>
              <a:gd name="connsiteX392" fmla="*/ 1646239 w 2114552"/>
              <a:gd name="connsiteY392" fmla="*/ 400050 h 800100"/>
              <a:gd name="connsiteX393" fmla="*/ 1716883 w 2114552"/>
              <a:gd name="connsiteY393" fmla="*/ 328612 h 800100"/>
              <a:gd name="connsiteX394" fmla="*/ 1716883 w 2114552"/>
              <a:gd name="connsiteY394" fmla="*/ 320675 h 800100"/>
              <a:gd name="connsiteX395" fmla="*/ 1638301 w 2114552"/>
              <a:gd name="connsiteY395" fmla="*/ 400050 h 800100"/>
              <a:gd name="connsiteX396" fmla="*/ 1716883 w 2114552"/>
              <a:gd name="connsiteY396" fmla="*/ 479425 h 800100"/>
              <a:gd name="connsiteX397" fmla="*/ 1795465 w 2114552"/>
              <a:gd name="connsiteY397" fmla="*/ 400050 h 800100"/>
              <a:gd name="connsiteX398" fmla="*/ 1716883 w 2114552"/>
              <a:gd name="connsiteY398" fmla="*/ 320675 h 800100"/>
              <a:gd name="connsiteX399" fmla="*/ 1924004 w 2114552"/>
              <a:gd name="connsiteY399" fmla="*/ 317500 h 800100"/>
              <a:gd name="connsiteX400" fmla="*/ 1911592 w 2114552"/>
              <a:gd name="connsiteY400" fmla="*/ 321667 h 800100"/>
              <a:gd name="connsiteX401" fmla="*/ 1812301 w 2114552"/>
              <a:gd name="connsiteY401" fmla="*/ 388342 h 800100"/>
              <a:gd name="connsiteX402" fmla="*/ 1808164 w 2114552"/>
              <a:gd name="connsiteY402" fmla="*/ 400844 h 800100"/>
              <a:gd name="connsiteX403" fmla="*/ 1812301 w 2114552"/>
              <a:gd name="connsiteY403" fmla="*/ 409178 h 800100"/>
              <a:gd name="connsiteX404" fmla="*/ 1915729 w 2114552"/>
              <a:gd name="connsiteY404" fmla="*/ 480021 h 800100"/>
              <a:gd name="connsiteX405" fmla="*/ 1924004 w 2114552"/>
              <a:gd name="connsiteY405" fmla="*/ 480021 h 800100"/>
              <a:gd name="connsiteX406" fmla="*/ 1928141 w 2114552"/>
              <a:gd name="connsiteY406" fmla="*/ 471686 h 800100"/>
              <a:gd name="connsiteX407" fmla="*/ 1928141 w 2114552"/>
              <a:gd name="connsiteY407" fmla="*/ 325834 h 800100"/>
              <a:gd name="connsiteX408" fmla="*/ 1924004 w 2114552"/>
              <a:gd name="connsiteY408" fmla="*/ 317500 h 800100"/>
              <a:gd name="connsiteX409" fmla="*/ 1509762 w 2114552"/>
              <a:gd name="connsiteY409" fmla="*/ 317500 h 800100"/>
              <a:gd name="connsiteX410" fmla="*/ 1501487 w 2114552"/>
              <a:gd name="connsiteY410" fmla="*/ 325834 h 800100"/>
              <a:gd name="connsiteX411" fmla="*/ 1501487 w 2114552"/>
              <a:gd name="connsiteY411" fmla="*/ 475854 h 800100"/>
              <a:gd name="connsiteX412" fmla="*/ 1509762 w 2114552"/>
              <a:gd name="connsiteY412" fmla="*/ 480021 h 800100"/>
              <a:gd name="connsiteX413" fmla="*/ 1518036 w 2114552"/>
              <a:gd name="connsiteY413" fmla="*/ 480021 h 800100"/>
              <a:gd name="connsiteX414" fmla="*/ 1621464 w 2114552"/>
              <a:gd name="connsiteY414" fmla="*/ 409178 h 800100"/>
              <a:gd name="connsiteX415" fmla="*/ 1625601 w 2114552"/>
              <a:gd name="connsiteY415" fmla="*/ 400844 h 800100"/>
              <a:gd name="connsiteX416" fmla="*/ 1621464 w 2114552"/>
              <a:gd name="connsiteY416" fmla="*/ 388342 h 800100"/>
              <a:gd name="connsiteX417" fmla="*/ 1518036 w 2114552"/>
              <a:gd name="connsiteY417" fmla="*/ 321667 h 800100"/>
              <a:gd name="connsiteX418" fmla="*/ 1509762 w 2114552"/>
              <a:gd name="connsiteY418" fmla="*/ 317500 h 800100"/>
              <a:gd name="connsiteX419" fmla="*/ 1032821 w 2114552"/>
              <a:gd name="connsiteY419" fmla="*/ 304799 h 800100"/>
              <a:gd name="connsiteX420" fmla="*/ 1041062 w 2114552"/>
              <a:gd name="connsiteY420" fmla="*/ 304799 h 800100"/>
              <a:gd name="connsiteX421" fmla="*/ 1074028 w 2114552"/>
              <a:gd name="connsiteY421" fmla="*/ 304799 h 800100"/>
              <a:gd name="connsiteX422" fmla="*/ 1082270 w 2114552"/>
              <a:gd name="connsiteY422" fmla="*/ 308966 h 800100"/>
              <a:gd name="connsiteX423" fmla="*/ 1123477 w 2114552"/>
              <a:gd name="connsiteY423" fmla="*/ 479821 h 800100"/>
              <a:gd name="connsiteX424" fmla="*/ 1127598 w 2114552"/>
              <a:gd name="connsiteY424" fmla="*/ 479821 h 800100"/>
              <a:gd name="connsiteX425" fmla="*/ 1172926 w 2114552"/>
              <a:gd name="connsiteY425" fmla="*/ 308966 h 800100"/>
              <a:gd name="connsiteX426" fmla="*/ 1181168 w 2114552"/>
              <a:gd name="connsiteY426" fmla="*/ 304799 h 800100"/>
              <a:gd name="connsiteX427" fmla="*/ 1214134 w 2114552"/>
              <a:gd name="connsiteY427" fmla="*/ 304799 h 800100"/>
              <a:gd name="connsiteX428" fmla="*/ 1222375 w 2114552"/>
              <a:gd name="connsiteY428" fmla="*/ 304799 h 800100"/>
              <a:gd name="connsiteX429" fmla="*/ 1222375 w 2114552"/>
              <a:gd name="connsiteY429" fmla="*/ 313133 h 800100"/>
              <a:gd name="connsiteX430" fmla="*/ 1218254 w 2114552"/>
              <a:gd name="connsiteY430" fmla="*/ 338137 h 800100"/>
              <a:gd name="connsiteX431" fmla="*/ 1201771 w 2114552"/>
              <a:gd name="connsiteY431" fmla="*/ 388143 h 800100"/>
              <a:gd name="connsiteX432" fmla="*/ 1164685 w 2114552"/>
              <a:gd name="connsiteY432" fmla="*/ 542329 h 800100"/>
              <a:gd name="connsiteX433" fmla="*/ 1098753 w 2114552"/>
              <a:gd name="connsiteY433" fmla="*/ 604837 h 800100"/>
              <a:gd name="connsiteX434" fmla="*/ 1094632 w 2114552"/>
              <a:gd name="connsiteY434" fmla="*/ 604837 h 800100"/>
              <a:gd name="connsiteX435" fmla="*/ 1041062 w 2114552"/>
              <a:gd name="connsiteY435" fmla="*/ 600670 h 800100"/>
              <a:gd name="connsiteX436" fmla="*/ 1032821 w 2114552"/>
              <a:gd name="connsiteY436" fmla="*/ 592335 h 800100"/>
              <a:gd name="connsiteX437" fmla="*/ 1032821 w 2114552"/>
              <a:gd name="connsiteY437" fmla="*/ 567332 h 800100"/>
              <a:gd name="connsiteX438" fmla="*/ 1036942 w 2114552"/>
              <a:gd name="connsiteY438" fmla="*/ 563165 h 800100"/>
              <a:gd name="connsiteX439" fmla="*/ 1041062 w 2114552"/>
              <a:gd name="connsiteY439" fmla="*/ 558998 h 800100"/>
              <a:gd name="connsiteX440" fmla="*/ 1082270 w 2114552"/>
              <a:gd name="connsiteY440" fmla="*/ 563165 h 800100"/>
              <a:gd name="connsiteX441" fmla="*/ 1115236 w 2114552"/>
              <a:gd name="connsiteY441" fmla="*/ 538162 h 800100"/>
              <a:gd name="connsiteX442" fmla="*/ 1119357 w 2114552"/>
              <a:gd name="connsiteY442" fmla="*/ 529828 h 800100"/>
              <a:gd name="connsiteX443" fmla="*/ 1106994 w 2114552"/>
              <a:gd name="connsiteY443" fmla="*/ 529828 h 800100"/>
              <a:gd name="connsiteX444" fmla="*/ 1082270 w 2114552"/>
              <a:gd name="connsiteY444" fmla="*/ 504824 h 800100"/>
              <a:gd name="connsiteX445" fmla="*/ 1032821 w 2114552"/>
              <a:gd name="connsiteY445" fmla="*/ 313133 h 800100"/>
              <a:gd name="connsiteX446" fmla="*/ 1032821 w 2114552"/>
              <a:gd name="connsiteY446" fmla="*/ 304799 h 800100"/>
              <a:gd name="connsiteX447" fmla="*/ 994979 w 2114552"/>
              <a:gd name="connsiteY447" fmla="*/ 300037 h 800100"/>
              <a:gd name="connsiteX448" fmla="*/ 999140 w 2114552"/>
              <a:gd name="connsiteY448" fmla="*/ 304193 h 800100"/>
              <a:gd name="connsiteX449" fmla="*/ 1003300 w 2114552"/>
              <a:gd name="connsiteY449" fmla="*/ 308350 h 800100"/>
              <a:gd name="connsiteX450" fmla="*/ 1003300 w 2114552"/>
              <a:gd name="connsiteY450" fmla="*/ 341601 h 800100"/>
              <a:gd name="connsiteX451" fmla="*/ 994979 w 2114552"/>
              <a:gd name="connsiteY451" fmla="*/ 349913 h 800100"/>
              <a:gd name="connsiteX452" fmla="*/ 932574 w 2114552"/>
              <a:gd name="connsiteY452" fmla="*/ 374852 h 800100"/>
              <a:gd name="connsiteX453" fmla="*/ 932574 w 2114552"/>
              <a:gd name="connsiteY453" fmla="*/ 520324 h 800100"/>
              <a:gd name="connsiteX454" fmla="*/ 924254 w 2114552"/>
              <a:gd name="connsiteY454" fmla="*/ 528637 h 800100"/>
              <a:gd name="connsiteX455" fmla="*/ 890971 w 2114552"/>
              <a:gd name="connsiteY455" fmla="*/ 528637 h 800100"/>
              <a:gd name="connsiteX456" fmla="*/ 882650 w 2114552"/>
              <a:gd name="connsiteY456" fmla="*/ 520324 h 800100"/>
              <a:gd name="connsiteX457" fmla="*/ 882650 w 2114552"/>
              <a:gd name="connsiteY457" fmla="*/ 312506 h 800100"/>
              <a:gd name="connsiteX458" fmla="*/ 890971 w 2114552"/>
              <a:gd name="connsiteY458" fmla="*/ 304193 h 800100"/>
              <a:gd name="connsiteX459" fmla="*/ 924254 w 2114552"/>
              <a:gd name="connsiteY459" fmla="*/ 304193 h 800100"/>
              <a:gd name="connsiteX460" fmla="*/ 932574 w 2114552"/>
              <a:gd name="connsiteY460" fmla="*/ 312506 h 800100"/>
              <a:gd name="connsiteX461" fmla="*/ 932574 w 2114552"/>
              <a:gd name="connsiteY461" fmla="*/ 324975 h 800100"/>
              <a:gd name="connsiteX462" fmla="*/ 994979 w 2114552"/>
              <a:gd name="connsiteY462" fmla="*/ 300037 h 800100"/>
              <a:gd name="connsiteX463" fmla="*/ 750816 w 2114552"/>
              <a:gd name="connsiteY463" fmla="*/ 295274 h 800100"/>
              <a:gd name="connsiteX464" fmla="*/ 825501 w 2114552"/>
              <a:gd name="connsiteY464" fmla="*/ 374649 h 800100"/>
              <a:gd name="connsiteX465" fmla="*/ 825501 w 2114552"/>
              <a:gd name="connsiteY465" fmla="*/ 525044 h 800100"/>
              <a:gd name="connsiteX466" fmla="*/ 825501 w 2114552"/>
              <a:gd name="connsiteY466" fmla="*/ 529221 h 800100"/>
              <a:gd name="connsiteX467" fmla="*/ 817203 w 2114552"/>
              <a:gd name="connsiteY467" fmla="*/ 533399 h 800100"/>
              <a:gd name="connsiteX468" fmla="*/ 784010 w 2114552"/>
              <a:gd name="connsiteY468" fmla="*/ 516688 h 800100"/>
              <a:gd name="connsiteX469" fmla="*/ 709325 w 2114552"/>
              <a:gd name="connsiteY469" fmla="*/ 533399 h 800100"/>
              <a:gd name="connsiteX470" fmla="*/ 642938 w 2114552"/>
              <a:gd name="connsiteY470" fmla="*/ 462379 h 800100"/>
              <a:gd name="connsiteX471" fmla="*/ 717623 w 2114552"/>
              <a:gd name="connsiteY471" fmla="*/ 391360 h 800100"/>
              <a:gd name="connsiteX472" fmla="*/ 775711 w 2114552"/>
              <a:gd name="connsiteY472" fmla="*/ 387182 h 800100"/>
              <a:gd name="connsiteX473" fmla="*/ 775711 w 2114552"/>
              <a:gd name="connsiteY473" fmla="*/ 374649 h 800100"/>
              <a:gd name="connsiteX474" fmla="*/ 746667 w 2114552"/>
              <a:gd name="connsiteY474" fmla="*/ 345406 h 800100"/>
              <a:gd name="connsiteX475" fmla="*/ 667833 w 2114552"/>
              <a:gd name="connsiteY475" fmla="*/ 349583 h 800100"/>
              <a:gd name="connsiteX476" fmla="*/ 663684 w 2114552"/>
              <a:gd name="connsiteY476" fmla="*/ 349583 h 800100"/>
              <a:gd name="connsiteX477" fmla="*/ 659535 w 2114552"/>
              <a:gd name="connsiteY477" fmla="*/ 341228 h 800100"/>
              <a:gd name="connsiteX478" fmla="*/ 659535 w 2114552"/>
              <a:gd name="connsiteY478" fmla="*/ 311985 h 800100"/>
              <a:gd name="connsiteX479" fmla="*/ 667833 w 2114552"/>
              <a:gd name="connsiteY479" fmla="*/ 303629 h 800100"/>
              <a:gd name="connsiteX480" fmla="*/ 750816 w 2114552"/>
              <a:gd name="connsiteY480" fmla="*/ 295274 h 800100"/>
              <a:gd name="connsiteX481" fmla="*/ 354013 w 2114552"/>
              <a:gd name="connsiteY481" fmla="*/ 295273 h 800100"/>
              <a:gd name="connsiteX482" fmla="*/ 455613 w 2114552"/>
              <a:gd name="connsiteY482" fmla="*/ 414336 h 800100"/>
              <a:gd name="connsiteX483" fmla="*/ 354013 w 2114552"/>
              <a:gd name="connsiteY483" fmla="*/ 533399 h 800100"/>
              <a:gd name="connsiteX484" fmla="*/ 252413 w 2114552"/>
              <a:gd name="connsiteY484" fmla="*/ 414336 h 800100"/>
              <a:gd name="connsiteX485" fmla="*/ 354013 w 2114552"/>
              <a:gd name="connsiteY485" fmla="*/ 295273 h 800100"/>
              <a:gd name="connsiteX486" fmla="*/ 53975 w 2114552"/>
              <a:gd name="connsiteY486" fmla="*/ 266699 h 800100"/>
              <a:gd name="connsiteX487" fmla="*/ 53975 w 2114552"/>
              <a:gd name="connsiteY487" fmla="*/ 358774 h 800100"/>
              <a:gd name="connsiteX488" fmla="*/ 107480 w 2114552"/>
              <a:gd name="connsiteY488" fmla="*/ 358774 h 800100"/>
              <a:gd name="connsiteX489" fmla="*/ 165100 w 2114552"/>
              <a:gd name="connsiteY489" fmla="*/ 312737 h 800100"/>
              <a:gd name="connsiteX490" fmla="*/ 111595 w 2114552"/>
              <a:gd name="connsiteY490" fmla="*/ 266699 h 800100"/>
              <a:gd name="connsiteX491" fmla="*/ 91017 w 2114552"/>
              <a:gd name="connsiteY491" fmla="*/ 266699 h 800100"/>
              <a:gd name="connsiteX492" fmla="*/ 53975 w 2114552"/>
              <a:gd name="connsiteY492" fmla="*/ 266699 h 800100"/>
              <a:gd name="connsiteX493" fmla="*/ 546894 w 2114552"/>
              <a:gd name="connsiteY493" fmla="*/ 250824 h 800100"/>
              <a:gd name="connsiteX494" fmla="*/ 551050 w 2114552"/>
              <a:gd name="connsiteY494" fmla="*/ 250824 h 800100"/>
              <a:gd name="connsiteX495" fmla="*/ 555205 w 2114552"/>
              <a:gd name="connsiteY495" fmla="*/ 259135 h 800100"/>
              <a:gd name="connsiteX496" fmla="*/ 555205 w 2114552"/>
              <a:gd name="connsiteY496" fmla="*/ 304846 h 800100"/>
              <a:gd name="connsiteX497" fmla="*/ 609227 w 2114552"/>
              <a:gd name="connsiteY497" fmla="*/ 304846 h 800100"/>
              <a:gd name="connsiteX498" fmla="*/ 617538 w 2114552"/>
              <a:gd name="connsiteY498" fmla="*/ 313157 h 800100"/>
              <a:gd name="connsiteX499" fmla="*/ 617538 w 2114552"/>
              <a:gd name="connsiteY499" fmla="*/ 342245 h 800100"/>
              <a:gd name="connsiteX500" fmla="*/ 609227 w 2114552"/>
              <a:gd name="connsiteY500" fmla="*/ 350556 h 800100"/>
              <a:gd name="connsiteX501" fmla="*/ 555205 w 2114552"/>
              <a:gd name="connsiteY501" fmla="*/ 350556 h 800100"/>
              <a:gd name="connsiteX502" fmla="*/ 555205 w 2114552"/>
              <a:gd name="connsiteY502" fmla="*/ 441978 h 800100"/>
              <a:gd name="connsiteX503" fmla="*/ 580138 w 2114552"/>
              <a:gd name="connsiteY503" fmla="*/ 483533 h 800100"/>
              <a:gd name="connsiteX504" fmla="*/ 609227 w 2114552"/>
              <a:gd name="connsiteY504" fmla="*/ 483533 h 800100"/>
              <a:gd name="connsiteX505" fmla="*/ 617538 w 2114552"/>
              <a:gd name="connsiteY505" fmla="*/ 491844 h 800100"/>
              <a:gd name="connsiteX506" fmla="*/ 617538 w 2114552"/>
              <a:gd name="connsiteY506" fmla="*/ 520932 h 800100"/>
              <a:gd name="connsiteX507" fmla="*/ 609227 w 2114552"/>
              <a:gd name="connsiteY507" fmla="*/ 529244 h 800100"/>
              <a:gd name="connsiteX508" fmla="*/ 571827 w 2114552"/>
              <a:gd name="connsiteY508" fmla="*/ 533399 h 800100"/>
              <a:gd name="connsiteX509" fmla="*/ 505339 w 2114552"/>
              <a:gd name="connsiteY509" fmla="*/ 450289 h 800100"/>
              <a:gd name="connsiteX510" fmla="*/ 505339 w 2114552"/>
              <a:gd name="connsiteY510" fmla="*/ 350556 h 800100"/>
              <a:gd name="connsiteX511" fmla="*/ 484561 w 2114552"/>
              <a:gd name="connsiteY511" fmla="*/ 350556 h 800100"/>
              <a:gd name="connsiteX512" fmla="*/ 476250 w 2114552"/>
              <a:gd name="connsiteY512" fmla="*/ 342245 h 800100"/>
              <a:gd name="connsiteX513" fmla="*/ 476250 w 2114552"/>
              <a:gd name="connsiteY513" fmla="*/ 313157 h 800100"/>
              <a:gd name="connsiteX514" fmla="*/ 484561 w 2114552"/>
              <a:gd name="connsiteY514" fmla="*/ 304846 h 800100"/>
              <a:gd name="connsiteX515" fmla="*/ 505339 w 2114552"/>
              <a:gd name="connsiteY515" fmla="*/ 304846 h 800100"/>
              <a:gd name="connsiteX516" fmla="*/ 505339 w 2114552"/>
              <a:gd name="connsiteY516" fmla="*/ 267446 h 800100"/>
              <a:gd name="connsiteX517" fmla="*/ 509494 w 2114552"/>
              <a:gd name="connsiteY517" fmla="*/ 259135 h 800100"/>
              <a:gd name="connsiteX518" fmla="*/ 546894 w 2114552"/>
              <a:gd name="connsiteY518" fmla="*/ 250824 h 800100"/>
              <a:gd name="connsiteX519" fmla="*/ 103337 w 2114552"/>
              <a:gd name="connsiteY519" fmla="*/ 217487 h 800100"/>
              <a:gd name="connsiteX520" fmla="*/ 111604 w 2114552"/>
              <a:gd name="connsiteY520" fmla="*/ 217487 h 800100"/>
              <a:gd name="connsiteX521" fmla="*/ 219075 w 2114552"/>
              <a:gd name="connsiteY521" fmla="*/ 312906 h 800100"/>
              <a:gd name="connsiteX522" fmla="*/ 165340 w 2114552"/>
              <a:gd name="connsiteY522" fmla="*/ 391731 h 800100"/>
              <a:gd name="connsiteX523" fmla="*/ 219075 w 2114552"/>
              <a:gd name="connsiteY523" fmla="*/ 516191 h 800100"/>
              <a:gd name="connsiteX524" fmla="*/ 219075 w 2114552"/>
              <a:gd name="connsiteY524" fmla="*/ 524488 h 800100"/>
              <a:gd name="connsiteX525" fmla="*/ 210808 w 2114552"/>
              <a:gd name="connsiteY525" fmla="*/ 528637 h 800100"/>
              <a:gd name="connsiteX526" fmla="*/ 173607 w 2114552"/>
              <a:gd name="connsiteY526" fmla="*/ 528637 h 800100"/>
              <a:gd name="connsiteX527" fmla="*/ 165340 w 2114552"/>
              <a:gd name="connsiteY527" fmla="*/ 524488 h 800100"/>
              <a:gd name="connsiteX528" fmla="*/ 111604 w 2114552"/>
              <a:gd name="connsiteY528" fmla="*/ 408326 h 800100"/>
              <a:gd name="connsiteX529" fmla="*/ 53736 w 2114552"/>
              <a:gd name="connsiteY529" fmla="*/ 404177 h 800100"/>
              <a:gd name="connsiteX530" fmla="*/ 53736 w 2114552"/>
              <a:gd name="connsiteY530" fmla="*/ 520340 h 800100"/>
              <a:gd name="connsiteX531" fmla="*/ 45469 w 2114552"/>
              <a:gd name="connsiteY531" fmla="*/ 528637 h 800100"/>
              <a:gd name="connsiteX532" fmla="*/ 8267 w 2114552"/>
              <a:gd name="connsiteY532" fmla="*/ 528637 h 800100"/>
              <a:gd name="connsiteX533" fmla="*/ 0 w 2114552"/>
              <a:gd name="connsiteY533" fmla="*/ 520340 h 800100"/>
              <a:gd name="connsiteX534" fmla="*/ 0 w 2114552"/>
              <a:gd name="connsiteY534" fmla="*/ 229933 h 800100"/>
              <a:gd name="connsiteX535" fmla="*/ 8267 w 2114552"/>
              <a:gd name="connsiteY535" fmla="*/ 221636 h 800100"/>
              <a:gd name="connsiteX536" fmla="*/ 103337 w 2114552"/>
              <a:gd name="connsiteY536" fmla="*/ 217487 h 800100"/>
              <a:gd name="connsiteX537" fmla="*/ 1941299 w 2114552"/>
              <a:gd name="connsiteY537" fmla="*/ 180951 h 800100"/>
              <a:gd name="connsiteX538" fmla="*/ 1936665 w 2114552"/>
              <a:gd name="connsiteY538" fmla="*/ 183555 h 800100"/>
              <a:gd name="connsiteX539" fmla="*/ 1903714 w 2114552"/>
              <a:gd name="connsiteY539" fmla="*/ 221060 h 800100"/>
              <a:gd name="connsiteX540" fmla="*/ 1903714 w 2114552"/>
              <a:gd name="connsiteY540" fmla="*/ 237729 h 800100"/>
              <a:gd name="connsiteX541" fmla="*/ 1957260 w 2114552"/>
              <a:gd name="connsiteY541" fmla="*/ 450256 h 800100"/>
              <a:gd name="connsiteX542" fmla="*/ 1965498 w 2114552"/>
              <a:gd name="connsiteY542" fmla="*/ 462757 h 800100"/>
              <a:gd name="connsiteX543" fmla="*/ 2010806 w 2114552"/>
              <a:gd name="connsiteY543" fmla="*/ 475259 h 800100"/>
              <a:gd name="connsiteX544" fmla="*/ 2023163 w 2114552"/>
              <a:gd name="connsiteY544" fmla="*/ 471092 h 800100"/>
              <a:gd name="connsiteX545" fmla="*/ 1949022 w 2114552"/>
              <a:gd name="connsiteY545" fmla="*/ 187722 h 800100"/>
              <a:gd name="connsiteX546" fmla="*/ 1941299 w 2114552"/>
              <a:gd name="connsiteY546" fmla="*/ 180951 h 800100"/>
              <a:gd name="connsiteX547" fmla="*/ 1491989 w 2114552"/>
              <a:gd name="connsiteY547" fmla="*/ 180951 h 800100"/>
              <a:gd name="connsiteX548" fmla="*/ 1484185 w 2114552"/>
              <a:gd name="connsiteY548" fmla="*/ 187722 h 800100"/>
              <a:gd name="connsiteX549" fmla="*/ 1409272 w 2114552"/>
              <a:gd name="connsiteY549" fmla="*/ 471092 h 800100"/>
              <a:gd name="connsiteX550" fmla="*/ 1421758 w 2114552"/>
              <a:gd name="connsiteY550" fmla="*/ 475259 h 800100"/>
              <a:gd name="connsiteX551" fmla="*/ 1467538 w 2114552"/>
              <a:gd name="connsiteY551" fmla="*/ 462757 h 800100"/>
              <a:gd name="connsiteX552" fmla="*/ 1475862 w 2114552"/>
              <a:gd name="connsiteY552" fmla="*/ 450256 h 800100"/>
              <a:gd name="connsiteX553" fmla="*/ 1529965 w 2114552"/>
              <a:gd name="connsiteY553" fmla="*/ 237729 h 800100"/>
              <a:gd name="connsiteX554" fmla="*/ 1534127 w 2114552"/>
              <a:gd name="connsiteY554" fmla="*/ 221060 h 800100"/>
              <a:gd name="connsiteX555" fmla="*/ 1496671 w 2114552"/>
              <a:gd name="connsiteY555" fmla="*/ 183555 h 800100"/>
              <a:gd name="connsiteX556" fmla="*/ 1491989 w 2114552"/>
              <a:gd name="connsiteY556" fmla="*/ 180951 h 800100"/>
              <a:gd name="connsiteX557" fmla="*/ 1750379 w 2114552"/>
              <a:gd name="connsiteY557" fmla="*/ 174625 h 800100"/>
              <a:gd name="connsiteX558" fmla="*/ 1746251 w 2114552"/>
              <a:gd name="connsiteY558" fmla="*/ 187144 h 800100"/>
              <a:gd name="connsiteX559" fmla="*/ 1754506 w 2114552"/>
              <a:gd name="connsiteY559" fmla="*/ 308156 h 800100"/>
              <a:gd name="connsiteX560" fmla="*/ 1762761 w 2114552"/>
              <a:gd name="connsiteY560" fmla="*/ 320675 h 800100"/>
              <a:gd name="connsiteX561" fmla="*/ 1775144 w 2114552"/>
              <a:gd name="connsiteY561" fmla="*/ 320675 h 800100"/>
              <a:gd name="connsiteX562" fmla="*/ 1882459 w 2114552"/>
              <a:gd name="connsiteY562" fmla="*/ 266428 h 800100"/>
              <a:gd name="connsiteX563" fmla="*/ 1890714 w 2114552"/>
              <a:gd name="connsiteY563" fmla="*/ 258082 h 800100"/>
              <a:gd name="connsiteX564" fmla="*/ 1886587 w 2114552"/>
              <a:gd name="connsiteY564" fmla="*/ 249736 h 800100"/>
              <a:gd name="connsiteX565" fmla="*/ 1758634 w 2114552"/>
              <a:gd name="connsiteY565" fmla="*/ 174625 h 800100"/>
              <a:gd name="connsiteX566" fmla="*/ 1750379 w 2114552"/>
              <a:gd name="connsiteY566" fmla="*/ 174625 h 800100"/>
              <a:gd name="connsiteX567" fmla="*/ 1675132 w 2114552"/>
              <a:gd name="connsiteY567" fmla="*/ 174625 h 800100"/>
              <a:gd name="connsiteX568" fmla="*/ 1547179 w 2114552"/>
              <a:gd name="connsiteY568" fmla="*/ 249736 h 800100"/>
              <a:gd name="connsiteX569" fmla="*/ 1543051 w 2114552"/>
              <a:gd name="connsiteY569" fmla="*/ 258082 h 800100"/>
              <a:gd name="connsiteX570" fmla="*/ 1551306 w 2114552"/>
              <a:gd name="connsiteY570" fmla="*/ 266428 h 800100"/>
              <a:gd name="connsiteX571" fmla="*/ 1658622 w 2114552"/>
              <a:gd name="connsiteY571" fmla="*/ 320675 h 800100"/>
              <a:gd name="connsiteX572" fmla="*/ 1671004 w 2114552"/>
              <a:gd name="connsiteY572" fmla="*/ 320675 h 800100"/>
              <a:gd name="connsiteX573" fmla="*/ 1675132 w 2114552"/>
              <a:gd name="connsiteY573" fmla="*/ 312329 h 800100"/>
              <a:gd name="connsiteX574" fmla="*/ 1687514 w 2114552"/>
              <a:gd name="connsiteY574" fmla="*/ 187144 h 800100"/>
              <a:gd name="connsiteX575" fmla="*/ 1683387 w 2114552"/>
              <a:gd name="connsiteY575" fmla="*/ 174625 h 800100"/>
              <a:gd name="connsiteX576" fmla="*/ 1675132 w 2114552"/>
              <a:gd name="connsiteY576" fmla="*/ 174625 h 800100"/>
              <a:gd name="connsiteX577" fmla="*/ 1579247 w 2114552"/>
              <a:gd name="connsiteY577" fmla="*/ 133350 h 800100"/>
              <a:gd name="connsiteX578" fmla="*/ 1566864 w 2114552"/>
              <a:gd name="connsiteY578" fmla="*/ 142082 h 800100"/>
              <a:gd name="connsiteX579" fmla="*/ 1570992 w 2114552"/>
              <a:gd name="connsiteY579" fmla="*/ 142082 h 800100"/>
              <a:gd name="connsiteX580" fmla="*/ 1575119 w 2114552"/>
              <a:gd name="connsiteY580" fmla="*/ 150813 h 800100"/>
              <a:gd name="connsiteX581" fmla="*/ 1583375 w 2114552"/>
              <a:gd name="connsiteY581" fmla="*/ 146447 h 800100"/>
              <a:gd name="connsiteX582" fmla="*/ 1587502 w 2114552"/>
              <a:gd name="connsiteY582" fmla="*/ 142082 h 800100"/>
              <a:gd name="connsiteX583" fmla="*/ 1579247 w 2114552"/>
              <a:gd name="connsiteY583" fmla="*/ 133350 h 800100"/>
              <a:gd name="connsiteX584" fmla="*/ 1575142 w 2114552"/>
              <a:gd name="connsiteY584" fmla="*/ 124846 h 800100"/>
              <a:gd name="connsiteX585" fmla="*/ 1596120 w 2114552"/>
              <a:gd name="connsiteY585" fmla="*/ 141628 h 800100"/>
              <a:gd name="connsiteX586" fmla="*/ 1596120 w 2114552"/>
              <a:gd name="connsiteY586" fmla="*/ 145823 h 800100"/>
              <a:gd name="connsiteX587" fmla="*/ 1612902 w 2114552"/>
              <a:gd name="connsiteY587" fmla="*/ 162606 h 800100"/>
              <a:gd name="connsiteX588" fmla="*/ 1604511 w 2114552"/>
              <a:gd name="connsiteY588" fmla="*/ 166801 h 800100"/>
              <a:gd name="connsiteX589" fmla="*/ 1587729 w 2114552"/>
              <a:gd name="connsiteY589" fmla="*/ 154215 h 800100"/>
              <a:gd name="connsiteX590" fmla="*/ 1579338 w 2114552"/>
              <a:gd name="connsiteY590" fmla="*/ 158410 h 800100"/>
              <a:gd name="connsiteX591" fmla="*/ 1587729 w 2114552"/>
              <a:gd name="connsiteY591" fmla="*/ 175192 h 800100"/>
              <a:gd name="connsiteX592" fmla="*/ 1579338 w 2114552"/>
              <a:gd name="connsiteY592" fmla="*/ 179388 h 800100"/>
              <a:gd name="connsiteX593" fmla="*/ 1558360 w 2114552"/>
              <a:gd name="connsiteY593" fmla="*/ 141628 h 800100"/>
              <a:gd name="connsiteX594" fmla="*/ 1554164 w 2114552"/>
              <a:gd name="connsiteY594" fmla="*/ 137432 h 800100"/>
              <a:gd name="connsiteX595" fmla="*/ 1575142 w 2114552"/>
              <a:gd name="connsiteY595" fmla="*/ 124846 h 800100"/>
              <a:gd name="connsiteX596" fmla="*/ 1836161 w 2114552"/>
              <a:gd name="connsiteY596" fmla="*/ 117475 h 800100"/>
              <a:gd name="connsiteX597" fmla="*/ 1844532 w 2114552"/>
              <a:gd name="connsiteY597" fmla="*/ 121557 h 800100"/>
              <a:gd name="connsiteX598" fmla="*/ 1848717 w 2114552"/>
              <a:gd name="connsiteY598" fmla="*/ 141968 h 800100"/>
              <a:gd name="connsiteX599" fmla="*/ 1869644 w 2114552"/>
              <a:gd name="connsiteY599" fmla="*/ 133804 h 800100"/>
              <a:gd name="connsiteX600" fmla="*/ 1878014 w 2114552"/>
              <a:gd name="connsiteY600" fmla="*/ 137886 h 800100"/>
              <a:gd name="connsiteX601" fmla="*/ 1848717 w 2114552"/>
              <a:gd name="connsiteY601" fmla="*/ 154214 h 800100"/>
              <a:gd name="connsiteX602" fmla="*/ 1840347 w 2114552"/>
              <a:gd name="connsiteY602" fmla="*/ 174625 h 800100"/>
              <a:gd name="connsiteX603" fmla="*/ 1831976 w 2114552"/>
              <a:gd name="connsiteY603" fmla="*/ 166461 h 800100"/>
              <a:gd name="connsiteX604" fmla="*/ 1840347 w 2114552"/>
              <a:gd name="connsiteY604" fmla="*/ 146050 h 800100"/>
              <a:gd name="connsiteX605" fmla="*/ 1836161 w 2114552"/>
              <a:gd name="connsiteY605" fmla="*/ 117475 h 800100"/>
              <a:gd name="connsiteX606" fmla="*/ 1794829 w 2114552"/>
              <a:gd name="connsiteY606" fmla="*/ 112713 h 800100"/>
              <a:gd name="connsiteX607" fmla="*/ 1790701 w 2114552"/>
              <a:gd name="connsiteY607" fmla="*/ 120651 h 800100"/>
              <a:gd name="connsiteX608" fmla="*/ 1790701 w 2114552"/>
              <a:gd name="connsiteY608" fmla="*/ 124619 h 800100"/>
              <a:gd name="connsiteX609" fmla="*/ 1803084 w 2114552"/>
              <a:gd name="connsiteY609" fmla="*/ 128588 h 800100"/>
              <a:gd name="connsiteX610" fmla="*/ 1811339 w 2114552"/>
              <a:gd name="connsiteY610" fmla="*/ 120651 h 800100"/>
              <a:gd name="connsiteX611" fmla="*/ 1807212 w 2114552"/>
              <a:gd name="connsiteY611" fmla="*/ 116682 h 800100"/>
              <a:gd name="connsiteX612" fmla="*/ 1794829 w 2114552"/>
              <a:gd name="connsiteY612" fmla="*/ 112713 h 800100"/>
              <a:gd name="connsiteX613" fmla="*/ 1637508 w 2114552"/>
              <a:gd name="connsiteY613" fmla="*/ 112117 h 800100"/>
              <a:gd name="connsiteX614" fmla="*/ 1620839 w 2114552"/>
              <a:gd name="connsiteY614" fmla="*/ 124619 h 800100"/>
              <a:gd name="connsiteX615" fmla="*/ 1620839 w 2114552"/>
              <a:gd name="connsiteY615" fmla="*/ 128786 h 800100"/>
              <a:gd name="connsiteX616" fmla="*/ 1637508 w 2114552"/>
              <a:gd name="connsiteY616" fmla="*/ 141288 h 800100"/>
              <a:gd name="connsiteX617" fmla="*/ 1654177 w 2114552"/>
              <a:gd name="connsiteY617" fmla="*/ 124619 h 800100"/>
              <a:gd name="connsiteX618" fmla="*/ 1637508 w 2114552"/>
              <a:gd name="connsiteY618" fmla="*/ 112117 h 800100"/>
              <a:gd name="connsiteX619" fmla="*/ 1741489 w 2114552"/>
              <a:gd name="connsiteY619" fmla="*/ 104775 h 800100"/>
              <a:gd name="connsiteX620" fmla="*/ 1737520 w 2114552"/>
              <a:gd name="connsiteY620" fmla="*/ 117158 h 800100"/>
              <a:gd name="connsiteX621" fmla="*/ 1733551 w 2114552"/>
              <a:gd name="connsiteY621" fmla="*/ 125413 h 800100"/>
              <a:gd name="connsiteX622" fmla="*/ 1749426 w 2114552"/>
              <a:gd name="connsiteY622" fmla="*/ 125413 h 800100"/>
              <a:gd name="connsiteX623" fmla="*/ 1745457 w 2114552"/>
              <a:gd name="connsiteY623" fmla="*/ 117158 h 800100"/>
              <a:gd name="connsiteX624" fmla="*/ 1741489 w 2114552"/>
              <a:gd name="connsiteY624" fmla="*/ 104775 h 800100"/>
              <a:gd name="connsiteX625" fmla="*/ 1633407 w 2114552"/>
              <a:gd name="connsiteY625" fmla="*/ 104165 h 800100"/>
              <a:gd name="connsiteX626" fmla="*/ 1662114 w 2114552"/>
              <a:gd name="connsiteY626" fmla="*/ 124925 h 800100"/>
              <a:gd name="connsiteX627" fmla="*/ 1637508 w 2114552"/>
              <a:gd name="connsiteY627" fmla="*/ 149836 h 800100"/>
              <a:gd name="connsiteX628" fmla="*/ 1612901 w 2114552"/>
              <a:gd name="connsiteY628" fmla="*/ 129076 h 800100"/>
              <a:gd name="connsiteX629" fmla="*/ 1612901 w 2114552"/>
              <a:gd name="connsiteY629" fmla="*/ 124925 h 800100"/>
              <a:gd name="connsiteX630" fmla="*/ 1633407 w 2114552"/>
              <a:gd name="connsiteY630" fmla="*/ 104165 h 800100"/>
              <a:gd name="connsiteX631" fmla="*/ 1787382 w 2114552"/>
              <a:gd name="connsiteY631" fmla="*/ 100013 h 800100"/>
              <a:gd name="connsiteX632" fmla="*/ 1812494 w 2114552"/>
              <a:gd name="connsiteY632" fmla="*/ 108404 h 800100"/>
              <a:gd name="connsiteX633" fmla="*/ 1820864 w 2114552"/>
              <a:gd name="connsiteY633" fmla="*/ 120991 h 800100"/>
              <a:gd name="connsiteX634" fmla="*/ 1808308 w 2114552"/>
              <a:gd name="connsiteY634" fmla="*/ 137773 h 800100"/>
              <a:gd name="connsiteX635" fmla="*/ 1812494 w 2114552"/>
              <a:gd name="connsiteY635" fmla="*/ 158751 h 800100"/>
              <a:gd name="connsiteX636" fmla="*/ 1804123 w 2114552"/>
              <a:gd name="connsiteY636" fmla="*/ 154555 h 800100"/>
              <a:gd name="connsiteX637" fmla="*/ 1799938 w 2114552"/>
              <a:gd name="connsiteY637" fmla="*/ 133578 h 800100"/>
              <a:gd name="connsiteX638" fmla="*/ 1791567 w 2114552"/>
              <a:gd name="connsiteY638" fmla="*/ 133578 h 800100"/>
              <a:gd name="connsiteX639" fmla="*/ 1787382 w 2114552"/>
              <a:gd name="connsiteY639" fmla="*/ 150360 h 800100"/>
              <a:gd name="connsiteX640" fmla="*/ 1774826 w 2114552"/>
              <a:gd name="connsiteY640" fmla="*/ 146164 h 800100"/>
              <a:gd name="connsiteX641" fmla="*/ 1783197 w 2114552"/>
              <a:gd name="connsiteY641" fmla="*/ 120991 h 800100"/>
              <a:gd name="connsiteX642" fmla="*/ 1787382 w 2114552"/>
              <a:gd name="connsiteY642" fmla="*/ 100013 h 800100"/>
              <a:gd name="connsiteX643" fmla="*/ 1737015 w 2114552"/>
              <a:gd name="connsiteY643" fmla="*/ 92075 h 800100"/>
              <a:gd name="connsiteX644" fmla="*/ 1749571 w 2114552"/>
              <a:gd name="connsiteY644" fmla="*/ 92075 h 800100"/>
              <a:gd name="connsiteX645" fmla="*/ 1753757 w 2114552"/>
              <a:gd name="connsiteY645" fmla="*/ 116987 h 800100"/>
              <a:gd name="connsiteX646" fmla="*/ 1762127 w 2114552"/>
              <a:gd name="connsiteY646" fmla="*/ 146050 h 800100"/>
              <a:gd name="connsiteX647" fmla="*/ 1753757 w 2114552"/>
              <a:gd name="connsiteY647" fmla="*/ 141898 h 800100"/>
              <a:gd name="connsiteX648" fmla="*/ 1749571 w 2114552"/>
              <a:gd name="connsiteY648" fmla="*/ 133594 h 800100"/>
              <a:gd name="connsiteX649" fmla="*/ 1728645 w 2114552"/>
              <a:gd name="connsiteY649" fmla="*/ 133594 h 800100"/>
              <a:gd name="connsiteX650" fmla="*/ 1724460 w 2114552"/>
              <a:gd name="connsiteY650" fmla="*/ 141898 h 800100"/>
              <a:gd name="connsiteX651" fmla="*/ 1716089 w 2114552"/>
              <a:gd name="connsiteY651" fmla="*/ 141898 h 800100"/>
              <a:gd name="connsiteX652" fmla="*/ 1728645 w 2114552"/>
              <a:gd name="connsiteY652" fmla="*/ 116987 h 800100"/>
              <a:gd name="connsiteX653" fmla="*/ 1737015 w 2114552"/>
              <a:gd name="connsiteY653" fmla="*/ 92075 h 800100"/>
              <a:gd name="connsiteX654" fmla="*/ 1712914 w 2114552"/>
              <a:gd name="connsiteY654" fmla="*/ 92075 h 800100"/>
              <a:gd name="connsiteX655" fmla="*/ 1712914 w 2114552"/>
              <a:gd name="connsiteY655" fmla="*/ 100277 h 800100"/>
              <a:gd name="connsiteX656" fmla="*/ 1696173 w 2114552"/>
              <a:gd name="connsiteY656" fmla="*/ 100277 h 800100"/>
              <a:gd name="connsiteX657" fmla="*/ 1700358 w 2114552"/>
              <a:gd name="connsiteY657" fmla="*/ 141288 h 800100"/>
              <a:gd name="connsiteX658" fmla="*/ 1687802 w 2114552"/>
              <a:gd name="connsiteY658" fmla="*/ 141288 h 800100"/>
              <a:gd name="connsiteX659" fmla="*/ 1683617 w 2114552"/>
              <a:gd name="connsiteY659" fmla="*/ 100277 h 800100"/>
              <a:gd name="connsiteX660" fmla="*/ 1666876 w 2114552"/>
              <a:gd name="connsiteY660" fmla="*/ 104378 h 800100"/>
              <a:gd name="connsiteX661" fmla="*/ 1666876 w 2114552"/>
              <a:gd name="connsiteY661" fmla="*/ 96176 h 800100"/>
              <a:gd name="connsiteX662" fmla="*/ 1712914 w 2114552"/>
              <a:gd name="connsiteY662" fmla="*/ 92075 h 800100"/>
              <a:gd name="connsiteX663" fmla="*/ 1181630 w 2114552"/>
              <a:gd name="connsiteY663" fmla="*/ 92074 h 800100"/>
              <a:gd name="connsiteX664" fmla="*/ 1147763 w 2114552"/>
              <a:gd name="connsiteY664" fmla="*/ 133349 h 800100"/>
              <a:gd name="connsiteX665" fmla="*/ 1211263 w 2114552"/>
              <a:gd name="connsiteY665" fmla="*/ 133349 h 800100"/>
              <a:gd name="connsiteX666" fmla="*/ 1181630 w 2114552"/>
              <a:gd name="connsiteY666" fmla="*/ 92074 h 800100"/>
              <a:gd name="connsiteX667" fmla="*/ 1716089 w 2114552"/>
              <a:gd name="connsiteY667" fmla="*/ 84138 h 800100"/>
              <a:gd name="connsiteX668" fmla="*/ 1521183 w 2114552"/>
              <a:gd name="connsiteY668" fmla="*/ 150178 h 800100"/>
              <a:gd name="connsiteX669" fmla="*/ 1517036 w 2114552"/>
              <a:gd name="connsiteY669" fmla="*/ 166688 h 800100"/>
              <a:gd name="connsiteX670" fmla="*/ 1550212 w 2114552"/>
              <a:gd name="connsiteY670" fmla="*/ 203836 h 800100"/>
              <a:gd name="connsiteX671" fmla="*/ 1566799 w 2114552"/>
              <a:gd name="connsiteY671" fmla="*/ 203836 h 800100"/>
              <a:gd name="connsiteX672" fmla="*/ 1716089 w 2114552"/>
              <a:gd name="connsiteY672" fmla="*/ 150178 h 800100"/>
              <a:gd name="connsiteX673" fmla="*/ 1865379 w 2114552"/>
              <a:gd name="connsiteY673" fmla="*/ 203836 h 800100"/>
              <a:gd name="connsiteX674" fmla="*/ 1881967 w 2114552"/>
              <a:gd name="connsiteY674" fmla="*/ 203836 h 800100"/>
              <a:gd name="connsiteX675" fmla="*/ 1915142 w 2114552"/>
              <a:gd name="connsiteY675" fmla="*/ 166688 h 800100"/>
              <a:gd name="connsiteX676" fmla="*/ 1910995 w 2114552"/>
              <a:gd name="connsiteY676" fmla="*/ 150178 h 800100"/>
              <a:gd name="connsiteX677" fmla="*/ 1716089 w 2114552"/>
              <a:gd name="connsiteY677" fmla="*/ 84138 h 800100"/>
              <a:gd name="connsiteX678" fmla="*/ 1181894 w 2114552"/>
              <a:gd name="connsiteY678" fmla="*/ 84137 h 800100"/>
              <a:gd name="connsiteX679" fmla="*/ 1227138 w 2114552"/>
              <a:gd name="connsiteY679" fmla="*/ 137942 h 800100"/>
              <a:gd name="connsiteX680" fmla="*/ 1227138 w 2114552"/>
              <a:gd name="connsiteY680" fmla="*/ 146220 h 800100"/>
              <a:gd name="connsiteX681" fmla="*/ 1148989 w 2114552"/>
              <a:gd name="connsiteY681" fmla="*/ 146220 h 800100"/>
              <a:gd name="connsiteX682" fmla="*/ 1186007 w 2114552"/>
              <a:gd name="connsiteY682" fmla="*/ 187608 h 800100"/>
              <a:gd name="connsiteX683" fmla="*/ 1218912 w 2114552"/>
              <a:gd name="connsiteY683" fmla="*/ 179331 h 800100"/>
              <a:gd name="connsiteX684" fmla="*/ 1218912 w 2114552"/>
              <a:gd name="connsiteY684" fmla="*/ 191747 h 800100"/>
              <a:gd name="connsiteX685" fmla="*/ 1186007 w 2114552"/>
              <a:gd name="connsiteY685" fmla="*/ 200025 h 800100"/>
              <a:gd name="connsiteX686" fmla="*/ 1136650 w 2114552"/>
              <a:gd name="connsiteY686" fmla="*/ 142081 h 800100"/>
              <a:gd name="connsiteX687" fmla="*/ 1181894 w 2114552"/>
              <a:gd name="connsiteY687" fmla="*/ 84137 h 800100"/>
              <a:gd name="connsiteX688" fmla="*/ 887413 w 2114552"/>
              <a:gd name="connsiteY688" fmla="*/ 41274 h 800100"/>
              <a:gd name="connsiteX689" fmla="*/ 995363 w 2114552"/>
              <a:gd name="connsiteY689" fmla="*/ 41274 h 800100"/>
              <a:gd name="connsiteX690" fmla="*/ 995363 w 2114552"/>
              <a:gd name="connsiteY690" fmla="*/ 53974 h 800100"/>
              <a:gd name="connsiteX691" fmla="*/ 949326 w 2114552"/>
              <a:gd name="connsiteY691" fmla="*/ 53974 h 800100"/>
              <a:gd name="connsiteX692" fmla="*/ 949326 w 2114552"/>
              <a:gd name="connsiteY692" fmla="*/ 195262 h 800100"/>
              <a:gd name="connsiteX693" fmla="*/ 933451 w 2114552"/>
              <a:gd name="connsiteY693" fmla="*/ 195262 h 800100"/>
              <a:gd name="connsiteX694" fmla="*/ 933451 w 2114552"/>
              <a:gd name="connsiteY694" fmla="*/ 53974 h 800100"/>
              <a:gd name="connsiteX695" fmla="*/ 887413 w 2114552"/>
              <a:gd name="connsiteY695" fmla="*/ 53974 h 800100"/>
              <a:gd name="connsiteX696" fmla="*/ 1020763 w 2114552"/>
              <a:gd name="connsiteY696" fmla="*/ 28574 h 800100"/>
              <a:gd name="connsiteX697" fmla="*/ 1033010 w 2114552"/>
              <a:gd name="connsiteY697" fmla="*/ 28574 h 800100"/>
              <a:gd name="connsiteX698" fmla="*/ 1033010 w 2114552"/>
              <a:gd name="connsiteY698" fmla="*/ 103584 h 800100"/>
              <a:gd name="connsiteX699" fmla="*/ 1069749 w 2114552"/>
              <a:gd name="connsiteY699" fmla="*/ 82748 h 800100"/>
              <a:gd name="connsiteX700" fmla="*/ 1106488 w 2114552"/>
              <a:gd name="connsiteY700" fmla="*/ 128587 h 800100"/>
              <a:gd name="connsiteX701" fmla="*/ 1106488 w 2114552"/>
              <a:gd name="connsiteY701" fmla="*/ 195262 h 800100"/>
              <a:gd name="connsiteX702" fmla="*/ 1090160 w 2114552"/>
              <a:gd name="connsiteY702" fmla="*/ 195262 h 800100"/>
              <a:gd name="connsiteX703" fmla="*/ 1090160 w 2114552"/>
              <a:gd name="connsiteY703" fmla="*/ 128587 h 800100"/>
              <a:gd name="connsiteX704" fmla="*/ 1065667 w 2114552"/>
              <a:gd name="connsiteY704" fmla="*/ 91082 h 800100"/>
              <a:gd name="connsiteX705" fmla="*/ 1033010 w 2114552"/>
              <a:gd name="connsiteY705" fmla="*/ 136921 h 800100"/>
              <a:gd name="connsiteX706" fmla="*/ 1033010 w 2114552"/>
              <a:gd name="connsiteY706" fmla="*/ 195262 h 800100"/>
              <a:gd name="connsiteX707" fmla="*/ 1020763 w 2114552"/>
              <a:gd name="connsiteY707" fmla="*/ 195262 h 800100"/>
              <a:gd name="connsiteX708" fmla="*/ 1704456 w 2114552"/>
              <a:gd name="connsiteY708" fmla="*/ 0 h 800100"/>
              <a:gd name="connsiteX709" fmla="*/ 1729310 w 2114552"/>
              <a:gd name="connsiteY709" fmla="*/ 0 h 800100"/>
              <a:gd name="connsiteX710" fmla="*/ 1745880 w 2114552"/>
              <a:gd name="connsiteY710" fmla="*/ 62461 h 800100"/>
              <a:gd name="connsiteX711" fmla="*/ 1774877 w 2114552"/>
              <a:gd name="connsiteY711" fmla="*/ 66625 h 800100"/>
              <a:gd name="connsiteX712" fmla="*/ 1803873 w 2114552"/>
              <a:gd name="connsiteY712" fmla="*/ 12492 h 800100"/>
              <a:gd name="connsiteX713" fmla="*/ 1808016 w 2114552"/>
              <a:gd name="connsiteY713" fmla="*/ 12492 h 800100"/>
              <a:gd name="connsiteX714" fmla="*/ 1832870 w 2114552"/>
              <a:gd name="connsiteY714" fmla="*/ 16656 h 800100"/>
              <a:gd name="connsiteX715" fmla="*/ 1832870 w 2114552"/>
              <a:gd name="connsiteY715" fmla="*/ 20820 h 800100"/>
              <a:gd name="connsiteX716" fmla="*/ 1837012 w 2114552"/>
              <a:gd name="connsiteY716" fmla="*/ 49969 h 800100"/>
              <a:gd name="connsiteX717" fmla="*/ 1832870 w 2114552"/>
              <a:gd name="connsiteY717" fmla="*/ 83282 h 800100"/>
              <a:gd name="connsiteX718" fmla="*/ 1857724 w 2114552"/>
              <a:gd name="connsiteY718" fmla="*/ 91610 h 800100"/>
              <a:gd name="connsiteX719" fmla="*/ 1903291 w 2114552"/>
              <a:gd name="connsiteY719" fmla="*/ 49969 h 800100"/>
              <a:gd name="connsiteX720" fmla="*/ 1928145 w 2114552"/>
              <a:gd name="connsiteY720" fmla="*/ 62461 h 800100"/>
              <a:gd name="connsiteX721" fmla="*/ 1911575 w 2114552"/>
              <a:gd name="connsiteY721" fmla="*/ 124922 h 800100"/>
              <a:gd name="connsiteX722" fmla="*/ 1932287 w 2114552"/>
              <a:gd name="connsiteY722" fmla="*/ 141579 h 800100"/>
              <a:gd name="connsiteX723" fmla="*/ 1986138 w 2114552"/>
              <a:gd name="connsiteY723" fmla="*/ 108266 h 800100"/>
              <a:gd name="connsiteX724" fmla="*/ 2006850 w 2114552"/>
              <a:gd name="connsiteY724" fmla="*/ 129086 h 800100"/>
              <a:gd name="connsiteX725" fmla="*/ 1973711 w 2114552"/>
              <a:gd name="connsiteY725" fmla="*/ 183219 h 800100"/>
              <a:gd name="connsiteX726" fmla="*/ 1990281 w 2114552"/>
              <a:gd name="connsiteY726" fmla="*/ 204040 h 800100"/>
              <a:gd name="connsiteX727" fmla="*/ 2052416 w 2114552"/>
              <a:gd name="connsiteY727" fmla="*/ 187383 h 800100"/>
              <a:gd name="connsiteX728" fmla="*/ 2052416 w 2114552"/>
              <a:gd name="connsiteY728" fmla="*/ 191547 h 800100"/>
              <a:gd name="connsiteX729" fmla="*/ 2064844 w 2114552"/>
              <a:gd name="connsiteY729" fmla="*/ 212368 h 800100"/>
              <a:gd name="connsiteX730" fmla="*/ 2023420 w 2114552"/>
              <a:gd name="connsiteY730" fmla="*/ 258173 h 800100"/>
              <a:gd name="connsiteX731" fmla="*/ 2031705 w 2114552"/>
              <a:gd name="connsiteY731" fmla="*/ 283157 h 800100"/>
              <a:gd name="connsiteX732" fmla="*/ 2093840 w 2114552"/>
              <a:gd name="connsiteY732" fmla="*/ 283157 h 800100"/>
              <a:gd name="connsiteX733" fmla="*/ 2102125 w 2114552"/>
              <a:gd name="connsiteY733" fmla="*/ 308141 h 800100"/>
              <a:gd name="connsiteX734" fmla="*/ 2102125 w 2114552"/>
              <a:gd name="connsiteY734" fmla="*/ 312306 h 800100"/>
              <a:gd name="connsiteX735" fmla="*/ 2048274 w 2114552"/>
              <a:gd name="connsiteY735" fmla="*/ 341454 h 800100"/>
              <a:gd name="connsiteX736" fmla="*/ 2052416 w 2114552"/>
              <a:gd name="connsiteY736" fmla="*/ 366438 h 800100"/>
              <a:gd name="connsiteX737" fmla="*/ 2110410 w 2114552"/>
              <a:gd name="connsiteY737" fmla="*/ 383095 h 800100"/>
              <a:gd name="connsiteX738" fmla="*/ 2110410 w 2114552"/>
              <a:gd name="connsiteY738" fmla="*/ 387259 h 800100"/>
              <a:gd name="connsiteX739" fmla="*/ 2114552 w 2114552"/>
              <a:gd name="connsiteY739" fmla="*/ 399751 h 800100"/>
              <a:gd name="connsiteX740" fmla="*/ 2110410 w 2114552"/>
              <a:gd name="connsiteY740" fmla="*/ 412243 h 800100"/>
              <a:gd name="connsiteX741" fmla="*/ 2052416 w 2114552"/>
              <a:gd name="connsiteY741" fmla="*/ 428900 h 800100"/>
              <a:gd name="connsiteX742" fmla="*/ 2048274 w 2114552"/>
              <a:gd name="connsiteY742" fmla="*/ 453884 h 800100"/>
              <a:gd name="connsiteX743" fmla="*/ 2102125 w 2114552"/>
              <a:gd name="connsiteY743" fmla="*/ 487197 h 800100"/>
              <a:gd name="connsiteX744" fmla="*/ 2093840 w 2114552"/>
              <a:gd name="connsiteY744" fmla="*/ 512181 h 800100"/>
              <a:gd name="connsiteX745" fmla="*/ 2093840 w 2114552"/>
              <a:gd name="connsiteY745" fmla="*/ 516345 h 800100"/>
              <a:gd name="connsiteX746" fmla="*/ 2031705 w 2114552"/>
              <a:gd name="connsiteY746" fmla="*/ 516345 h 800100"/>
              <a:gd name="connsiteX747" fmla="*/ 2023420 w 2114552"/>
              <a:gd name="connsiteY747" fmla="*/ 537165 h 800100"/>
              <a:gd name="connsiteX748" fmla="*/ 2064844 w 2114552"/>
              <a:gd name="connsiteY748" fmla="*/ 582970 h 800100"/>
              <a:gd name="connsiteX749" fmla="*/ 2064844 w 2114552"/>
              <a:gd name="connsiteY749" fmla="*/ 587134 h 800100"/>
              <a:gd name="connsiteX750" fmla="*/ 2052416 w 2114552"/>
              <a:gd name="connsiteY750" fmla="*/ 607955 h 800100"/>
              <a:gd name="connsiteX751" fmla="*/ 1990281 w 2114552"/>
              <a:gd name="connsiteY751" fmla="*/ 591298 h 800100"/>
              <a:gd name="connsiteX752" fmla="*/ 1973711 w 2114552"/>
              <a:gd name="connsiteY752" fmla="*/ 612119 h 800100"/>
              <a:gd name="connsiteX753" fmla="*/ 2006850 w 2114552"/>
              <a:gd name="connsiteY753" fmla="*/ 666252 h 800100"/>
              <a:gd name="connsiteX754" fmla="*/ 2006850 w 2114552"/>
              <a:gd name="connsiteY754" fmla="*/ 670416 h 800100"/>
              <a:gd name="connsiteX755" fmla="*/ 1986138 w 2114552"/>
              <a:gd name="connsiteY755" fmla="*/ 687072 h 800100"/>
              <a:gd name="connsiteX756" fmla="*/ 1932287 w 2114552"/>
              <a:gd name="connsiteY756" fmla="*/ 657924 h 800100"/>
              <a:gd name="connsiteX757" fmla="*/ 1911575 w 2114552"/>
              <a:gd name="connsiteY757" fmla="*/ 674580 h 800100"/>
              <a:gd name="connsiteX758" fmla="*/ 1928145 w 2114552"/>
              <a:gd name="connsiteY758" fmla="*/ 732877 h 800100"/>
              <a:gd name="connsiteX759" fmla="*/ 1928145 w 2114552"/>
              <a:gd name="connsiteY759" fmla="*/ 737041 h 800100"/>
              <a:gd name="connsiteX760" fmla="*/ 1924002 w 2114552"/>
              <a:gd name="connsiteY760" fmla="*/ 737041 h 800100"/>
              <a:gd name="connsiteX761" fmla="*/ 1903291 w 2114552"/>
              <a:gd name="connsiteY761" fmla="*/ 749533 h 800100"/>
              <a:gd name="connsiteX762" fmla="*/ 1857724 w 2114552"/>
              <a:gd name="connsiteY762" fmla="*/ 703728 h 800100"/>
              <a:gd name="connsiteX763" fmla="*/ 1832870 w 2114552"/>
              <a:gd name="connsiteY763" fmla="*/ 716221 h 800100"/>
              <a:gd name="connsiteX764" fmla="*/ 1837012 w 2114552"/>
              <a:gd name="connsiteY764" fmla="*/ 745369 h 800100"/>
              <a:gd name="connsiteX765" fmla="*/ 1832870 w 2114552"/>
              <a:gd name="connsiteY765" fmla="*/ 778682 h 800100"/>
              <a:gd name="connsiteX766" fmla="*/ 1808016 w 2114552"/>
              <a:gd name="connsiteY766" fmla="*/ 787010 h 800100"/>
              <a:gd name="connsiteX767" fmla="*/ 1803873 w 2114552"/>
              <a:gd name="connsiteY767" fmla="*/ 787010 h 800100"/>
              <a:gd name="connsiteX768" fmla="*/ 1774877 w 2114552"/>
              <a:gd name="connsiteY768" fmla="*/ 732877 h 800100"/>
              <a:gd name="connsiteX769" fmla="*/ 1750022 w 2114552"/>
              <a:gd name="connsiteY769" fmla="*/ 732877 h 800100"/>
              <a:gd name="connsiteX770" fmla="*/ 1733453 w 2114552"/>
              <a:gd name="connsiteY770" fmla="*/ 795338 h 800100"/>
              <a:gd name="connsiteX771" fmla="*/ 1729310 w 2114552"/>
              <a:gd name="connsiteY771" fmla="*/ 795338 h 800100"/>
              <a:gd name="connsiteX772" fmla="*/ 1704456 w 2114552"/>
              <a:gd name="connsiteY772" fmla="*/ 795338 h 800100"/>
              <a:gd name="connsiteX773" fmla="*/ 1687886 w 2114552"/>
              <a:gd name="connsiteY773" fmla="*/ 732877 h 800100"/>
              <a:gd name="connsiteX774" fmla="*/ 1658890 w 2114552"/>
              <a:gd name="connsiteY774" fmla="*/ 732877 h 800100"/>
              <a:gd name="connsiteX775" fmla="*/ 1629893 w 2114552"/>
              <a:gd name="connsiteY775" fmla="*/ 787010 h 800100"/>
              <a:gd name="connsiteX776" fmla="*/ 1625751 w 2114552"/>
              <a:gd name="connsiteY776" fmla="*/ 787010 h 800100"/>
              <a:gd name="connsiteX777" fmla="*/ 1600896 w 2114552"/>
              <a:gd name="connsiteY777" fmla="*/ 778682 h 800100"/>
              <a:gd name="connsiteX778" fmla="*/ 1596754 w 2114552"/>
              <a:gd name="connsiteY778" fmla="*/ 745369 h 800100"/>
              <a:gd name="connsiteX779" fmla="*/ 1600896 w 2114552"/>
              <a:gd name="connsiteY779" fmla="*/ 716221 h 800100"/>
              <a:gd name="connsiteX780" fmla="*/ 1576042 w 2114552"/>
              <a:gd name="connsiteY780" fmla="*/ 703728 h 800100"/>
              <a:gd name="connsiteX781" fmla="*/ 1534618 w 2114552"/>
              <a:gd name="connsiteY781" fmla="*/ 749533 h 800100"/>
              <a:gd name="connsiteX782" fmla="*/ 1530476 w 2114552"/>
              <a:gd name="connsiteY782" fmla="*/ 749533 h 800100"/>
              <a:gd name="connsiteX783" fmla="*/ 1509764 w 2114552"/>
              <a:gd name="connsiteY783" fmla="*/ 737041 h 800100"/>
              <a:gd name="connsiteX784" fmla="*/ 1509764 w 2114552"/>
              <a:gd name="connsiteY784" fmla="*/ 732877 h 800100"/>
              <a:gd name="connsiteX785" fmla="*/ 1522191 w 2114552"/>
              <a:gd name="connsiteY785" fmla="*/ 674580 h 800100"/>
              <a:gd name="connsiteX786" fmla="*/ 1501479 w 2114552"/>
              <a:gd name="connsiteY786" fmla="*/ 657924 h 800100"/>
              <a:gd name="connsiteX787" fmla="*/ 1447628 w 2114552"/>
              <a:gd name="connsiteY787" fmla="*/ 687072 h 800100"/>
              <a:gd name="connsiteX788" fmla="*/ 1426916 w 2114552"/>
              <a:gd name="connsiteY788" fmla="*/ 670416 h 800100"/>
              <a:gd name="connsiteX789" fmla="*/ 1460055 w 2114552"/>
              <a:gd name="connsiteY789" fmla="*/ 616283 h 800100"/>
              <a:gd name="connsiteX790" fmla="*/ 1443486 w 2114552"/>
              <a:gd name="connsiteY790" fmla="*/ 591298 h 800100"/>
              <a:gd name="connsiteX791" fmla="*/ 1381350 w 2114552"/>
              <a:gd name="connsiteY791" fmla="*/ 607955 h 800100"/>
              <a:gd name="connsiteX792" fmla="*/ 1368923 w 2114552"/>
              <a:gd name="connsiteY792" fmla="*/ 587134 h 800100"/>
              <a:gd name="connsiteX793" fmla="*/ 1368923 w 2114552"/>
              <a:gd name="connsiteY793" fmla="*/ 582970 h 800100"/>
              <a:gd name="connsiteX794" fmla="*/ 1414489 w 2114552"/>
              <a:gd name="connsiteY794" fmla="*/ 541330 h 800100"/>
              <a:gd name="connsiteX795" fmla="*/ 1402062 w 2114552"/>
              <a:gd name="connsiteY795" fmla="*/ 516345 h 800100"/>
              <a:gd name="connsiteX796" fmla="*/ 1339926 w 2114552"/>
              <a:gd name="connsiteY796" fmla="*/ 516345 h 800100"/>
              <a:gd name="connsiteX797" fmla="*/ 1331641 w 2114552"/>
              <a:gd name="connsiteY797" fmla="*/ 491361 h 800100"/>
              <a:gd name="connsiteX798" fmla="*/ 1331641 w 2114552"/>
              <a:gd name="connsiteY798" fmla="*/ 487197 h 800100"/>
              <a:gd name="connsiteX799" fmla="*/ 1385492 w 2114552"/>
              <a:gd name="connsiteY799" fmla="*/ 453884 h 800100"/>
              <a:gd name="connsiteX800" fmla="*/ 1381350 w 2114552"/>
              <a:gd name="connsiteY800" fmla="*/ 428900 h 800100"/>
              <a:gd name="connsiteX801" fmla="*/ 1323357 w 2114552"/>
              <a:gd name="connsiteY801" fmla="*/ 412243 h 800100"/>
              <a:gd name="connsiteX802" fmla="*/ 1319214 w 2114552"/>
              <a:gd name="connsiteY802" fmla="*/ 412243 h 800100"/>
              <a:gd name="connsiteX803" fmla="*/ 1319214 w 2114552"/>
              <a:gd name="connsiteY803" fmla="*/ 399751 h 800100"/>
              <a:gd name="connsiteX804" fmla="*/ 1319214 w 2114552"/>
              <a:gd name="connsiteY804" fmla="*/ 383095 h 800100"/>
              <a:gd name="connsiteX805" fmla="*/ 1323357 w 2114552"/>
              <a:gd name="connsiteY805" fmla="*/ 383095 h 800100"/>
              <a:gd name="connsiteX806" fmla="*/ 1381350 w 2114552"/>
              <a:gd name="connsiteY806" fmla="*/ 366438 h 800100"/>
              <a:gd name="connsiteX807" fmla="*/ 1385492 w 2114552"/>
              <a:gd name="connsiteY807" fmla="*/ 341454 h 800100"/>
              <a:gd name="connsiteX808" fmla="*/ 1331641 w 2114552"/>
              <a:gd name="connsiteY808" fmla="*/ 308141 h 800100"/>
              <a:gd name="connsiteX809" fmla="*/ 1339926 w 2114552"/>
              <a:gd name="connsiteY809" fmla="*/ 283157 h 800100"/>
              <a:gd name="connsiteX810" fmla="*/ 1402062 w 2114552"/>
              <a:gd name="connsiteY810" fmla="*/ 283157 h 800100"/>
              <a:gd name="connsiteX811" fmla="*/ 1410347 w 2114552"/>
              <a:gd name="connsiteY811" fmla="*/ 258173 h 800100"/>
              <a:gd name="connsiteX812" fmla="*/ 1368923 w 2114552"/>
              <a:gd name="connsiteY812" fmla="*/ 212368 h 800100"/>
              <a:gd name="connsiteX813" fmla="*/ 1381350 w 2114552"/>
              <a:gd name="connsiteY813" fmla="*/ 187383 h 800100"/>
              <a:gd name="connsiteX814" fmla="*/ 1443486 w 2114552"/>
              <a:gd name="connsiteY814" fmla="*/ 204040 h 800100"/>
              <a:gd name="connsiteX815" fmla="*/ 1460055 w 2114552"/>
              <a:gd name="connsiteY815" fmla="*/ 183219 h 800100"/>
              <a:gd name="connsiteX816" fmla="*/ 1426916 w 2114552"/>
              <a:gd name="connsiteY816" fmla="*/ 129086 h 800100"/>
              <a:gd name="connsiteX817" fmla="*/ 1426916 w 2114552"/>
              <a:gd name="connsiteY817" fmla="*/ 124922 h 800100"/>
              <a:gd name="connsiteX818" fmla="*/ 1447628 w 2114552"/>
              <a:gd name="connsiteY818" fmla="*/ 108266 h 800100"/>
              <a:gd name="connsiteX819" fmla="*/ 1501479 w 2114552"/>
              <a:gd name="connsiteY819" fmla="*/ 137414 h 800100"/>
              <a:gd name="connsiteX820" fmla="*/ 1522191 w 2114552"/>
              <a:gd name="connsiteY820" fmla="*/ 124922 h 800100"/>
              <a:gd name="connsiteX821" fmla="*/ 1505621 w 2114552"/>
              <a:gd name="connsiteY821" fmla="*/ 62461 h 800100"/>
              <a:gd name="connsiteX822" fmla="*/ 1530476 w 2114552"/>
              <a:gd name="connsiteY822" fmla="*/ 49969 h 800100"/>
              <a:gd name="connsiteX823" fmla="*/ 1576042 w 2114552"/>
              <a:gd name="connsiteY823" fmla="*/ 91610 h 800100"/>
              <a:gd name="connsiteX824" fmla="*/ 1600896 w 2114552"/>
              <a:gd name="connsiteY824" fmla="*/ 83282 h 800100"/>
              <a:gd name="connsiteX825" fmla="*/ 1596754 w 2114552"/>
              <a:gd name="connsiteY825" fmla="*/ 49969 h 800100"/>
              <a:gd name="connsiteX826" fmla="*/ 1600896 w 2114552"/>
              <a:gd name="connsiteY826" fmla="*/ 20820 h 800100"/>
              <a:gd name="connsiteX827" fmla="*/ 1600896 w 2114552"/>
              <a:gd name="connsiteY827" fmla="*/ 16656 h 800100"/>
              <a:gd name="connsiteX828" fmla="*/ 1625751 w 2114552"/>
              <a:gd name="connsiteY828" fmla="*/ 12492 h 800100"/>
              <a:gd name="connsiteX829" fmla="*/ 1629893 w 2114552"/>
              <a:gd name="connsiteY829" fmla="*/ 12492 h 800100"/>
              <a:gd name="connsiteX830" fmla="*/ 1658890 w 2114552"/>
              <a:gd name="connsiteY830" fmla="*/ 66625 h 800100"/>
              <a:gd name="connsiteX831" fmla="*/ 1687886 w 2114552"/>
              <a:gd name="connsiteY831" fmla="*/ 62461 h 800100"/>
              <a:gd name="connsiteX832" fmla="*/ 1704456 w 2114552"/>
              <a:gd name="connsiteY832"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2114552" h="800100">
                <a:moveTo>
                  <a:pt x="2068305" y="749732"/>
                </a:moveTo>
                <a:lnTo>
                  <a:pt x="2068305" y="761609"/>
                </a:lnTo>
                <a:lnTo>
                  <a:pt x="2076013" y="761609"/>
                </a:lnTo>
                <a:cubicBezTo>
                  <a:pt x="2079697" y="761609"/>
                  <a:pt x="2082210" y="761060"/>
                  <a:pt x="2083551" y="759961"/>
                </a:cubicBezTo>
                <a:cubicBezTo>
                  <a:pt x="2084892" y="758862"/>
                  <a:pt x="2085563" y="757408"/>
                  <a:pt x="2085563" y="755598"/>
                </a:cubicBezTo>
                <a:cubicBezTo>
                  <a:pt x="2085563" y="754435"/>
                  <a:pt x="2085240" y="753392"/>
                  <a:pt x="2084594" y="752471"/>
                </a:cubicBezTo>
                <a:cubicBezTo>
                  <a:pt x="2083947" y="751550"/>
                  <a:pt x="2083050" y="750863"/>
                  <a:pt x="2081903" y="750411"/>
                </a:cubicBezTo>
                <a:cubicBezTo>
                  <a:pt x="2080756" y="749959"/>
                  <a:pt x="2078631" y="749732"/>
                  <a:pt x="2075528" y="749732"/>
                </a:cubicBezTo>
                <a:close/>
                <a:moveTo>
                  <a:pt x="2061954" y="744400"/>
                </a:moveTo>
                <a:lnTo>
                  <a:pt x="2075480" y="744400"/>
                </a:lnTo>
                <a:cubicBezTo>
                  <a:pt x="2080101" y="744400"/>
                  <a:pt x="2083446" y="744763"/>
                  <a:pt x="2085514" y="745491"/>
                </a:cubicBezTo>
                <a:cubicBezTo>
                  <a:pt x="2087583" y="746218"/>
                  <a:pt x="2089231" y="747486"/>
                  <a:pt x="2090459" y="749296"/>
                </a:cubicBezTo>
                <a:cubicBezTo>
                  <a:pt x="2091687" y="751106"/>
                  <a:pt x="2092301" y="753029"/>
                  <a:pt x="2092301" y="755065"/>
                </a:cubicBezTo>
                <a:cubicBezTo>
                  <a:pt x="2092301" y="757941"/>
                  <a:pt x="2091275" y="760446"/>
                  <a:pt x="2089223" y="762579"/>
                </a:cubicBezTo>
                <a:cubicBezTo>
                  <a:pt x="2087171" y="764712"/>
                  <a:pt x="2084448" y="765907"/>
                  <a:pt x="2081055" y="766166"/>
                </a:cubicBezTo>
                <a:cubicBezTo>
                  <a:pt x="2082444" y="766748"/>
                  <a:pt x="2083559" y="767443"/>
                  <a:pt x="2084400" y="768251"/>
                </a:cubicBezTo>
                <a:cubicBezTo>
                  <a:pt x="2085983" y="769802"/>
                  <a:pt x="2087922" y="772403"/>
                  <a:pt x="2090217" y="776055"/>
                </a:cubicBezTo>
                <a:lnTo>
                  <a:pt x="2095016" y="783763"/>
                </a:lnTo>
                <a:lnTo>
                  <a:pt x="2087260" y="783763"/>
                </a:lnTo>
                <a:lnTo>
                  <a:pt x="2083769" y="777558"/>
                </a:lnTo>
                <a:cubicBezTo>
                  <a:pt x="2081022" y="772678"/>
                  <a:pt x="2078808" y="769624"/>
                  <a:pt x="2077128" y="768396"/>
                </a:cubicBezTo>
                <a:cubicBezTo>
                  <a:pt x="2075965" y="767491"/>
                  <a:pt x="2074268" y="767039"/>
                  <a:pt x="2072038" y="767039"/>
                </a:cubicBezTo>
                <a:lnTo>
                  <a:pt x="2068305" y="767039"/>
                </a:lnTo>
                <a:lnTo>
                  <a:pt x="2068305" y="783763"/>
                </a:lnTo>
                <a:lnTo>
                  <a:pt x="2061954" y="783763"/>
                </a:lnTo>
                <a:close/>
                <a:moveTo>
                  <a:pt x="834048" y="741362"/>
                </a:moveTo>
                <a:cubicBezTo>
                  <a:pt x="813289" y="741362"/>
                  <a:pt x="784225" y="741362"/>
                  <a:pt x="784225" y="766474"/>
                </a:cubicBezTo>
                <a:cubicBezTo>
                  <a:pt x="784225" y="783215"/>
                  <a:pt x="792529" y="787400"/>
                  <a:pt x="804985" y="787400"/>
                </a:cubicBezTo>
                <a:cubicBezTo>
                  <a:pt x="838200" y="787400"/>
                  <a:pt x="838200" y="758103"/>
                  <a:pt x="838200" y="745547"/>
                </a:cubicBezTo>
                <a:lnTo>
                  <a:pt x="838200" y="741362"/>
                </a:lnTo>
                <a:cubicBezTo>
                  <a:pt x="834048" y="741362"/>
                  <a:pt x="834048" y="741362"/>
                  <a:pt x="834048" y="741362"/>
                </a:cubicBezTo>
                <a:close/>
                <a:moveTo>
                  <a:pt x="2078001" y="733008"/>
                </a:moveTo>
                <a:cubicBezTo>
                  <a:pt x="2072862" y="733008"/>
                  <a:pt x="2067861" y="734325"/>
                  <a:pt x="2062997" y="736959"/>
                </a:cubicBezTo>
                <a:cubicBezTo>
                  <a:pt x="2058133" y="739592"/>
                  <a:pt x="2054328" y="743358"/>
                  <a:pt x="2051581" y="748254"/>
                </a:cubicBezTo>
                <a:cubicBezTo>
                  <a:pt x="2048833" y="753150"/>
                  <a:pt x="2047460" y="758248"/>
                  <a:pt x="2047460" y="763548"/>
                </a:cubicBezTo>
                <a:cubicBezTo>
                  <a:pt x="2047460" y="768816"/>
                  <a:pt x="2048809" y="773866"/>
                  <a:pt x="2051508" y="778697"/>
                </a:cubicBezTo>
                <a:cubicBezTo>
                  <a:pt x="2054206" y="783529"/>
                  <a:pt x="2057980" y="787294"/>
                  <a:pt x="2062827" y="789993"/>
                </a:cubicBezTo>
                <a:cubicBezTo>
                  <a:pt x="2067675" y="792691"/>
                  <a:pt x="2072733" y="794041"/>
                  <a:pt x="2078001" y="794041"/>
                </a:cubicBezTo>
                <a:cubicBezTo>
                  <a:pt x="2083269" y="794041"/>
                  <a:pt x="2088326" y="792691"/>
                  <a:pt x="2093174" y="789993"/>
                </a:cubicBezTo>
                <a:cubicBezTo>
                  <a:pt x="2098022" y="787294"/>
                  <a:pt x="2101787" y="783529"/>
                  <a:pt x="2104469" y="778697"/>
                </a:cubicBezTo>
                <a:cubicBezTo>
                  <a:pt x="2107152" y="773866"/>
                  <a:pt x="2108493" y="768816"/>
                  <a:pt x="2108493" y="763548"/>
                </a:cubicBezTo>
                <a:cubicBezTo>
                  <a:pt x="2108493" y="758248"/>
                  <a:pt x="2107127" y="753150"/>
                  <a:pt x="2104397" y="748254"/>
                </a:cubicBezTo>
                <a:cubicBezTo>
                  <a:pt x="2101666" y="743358"/>
                  <a:pt x="2097860" y="739592"/>
                  <a:pt x="2092980" y="736959"/>
                </a:cubicBezTo>
                <a:cubicBezTo>
                  <a:pt x="2088100" y="734325"/>
                  <a:pt x="2083107" y="733008"/>
                  <a:pt x="2078001" y="733008"/>
                </a:cubicBezTo>
                <a:close/>
                <a:moveTo>
                  <a:pt x="2078001" y="726948"/>
                </a:moveTo>
                <a:cubicBezTo>
                  <a:pt x="2084141" y="726948"/>
                  <a:pt x="2090136" y="728524"/>
                  <a:pt x="2095985" y="731675"/>
                </a:cubicBezTo>
                <a:cubicBezTo>
                  <a:pt x="2101835" y="734825"/>
                  <a:pt x="2106392" y="739334"/>
                  <a:pt x="2109656" y="745200"/>
                </a:cubicBezTo>
                <a:cubicBezTo>
                  <a:pt x="2112920" y="751065"/>
                  <a:pt x="2114552" y="757181"/>
                  <a:pt x="2114552" y="763548"/>
                </a:cubicBezTo>
                <a:cubicBezTo>
                  <a:pt x="2114552" y="769850"/>
                  <a:pt x="2112944" y="775910"/>
                  <a:pt x="2109729" y="781727"/>
                </a:cubicBezTo>
                <a:cubicBezTo>
                  <a:pt x="2106513" y="787544"/>
                  <a:pt x="2102005" y="792061"/>
                  <a:pt x="2096204" y="795277"/>
                </a:cubicBezTo>
                <a:cubicBezTo>
                  <a:pt x="2090402" y="798492"/>
                  <a:pt x="2084335" y="800100"/>
                  <a:pt x="2078001" y="800100"/>
                </a:cubicBezTo>
                <a:cubicBezTo>
                  <a:pt x="2071666" y="800100"/>
                  <a:pt x="2065599" y="798492"/>
                  <a:pt x="2059797" y="795277"/>
                </a:cubicBezTo>
                <a:cubicBezTo>
                  <a:pt x="2053996" y="792061"/>
                  <a:pt x="2049480" y="787544"/>
                  <a:pt x="2046248" y="781727"/>
                </a:cubicBezTo>
                <a:cubicBezTo>
                  <a:pt x="2043016" y="775910"/>
                  <a:pt x="2041400" y="769850"/>
                  <a:pt x="2041400" y="763548"/>
                </a:cubicBezTo>
                <a:cubicBezTo>
                  <a:pt x="2041400" y="757181"/>
                  <a:pt x="2043041" y="751065"/>
                  <a:pt x="2046321" y="745200"/>
                </a:cubicBezTo>
                <a:cubicBezTo>
                  <a:pt x="2049601" y="739334"/>
                  <a:pt x="2054166" y="734825"/>
                  <a:pt x="2060016" y="731675"/>
                </a:cubicBezTo>
                <a:cubicBezTo>
                  <a:pt x="2065865" y="728524"/>
                  <a:pt x="2071860" y="726948"/>
                  <a:pt x="2078001" y="726948"/>
                </a:cubicBezTo>
                <a:close/>
                <a:moveTo>
                  <a:pt x="1058070" y="692149"/>
                </a:moveTo>
                <a:cubicBezTo>
                  <a:pt x="1037466" y="692149"/>
                  <a:pt x="1020763" y="713471"/>
                  <a:pt x="1020763" y="739774"/>
                </a:cubicBezTo>
                <a:cubicBezTo>
                  <a:pt x="1020763" y="766077"/>
                  <a:pt x="1037466" y="787399"/>
                  <a:pt x="1058070" y="787399"/>
                </a:cubicBezTo>
                <a:cubicBezTo>
                  <a:pt x="1078674" y="787399"/>
                  <a:pt x="1095377" y="766077"/>
                  <a:pt x="1095377" y="739774"/>
                </a:cubicBezTo>
                <a:cubicBezTo>
                  <a:pt x="1095377" y="713471"/>
                  <a:pt x="1078674" y="692149"/>
                  <a:pt x="1058070" y="692149"/>
                </a:cubicBezTo>
                <a:close/>
                <a:moveTo>
                  <a:pt x="692151" y="692149"/>
                </a:moveTo>
                <a:cubicBezTo>
                  <a:pt x="673739" y="692149"/>
                  <a:pt x="658813" y="713471"/>
                  <a:pt x="658813" y="739774"/>
                </a:cubicBezTo>
                <a:cubicBezTo>
                  <a:pt x="658813" y="766077"/>
                  <a:pt x="673739" y="787399"/>
                  <a:pt x="692151" y="787399"/>
                </a:cubicBezTo>
                <a:cubicBezTo>
                  <a:pt x="710563" y="787399"/>
                  <a:pt x="725489" y="766077"/>
                  <a:pt x="725489" y="739774"/>
                </a:cubicBezTo>
                <a:cubicBezTo>
                  <a:pt x="725489" y="713471"/>
                  <a:pt x="710563" y="692149"/>
                  <a:pt x="692151" y="692149"/>
                </a:cubicBezTo>
                <a:close/>
                <a:moveTo>
                  <a:pt x="323056" y="692149"/>
                </a:moveTo>
                <a:cubicBezTo>
                  <a:pt x="302452" y="692149"/>
                  <a:pt x="285749" y="713471"/>
                  <a:pt x="285749" y="739774"/>
                </a:cubicBezTo>
                <a:cubicBezTo>
                  <a:pt x="285749" y="766077"/>
                  <a:pt x="302452" y="787399"/>
                  <a:pt x="323056" y="787399"/>
                </a:cubicBezTo>
                <a:cubicBezTo>
                  <a:pt x="343660" y="787399"/>
                  <a:pt x="360363" y="766077"/>
                  <a:pt x="360363" y="739774"/>
                </a:cubicBezTo>
                <a:cubicBezTo>
                  <a:pt x="360363" y="713471"/>
                  <a:pt x="343660" y="692149"/>
                  <a:pt x="323056" y="692149"/>
                </a:cubicBezTo>
                <a:close/>
                <a:moveTo>
                  <a:pt x="966943" y="685949"/>
                </a:moveTo>
                <a:lnTo>
                  <a:pt x="981464" y="685949"/>
                </a:lnTo>
                <a:lnTo>
                  <a:pt x="981464" y="799333"/>
                </a:lnTo>
                <a:lnTo>
                  <a:pt x="966943" y="799333"/>
                </a:lnTo>
                <a:close/>
                <a:moveTo>
                  <a:pt x="1136650" y="684212"/>
                </a:moveTo>
                <a:cubicBezTo>
                  <a:pt x="1148897" y="684212"/>
                  <a:pt x="1148897" y="684212"/>
                  <a:pt x="1148897" y="684212"/>
                </a:cubicBezTo>
                <a:cubicBezTo>
                  <a:pt x="1148897" y="704791"/>
                  <a:pt x="1148897" y="704791"/>
                  <a:pt x="1148897" y="704791"/>
                </a:cubicBezTo>
                <a:cubicBezTo>
                  <a:pt x="1157061" y="696559"/>
                  <a:pt x="1165225" y="684212"/>
                  <a:pt x="1185636" y="684212"/>
                </a:cubicBezTo>
                <a:cubicBezTo>
                  <a:pt x="1214211" y="684212"/>
                  <a:pt x="1222375" y="700675"/>
                  <a:pt x="1222375" y="725369"/>
                </a:cubicBezTo>
                <a:cubicBezTo>
                  <a:pt x="1222375" y="795337"/>
                  <a:pt x="1222375" y="795337"/>
                  <a:pt x="1222375" y="795337"/>
                </a:cubicBezTo>
                <a:cubicBezTo>
                  <a:pt x="1210129" y="795337"/>
                  <a:pt x="1210129" y="795337"/>
                  <a:pt x="1210129" y="795337"/>
                </a:cubicBezTo>
                <a:cubicBezTo>
                  <a:pt x="1210129" y="729485"/>
                  <a:pt x="1210129" y="729485"/>
                  <a:pt x="1210129" y="729485"/>
                </a:cubicBezTo>
                <a:cubicBezTo>
                  <a:pt x="1210129" y="708906"/>
                  <a:pt x="1201964" y="692443"/>
                  <a:pt x="1185636" y="692443"/>
                </a:cubicBezTo>
                <a:cubicBezTo>
                  <a:pt x="1161143" y="692443"/>
                  <a:pt x="1152979" y="717138"/>
                  <a:pt x="1152979" y="733601"/>
                </a:cubicBezTo>
                <a:cubicBezTo>
                  <a:pt x="1152979" y="795337"/>
                  <a:pt x="1152979" y="795337"/>
                  <a:pt x="1152979" y="795337"/>
                </a:cubicBezTo>
                <a:cubicBezTo>
                  <a:pt x="1136650" y="795337"/>
                  <a:pt x="1136650" y="795337"/>
                  <a:pt x="1136650" y="795337"/>
                </a:cubicBezTo>
                <a:lnTo>
                  <a:pt x="1136650" y="713022"/>
                </a:lnTo>
                <a:cubicBezTo>
                  <a:pt x="1136650" y="704791"/>
                  <a:pt x="1136650" y="692443"/>
                  <a:pt x="1136650" y="684212"/>
                </a:cubicBezTo>
                <a:close/>
                <a:moveTo>
                  <a:pt x="1054894" y="684212"/>
                </a:moveTo>
                <a:cubicBezTo>
                  <a:pt x="1083389" y="684212"/>
                  <a:pt x="1106488" y="710154"/>
                  <a:pt x="1106488" y="742156"/>
                </a:cubicBezTo>
                <a:cubicBezTo>
                  <a:pt x="1106488" y="774158"/>
                  <a:pt x="1083389" y="800100"/>
                  <a:pt x="1054894" y="800100"/>
                </a:cubicBezTo>
                <a:cubicBezTo>
                  <a:pt x="1026399" y="800100"/>
                  <a:pt x="1003300" y="774158"/>
                  <a:pt x="1003300" y="742156"/>
                </a:cubicBezTo>
                <a:cubicBezTo>
                  <a:pt x="1003300" y="710154"/>
                  <a:pt x="1026399" y="684212"/>
                  <a:pt x="1054894" y="684212"/>
                </a:cubicBezTo>
                <a:close/>
                <a:moveTo>
                  <a:pt x="812499" y="684212"/>
                </a:moveTo>
                <a:cubicBezTo>
                  <a:pt x="841603" y="684212"/>
                  <a:pt x="854076" y="696629"/>
                  <a:pt x="854076" y="725601"/>
                </a:cubicBezTo>
                <a:cubicBezTo>
                  <a:pt x="854076" y="775267"/>
                  <a:pt x="854076" y="775267"/>
                  <a:pt x="854076" y="775267"/>
                </a:cubicBezTo>
                <a:cubicBezTo>
                  <a:pt x="854076" y="783545"/>
                  <a:pt x="854076" y="791822"/>
                  <a:pt x="854076" y="795961"/>
                </a:cubicBezTo>
                <a:cubicBezTo>
                  <a:pt x="841603" y="795961"/>
                  <a:pt x="841603" y="795961"/>
                  <a:pt x="841603" y="795961"/>
                </a:cubicBezTo>
                <a:lnTo>
                  <a:pt x="841603" y="779406"/>
                </a:lnTo>
                <a:cubicBezTo>
                  <a:pt x="837445" y="779406"/>
                  <a:pt x="837445" y="779406"/>
                  <a:pt x="837445" y="779406"/>
                </a:cubicBezTo>
                <a:cubicBezTo>
                  <a:pt x="833287" y="791822"/>
                  <a:pt x="816656" y="800100"/>
                  <a:pt x="804183" y="800100"/>
                </a:cubicBezTo>
                <a:cubicBezTo>
                  <a:pt x="770921" y="800100"/>
                  <a:pt x="766763" y="779406"/>
                  <a:pt x="766763" y="766989"/>
                </a:cubicBezTo>
                <a:cubicBezTo>
                  <a:pt x="766763" y="729739"/>
                  <a:pt x="808341" y="729739"/>
                  <a:pt x="837445" y="729739"/>
                </a:cubicBezTo>
                <a:cubicBezTo>
                  <a:pt x="837445" y="721462"/>
                  <a:pt x="837445" y="721462"/>
                  <a:pt x="837445" y="721462"/>
                </a:cubicBezTo>
                <a:cubicBezTo>
                  <a:pt x="837445" y="704906"/>
                  <a:pt x="833287" y="692490"/>
                  <a:pt x="812499" y="692490"/>
                </a:cubicBezTo>
                <a:cubicBezTo>
                  <a:pt x="800025" y="692490"/>
                  <a:pt x="791710" y="696629"/>
                  <a:pt x="779236" y="704906"/>
                </a:cubicBezTo>
                <a:cubicBezTo>
                  <a:pt x="779236" y="688351"/>
                  <a:pt x="779236" y="688351"/>
                  <a:pt x="779236" y="688351"/>
                </a:cubicBezTo>
                <a:cubicBezTo>
                  <a:pt x="787552" y="684212"/>
                  <a:pt x="804183" y="684212"/>
                  <a:pt x="812499" y="684212"/>
                </a:cubicBezTo>
                <a:close/>
                <a:moveTo>
                  <a:pt x="527050" y="684212"/>
                </a:moveTo>
                <a:cubicBezTo>
                  <a:pt x="539523" y="684212"/>
                  <a:pt x="539523" y="684212"/>
                  <a:pt x="539523" y="684212"/>
                </a:cubicBezTo>
                <a:cubicBezTo>
                  <a:pt x="539523" y="704791"/>
                  <a:pt x="539523" y="704791"/>
                  <a:pt x="539523" y="704791"/>
                </a:cubicBezTo>
                <a:cubicBezTo>
                  <a:pt x="547839" y="696559"/>
                  <a:pt x="556154" y="684212"/>
                  <a:pt x="576943" y="684212"/>
                </a:cubicBezTo>
                <a:cubicBezTo>
                  <a:pt x="606047" y="684212"/>
                  <a:pt x="614363" y="700675"/>
                  <a:pt x="614363" y="725369"/>
                </a:cubicBezTo>
                <a:cubicBezTo>
                  <a:pt x="614363" y="795337"/>
                  <a:pt x="614363" y="795337"/>
                  <a:pt x="614363" y="795337"/>
                </a:cubicBezTo>
                <a:cubicBezTo>
                  <a:pt x="601890" y="795337"/>
                  <a:pt x="601890" y="795337"/>
                  <a:pt x="601890" y="795337"/>
                </a:cubicBezTo>
                <a:cubicBezTo>
                  <a:pt x="601890" y="729485"/>
                  <a:pt x="601890" y="729485"/>
                  <a:pt x="601890" y="729485"/>
                </a:cubicBezTo>
                <a:cubicBezTo>
                  <a:pt x="601890" y="708906"/>
                  <a:pt x="593574" y="692443"/>
                  <a:pt x="576943" y="692443"/>
                </a:cubicBezTo>
                <a:cubicBezTo>
                  <a:pt x="551996" y="692443"/>
                  <a:pt x="543681" y="717138"/>
                  <a:pt x="543681" y="733601"/>
                </a:cubicBezTo>
                <a:cubicBezTo>
                  <a:pt x="543681" y="795337"/>
                  <a:pt x="543681" y="795337"/>
                  <a:pt x="543681" y="795337"/>
                </a:cubicBezTo>
                <a:cubicBezTo>
                  <a:pt x="527050" y="795337"/>
                  <a:pt x="527050" y="795337"/>
                  <a:pt x="527050" y="795337"/>
                </a:cubicBezTo>
                <a:lnTo>
                  <a:pt x="527050" y="713022"/>
                </a:lnTo>
                <a:cubicBezTo>
                  <a:pt x="527050" y="704791"/>
                  <a:pt x="527050" y="692443"/>
                  <a:pt x="527050" y="684212"/>
                </a:cubicBezTo>
                <a:close/>
                <a:moveTo>
                  <a:pt x="406400" y="684212"/>
                </a:moveTo>
                <a:cubicBezTo>
                  <a:pt x="418873" y="684212"/>
                  <a:pt x="418873" y="684212"/>
                  <a:pt x="418873" y="684212"/>
                </a:cubicBezTo>
                <a:cubicBezTo>
                  <a:pt x="418873" y="754573"/>
                  <a:pt x="418873" y="754573"/>
                  <a:pt x="418873" y="754573"/>
                </a:cubicBezTo>
                <a:cubicBezTo>
                  <a:pt x="418873" y="775267"/>
                  <a:pt x="427189" y="787683"/>
                  <a:pt x="443820" y="787683"/>
                </a:cubicBezTo>
                <a:cubicBezTo>
                  <a:pt x="468766" y="787683"/>
                  <a:pt x="477082" y="766989"/>
                  <a:pt x="477082" y="746295"/>
                </a:cubicBezTo>
                <a:cubicBezTo>
                  <a:pt x="477082" y="684212"/>
                  <a:pt x="477082" y="684212"/>
                  <a:pt x="477082" y="684212"/>
                </a:cubicBezTo>
                <a:cubicBezTo>
                  <a:pt x="493713" y="684212"/>
                  <a:pt x="493713" y="684212"/>
                  <a:pt x="493713" y="684212"/>
                </a:cubicBezTo>
                <a:lnTo>
                  <a:pt x="493713" y="771128"/>
                </a:lnTo>
                <a:cubicBezTo>
                  <a:pt x="493713" y="779406"/>
                  <a:pt x="493713" y="787683"/>
                  <a:pt x="493713" y="795961"/>
                </a:cubicBezTo>
                <a:cubicBezTo>
                  <a:pt x="481240" y="795961"/>
                  <a:pt x="481240" y="795961"/>
                  <a:pt x="481240" y="795961"/>
                </a:cubicBezTo>
                <a:cubicBezTo>
                  <a:pt x="481240" y="779406"/>
                  <a:pt x="481240" y="779406"/>
                  <a:pt x="481240" y="779406"/>
                </a:cubicBezTo>
                <a:cubicBezTo>
                  <a:pt x="472924" y="787683"/>
                  <a:pt x="464609" y="800100"/>
                  <a:pt x="443820" y="800100"/>
                </a:cubicBezTo>
                <a:cubicBezTo>
                  <a:pt x="414715" y="800100"/>
                  <a:pt x="406400" y="783545"/>
                  <a:pt x="406400" y="758711"/>
                </a:cubicBezTo>
                <a:cubicBezTo>
                  <a:pt x="406400" y="684212"/>
                  <a:pt x="406400" y="684212"/>
                  <a:pt x="406400" y="684212"/>
                </a:cubicBezTo>
                <a:close/>
                <a:moveTo>
                  <a:pt x="325437" y="684212"/>
                </a:moveTo>
                <a:cubicBezTo>
                  <a:pt x="354370" y="684212"/>
                  <a:pt x="377825" y="710154"/>
                  <a:pt x="377825" y="742156"/>
                </a:cubicBezTo>
                <a:cubicBezTo>
                  <a:pt x="377825" y="774158"/>
                  <a:pt x="354370" y="800100"/>
                  <a:pt x="325437" y="800100"/>
                </a:cubicBezTo>
                <a:cubicBezTo>
                  <a:pt x="296504" y="800100"/>
                  <a:pt x="273049" y="774158"/>
                  <a:pt x="273049" y="742156"/>
                </a:cubicBezTo>
                <a:cubicBezTo>
                  <a:pt x="273049" y="710154"/>
                  <a:pt x="296504" y="684212"/>
                  <a:pt x="325437" y="684212"/>
                </a:cubicBezTo>
                <a:close/>
                <a:moveTo>
                  <a:pt x="1724027" y="666750"/>
                </a:moveTo>
                <a:lnTo>
                  <a:pt x="1720852" y="679450"/>
                </a:lnTo>
                <a:lnTo>
                  <a:pt x="1716089" y="687388"/>
                </a:lnTo>
                <a:lnTo>
                  <a:pt x="1733552" y="687388"/>
                </a:lnTo>
                <a:lnTo>
                  <a:pt x="1728789" y="679450"/>
                </a:lnTo>
                <a:close/>
                <a:moveTo>
                  <a:pt x="1728922" y="654050"/>
                </a:moveTo>
                <a:cubicBezTo>
                  <a:pt x="1728922" y="658202"/>
                  <a:pt x="1728922" y="658202"/>
                  <a:pt x="1728922" y="658202"/>
                </a:cubicBezTo>
                <a:lnTo>
                  <a:pt x="1737124" y="678962"/>
                </a:lnTo>
                <a:cubicBezTo>
                  <a:pt x="1749427" y="703873"/>
                  <a:pt x="1749427" y="703873"/>
                  <a:pt x="1749427" y="703873"/>
                </a:cubicBezTo>
                <a:cubicBezTo>
                  <a:pt x="1745326" y="703873"/>
                  <a:pt x="1741225" y="703873"/>
                  <a:pt x="1737124" y="703873"/>
                </a:cubicBezTo>
                <a:cubicBezTo>
                  <a:pt x="1737124" y="695569"/>
                  <a:pt x="1737124" y="695569"/>
                  <a:pt x="1737124" y="695569"/>
                </a:cubicBezTo>
                <a:cubicBezTo>
                  <a:pt x="1712517" y="695569"/>
                  <a:pt x="1712517" y="695569"/>
                  <a:pt x="1712517" y="695569"/>
                </a:cubicBezTo>
                <a:cubicBezTo>
                  <a:pt x="1712517" y="708025"/>
                  <a:pt x="1712517" y="708025"/>
                  <a:pt x="1712517" y="708025"/>
                </a:cubicBezTo>
                <a:cubicBezTo>
                  <a:pt x="1708416" y="703873"/>
                  <a:pt x="1704315" y="703873"/>
                  <a:pt x="1700214" y="703873"/>
                </a:cubicBezTo>
                <a:cubicBezTo>
                  <a:pt x="1712517" y="678962"/>
                  <a:pt x="1712517" y="678962"/>
                  <a:pt x="1712517" y="678962"/>
                </a:cubicBezTo>
                <a:cubicBezTo>
                  <a:pt x="1716618" y="658202"/>
                  <a:pt x="1716618" y="658202"/>
                  <a:pt x="1716618" y="658202"/>
                </a:cubicBezTo>
                <a:cubicBezTo>
                  <a:pt x="1728922" y="654050"/>
                  <a:pt x="1728922" y="654050"/>
                  <a:pt x="1728922" y="654050"/>
                </a:cubicBezTo>
                <a:close/>
                <a:moveTo>
                  <a:pt x="907733" y="654049"/>
                </a:moveTo>
                <a:cubicBezTo>
                  <a:pt x="907733" y="683259"/>
                  <a:pt x="907733" y="683259"/>
                  <a:pt x="907733" y="683259"/>
                </a:cubicBezTo>
                <a:cubicBezTo>
                  <a:pt x="932498" y="683259"/>
                  <a:pt x="932498" y="683259"/>
                  <a:pt x="932498" y="683259"/>
                </a:cubicBezTo>
                <a:lnTo>
                  <a:pt x="932498" y="695778"/>
                </a:lnTo>
                <a:cubicBezTo>
                  <a:pt x="907733" y="695778"/>
                  <a:pt x="907733" y="695778"/>
                  <a:pt x="907733" y="695778"/>
                </a:cubicBezTo>
                <a:cubicBezTo>
                  <a:pt x="907733" y="770889"/>
                  <a:pt x="907733" y="770889"/>
                  <a:pt x="907733" y="770889"/>
                </a:cubicBezTo>
                <a:cubicBezTo>
                  <a:pt x="907733" y="779235"/>
                  <a:pt x="911861" y="787580"/>
                  <a:pt x="924243" y="787580"/>
                </a:cubicBezTo>
                <a:cubicBezTo>
                  <a:pt x="928371" y="787580"/>
                  <a:pt x="932498" y="787580"/>
                  <a:pt x="936626" y="783408"/>
                </a:cubicBezTo>
                <a:cubicBezTo>
                  <a:pt x="936626" y="795926"/>
                  <a:pt x="936626" y="795926"/>
                  <a:pt x="936626" y="795926"/>
                </a:cubicBezTo>
                <a:cubicBezTo>
                  <a:pt x="932498" y="800099"/>
                  <a:pt x="928371" y="800099"/>
                  <a:pt x="920116" y="800099"/>
                </a:cubicBezTo>
                <a:cubicBezTo>
                  <a:pt x="895351" y="800099"/>
                  <a:pt x="895351" y="783408"/>
                  <a:pt x="895351" y="762543"/>
                </a:cubicBezTo>
                <a:cubicBezTo>
                  <a:pt x="895351" y="695778"/>
                  <a:pt x="895351" y="695778"/>
                  <a:pt x="895351" y="695778"/>
                </a:cubicBezTo>
                <a:cubicBezTo>
                  <a:pt x="874713" y="695778"/>
                  <a:pt x="874713" y="695778"/>
                  <a:pt x="874713" y="695778"/>
                </a:cubicBezTo>
                <a:cubicBezTo>
                  <a:pt x="874713" y="683259"/>
                  <a:pt x="874713" y="683259"/>
                  <a:pt x="874713" y="683259"/>
                </a:cubicBezTo>
                <a:cubicBezTo>
                  <a:pt x="895351" y="683259"/>
                  <a:pt x="895351" y="683259"/>
                  <a:pt x="895351" y="683259"/>
                </a:cubicBezTo>
                <a:cubicBezTo>
                  <a:pt x="895351" y="658222"/>
                  <a:pt x="895351" y="658222"/>
                  <a:pt x="895351" y="658222"/>
                </a:cubicBezTo>
                <a:cubicBezTo>
                  <a:pt x="907733" y="654049"/>
                  <a:pt x="907733" y="654049"/>
                  <a:pt x="907733" y="654049"/>
                </a:cubicBezTo>
                <a:close/>
                <a:moveTo>
                  <a:pt x="1658542" y="650875"/>
                </a:moveTo>
                <a:cubicBezTo>
                  <a:pt x="1662643" y="650875"/>
                  <a:pt x="1662643" y="650875"/>
                  <a:pt x="1666745" y="650875"/>
                </a:cubicBezTo>
                <a:cubicBezTo>
                  <a:pt x="1666745" y="650875"/>
                  <a:pt x="1666745" y="650875"/>
                  <a:pt x="1683149" y="688242"/>
                </a:cubicBezTo>
                <a:cubicBezTo>
                  <a:pt x="1683149" y="688242"/>
                  <a:pt x="1683149" y="688242"/>
                  <a:pt x="1687250" y="655027"/>
                </a:cubicBezTo>
                <a:cubicBezTo>
                  <a:pt x="1687250" y="655027"/>
                  <a:pt x="1691351" y="655027"/>
                  <a:pt x="1695452" y="655027"/>
                </a:cubicBezTo>
                <a:cubicBezTo>
                  <a:pt x="1695452" y="655027"/>
                  <a:pt x="1695452" y="655027"/>
                  <a:pt x="1687250" y="704850"/>
                </a:cubicBezTo>
                <a:cubicBezTo>
                  <a:pt x="1687250" y="704850"/>
                  <a:pt x="1683149" y="704850"/>
                  <a:pt x="1679048" y="704850"/>
                </a:cubicBezTo>
                <a:cubicBezTo>
                  <a:pt x="1679048" y="704850"/>
                  <a:pt x="1679048" y="704850"/>
                  <a:pt x="1662643" y="671635"/>
                </a:cubicBezTo>
                <a:cubicBezTo>
                  <a:pt x="1662643" y="671635"/>
                  <a:pt x="1662643" y="671635"/>
                  <a:pt x="1658542" y="700698"/>
                </a:cubicBezTo>
                <a:cubicBezTo>
                  <a:pt x="1654441" y="700698"/>
                  <a:pt x="1650340" y="700698"/>
                  <a:pt x="1646239" y="700698"/>
                </a:cubicBezTo>
                <a:cubicBezTo>
                  <a:pt x="1646239" y="700698"/>
                  <a:pt x="1646239" y="700698"/>
                  <a:pt x="1658542" y="650875"/>
                </a:cubicBezTo>
                <a:close/>
                <a:moveTo>
                  <a:pt x="1787526" y="646113"/>
                </a:moveTo>
                <a:lnTo>
                  <a:pt x="1787526" y="654504"/>
                </a:lnTo>
                <a:cubicBezTo>
                  <a:pt x="1783399" y="658700"/>
                  <a:pt x="1779271" y="658700"/>
                  <a:pt x="1771016" y="658700"/>
                </a:cubicBezTo>
                <a:cubicBezTo>
                  <a:pt x="1771016" y="658700"/>
                  <a:pt x="1771016" y="658700"/>
                  <a:pt x="1779271" y="700655"/>
                </a:cubicBezTo>
                <a:cubicBezTo>
                  <a:pt x="1779271" y="700655"/>
                  <a:pt x="1779271" y="700655"/>
                  <a:pt x="1771016" y="704851"/>
                </a:cubicBezTo>
                <a:cubicBezTo>
                  <a:pt x="1771016" y="704851"/>
                  <a:pt x="1771016" y="704851"/>
                  <a:pt x="1762761" y="662895"/>
                </a:cubicBezTo>
                <a:cubicBezTo>
                  <a:pt x="1758634" y="662895"/>
                  <a:pt x="1754506" y="662895"/>
                  <a:pt x="1746251" y="662895"/>
                </a:cubicBezTo>
                <a:cubicBezTo>
                  <a:pt x="1746251" y="662895"/>
                  <a:pt x="1746251" y="662895"/>
                  <a:pt x="1746251" y="654504"/>
                </a:cubicBezTo>
                <a:cubicBezTo>
                  <a:pt x="1758634" y="654504"/>
                  <a:pt x="1771016" y="650309"/>
                  <a:pt x="1787526" y="646113"/>
                </a:cubicBezTo>
                <a:close/>
                <a:moveTo>
                  <a:pt x="1617029" y="646113"/>
                </a:moveTo>
                <a:cubicBezTo>
                  <a:pt x="1617029" y="654051"/>
                  <a:pt x="1617029" y="654051"/>
                  <a:pt x="1617029" y="654051"/>
                </a:cubicBezTo>
                <a:cubicBezTo>
                  <a:pt x="1612901" y="658019"/>
                  <a:pt x="1612901" y="658019"/>
                  <a:pt x="1612901" y="658019"/>
                </a:cubicBezTo>
                <a:cubicBezTo>
                  <a:pt x="1625284" y="661988"/>
                  <a:pt x="1625284" y="661988"/>
                  <a:pt x="1625284" y="661988"/>
                </a:cubicBezTo>
                <a:cubicBezTo>
                  <a:pt x="1629412" y="661988"/>
                  <a:pt x="1633539" y="658019"/>
                  <a:pt x="1633539" y="658019"/>
                </a:cubicBezTo>
                <a:cubicBezTo>
                  <a:pt x="1633539" y="658019"/>
                  <a:pt x="1633539" y="654051"/>
                  <a:pt x="1633539" y="654051"/>
                </a:cubicBezTo>
                <a:cubicBezTo>
                  <a:pt x="1633539" y="654051"/>
                  <a:pt x="1633539" y="650082"/>
                  <a:pt x="1629412" y="650082"/>
                </a:cubicBezTo>
                <a:cubicBezTo>
                  <a:pt x="1617029" y="646113"/>
                  <a:pt x="1617029" y="646113"/>
                  <a:pt x="1617029" y="646113"/>
                </a:cubicBezTo>
                <a:close/>
                <a:moveTo>
                  <a:pt x="966943" y="643885"/>
                </a:moveTo>
                <a:lnTo>
                  <a:pt x="981464" y="643885"/>
                </a:lnTo>
                <a:lnTo>
                  <a:pt x="981464" y="660066"/>
                </a:lnTo>
                <a:lnTo>
                  <a:pt x="966943" y="660066"/>
                </a:lnTo>
                <a:close/>
                <a:moveTo>
                  <a:pt x="1795464" y="641350"/>
                </a:moveTo>
                <a:cubicBezTo>
                  <a:pt x="1799546" y="641350"/>
                  <a:pt x="1803628" y="641350"/>
                  <a:pt x="1807711" y="641350"/>
                </a:cubicBezTo>
                <a:cubicBezTo>
                  <a:pt x="1807711" y="641350"/>
                  <a:pt x="1807711" y="641350"/>
                  <a:pt x="1824039" y="687917"/>
                </a:cubicBezTo>
                <a:cubicBezTo>
                  <a:pt x="1819957" y="687917"/>
                  <a:pt x="1815875" y="687917"/>
                  <a:pt x="1811793" y="692150"/>
                </a:cubicBezTo>
                <a:cubicBezTo>
                  <a:pt x="1811793" y="692150"/>
                  <a:pt x="1811793" y="692150"/>
                  <a:pt x="1795464" y="641350"/>
                </a:cubicBezTo>
                <a:close/>
                <a:moveTo>
                  <a:pt x="177800" y="641349"/>
                </a:moveTo>
                <a:lnTo>
                  <a:pt x="252413" y="641349"/>
                </a:lnTo>
                <a:lnTo>
                  <a:pt x="252413" y="654049"/>
                </a:lnTo>
                <a:lnTo>
                  <a:pt x="195262" y="654049"/>
                </a:lnTo>
                <a:lnTo>
                  <a:pt x="195262" y="712787"/>
                </a:lnTo>
                <a:lnTo>
                  <a:pt x="249238" y="712787"/>
                </a:lnTo>
                <a:lnTo>
                  <a:pt x="249238" y="725487"/>
                </a:lnTo>
                <a:lnTo>
                  <a:pt x="195262" y="725487"/>
                </a:lnTo>
                <a:lnTo>
                  <a:pt x="195262" y="795337"/>
                </a:lnTo>
                <a:lnTo>
                  <a:pt x="177800" y="795337"/>
                </a:lnTo>
                <a:close/>
                <a:moveTo>
                  <a:pt x="1612770" y="633413"/>
                </a:moveTo>
                <a:cubicBezTo>
                  <a:pt x="1633275" y="641668"/>
                  <a:pt x="1633275" y="641668"/>
                  <a:pt x="1633275" y="641668"/>
                </a:cubicBezTo>
                <a:cubicBezTo>
                  <a:pt x="1641477" y="645796"/>
                  <a:pt x="1641477" y="649923"/>
                  <a:pt x="1641477" y="654051"/>
                </a:cubicBezTo>
                <a:cubicBezTo>
                  <a:pt x="1641477" y="654051"/>
                  <a:pt x="1641477" y="658178"/>
                  <a:pt x="1641477" y="658178"/>
                </a:cubicBezTo>
                <a:cubicBezTo>
                  <a:pt x="1641477" y="662306"/>
                  <a:pt x="1637376" y="670561"/>
                  <a:pt x="1629174" y="670561"/>
                </a:cubicBezTo>
                <a:cubicBezTo>
                  <a:pt x="1633275" y="695326"/>
                  <a:pt x="1633275" y="695326"/>
                  <a:pt x="1633275" y="695326"/>
                </a:cubicBezTo>
                <a:cubicBezTo>
                  <a:pt x="1629174" y="695326"/>
                  <a:pt x="1625073" y="691198"/>
                  <a:pt x="1620972" y="691198"/>
                </a:cubicBezTo>
                <a:cubicBezTo>
                  <a:pt x="1620972" y="670561"/>
                  <a:pt x="1620972" y="670561"/>
                  <a:pt x="1620972" y="670561"/>
                </a:cubicBezTo>
                <a:cubicBezTo>
                  <a:pt x="1608668" y="666433"/>
                  <a:pt x="1608668" y="666433"/>
                  <a:pt x="1608668" y="666433"/>
                </a:cubicBezTo>
                <a:cubicBezTo>
                  <a:pt x="1604567" y="682943"/>
                  <a:pt x="1604567" y="682943"/>
                  <a:pt x="1604567" y="682943"/>
                </a:cubicBezTo>
                <a:cubicBezTo>
                  <a:pt x="1600466" y="682943"/>
                  <a:pt x="1596365" y="682943"/>
                  <a:pt x="1592264" y="678816"/>
                </a:cubicBezTo>
                <a:cubicBezTo>
                  <a:pt x="1604567" y="658178"/>
                  <a:pt x="1604567" y="658178"/>
                  <a:pt x="1604567" y="658178"/>
                </a:cubicBezTo>
                <a:cubicBezTo>
                  <a:pt x="1604567" y="654051"/>
                  <a:pt x="1604567" y="654051"/>
                  <a:pt x="1604567" y="654051"/>
                </a:cubicBezTo>
                <a:cubicBezTo>
                  <a:pt x="1612770" y="633413"/>
                  <a:pt x="1612770" y="633413"/>
                  <a:pt x="1612770" y="633413"/>
                </a:cubicBezTo>
                <a:close/>
                <a:moveTo>
                  <a:pt x="1855109" y="630214"/>
                </a:moveTo>
                <a:cubicBezTo>
                  <a:pt x="1851027" y="629693"/>
                  <a:pt x="1846945" y="630735"/>
                  <a:pt x="1844903" y="632818"/>
                </a:cubicBezTo>
                <a:cubicBezTo>
                  <a:pt x="1836739" y="636986"/>
                  <a:pt x="1836739" y="641153"/>
                  <a:pt x="1836739" y="645320"/>
                </a:cubicBezTo>
                <a:cubicBezTo>
                  <a:pt x="1836739" y="649487"/>
                  <a:pt x="1836739" y="653655"/>
                  <a:pt x="1836739" y="653655"/>
                </a:cubicBezTo>
                <a:cubicBezTo>
                  <a:pt x="1836739" y="653655"/>
                  <a:pt x="1836739" y="657822"/>
                  <a:pt x="1840821" y="657822"/>
                </a:cubicBezTo>
                <a:cubicBezTo>
                  <a:pt x="1844903" y="661989"/>
                  <a:pt x="1853068" y="661989"/>
                  <a:pt x="1857150" y="661989"/>
                </a:cubicBezTo>
                <a:cubicBezTo>
                  <a:pt x="1861232" y="657822"/>
                  <a:pt x="1861232" y="657822"/>
                  <a:pt x="1861232" y="657822"/>
                </a:cubicBezTo>
                <a:cubicBezTo>
                  <a:pt x="1865314" y="653655"/>
                  <a:pt x="1865314" y="649487"/>
                  <a:pt x="1865314" y="645320"/>
                </a:cubicBezTo>
                <a:cubicBezTo>
                  <a:pt x="1865314" y="645320"/>
                  <a:pt x="1865314" y="641153"/>
                  <a:pt x="1865314" y="636986"/>
                </a:cubicBezTo>
                <a:cubicBezTo>
                  <a:pt x="1863273" y="632818"/>
                  <a:pt x="1859191" y="630735"/>
                  <a:pt x="1855109" y="630214"/>
                </a:cubicBezTo>
                <a:close/>
                <a:moveTo>
                  <a:pt x="726110" y="628649"/>
                </a:moveTo>
                <a:cubicBezTo>
                  <a:pt x="742951" y="628649"/>
                  <a:pt x="742951" y="628649"/>
                  <a:pt x="742951" y="628649"/>
                </a:cubicBezTo>
                <a:lnTo>
                  <a:pt x="742951" y="795917"/>
                </a:lnTo>
                <a:cubicBezTo>
                  <a:pt x="726110" y="795917"/>
                  <a:pt x="726110" y="795917"/>
                  <a:pt x="726110" y="795917"/>
                </a:cubicBezTo>
                <a:cubicBezTo>
                  <a:pt x="726110" y="779190"/>
                  <a:pt x="726110" y="779190"/>
                  <a:pt x="726110" y="779190"/>
                </a:cubicBezTo>
                <a:cubicBezTo>
                  <a:pt x="717689" y="795917"/>
                  <a:pt x="709268" y="800099"/>
                  <a:pt x="692427" y="800099"/>
                </a:cubicBezTo>
                <a:cubicBezTo>
                  <a:pt x="658744" y="800099"/>
                  <a:pt x="646113" y="775009"/>
                  <a:pt x="646113" y="741555"/>
                </a:cubicBezTo>
                <a:cubicBezTo>
                  <a:pt x="646113" y="708101"/>
                  <a:pt x="658744" y="683011"/>
                  <a:pt x="692427" y="683011"/>
                </a:cubicBezTo>
                <a:cubicBezTo>
                  <a:pt x="713479" y="683011"/>
                  <a:pt x="726110" y="695556"/>
                  <a:pt x="726110" y="703920"/>
                </a:cubicBezTo>
                <a:cubicBezTo>
                  <a:pt x="726110" y="628649"/>
                  <a:pt x="726110" y="628649"/>
                  <a:pt x="726110" y="628649"/>
                </a:cubicBezTo>
                <a:close/>
                <a:moveTo>
                  <a:pt x="1857377" y="622131"/>
                </a:moveTo>
                <a:cubicBezTo>
                  <a:pt x="1864256" y="623662"/>
                  <a:pt x="1870606" y="627744"/>
                  <a:pt x="1874839" y="633868"/>
                </a:cubicBezTo>
                <a:cubicBezTo>
                  <a:pt x="1874839" y="637950"/>
                  <a:pt x="1874839" y="642032"/>
                  <a:pt x="1874839" y="646114"/>
                </a:cubicBezTo>
                <a:cubicBezTo>
                  <a:pt x="1874839" y="650196"/>
                  <a:pt x="1874839" y="654278"/>
                  <a:pt x="1874839" y="658360"/>
                </a:cubicBezTo>
                <a:cubicBezTo>
                  <a:pt x="1870606" y="662443"/>
                  <a:pt x="1870606" y="666525"/>
                  <a:pt x="1862139" y="666525"/>
                </a:cubicBezTo>
                <a:cubicBezTo>
                  <a:pt x="1853672" y="674689"/>
                  <a:pt x="1836739" y="670607"/>
                  <a:pt x="1828272" y="658360"/>
                </a:cubicBezTo>
                <a:cubicBezTo>
                  <a:pt x="1828272" y="654278"/>
                  <a:pt x="1824039" y="650196"/>
                  <a:pt x="1824039" y="646114"/>
                </a:cubicBezTo>
                <a:cubicBezTo>
                  <a:pt x="1824039" y="637950"/>
                  <a:pt x="1828272" y="629785"/>
                  <a:pt x="1836739" y="625703"/>
                </a:cubicBezTo>
                <a:cubicBezTo>
                  <a:pt x="1843089" y="621621"/>
                  <a:pt x="1850497" y="620601"/>
                  <a:pt x="1857377" y="622131"/>
                </a:cubicBezTo>
                <a:close/>
                <a:moveTo>
                  <a:pt x="1571138" y="612775"/>
                </a:moveTo>
                <a:cubicBezTo>
                  <a:pt x="1579442" y="616903"/>
                  <a:pt x="1591897" y="625158"/>
                  <a:pt x="1600201" y="629285"/>
                </a:cubicBezTo>
                <a:cubicBezTo>
                  <a:pt x="1600201" y="629285"/>
                  <a:pt x="1600201" y="629285"/>
                  <a:pt x="1596049" y="637540"/>
                </a:cubicBezTo>
                <a:cubicBezTo>
                  <a:pt x="1587745" y="633413"/>
                  <a:pt x="1583593" y="629285"/>
                  <a:pt x="1575290" y="625158"/>
                </a:cubicBezTo>
                <a:lnTo>
                  <a:pt x="1571138" y="633413"/>
                </a:lnTo>
                <a:cubicBezTo>
                  <a:pt x="1575290" y="637540"/>
                  <a:pt x="1579442" y="641668"/>
                  <a:pt x="1583593" y="641668"/>
                </a:cubicBezTo>
                <a:cubicBezTo>
                  <a:pt x="1583593" y="641668"/>
                  <a:pt x="1583593" y="641668"/>
                  <a:pt x="1579442" y="649923"/>
                </a:cubicBezTo>
                <a:cubicBezTo>
                  <a:pt x="1579442" y="649923"/>
                  <a:pt x="1579442" y="649923"/>
                  <a:pt x="1566986" y="641668"/>
                </a:cubicBezTo>
                <a:cubicBezTo>
                  <a:pt x="1566986" y="641668"/>
                  <a:pt x="1566986" y="641668"/>
                  <a:pt x="1558682" y="654050"/>
                </a:cubicBezTo>
                <a:cubicBezTo>
                  <a:pt x="1558682" y="654050"/>
                  <a:pt x="1558682" y="654050"/>
                  <a:pt x="1579442" y="666433"/>
                </a:cubicBezTo>
                <a:cubicBezTo>
                  <a:pt x="1579442" y="666433"/>
                  <a:pt x="1579442" y="666433"/>
                  <a:pt x="1575290" y="674688"/>
                </a:cubicBezTo>
                <a:cubicBezTo>
                  <a:pt x="1562834" y="666433"/>
                  <a:pt x="1554530" y="662305"/>
                  <a:pt x="1546226" y="654050"/>
                </a:cubicBezTo>
                <a:cubicBezTo>
                  <a:pt x="1546226" y="654050"/>
                  <a:pt x="1546226" y="654050"/>
                  <a:pt x="1571138" y="612775"/>
                </a:cubicBezTo>
                <a:close/>
                <a:moveTo>
                  <a:pt x="1898969" y="579438"/>
                </a:moveTo>
                <a:cubicBezTo>
                  <a:pt x="1898969" y="579438"/>
                  <a:pt x="1898969" y="579438"/>
                  <a:pt x="1931989" y="616943"/>
                </a:cubicBezTo>
                <a:cubicBezTo>
                  <a:pt x="1927862" y="621110"/>
                  <a:pt x="1927862" y="621110"/>
                  <a:pt x="1923734" y="625277"/>
                </a:cubicBezTo>
                <a:cubicBezTo>
                  <a:pt x="1923734" y="625277"/>
                  <a:pt x="1923734" y="625277"/>
                  <a:pt x="1890714" y="612776"/>
                </a:cubicBezTo>
                <a:cubicBezTo>
                  <a:pt x="1890714" y="612776"/>
                  <a:pt x="1890714" y="612776"/>
                  <a:pt x="1907224" y="637779"/>
                </a:cubicBezTo>
                <a:cubicBezTo>
                  <a:pt x="1903096" y="641946"/>
                  <a:pt x="1903096" y="641946"/>
                  <a:pt x="1898969" y="646113"/>
                </a:cubicBezTo>
                <a:cubicBezTo>
                  <a:pt x="1898969" y="646113"/>
                  <a:pt x="1898969" y="646113"/>
                  <a:pt x="1870076" y="604441"/>
                </a:cubicBezTo>
                <a:cubicBezTo>
                  <a:pt x="1874204" y="604441"/>
                  <a:pt x="1874204" y="600274"/>
                  <a:pt x="1878331" y="600274"/>
                </a:cubicBezTo>
                <a:cubicBezTo>
                  <a:pt x="1878331" y="600274"/>
                  <a:pt x="1878331" y="600274"/>
                  <a:pt x="1911351" y="608608"/>
                </a:cubicBezTo>
                <a:cubicBezTo>
                  <a:pt x="1911351" y="608608"/>
                  <a:pt x="1911351" y="608608"/>
                  <a:pt x="1890714" y="587772"/>
                </a:cubicBezTo>
                <a:cubicBezTo>
                  <a:pt x="1894841" y="583605"/>
                  <a:pt x="1894841" y="583605"/>
                  <a:pt x="1898969" y="579438"/>
                </a:cubicBezTo>
                <a:close/>
                <a:moveTo>
                  <a:pt x="1534626" y="579438"/>
                </a:moveTo>
                <a:cubicBezTo>
                  <a:pt x="1542930" y="587742"/>
                  <a:pt x="1551233" y="596046"/>
                  <a:pt x="1563689" y="604350"/>
                </a:cubicBezTo>
                <a:cubicBezTo>
                  <a:pt x="1559537" y="612653"/>
                  <a:pt x="1559537" y="612653"/>
                  <a:pt x="1559537" y="612653"/>
                </a:cubicBezTo>
                <a:cubicBezTo>
                  <a:pt x="1555385" y="608501"/>
                  <a:pt x="1551233" y="604350"/>
                  <a:pt x="1547081" y="604350"/>
                </a:cubicBezTo>
                <a:cubicBezTo>
                  <a:pt x="1518018" y="633413"/>
                  <a:pt x="1518018" y="633413"/>
                  <a:pt x="1518018" y="633413"/>
                </a:cubicBezTo>
                <a:cubicBezTo>
                  <a:pt x="1509714" y="625109"/>
                  <a:pt x="1509714" y="625109"/>
                  <a:pt x="1509714" y="625109"/>
                </a:cubicBezTo>
                <a:cubicBezTo>
                  <a:pt x="1538778" y="596046"/>
                  <a:pt x="1538778" y="596046"/>
                  <a:pt x="1538778" y="596046"/>
                </a:cubicBezTo>
                <a:cubicBezTo>
                  <a:pt x="1534626" y="591894"/>
                  <a:pt x="1530474" y="587742"/>
                  <a:pt x="1526322" y="583590"/>
                </a:cubicBezTo>
                <a:cubicBezTo>
                  <a:pt x="1534626" y="579438"/>
                  <a:pt x="1534626" y="579438"/>
                  <a:pt x="1534626" y="579438"/>
                </a:cubicBezTo>
                <a:close/>
                <a:moveTo>
                  <a:pt x="1924051" y="566738"/>
                </a:moveTo>
                <a:lnTo>
                  <a:pt x="1931989" y="579438"/>
                </a:lnTo>
                <a:lnTo>
                  <a:pt x="1936751" y="587376"/>
                </a:lnTo>
                <a:lnTo>
                  <a:pt x="1944689" y="579438"/>
                </a:lnTo>
                <a:lnTo>
                  <a:pt x="1944689" y="574676"/>
                </a:lnTo>
                <a:close/>
                <a:moveTo>
                  <a:pt x="1919742" y="558800"/>
                </a:moveTo>
                <a:cubicBezTo>
                  <a:pt x="1970089" y="571103"/>
                  <a:pt x="1970089" y="571103"/>
                  <a:pt x="1970089" y="571103"/>
                </a:cubicBezTo>
                <a:cubicBezTo>
                  <a:pt x="1970089" y="575204"/>
                  <a:pt x="1965894" y="575204"/>
                  <a:pt x="1965894" y="579305"/>
                </a:cubicBezTo>
                <a:cubicBezTo>
                  <a:pt x="1965894" y="579305"/>
                  <a:pt x="1965894" y="579305"/>
                  <a:pt x="1961698" y="579305"/>
                </a:cubicBezTo>
                <a:cubicBezTo>
                  <a:pt x="1953307" y="579305"/>
                  <a:pt x="1953307" y="579305"/>
                  <a:pt x="1953307" y="579305"/>
                </a:cubicBezTo>
                <a:cubicBezTo>
                  <a:pt x="1940720" y="595710"/>
                  <a:pt x="1940720" y="595710"/>
                  <a:pt x="1940720" y="595710"/>
                </a:cubicBezTo>
                <a:cubicBezTo>
                  <a:pt x="1944916" y="603912"/>
                  <a:pt x="1944916" y="603912"/>
                  <a:pt x="1944916" y="603912"/>
                </a:cubicBezTo>
                <a:cubicBezTo>
                  <a:pt x="1944916" y="603912"/>
                  <a:pt x="1940720" y="608013"/>
                  <a:pt x="1940720" y="608013"/>
                </a:cubicBezTo>
                <a:cubicBezTo>
                  <a:pt x="1919742" y="579305"/>
                  <a:pt x="1919742" y="579305"/>
                  <a:pt x="1919742" y="579305"/>
                </a:cubicBezTo>
                <a:cubicBezTo>
                  <a:pt x="1911351" y="567002"/>
                  <a:pt x="1911351" y="567002"/>
                  <a:pt x="1911351" y="567002"/>
                </a:cubicBezTo>
                <a:close/>
                <a:moveTo>
                  <a:pt x="1500586" y="541338"/>
                </a:moveTo>
                <a:cubicBezTo>
                  <a:pt x="1504753" y="545571"/>
                  <a:pt x="1504753" y="545571"/>
                  <a:pt x="1508920" y="549805"/>
                </a:cubicBezTo>
                <a:cubicBezTo>
                  <a:pt x="1508920" y="549805"/>
                  <a:pt x="1508920" y="549805"/>
                  <a:pt x="1496419" y="583671"/>
                </a:cubicBezTo>
                <a:cubicBezTo>
                  <a:pt x="1496419" y="583671"/>
                  <a:pt x="1496419" y="583671"/>
                  <a:pt x="1521422" y="562505"/>
                </a:cubicBezTo>
                <a:cubicBezTo>
                  <a:pt x="1521422" y="566738"/>
                  <a:pt x="1525589" y="566738"/>
                  <a:pt x="1525589" y="570971"/>
                </a:cubicBezTo>
                <a:cubicBezTo>
                  <a:pt x="1525589" y="570971"/>
                  <a:pt x="1525589" y="570971"/>
                  <a:pt x="1488084" y="604838"/>
                </a:cubicBezTo>
                <a:cubicBezTo>
                  <a:pt x="1483917" y="600605"/>
                  <a:pt x="1483917" y="600605"/>
                  <a:pt x="1479750" y="596371"/>
                </a:cubicBezTo>
                <a:cubicBezTo>
                  <a:pt x="1479750" y="596371"/>
                  <a:pt x="1479750" y="596371"/>
                  <a:pt x="1492252" y="562505"/>
                </a:cubicBezTo>
                <a:cubicBezTo>
                  <a:pt x="1492252" y="562505"/>
                  <a:pt x="1492252" y="562505"/>
                  <a:pt x="1467249" y="579438"/>
                </a:cubicBezTo>
                <a:cubicBezTo>
                  <a:pt x="1463081" y="575205"/>
                  <a:pt x="1463081" y="575205"/>
                  <a:pt x="1458914" y="570971"/>
                </a:cubicBezTo>
                <a:cubicBezTo>
                  <a:pt x="1458914" y="570971"/>
                  <a:pt x="1458914" y="570971"/>
                  <a:pt x="1500586" y="541338"/>
                </a:cubicBezTo>
                <a:close/>
                <a:moveTo>
                  <a:pt x="1936752" y="528638"/>
                </a:moveTo>
                <a:lnTo>
                  <a:pt x="1973264" y="550863"/>
                </a:lnTo>
                <a:lnTo>
                  <a:pt x="1985965" y="528638"/>
                </a:lnTo>
                <a:lnTo>
                  <a:pt x="1993902" y="533401"/>
                </a:lnTo>
                <a:lnTo>
                  <a:pt x="1978027" y="561976"/>
                </a:lnTo>
                <a:lnTo>
                  <a:pt x="1931989" y="538163"/>
                </a:lnTo>
                <a:close/>
                <a:moveTo>
                  <a:pt x="1492829" y="525463"/>
                </a:moveTo>
                <a:cubicBezTo>
                  <a:pt x="1492829" y="529630"/>
                  <a:pt x="1497014" y="529630"/>
                  <a:pt x="1497014" y="533798"/>
                </a:cubicBezTo>
                <a:cubicBezTo>
                  <a:pt x="1497014" y="533798"/>
                  <a:pt x="1497014" y="533798"/>
                  <a:pt x="1455161" y="558801"/>
                </a:cubicBezTo>
                <a:cubicBezTo>
                  <a:pt x="1450976" y="554634"/>
                  <a:pt x="1450976" y="550467"/>
                  <a:pt x="1450976" y="550467"/>
                </a:cubicBezTo>
                <a:cubicBezTo>
                  <a:pt x="1450976" y="550467"/>
                  <a:pt x="1450976" y="550467"/>
                  <a:pt x="1492829" y="525463"/>
                </a:cubicBezTo>
                <a:close/>
                <a:moveTo>
                  <a:pt x="1482542" y="485751"/>
                </a:moveTo>
                <a:cubicBezTo>
                  <a:pt x="1480468" y="485230"/>
                  <a:pt x="1478394" y="486272"/>
                  <a:pt x="1476320" y="488355"/>
                </a:cubicBezTo>
                <a:cubicBezTo>
                  <a:pt x="1430696" y="500857"/>
                  <a:pt x="1430696" y="500857"/>
                  <a:pt x="1430696" y="500857"/>
                </a:cubicBezTo>
                <a:cubicBezTo>
                  <a:pt x="1422401" y="505024"/>
                  <a:pt x="1422401" y="509191"/>
                  <a:pt x="1422401" y="517526"/>
                </a:cubicBezTo>
                <a:cubicBezTo>
                  <a:pt x="1468025" y="634207"/>
                  <a:pt x="1584159" y="717551"/>
                  <a:pt x="1716883" y="717551"/>
                </a:cubicBezTo>
                <a:cubicBezTo>
                  <a:pt x="1849607" y="717551"/>
                  <a:pt x="1965740" y="634207"/>
                  <a:pt x="2011364" y="513358"/>
                </a:cubicBezTo>
                <a:cubicBezTo>
                  <a:pt x="2011364" y="509191"/>
                  <a:pt x="2007217" y="505024"/>
                  <a:pt x="2003069" y="500857"/>
                </a:cubicBezTo>
                <a:cubicBezTo>
                  <a:pt x="1957445" y="488355"/>
                  <a:pt x="1957445" y="488355"/>
                  <a:pt x="1957445" y="488355"/>
                </a:cubicBezTo>
                <a:cubicBezTo>
                  <a:pt x="1955371" y="486272"/>
                  <a:pt x="1953297" y="485230"/>
                  <a:pt x="1951224" y="485751"/>
                </a:cubicBezTo>
                <a:cubicBezTo>
                  <a:pt x="1949150" y="486272"/>
                  <a:pt x="1947076" y="488355"/>
                  <a:pt x="1945002" y="492522"/>
                </a:cubicBezTo>
                <a:cubicBezTo>
                  <a:pt x="1907673" y="584201"/>
                  <a:pt x="1820573" y="646709"/>
                  <a:pt x="1716883" y="646709"/>
                </a:cubicBezTo>
                <a:cubicBezTo>
                  <a:pt x="1613192" y="646709"/>
                  <a:pt x="1526092" y="584201"/>
                  <a:pt x="1488763" y="492522"/>
                </a:cubicBezTo>
                <a:cubicBezTo>
                  <a:pt x="1486689" y="488355"/>
                  <a:pt x="1484616" y="486272"/>
                  <a:pt x="1482542" y="485751"/>
                </a:cubicBezTo>
                <a:close/>
                <a:moveTo>
                  <a:pt x="1662749" y="478852"/>
                </a:moveTo>
                <a:cubicBezTo>
                  <a:pt x="1551306" y="533313"/>
                  <a:pt x="1551306" y="533313"/>
                  <a:pt x="1551306" y="533313"/>
                </a:cubicBezTo>
                <a:cubicBezTo>
                  <a:pt x="1547179" y="533313"/>
                  <a:pt x="1543051" y="533313"/>
                  <a:pt x="1543051" y="537502"/>
                </a:cubicBezTo>
                <a:cubicBezTo>
                  <a:pt x="1543051" y="537502"/>
                  <a:pt x="1543051" y="537502"/>
                  <a:pt x="1543051" y="541691"/>
                </a:cubicBezTo>
                <a:cubicBezTo>
                  <a:pt x="1543051" y="541691"/>
                  <a:pt x="1543051" y="545880"/>
                  <a:pt x="1547179" y="545880"/>
                </a:cubicBezTo>
                <a:cubicBezTo>
                  <a:pt x="1584326" y="587773"/>
                  <a:pt x="1621474" y="608719"/>
                  <a:pt x="1675132" y="621287"/>
                </a:cubicBezTo>
                <a:cubicBezTo>
                  <a:pt x="1679259" y="625476"/>
                  <a:pt x="1683387" y="625476"/>
                  <a:pt x="1683387" y="621287"/>
                </a:cubicBezTo>
                <a:cubicBezTo>
                  <a:pt x="1687514" y="621287"/>
                  <a:pt x="1687514" y="617098"/>
                  <a:pt x="1687514" y="608719"/>
                </a:cubicBezTo>
                <a:cubicBezTo>
                  <a:pt x="1687514" y="608719"/>
                  <a:pt x="1679259" y="487231"/>
                  <a:pt x="1679259" y="487231"/>
                </a:cubicBezTo>
                <a:cubicBezTo>
                  <a:pt x="1679259" y="483042"/>
                  <a:pt x="1675132" y="478852"/>
                  <a:pt x="1675132" y="478852"/>
                </a:cubicBezTo>
                <a:cubicBezTo>
                  <a:pt x="1671004" y="474663"/>
                  <a:pt x="1666877" y="474663"/>
                  <a:pt x="1662749" y="478852"/>
                </a:cubicBezTo>
                <a:close/>
                <a:moveTo>
                  <a:pt x="1762761" y="474663"/>
                </a:moveTo>
                <a:cubicBezTo>
                  <a:pt x="1758634" y="478836"/>
                  <a:pt x="1758634" y="483009"/>
                  <a:pt x="1758634" y="487182"/>
                </a:cubicBezTo>
                <a:cubicBezTo>
                  <a:pt x="1746251" y="608194"/>
                  <a:pt x="1746251" y="608194"/>
                  <a:pt x="1746251" y="608194"/>
                </a:cubicBezTo>
                <a:cubicBezTo>
                  <a:pt x="1746251" y="612367"/>
                  <a:pt x="1746251" y="616540"/>
                  <a:pt x="1750379" y="620713"/>
                </a:cubicBezTo>
                <a:cubicBezTo>
                  <a:pt x="1750379" y="620713"/>
                  <a:pt x="1754506" y="620713"/>
                  <a:pt x="1758634" y="620713"/>
                </a:cubicBezTo>
                <a:cubicBezTo>
                  <a:pt x="1812291" y="608194"/>
                  <a:pt x="1849439" y="587330"/>
                  <a:pt x="1886587" y="545602"/>
                </a:cubicBezTo>
                <a:cubicBezTo>
                  <a:pt x="1890714" y="541429"/>
                  <a:pt x="1890714" y="541429"/>
                  <a:pt x="1890714" y="537256"/>
                </a:cubicBezTo>
                <a:cubicBezTo>
                  <a:pt x="1890714" y="533083"/>
                  <a:pt x="1886587" y="533083"/>
                  <a:pt x="1882459" y="528910"/>
                </a:cubicBezTo>
                <a:cubicBezTo>
                  <a:pt x="1775144" y="474663"/>
                  <a:pt x="1775144" y="474663"/>
                  <a:pt x="1775144" y="474663"/>
                </a:cubicBezTo>
                <a:cubicBezTo>
                  <a:pt x="1771016" y="474663"/>
                  <a:pt x="1766889" y="474663"/>
                  <a:pt x="1762761" y="474663"/>
                </a:cubicBezTo>
                <a:close/>
                <a:moveTo>
                  <a:pt x="725572" y="428624"/>
                </a:moveTo>
                <a:cubicBezTo>
                  <a:pt x="705101" y="432820"/>
                  <a:pt x="696913" y="441211"/>
                  <a:pt x="696913" y="457993"/>
                </a:cubicBezTo>
                <a:cubicBezTo>
                  <a:pt x="696913" y="470580"/>
                  <a:pt x="696913" y="487362"/>
                  <a:pt x="717384" y="487362"/>
                </a:cubicBezTo>
                <a:cubicBezTo>
                  <a:pt x="741948" y="487362"/>
                  <a:pt x="774701" y="478971"/>
                  <a:pt x="774701" y="478971"/>
                </a:cubicBezTo>
                <a:cubicBezTo>
                  <a:pt x="774701" y="428624"/>
                  <a:pt x="774701" y="428624"/>
                  <a:pt x="774701" y="428624"/>
                </a:cubicBezTo>
                <a:close/>
                <a:moveTo>
                  <a:pt x="352426" y="346073"/>
                </a:moveTo>
                <a:cubicBezTo>
                  <a:pt x="315516" y="346073"/>
                  <a:pt x="303213" y="362695"/>
                  <a:pt x="303213" y="412562"/>
                </a:cubicBezTo>
                <a:cubicBezTo>
                  <a:pt x="303213" y="462428"/>
                  <a:pt x="311415" y="487361"/>
                  <a:pt x="352426" y="487361"/>
                </a:cubicBezTo>
                <a:cubicBezTo>
                  <a:pt x="393436" y="487361"/>
                  <a:pt x="401638" y="458272"/>
                  <a:pt x="401638" y="412562"/>
                </a:cubicBezTo>
                <a:cubicBezTo>
                  <a:pt x="401638" y="362695"/>
                  <a:pt x="389335" y="346073"/>
                  <a:pt x="352426" y="346073"/>
                </a:cubicBezTo>
                <a:close/>
                <a:moveTo>
                  <a:pt x="1704770" y="341312"/>
                </a:moveTo>
                <a:cubicBezTo>
                  <a:pt x="1704770" y="341312"/>
                  <a:pt x="1704770" y="353885"/>
                  <a:pt x="1704770" y="353885"/>
                </a:cubicBezTo>
                <a:cubicBezTo>
                  <a:pt x="1684063" y="358076"/>
                  <a:pt x="1671639" y="379031"/>
                  <a:pt x="1671639" y="399986"/>
                </a:cubicBezTo>
                <a:cubicBezTo>
                  <a:pt x="1671639" y="425132"/>
                  <a:pt x="1692346" y="446087"/>
                  <a:pt x="1717193" y="446087"/>
                </a:cubicBezTo>
                <a:cubicBezTo>
                  <a:pt x="1742041" y="446087"/>
                  <a:pt x="1766889" y="425132"/>
                  <a:pt x="1766889" y="399986"/>
                </a:cubicBezTo>
                <a:cubicBezTo>
                  <a:pt x="1766889" y="379031"/>
                  <a:pt x="1750324" y="358076"/>
                  <a:pt x="1729617" y="353885"/>
                </a:cubicBezTo>
                <a:cubicBezTo>
                  <a:pt x="1729617" y="349694"/>
                  <a:pt x="1729617" y="341312"/>
                  <a:pt x="1729617" y="341312"/>
                </a:cubicBezTo>
                <a:cubicBezTo>
                  <a:pt x="1704770" y="341312"/>
                  <a:pt x="1704770" y="341312"/>
                  <a:pt x="1704770" y="341312"/>
                </a:cubicBezTo>
                <a:close/>
                <a:moveTo>
                  <a:pt x="1716883" y="328612"/>
                </a:moveTo>
                <a:cubicBezTo>
                  <a:pt x="1755899" y="328612"/>
                  <a:pt x="1787527" y="360596"/>
                  <a:pt x="1787527" y="400050"/>
                </a:cubicBezTo>
                <a:cubicBezTo>
                  <a:pt x="1787527" y="439504"/>
                  <a:pt x="1755899" y="471488"/>
                  <a:pt x="1716883" y="471488"/>
                </a:cubicBezTo>
                <a:cubicBezTo>
                  <a:pt x="1677867" y="471488"/>
                  <a:pt x="1646239" y="439504"/>
                  <a:pt x="1646239" y="400050"/>
                </a:cubicBezTo>
                <a:cubicBezTo>
                  <a:pt x="1646239" y="360596"/>
                  <a:pt x="1677867" y="328612"/>
                  <a:pt x="1716883" y="328612"/>
                </a:cubicBezTo>
                <a:close/>
                <a:moveTo>
                  <a:pt x="1716883" y="320675"/>
                </a:moveTo>
                <a:cubicBezTo>
                  <a:pt x="1673483" y="320675"/>
                  <a:pt x="1638301" y="356212"/>
                  <a:pt x="1638301" y="400050"/>
                </a:cubicBezTo>
                <a:cubicBezTo>
                  <a:pt x="1638301" y="443888"/>
                  <a:pt x="1673483" y="479425"/>
                  <a:pt x="1716883" y="479425"/>
                </a:cubicBezTo>
                <a:cubicBezTo>
                  <a:pt x="1760283" y="479425"/>
                  <a:pt x="1795465" y="443888"/>
                  <a:pt x="1795465" y="400050"/>
                </a:cubicBezTo>
                <a:cubicBezTo>
                  <a:pt x="1795465" y="356212"/>
                  <a:pt x="1760283" y="320675"/>
                  <a:pt x="1716883" y="320675"/>
                </a:cubicBezTo>
                <a:close/>
                <a:moveTo>
                  <a:pt x="1924004" y="317500"/>
                </a:moveTo>
                <a:cubicBezTo>
                  <a:pt x="1924004" y="317500"/>
                  <a:pt x="1919866" y="317500"/>
                  <a:pt x="1911592" y="321667"/>
                </a:cubicBezTo>
                <a:cubicBezTo>
                  <a:pt x="1812301" y="388342"/>
                  <a:pt x="1812301" y="388342"/>
                  <a:pt x="1812301" y="388342"/>
                </a:cubicBezTo>
                <a:cubicBezTo>
                  <a:pt x="1808164" y="392510"/>
                  <a:pt x="1808164" y="396677"/>
                  <a:pt x="1808164" y="400844"/>
                </a:cubicBezTo>
                <a:cubicBezTo>
                  <a:pt x="1808164" y="400844"/>
                  <a:pt x="1808164" y="405011"/>
                  <a:pt x="1812301" y="409178"/>
                </a:cubicBezTo>
                <a:lnTo>
                  <a:pt x="1915729" y="480021"/>
                </a:lnTo>
                <a:cubicBezTo>
                  <a:pt x="1915729" y="480021"/>
                  <a:pt x="1919866" y="484188"/>
                  <a:pt x="1924004" y="480021"/>
                </a:cubicBezTo>
                <a:cubicBezTo>
                  <a:pt x="1928141" y="480021"/>
                  <a:pt x="1928141" y="480021"/>
                  <a:pt x="1928141" y="471686"/>
                </a:cubicBezTo>
                <a:cubicBezTo>
                  <a:pt x="1944689" y="421680"/>
                  <a:pt x="1944689" y="375841"/>
                  <a:pt x="1928141" y="325834"/>
                </a:cubicBezTo>
                <a:cubicBezTo>
                  <a:pt x="1928141" y="321667"/>
                  <a:pt x="1928141" y="317500"/>
                  <a:pt x="1924004" y="317500"/>
                </a:cubicBezTo>
                <a:close/>
                <a:moveTo>
                  <a:pt x="1509762" y="317500"/>
                </a:moveTo>
                <a:cubicBezTo>
                  <a:pt x="1505625" y="317500"/>
                  <a:pt x="1505625" y="321667"/>
                  <a:pt x="1501487" y="325834"/>
                </a:cubicBezTo>
                <a:cubicBezTo>
                  <a:pt x="1489076" y="375841"/>
                  <a:pt x="1489076" y="421680"/>
                  <a:pt x="1501487" y="475854"/>
                </a:cubicBezTo>
                <a:cubicBezTo>
                  <a:pt x="1505625" y="475854"/>
                  <a:pt x="1505625" y="480021"/>
                  <a:pt x="1509762" y="480021"/>
                </a:cubicBezTo>
                <a:cubicBezTo>
                  <a:pt x="1509762" y="484188"/>
                  <a:pt x="1513899" y="480021"/>
                  <a:pt x="1518036" y="480021"/>
                </a:cubicBezTo>
                <a:cubicBezTo>
                  <a:pt x="1621464" y="409178"/>
                  <a:pt x="1621464" y="409178"/>
                  <a:pt x="1621464" y="409178"/>
                </a:cubicBezTo>
                <a:cubicBezTo>
                  <a:pt x="1625601" y="409178"/>
                  <a:pt x="1625601" y="405011"/>
                  <a:pt x="1625601" y="400844"/>
                </a:cubicBezTo>
                <a:cubicBezTo>
                  <a:pt x="1625601" y="396677"/>
                  <a:pt x="1625601" y="392510"/>
                  <a:pt x="1621464" y="388342"/>
                </a:cubicBezTo>
                <a:lnTo>
                  <a:pt x="1518036" y="321667"/>
                </a:lnTo>
                <a:cubicBezTo>
                  <a:pt x="1518036" y="317500"/>
                  <a:pt x="1513899" y="317500"/>
                  <a:pt x="1509762" y="317500"/>
                </a:cubicBezTo>
                <a:close/>
                <a:moveTo>
                  <a:pt x="1032821" y="304799"/>
                </a:moveTo>
                <a:cubicBezTo>
                  <a:pt x="1032821" y="304799"/>
                  <a:pt x="1036942" y="304799"/>
                  <a:pt x="1041062" y="304799"/>
                </a:cubicBezTo>
                <a:cubicBezTo>
                  <a:pt x="1041062" y="304799"/>
                  <a:pt x="1041062" y="304799"/>
                  <a:pt x="1074028" y="304799"/>
                </a:cubicBezTo>
                <a:cubicBezTo>
                  <a:pt x="1078149" y="304799"/>
                  <a:pt x="1078149" y="304799"/>
                  <a:pt x="1082270" y="308966"/>
                </a:cubicBezTo>
                <a:cubicBezTo>
                  <a:pt x="1082270" y="308966"/>
                  <a:pt x="1082270" y="308966"/>
                  <a:pt x="1123477" y="479821"/>
                </a:cubicBezTo>
                <a:cubicBezTo>
                  <a:pt x="1123477" y="479821"/>
                  <a:pt x="1123477" y="479821"/>
                  <a:pt x="1127598" y="479821"/>
                </a:cubicBezTo>
                <a:cubicBezTo>
                  <a:pt x="1127598" y="479821"/>
                  <a:pt x="1127598" y="479821"/>
                  <a:pt x="1172926" y="308966"/>
                </a:cubicBezTo>
                <a:cubicBezTo>
                  <a:pt x="1172926" y="304799"/>
                  <a:pt x="1177047" y="304799"/>
                  <a:pt x="1181168" y="304799"/>
                </a:cubicBezTo>
                <a:cubicBezTo>
                  <a:pt x="1181168" y="304799"/>
                  <a:pt x="1181168" y="304799"/>
                  <a:pt x="1214134" y="304799"/>
                </a:cubicBezTo>
                <a:cubicBezTo>
                  <a:pt x="1218254" y="304799"/>
                  <a:pt x="1218254" y="304799"/>
                  <a:pt x="1222375" y="304799"/>
                </a:cubicBezTo>
                <a:cubicBezTo>
                  <a:pt x="1222375" y="308966"/>
                  <a:pt x="1222375" y="308966"/>
                  <a:pt x="1222375" y="313133"/>
                </a:cubicBezTo>
                <a:cubicBezTo>
                  <a:pt x="1222375" y="313133"/>
                  <a:pt x="1222375" y="313133"/>
                  <a:pt x="1218254" y="338137"/>
                </a:cubicBezTo>
                <a:cubicBezTo>
                  <a:pt x="1214134" y="350638"/>
                  <a:pt x="1210013" y="367307"/>
                  <a:pt x="1201771" y="388143"/>
                </a:cubicBezTo>
                <a:cubicBezTo>
                  <a:pt x="1193530" y="433982"/>
                  <a:pt x="1177047" y="496490"/>
                  <a:pt x="1164685" y="542329"/>
                </a:cubicBezTo>
                <a:cubicBezTo>
                  <a:pt x="1152322" y="584001"/>
                  <a:pt x="1131719" y="604837"/>
                  <a:pt x="1098753" y="604837"/>
                </a:cubicBezTo>
                <a:cubicBezTo>
                  <a:pt x="1098753" y="604837"/>
                  <a:pt x="1098753" y="604837"/>
                  <a:pt x="1094632" y="604837"/>
                </a:cubicBezTo>
                <a:cubicBezTo>
                  <a:pt x="1078149" y="604837"/>
                  <a:pt x="1053425" y="600670"/>
                  <a:pt x="1041062" y="600670"/>
                </a:cubicBezTo>
                <a:cubicBezTo>
                  <a:pt x="1036942" y="596503"/>
                  <a:pt x="1032821" y="596503"/>
                  <a:pt x="1032821" y="592335"/>
                </a:cubicBezTo>
                <a:cubicBezTo>
                  <a:pt x="1032821" y="592335"/>
                  <a:pt x="1032821" y="592335"/>
                  <a:pt x="1032821" y="567332"/>
                </a:cubicBezTo>
                <a:cubicBezTo>
                  <a:pt x="1032821" y="567332"/>
                  <a:pt x="1032821" y="563165"/>
                  <a:pt x="1036942" y="563165"/>
                </a:cubicBezTo>
                <a:cubicBezTo>
                  <a:pt x="1036942" y="558998"/>
                  <a:pt x="1041062" y="558998"/>
                  <a:pt x="1041062" y="558998"/>
                </a:cubicBezTo>
                <a:cubicBezTo>
                  <a:pt x="1041062" y="558998"/>
                  <a:pt x="1041062" y="558998"/>
                  <a:pt x="1082270" y="563165"/>
                </a:cubicBezTo>
                <a:cubicBezTo>
                  <a:pt x="1106994" y="563165"/>
                  <a:pt x="1111115" y="550663"/>
                  <a:pt x="1115236" y="538162"/>
                </a:cubicBezTo>
                <a:cubicBezTo>
                  <a:pt x="1115236" y="533995"/>
                  <a:pt x="1115236" y="533995"/>
                  <a:pt x="1119357" y="529828"/>
                </a:cubicBezTo>
                <a:cubicBezTo>
                  <a:pt x="1119357" y="529828"/>
                  <a:pt x="1119357" y="529828"/>
                  <a:pt x="1106994" y="529828"/>
                </a:cubicBezTo>
                <a:cubicBezTo>
                  <a:pt x="1090511" y="529828"/>
                  <a:pt x="1082270" y="513159"/>
                  <a:pt x="1082270" y="504824"/>
                </a:cubicBezTo>
                <a:cubicBezTo>
                  <a:pt x="1082270" y="504824"/>
                  <a:pt x="1082270" y="504824"/>
                  <a:pt x="1032821" y="313133"/>
                </a:cubicBezTo>
                <a:cubicBezTo>
                  <a:pt x="1028700" y="308966"/>
                  <a:pt x="1032821" y="308966"/>
                  <a:pt x="1032821" y="304799"/>
                </a:cubicBezTo>
                <a:close/>
                <a:moveTo>
                  <a:pt x="994979" y="300037"/>
                </a:moveTo>
                <a:cubicBezTo>
                  <a:pt x="994979" y="300037"/>
                  <a:pt x="999140" y="300037"/>
                  <a:pt x="999140" y="304193"/>
                </a:cubicBezTo>
                <a:cubicBezTo>
                  <a:pt x="1003300" y="304193"/>
                  <a:pt x="1003300" y="308350"/>
                  <a:pt x="1003300" y="308350"/>
                </a:cubicBezTo>
                <a:cubicBezTo>
                  <a:pt x="1003300" y="308350"/>
                  <a:pt x="1003300" y="308350"/>
                  <a:pt x="1003300" y="341601"/>
                </a:cubicBezTo>
                <a:cubicBezTo>
                  <a:pt x="1003300" y="345757"/>
                  <a:pt x="999140" y="345757"/>
                  <a:pt x="994979" y="349913"/>
                </a:cubicBezTo>
                <a:cubicBezTo>
                  <a:pt x="965857" y="349913"/>
                  <a:pt x="940895" y="370695"/>
                  <a:pt x="932574" y="374852"/>
                </a:cubicBezTo>
                <a:cubicBezTo>
                  <a:pt x="932574" y="374852"/>
                  <a:pt x="932574" y="374852"/>
                  <a:pt x="932574" y="520324"/>
                </a:cubicBezTo>
                <a:cubicBezTo>
                  <a:pt x="932574" y="524481"/>
                  <a:pt x="928414" y="528637"/>
                  <a:pt x="924254" y="528637"/>
                </a:cubicBezTo>
                <a:cubicBezTo>
                  <a:pt x="924254" y="528637"/>
                  <a:pt x="924254" y="528637"/>
                  <a:pt x="890971" y="528637"/>
                </a:cubicBezTo>
                <a:cubicBezTo>
                  <a:pt x="886810" y="528637"/>
                  <a:pt x="882650" y="524481"/>
                  <a:pt x="882650" y="520324"/>
                </a:cubicBezTo>
                <a:cubicBezTo>
                  <a:pt x="882650" y="520324"/>
                  <a:pt x="882650" y="520324"/>
                  <a:pt x="882650" y="312506"/>
                </a:cubicBezTo>
                <a:cubicBezTo>
                  <a:pt x="882650" y="304193"/>
                  <a:pt x="886810" y="304193"/>
                  <a:pt x="890971" y="304193"/>
                </a:cubicBezTo>
                <a:cubicBezTo>
                  <a:pt x="890971" y="304193"/>
                  <a:pt x="890971" y="304193"/>
                  <a:pt x="924254" y="304193"/>
                </a:cubicBezTo>
                <a:cubicBezTo>
                  <a:pt x="928414" y="304193"/>
                  <a:pt x="932574" y="304193"/>
                  <a:pt x="932574" y="312506"/>
                </a:cubicBezTo>
                <a:cubicBezTo>
                  <a:pt x="932574" y="312506"/>
                  <a:pt x="932574" y="312506"/>
                  <a:pt x="932574" y="324975"/>
                </a:cubicBezTo>
                <a:cubicBezTo>
                  <a:pt x="949216" y="316662"/>
                  <a:pt x="970017" y="300037"/>
                  <a:pt x="994979" y="300037"/>
                </a:cubicBezTo>
                <a:close/>
                <a:moveTo>
                  <a:pt x="750816" y="295274"/>
                </a:moveTo>
                <a:cubicBezTo>
                  <a:pt x="800606" y="295274"/>
                  <a:pt x="825501" y="320340"/>
                  <a:pt x="825501" y="374649"/>
                </a:cubicBezTo>
                <a:cubicBezTo>
                  <a:pt x="825501" y="525044"/>
                  <a:pt x="825501" y="525044"/>
                  <a:pt x="825501" y="525044"/>
                </a:cubicBezTo>
                <a:cubicBezTo>
                  <a:pt x="825501" y="525044"/>
                  <a:pt x="825501" y="529221"/>
                  <a:pt x="825501" y="529221"/>
                </a:cubicBezTo>
                <a:cubicBezTo>
                  <a:pt x="821352" y="533399"/>
                  <a:pt x="821352" y="533399"/>
                  <a:pt x="817203" y="533399"/>
                </a:cubicBezTo>
                <a:cubicBezTo>
                  <a:pt x="800606" y="529221"/>
                  <a:pt x="792308" y="525044"/>
                  <a:pt x="784010" y="516688"/>
                </a:cubicBezTo>
                <a:cubicBezTo>
                  <a:pt x="784010" y="516688"/>
                  <a:pt x="742518" y="533399"/>
                  <a:pt x="709325" y="533399"/>
                </a:cubicBezTo>
                <a:cubicBezTo>
                  <a:pt x="667833" y="533399"/>
                  <a:pt x="642938" y="508333"/>
                  <a:pt x="642938" y="462379"/>
                </a:cubicBezTo>
                <a:cubicBezTo>
                  <a:pt x="642938" y="416425"/>
                  <a:pt x="667833" y="395537"/>
                  <a:pt x="717623" y="391360"/>
                </a:cubicBezTo>
                <a:cubicBezTo>
                  <a:pt x="775711" y="387182"/>
                  <a:pt x="775711" y="387182"/>
                  <a:pt x="775711" y="387182"/>
                </a:cubicBezTo>
                <a:cubicBezTo>
                  <a:pt x="775711" y="374649"/>
                  <a:pt x="775711" y="374649"/>
                  <a:pt x="775711" y="374649"/>
                </a:cubicBezTo>
                <a:cubicBezTo>
                  <a:pt x="775711" y="357939"/>
                  <a:pt x="763264" y="345406"/>
                  <a:pt x="746667" y="345406"/>
                </a:cubicBezTo>
                <a:cubicBezTo>
                  <a:pt x="721772" y="345406"/>
                  <a:pt x="688579" y="349583"/>
                  <a:pt x="667833" y="349583"/>
                </a:cubicBezTo>
                <a:cubicBezTo>
                  <a:pt x="667833" y="349583"/>
                  <a:pt x="663684" y="349583"/>
                  <a:pt x="663684" y="349583"/>
                </a:cubicBezTo>
                <a:cubicBezTo>
                  <a:pt x="659535" y="345406"/>
                  <a:pt x="659535" y="345406"/>
                  <a:pt x="659535" y="341228"/>
                </a:cubicBezTo>
                <a:cubicBezTo>
                  <a:pt x="659535" y="311985"/>
                  <a:pt x="659535" y="311985"/>
                  <a:pt x="659535" y="311985"/>
                </a:cubicBezTo>
                <a:cubicBezTo>
                  <a:pt x="659535" y="307807"/>
                  <a:pt x="663684" y="303629"/>
                  <a:pt x="667833" y="303629"/>
                </a:cubicBezTo>
                <a:cubicBezTo>
                  <a:pt x="684430" y="303629"/>
                  <a:pt x="725921" y="295274"/>
                  <a:pt x="750816" y="295274"/>
                </a:cubicBezTo>
                <a:close/>
                <a:moveTo>
                  <a:pt x="354013" y="295273"/>
                </a:moveTo>
                <a:cubicBezTo>
                  <a:pt x="410125" y="295273"/>
                  <a:pt x="455613" y="348579"/>
                  <a:pt x="455613" y="414336"/>
                </a:cubicBezTo>
                <a:cubicBezTo>
                  <a:pt x="455613" y="480093"/>
                  <a:pt x="410125" y="533399"/>
                  <a:pt x="354013" y="533399"/>
                </a:cubicBezTo>
                <a:cubicBezTo>
                  <a:pt x="297901" y="533399"/>
                  <a:pt x="252413" y="480093"/>
                  <a:pt x="252413" y="414336"/>
                </a:cubicBezTo>
                <a:cubicBezTo>
                  <a:pt x="252413" y="348579"/>
                  <a:pt x="297901" y="295273"/>
                  <a:pt x="354013" y="295273"/>
                </a:cubicBezTo>
                <a:close/>
                <a:moveTo>
                  <a:pt x="53975" y="266699"/>
                </a:moveTo>
                <a:cubicBezTo>
                  <a:pt x="53975" y="358774"/>
                  <a:pt x="53975" y="358774"/>
                  <a:pt x="53975" y="358774"/>
                </a:cubicBezTo>
                <a:cubicBezTo>
                  <a:pt x="62207" y="358774"/>
                  <a:pt x="82785" y="358774"/>
                  <a:pt x="107480" y="358774"/>
                </a:cubicBezTo>
                <a:cubicBezTo>
                  <a:pt x="144521" y="358774"/>
                  <a:pt x="165100" y="342033"/>
                  <a:pt x="165100" y="312737"/>
                </a:cubicBezTo>
                <a:cubicBezTo>
                  <a:pt x="165100" y="291810"/>
                  <a:pt x="148637" y="266699"/>
                  <a:pt x="111595" y="266699"/>
                </a:cubicBezTo>
                <a:cubicBezTo>
                  <a:pt x="91017" y="266699"/>
                  <a:pt x="91017" y="266699"/>
                  <a:pt x="91017" y="266699"/>
                </a:cubicBezTo>
                <a:cubicBezTo>
                  <a:pt x="70438" y="266699"/>
                  <a:pt x="62207" y="266699"/>
                  <a:pt x="53975" y="266699"/>
                </a:cubicBezTo>
                <a:close/>
                <a:moveTo>
                  <a:pt x="546894" y="250824"/>
                </a:moveTo>
                <a:cubicBezTo>
                  <a:pt x="546894" y="250824"/>
                  <a:pt x="551050" y="250824"/>
                  <a:pt x="551050" y="250824"/>
                </a:cubicBezTo>
                <a:cubicBezTo>
                  <a:pt x="555205" y="254980"/>
                  <a:pt x="555205" y="254980"/>
                  <a:pt x="555205" y="259135"/>
                </a:cubicBezTo>
                <a:cubicBezTo>
                  <a:pt x="555205" y="304846"/>
                  <a:pt x="555205" y="304846"/>
                  <a:pt x="555205" y="304846"/>
                </a:cubicBezTo>
                <a:cubicBezTo>
                  <a:pt x="609227" y="304846"/>
                  <a:pt x="609227" y="304846"/>
                  <a:pt x="609227" y="304846"/>
                </a:cubicBezTo>
                <a:cubicBezTo>
                  <a:pt x="613383" y="304846"/>
                  <a:pt x="617538" y="304846"/>
                  <a:pt x="617538" y="313157"/>
                </a:cubicBezTo>
                <a:cubicBezTo>
                  <a:pt x="617538" y="342245"/>
                  <a:pt x="617538" y="342245"/>
                  <a:pt x="617538" y="342245"/>
                </a:cubicBezTo>
                <a:cubicBezTo>
                  <a:pt x="617538" y="346401"/>
                  <a:pt x="613383" y="350556"/>
                  <a:pt x="609227" y="350556"/>
                </a:cubicBezTo>
                <a:cubicBezTo>
                  <a:pt x="555205" y="350556"/>
                  <a:pt x="555205" y="350556"/>
                  <a:pt x="555205" y="350556"/>
                </a:cubicBezTo>
                <a:cubicBezTo>
                  <a:pt x="555205" y="441978"/>
                  <a:pt x="555205" y="441978"/>
                  <a:pt x="555205" y="441978"/>
                </a:cubicBezTo>
                <a:cubicBezTo>
                  <a:pt x="555205" y="475222"/>
                  <a:pt x="555205" y="483533"/>
                  <a:pt x="580138" y="483533"/>
                </a:cubicBezTo>
                <a:cubicBezTo>
                  <a:pt x="588449" y="483533"/>
                  <a:pt x="600916" y="483533"/>
                  <a:pt x="609227" y="483533"/>
                </a:cubicBezTo>
                <a:cubicBezTo>
                  <a:pt x="613383" y="483533"/>
                  <a:pt x="617538" y="487688"/>
                  <a:pt x="617538" y="491844"/>
                </a:cubicBezTo>
                <a:cubicBezTo>
                  <a:pt x="617538" y="520932"/>
                  <a:pt x="617538" y="520932"/>
                  <a:pt x="617538" y="520932"/>
                </a:cubicBezTo>
                <a:cubicBezTo>
                  <a:pt x="617538" y="525088"/>
                  <a:pt x="613383" y="529244"/>
                  <a:pt x="609227" y="529244"/>
                </a:cubicBezTo>
                <a:cubicBezTo>
                  <a:pt x="596760" y="529244"/>
                  <a:pt x="584294" y="533399"/>
                  <a:pt x="571827" y="533399"/>
                </a:cubicBezTo>
                <a:cubicBezTo>
                  <a:pt x="521961" y="533399"/>
                  <a:pt x="505339" y="512621"/>
                  <a:pt x="505339" y="450289"/>
                </a:cubicBezTo>
                <a:cubicBezTo>
                  <a:pt x="505339" y="350556"/>
                  <a:pt x="505339" y="350556"/>
                  <a:pt x="505339" y="350556"/>
                </a:cubicBezTo>
                <a:cubicBezTo>
                  <a:pt x="484561" y="350556"/>
                  <a:pt x="484561" y="350556"/>
                  <a:pt x="484561" y="350556"/>
                </a:cubicBezTo>
                <a:cubicBezTo>
                  <a:pt x="480406" y="350556"/>
                  <a:pt x="476250" y="346401"/>
                  <a:pt x="476250" y="342245"/>
                </a:cubicBezTo>
                <a:cubicBezTo>
                  <a:pt x="476250" y="313157"/>
                  <a:pt x="476250" y="313157"/>
                  <a:pt x="476250" y="313157"/>
                </a:cubicBezTo>
                <a:cubicBezTo>
                  <a:pt x="476250" y="304846"/>
                  <a:pt x="480406" y="304846"/>
                  <a:pt x="484561" y="304846"/>
                </a:cubicBezTo>
                <a:cubicBezTo>
                  <a:pt x="505339" y="304846"/>
                  <a:pt x="505339" y="304846"/>
                  <a:pt x="505339" y="304846"/>
                </a:cubicBezTo>
                <a:cubicBezTo>
                  <a:pt x="505339" y="267446"/>
                  <a:pt x="505339" y="267446"/>
                  <a:pt x="505339" y="267446"/>
                </a:cubicBezTo>
                <a:cubicBezTo>
                  <a:pt x="505339" y="263291"/>
                  <a:pt x="505339" y="259135"/>
                  <a:pt x="509494" y="259135"/>
                </a:cubicBezTo>
                <a:cubicBezTo>
                  <a:pt x="546894" y="250824"/>
                  <a:pt x="546894" y="250824"/>
                  <a:pt x="546894" y="250824"/>
                </a:cubicBezTo>
                <a:close/>
                <a:moveTo>
                  <a:pt x="103337" y="217487"/>
                </a:moveTo>
                <a:cubicBezTo>
                  <a:pt x="107471" y="217487"/>
                  <a:pt x="111604" y="217487"/>
                  <a:pt x="111604" y="217487"/>
                </a:cubicBezTo>
                <a:cubicBezTo>
                  <a:pt x="198408" y="217487"/>
                  <a:pt x="219075" y="267271"/>
                  <a:pt x="219075" y="312906"/>
                </a:cubicBezTo>
                <a:cubicBezTo>
                  <a:pt x="219075" y="350244"/>
                  <a:pt x="202541" y="375136"/>
                  <a:pt x="165340" y="391731"/>
                </a:cubicBezTo>
                <a:lnTo>
                  <a:pt x="219075" y="516191"/>
                </a:lnTo>
                <a:cubicBezTo>
                  <a:pt x="219075" y="520340"/>
                  <a:pt x="219075" y="520340"/>
                  <a:pt x="219075" y="524488"/>
                </a:cubicBezTo>
                <a:cubicBezTo>
                  <a:pt x="219075" y="524488"/>
                  <a:pt x="214942" y="528637"/>
                  <a:pt x="210808" y="528637"/>
                </a:cubicBezTo>
                <a:cubicBezTo>
                  <a:pt x="173607" y="528637"/>
                  <a:pt x="173607" y="528637"/>
                  <a:pt x="173607" y="528637"/>
                </a:cubicBezTo>
                <a:cubicBezTo>
                  <a:pt x="169473" y="528637"/>
                  <a:pt x="165340" y="524488"/>
                  <a:pt x="165340" y="524488"/>
                </a:cubicBezTo>
                <a:cubicBezTo>
                  <a:pt x="111604" y="408326"/>
                  <a:pt x="111604" y="408326"/>
                  <a:pt x="111604" y="408326"/>
                </a:cubicBezTo>
                <a:cubicBezTo>
                  <a:pt x="86803" y="408326"/>
                  <a:pt x="66136" y="408326"/>
                  <a:pt x="53736" y="404177"/>
                </a:cubicBezTo>
                <a:cubicBezTo>
                  <a:pt x="53736" y="520340"/>
                  <a:pt x="53736" y="520340"/>
                  <a:pt x="53736" y="520340"/>
                </a:cubicBezTo>
                <a:cubicBezTo>
                  <a:pt x="53736" y="524488"/>
                  <a:pt x="49602" y="528637"/>
                  <a:pt x="45469" y="528637"/>
                </a:cubicBezTo>
                <a:cubicBezTo>
                  <a:pt x="8267" y="528637"/>
                  <a:pt x="8267" y="528637"/>
                  <a:pt x="8267" y="528637"/>
                </a:cubicBezTo>
                <a:cubicBezTo>
                  <a:pt x="4134" y="528637"/>
                  <a:pt x="0" y="524488"/>
                  <a:pt x="0" y="520340"/>
                </a:cubicBezTo>
                <a:cubicBezTo>
                  <a:pt x="0" y="229933"/>
                  <a:pt x="0" y="229933"/>
                  <a:pt x="0" y="229933"/>
                </a:cubicBezTo>
                <a:cubicBezTo>
                  <a:pt x="0" y="225784"/>
                  <a:pt x="4134" y="221636"/>
                  <a:pt x="8267" y="221636"/>
                </a:cubicBezTo>
                <a:cubicBezTo>
                  <a:pt x="53736" y="217487"/>
                  <a:pt x="90937" y="217487"/>
                  <a:pt x="103337" y="217487"/>
                </a:cubicBezTo>
                <a:close/>
                <a:moveTo>
                  <a:pt x="1941299" y="180951"/>
                </a:moveTo>
                <a:cubicBezTo>
                  <a:pt x="1938725" y="180430"/>
                  <a:pt x="1936665" y="181472"/>
                  <a:pt x="1936665" y="183555"/>
                </a:cubicBezTo>
                <a:cubicBezTo>
                  <a:pt x="1903714" y="221060"/>
                  <a:pt x="1903714" y="221060"/>
                  <a:pt x="1903714" y="221060"/>
                </a:cubicBezTo>
                <a:cubicBezTo>
                  <a:pt x="1895476" y="225227"/>
                  <a:pt x="1895476" y="233562"/>
                  <a:pt x="1903714" y="237729"/>
                </a:cubicBezTo>
                <a:cubicBezTo>
                  <a:pt x="1953141" y="291902"/>
                  <a:pt x="1973736" y="362745"/>
                  <a:pt x="1957260" y="450256"/>
                </a:cubicBezTo>
                <a:cubicBezTo>
                  <a:pt x="1957260" y="458590"/>
                  <a:pt x="1961379" y="462757"/>
                  <a:pt x="1965498" y="462757"/>
                </a:cubicBezTo>
                <a:cubicBezTo>
                  <a:pt x="2010806" y="475259"/>
                  <a:pt x="2010806" y="475259"/>
                  <a:pt x="2010806" y="475259"/>
                </a:cubicBezTo>
                <a:cubicBezTo>
                  <a:pt x="2019044" y="479426"/>
                  <a:pt x="2023163" y="475259"/>
                  <a:pt x="2023163" y="471092"/>
                </a:cubicBezTo>
                <a:cubicBezTo>
                  <a:pt x="2047876" y="362745"/>
                  <a:pt x="2014925" y="254398"/>
                  <a:pt x="1949022" y="187722"/>
                </a:cubicBezTo>
                <a:cubicBezTo>
                  <a:pt x="1946963" y="183555"/>
                  <a:pt x="1943873" y="181472"/>
                  <a:pt x="1941299" y="180951"/>
                </a:cubicBezTo>
                <a:close/>
                <a:moveTo>
                  <a:pt x="1491989" y="180951"/>
                </a:moveTo>
                <a:cubicBezTo>
                  <a:pt x="1489388" y="181472"/>
                  <a:pt x="1486266" y="183555"/>
                  <a:pt x="1484185" y="187722"/>
                </a:cubicBezTo>
                <a:cubicBezTo>
                  <a:pt x="1417596" y="254398"/>
                  <a:pt x="1384301" y="362745"/>
                  <a:pt x="1409272" y="471092"/>
                </a:cubicBezTo>
                <a:cubicBezTo>
                  <a:pt x="1409272" y="475259"/>
                  <a:pt x="1413434" y="479426"/>
                  <a:pt x="1421758" y="475259"/>
                </a:cubicBezTo>
                <a:cubicBezTo>
                  <a:pt x="1467538" y="462757"/>
                  <a:pt x="1467538" y="462757"/>
                  <a:pt x="1467538" y="462757"/>
                </a:cubicBezTo>
                <a:cubicBezTo>
                  <a:pt x="1471700" y="462757"/>
                  <a:pt x="1475862" y="458590"/>
                  <a:pt x="1475862" y="450256"/>
                </a:cubicBezTo>
                <a:cubicBezTo>
                  <a:pt x="1459214" y="362745"/>
                  <a:pt x="1480023" y="291902"/>
                  <a:pt x="1529965" y="237729"/>
                </a:cubicBezTo>
                <a:cubicBezTo>
                  <a:pt x="1538289" y="233562"/>
                  <a:pt x="1538289" y="225227"/>
                  <a:pt x="1534127" y="221060"/>
                </a:cubicBezTo>
                <a:cubicBezTo>
                  <a:pt x="1496671" y="183555"/>
                  <a:pt x="1496671" y="183555"/>
                  <a:pt x="1496671" y="183555"/>
                </a:cubicBezTo>
                <a:cubicBezTo>
                  <a:pt x="1496671" y="181472"/>
                  <a:pt x="1494590" y="180430"/>
                  <a:pt x="1491989" y="180951"/>
                </a:cubicBezTo>
                <a:close/>
                <a:moveTo>
                  <a:pt x="1750379" y="174625"/>
                </a:moveTo>
                <a:cubicBezTo>
                  <a:pt x="1746251" y="178798"/>
                  <a:pt x="1746251" y="182971"/>
                  <a:pt x="1746251" y="187144"/>
                </a:cubicBezTo>
                <a:cubicBezTo>
                  <a:pt x="1754506" y="308156"/>
                  <a:pt x="1754506" y="308156"/>
                  <a:pt x="1754506" y="308156"/>
                </a:cubicBezTo>
                <a:cubicBezTo>
                  <a:pt x="1758634" y="312329"/>
                  <a:pt x="1758634" y="316502"/>
                  <a:pt x="1762761" y="320675"/>
                </a:cubicBezTo>
                <a:cubicBezTo>
                  <a:pt x="1766889" y="320675"/>
                  <a:pt x="1771016" y="320675"/>
                  <a:pt x="1775144" y="320675"/>
                </a:cubicBezTo>
                <a:cubicBezTo>
                  <a:pt x="1882459" y="266428"/>
                  <a:pt x="1882459" y="266428"/>
                  <a:pt x="1882459" y="266428"/>
                </a:cubicBezTo>
                <a:cubicBezTo>
                  <a:pt x="1886587" y="262255"/>
                  <a:pt x="1890714" y="262255"/>
                  <a:pt x="1890714" y="258082"/>
                </a:cubicBezTo>
                <a:cubicBezTo>
                  <a:pt x="1890714" y="253909"/>
                  <a:pt x="1890714" y="253909"/>
                  <a:pt x="1886587" y="249736"/>
                </a:cubicBezTo>
                <a:cubicBezTo>
                  <a:pt x="1849439" y="208008"/>
                  <a:pt x="1812291" y="187144"/>
                  <a:pt x="1758634" y="174625"/>
                </a:cubicBezTo>
                <a:cubicBezTo>
                  <a:pt x="1754506" y="174625"/>
                  <a:pt x="1754506" y="174625"/>
                  <a:pt x="1750379" y="174625"/>
                </a:cubicBezTo>
                <a:close/>
                <a:moveTo>
                  <a:pt x="1675132" y="174625"/>
                </a:moveTo>
                <a:cubicBezTo>
                  <a:pt x="1621474" y="187144"/>
                  <a:pt x="1584326" y="212181"/>
                  <a:pt x="1547179" y="249736"/>
                </a:cubicBezTo>
                <a:cubicBezTo>
                  <a:pt x="1543051" y="253909"/>
                  <a:pt x="1543051" y="258082"/>
                  <a:pt x="1543051" y="258082"/>
                </a:cubicBezTo>
                <a:cubicBezTo>
                  <a:pt x="1543051" y="262255"/>
                  <a:pt x="1547179" y="266428"/>
                  <a:pt x="1551306" y="266428"/>
                </a:cubicBezTo>
                <a:cubicBezTo>
                  <a:pt x="1658622" y="320675"/>
                  <a:pt x="1658622" y="320675"/>
                  <a:pt x="1658622" y="320675"/>
                </a:cubicBezTo>
                <a:cubicBezTo>
                  <a:pt x="1662749" y="320675"/>
                  <a:pt x="1666877" y="320675"/>
                  <a:pt x="1671004" y="320675"/>
                </a:cubicBezTo>
                <a:cubicBezTo>
                  <a:pt x="1675132" y="320675"/>
                  <a:pt x="1675132" y="316502"/>
                  <a:pt x="1675132" y="312329"/>
                </a:cubicBezTo>
                <a:cubicBezTo>
                  <a:pt x="1687514" y="187144"/>
                  <a:pt x="1687514" y="187144"/>
                  <a:pt x="1687514" y="187144"/>
                </a:cubicBezTo>
                <a:cubicBezTo>
                  <a:pt x="1687514" y="182971"/>
                  <a:pt x="1683387" y="178798"/>
                  <a:pt x="1683387" y="174625"/>
                </a:cubicBezTo>
                <a:cubicBezTo>
                  <a:pt x="1679259" y="174625"/>
                  <a:pt x="1679259" y="174625"/>
                  <a:pt x="1675132" y="174625"/>
                </a:cubicBezTo>
                <a:close/>
                <a:moveTo>
                  <a:pt x="1579247" y="133350"/>
                </a:moveTo>
                <a:cubicBezTo>
                  <a:pt x="1575119" y="137716"/>
                  <a:pt x="1570992" y="137716"/>
                  <a:pt x="1566864" y="142082"/>
                </a:cubicBezTo>
                <a:cubicBezTo>
                  <a:pt x="1570992" y="142082"/>
                  <a:pt x="1570992" y="142082"/>
                  <a:pt x="1570992" y="142082"/>
                </a:cubicBezTo>
                <a:cubicBezTo>
                  <a:pt x="1575119" y="150813"/>
                  <a:pt x="1575119" y="150813"/>
                  <a:pt x="1575119" y="150813"/>
                </a:cubicBezTo>
                <a:cubicBezTo>
                  <a:pt x="1583375" y="146447"/>
                  <a:pt x="1583375" y="146447"/>
                  <a:pt x="1583375" y="146447"/>
                </a:cubicBezTo>
                <a:cubicBezTo>
                  <a:pt x="1587502" y="146447"/>
                  <a:pt x="1587502" y="146447"/>
                  <a:pt x="1587502" y="142082"/>
                </a:cubicBezTo>
                <a:cubicBezTo>
                  <a:pt x="1587502" y="137716"/>
                  <a:pt x="1583375" y="133350"/>
                  <a:pt x="1579247" y="133350"/>
                </a:cubicBezTo>
                <a:close/>
                <a:moveTo>
                  <a:pt x="1575142" y="124846"/>
                </a:moveTo>
                <a:cubicBezTo>
                  <a:pt x="1587729" y="120650"/>
                  <a:pt x="1600315" y="133237"/>
                  <a:pt x="1596120" y="141628"/>
                </a:cubicBezTo>
                <a:cubicBezTo>
                  <a:pt x="1596120" y="145823"/>
                  <a:pt x="1596120" y="145823"/>
                  <a:pt x="1596120" y="145823"/>
                </a:cubicBezTo>
                <a:cubicBezTo>
                  <a:pt x="1612902" y="162606"/>
                  <a:pt x="1612902" y="162606"/>
                  <a:pt x="1612902" y="162606"/>
                </a:cubicBezTo>
                <a:cubicBezTo>
                  <a:pt x="1608707" y="162606"/>
                  <a:pt x="1608707" y="162606"/>
                  <a:pt x="1604511" y="166801"/>
                </a:cubicBezTo>
                <a:cubicBezTo>
                  <a:pt x="1587729" y="154215"/>
                  <a:pt x="1587729" y="154215"/>
                  <a:pt x="1587729" y="154215"/>
                </a:cubicBezTo>
                <a:cubicBezTo>
                  <a:pt x="1579338" y="158410"/>
                  <a:pt x="1579338" y="158410"/>
                  <a:pt x="1579338" y="158410"/>
                </a:cubicBezTo>
                <a:cubicBezTo>
                  <a:pt x="1587729" y="175192"/>
                  <a:pt x="1587729" y="175192"/>
                  <a:pt x="1587729" y="175192"/>
                </a:cubicBezTo>
                <a:cubicBezTo>
                  <a:pt x="1583533" y="175192"/>
                  <a:pt x="1583533" y="179388"/>
                  <a:pt x="1579338" y="179388"/>
                </a:cubicBezTo>
                <a:lnTo>
                  <a:pt x="1558360" y="141628"/>
                </a:lnTo>
                <a:cubicBezTo>
                  <a:pt x="1554164" y="137432"/>
                  <a:pt x="1554164" y="137432"/>
                  <a:pt x="1554164" y="137432"/>
                </a:cubicBezTo>
                <a:cubicBezTo>
                  <a:pt x="1562555" y="133237"/>
                  <a:pt x="1570946" y="129041"/>
                  <a:pt x="1575142" y="124846"/>
                </a:cubicBezTo>
                <a:close/>
                <a:moveTo>
                  <a:pt x="1836161" y="117475"/>
                </a:moveTo>
                <a:cubicBezTo>
                  <a:pt x="1840347" y="117475"/>
                  <a:pt x="1840347" y="117475"/>
                  <a:pt x="1844532" y="121557"/>
                </a:cubicBezTo>
                <a:cubicBezTo>
                  <a:pt x="1844532" y="121557"/>
                  <a:pt x="1844532" y="121557"/>
                  <a:pt x="1848717" y="141968"/>
                </a:cubicBezTo>
                <a:cubicBezTo>
                  <a:pt x="1848717" y="141968"/>
                  <a:pt x="1848717" y="141968"/>
                  <a:pt x="1869644" y="133804"/>
                </a:cubicBezTo>
                <a:cubicBezTo>
                  <a:pt x="1873829" y="133804"/>
                  <a:pt x="1878014" y="137886"/>
                  <a:pt x="1878014" y="137886"/>
                </a:cubicBezTo>
                <a:cubicBezTo>
                  <a:pt x="1878014" y="137886"/>
                  <a:pt x="1878014" y="137886"/>
                  <a:pt x="1848717" y="154214"/>
                </a:cubicBezTo>
                <a:cubicBezTo>
                  <a:pt x="1848717" y="154214"/>
                  <a:pt x="1848717" y="154214"/>
                  <a:pt x="1840347" y="174625"/>
                </a:cubicBezTo>
                <a:lnTo>
                  <a:pt x="1831976" y="166461"/>
                </a:lnTo>
                <a:cubicBezTo>
                  <a:pt x="1831976" y="166461"/>
                  <a:pt x="1831976" y="166461"/>
                  <a:pt x="1840347" y="146050"/>
                </a:cubicBezTo>
                <a:cubicBezTo>
                  <a:pt x="1840347" y="146050"/>
                  <a:pt x="1840347" y="146050"/>
                  <a:pt x="1836161" y="117475"/>
                </a:cubicBezTo>
                <a:close/>
                <a:moveTo>
                  <a:pt x="1794829" y="112713"/>
                </a:moveTo>
                <a:cubicBezTo>
                  <a:pt x="1790701" y="120651"/>
                  <a:pt x="1790701" y="120651"/>
                  <a:pt x="1790701" y="120651"/>
                </a:cubicBezTo>
                <a:lnTo>
                  <a:pt x="1790701" y="124619"/>
                </a:lnTo>
                <a:cubicBezTo>
                  <a:pt x="1803084" y="128588"/>
                  <a:pt x="1803084" y="128588"/>
                  <a:pt x="1803084" y="128588"/>
                </a:cubicBezTo>
                <a:cubicBezTo>
                  <a:pt x="1807212" y="128588"/>
                  <a:pt x="1811339" y="124619"/>
                  <a:pt x="1811339" y="120651"/>
                </a:cubicBezTo>
                <a:cubicBezTo>
                  <a:pt x="1811339" y="116682"/>
                  <a:pt x="1807212" y="116682"/>
                  <a:pt x="1807212" y="116682"/>
                </a:cubicBezTo>
                <a:cubicBezTo>
                  <a:pt x="1803084" y="112713"/>
                  <a:pt x="1798956" y="112713"/>
                  <a:pt x="1794829" y="112713"/>
                </a:cubicBezTo>
                <a:close/>
                <a:moveTo>
                  <a:pt x="1637508" y="112117"/>
                </a:moveTo>
                <a:cubicBezTo>
                  <a:pt x="1629174" y="112117"/>
                  <a:pt x="1620839" y="116285"/>
                  <a:pt x="1620839" y="124619"/>
                </a:cubicBezTo>
                <a:cubicBezTo>
                  <a:pt x="1620839" y="128786"/>
                  <a:pt x="1620839" y="128786"/>
                  <a:pt x="1620839" y="128786"/>
                </a:cubicBezTo>
                <a:cubicBezTo>
                  <a:pt x="1620839" y="137121"/>
                  <a:pt x="1629174" y="141288"/>
                  <a:pt x="1637508" y="141288"/>
                </a:cubicBezTo>
                <a:cubicBezTo>
                  <a:pt x="1645843" y="141288"/>
                  <a:pt x="1654177" y="132954"/>
                  <a:pt x="1654177" y="124619"/>
                </a:cubicBezTo>
                <a:cubicBezTo>
                  <a:pt x="1654177" y="116285"/>
                  <a:pt x="1645843" y="107950"/>
                  <a:pt x="1637508" y="112117"/>
                </a:cubicBezTo>
                <a:close/>
                <a:moveTo>
                  <a:pt x="1741489" y="104775"/>
                </a:moveTo>
                <a:cubicBezTo>
                  <a:pt x="1737520" y="117158"/>
                  <a:pt x="1737520" y="117158"/>
                  <a:pt x="1737520" y="117158"/>
                </a:cubicBezTo>
                <a:lnTo>
                  <a:pt x="1733551" y="125413"/>
                </a:lnTo>
                <a:cubicBezTo>
                  <a:pt x="1737520" y="125413"/>
                  <a:pt x="1745457" y="125413"/>
                  <a:pt x="1749426" y="125413"/>
                </a:cubicBezTo>
                <a:cubicBezTo>
                  <a:pt x="1745457" y="117158"/>
                  <a:pt x="1745457" y="117158"/>
                  <a:pt x="1745457" y="117158"/>
                </a:cubicBezTo>
                <a:cubicBezTo>
                  <a:pt x="1741489" y="104775"/>
                  <a:pt x="1741489" y="104775"/>
                  <a:pt x="1741489" y="104775"/>
                </a:cubicBezTo>
                <a:close/>
                <a:moveTo>
                  <a:pt x="1633407" y="104165"/>
                </a:moveTo>
                <a:cubicBezTo>
                  <a:pt x="1649811" y="100013"/>
                  <a:pt x="1662114" y="112469"/>
                  <a:pt x="1662114" y="124925"/>
                </a:cubicBezTo>
                <a:cubicBezTo>
                  <a:pt x="1662114" y="141532"/>
                  <a:pt x="1653912" y="149836"/>
                  <a:pt x="1637508" y="149836"/>
                </a:cubicBezTo>
                <a:cubicBezTo>
                  <a:pt x="1625204" y="153988"/>
                  <a:pt x="1612901" y="141532"/>
                  <a:pt x="1612901" y="129076"/>
                </a:cubicBezTo>
                <a:cubicBezTo>
                  <a:pt x="1612901" y="129076"/>
                  <a:pt x="1612901" y="129076"/>
                  <a:pt x="1612901" y="124925"/>
                </a:cubicBezTo>
                <a:cubicBezTo>
                  <a:pt x="1612901" y="112469"/>
                  <a:pt x="1621103" y="104165"/>
                  <a:pt x="1633407" y="104165"/>
                </a:cubicBezTo>
                <a:close/>
                <a:moveTo>
                  <a:pt x="1787382" y="100013"/>
                </a:moveTo>
                <a:cubicBezTo>
                  <a:pt x="1795752" y="100013"/>
                  <a:pt x="1804123" y="104209"/>
                  <a:pt x="1812494" y="108404"/>
                </a:cubicBezTo>
                <a:cubicBezTo>
                  <a:pt x="1816679" y="108404"/>
                  <a:pt x="1820864" y="112600"/>
                  <a:pt x="1820864" y="120991"/>
                </a:cubicBezTo>
                <a:cubicBezTo>
                  <a:pt x="1820864" y="125186"/>
                  <a:pt x="1816679" y="133578"/>
                  <a:pt x="1808308" y="137773"/>
                </a:cubicBezTo>
                <a:cubicBezTo>
                  <a:pt x="1812494" y="158751"/>
                  <a:pt x="1812494" y="158751"/>
                  <a:pt x="1812494" y="158751"/>
                </a:cubicBezTo>
                <a:cubicBezTo>
                  <a:pt x="1808308" y="158751"/>
                  <a:pt x="1808308" y="158751"/>
                  <a:pt x="1804123" y="154555"/>
                </a:cubicBezTo>
                <a:cubicBezTo>
                  <a:pt x="1799938" y="133578"/>
                  <a:pt x="1799938" y="133578"/>
                  <a:pt x="1799938" y="133578"/>
                </a:cubicBezTo>
                <a:cubicBezTo>
                  <a:pt x="1791567" y="133578"/>
                  <a:pt x="1791567" y="133578"/>
                  <a:pt x="1791567" y="133578"/>
                </a:cubicBezTo>
                <a:lnTo>
                  <a:pt x="1787382" y="150360"/>
                </a:lnTo>
                <a:cubicBezTo>
                  <a:pt x="1783197" y="150360"/>
                  <a:pt x="1779011" y="150360"/>
                  <a:pt x="1774826" y="146164"/>
                </a:cubicBezTo>
                <a:cubicBezTo>
                  <a:pt x="1783197" y="120991"/>
                  <a:pt x="1783197" y="120991"/>
                  <a:pt x="1783197" y="120991"/>
                </a:cubicBezTo>
                <a:cubicBezTo>
                  <a:pt x="1787382" y="100013"/>
                  <a:pt x="1787382" y="100013"/>
                  <a:pt x="1787382" y="100013"/>
                </a:cubicBezTo>
                <a:close/>
                <a:moveTo>
                  <a:pt x="1737015" y="92075"/>
                </a:moveTo>
                <a:cubicBezTo>
                  <a:pt x="1749571" y="92075"/>
                  <a:pt x="1749571" y="92075"/>
                  <a:pt x="1749571" y="92075"/>
                </a:cubicBezTo>
                <a:cubicBezTo>
                  <a:pt x="1753757" y="116987"/>
                  <a:pt x="1753757" y="116987"/>
                  <a:pt x="1753757" y="116987"/>
                </a:cubicBezTo>
                <a:cubicBezTo>
                  <a:pt x="1762127" y="146050"/>
                  <a:pt x="1762127" y="146050"/>
                  <a:pt x="1762127" y="146050"/>
                </a:cubicBezTo>
                <a:cubicBezTo>
                  <a:pt x="1757942" y="146050"/>
                  <a:pt x="1757942" y="141898"/>
                  <a:pt x="1753757" y="141898"/>
                </a:cubicBezTo>
                <a:cubicBezTo>
                  <a:pt x="1749571" y="133594"/>
                  <a:pt x="1749571" y="133594"/>
                  <a:pt x="1749571" y="133594"/>
                </a:cubicBezTo>
                <a:cubicBezTo>
                  <a:pt x="1741201" y="133594"/>
                  <a:pt x="1737015" y="133594"/>
                  <a:pt x="1728645" y="133594"/>
                </a:cubicBezTo>
                <a:lnTo>
                  <a:pt x="1724460" y="141898"/>
                </a:lnTo>
                <a:cubicBezTo>
                  <a:pt x="1720274" y="141898"/>
                  <a:pt x="1720274" y="141898"/>
                  <a:pt x="1716089" y="141898"/>
                </a:cubicBezTo>
                <a:cubicBezTo>
                  <a:pt x="1728645" y="116987"/>
                  <a:pt x="1728645" y="116987"/>
                  <a:pt x="1728645" y="116987"/>
                </a:cubicBezTo>
                <a:cubicBezTo>
                  <a:pt x="1737015" y="92075"/>
                  <a:pt x="1737015" y="92075"/>
                  <a:pt x="1737015" y="92075"/>
                </a:cubicBezTo>
                <a:close/>
                <a:moveTo>
                  <a:pt x="1712914" y="92075"/>
                </a:moveTo>
                <a:cubicBezTo>
                  <a:pt x="1712914" y="92075"/>
                  <a:pt x="1712914" y="92075"/>
                  <a:pt x="1712914" y="100277"/>
                </a:cubicBezTo>
                <a:cubicBezTo>
                  <a:pt x="1712914" y="100277"/>
                  <a:pt x="1712914" y="100277"/>
                  <a:pt x="1696173" y="100277"/>
                </a:cubicBezTo>
                <a:cubicBezTo>
                  <a:pt x="1696173" y="100277"/>
                  <a:pt x="1696173" y="100277"/>
                  <a:pt x="1700358" y="141288"/>
                </a:cubicBezTo>
                <a:cubicBezTo>
                  <a:pt x="1700358" y="141288"/>
                  <a:pt x="1700358" y="141288"/>
                  <a:pt x="1687802" y="141288"/>
                </a:cubicBezTo>
                <a:cubicBezTo>
                  <a:pt x="1687802" y="141288"/>
                  <a:pt x="1687802" y="141288"/>
                  <a:pt x="1683617" y="100277"/>
                </a:cubicBezTo>
                <a:lnTo>
                  <a:pt x="1666876" y="104378"/>
                </a:lnTo>
                <a:cubicBezTo>
                  <a:pt x="1666876" y="104378"/>
                  <a:pt x="1666876" y="104378"/>
                  <a:pt x="1666876" y="96176"/>
                </a:cubicBezTo>
                <a:cubicBezTo>
                  <a:pt x="1683617" y="92075"/>
                  <a:pt x="1691988" y="92075"/>
                  <a:pt x="1712914" y="92075"/>
                </a:cubicBezTo>
                <a:close/>
                <a:moveTo>
                  <a:pt x="1181630" y="92074"/>
                </a:moveTo>
                <a:cubicBezTo>
                  <a:pt x="1160463" y="92074"/>
                  <a:pt x="1147763" y="112712"/>
                  <a:pt x="1147763" y="133349"/>
                </a:cubicBezTo>
                <a:lnTo>
                  <a:pt x="1211263" y="133349"/>
                </a:lnTo>
                <a:cubicBezTo>
                  <a:pt x="1211263" y="112712"/>
                  <a:pt x="1202796" y="92074"/>
                  <a:pt x="1181630" y="92074"/>
                </a:cubicBezTo>
                <a:close/>
                <a:moveTo>
                  <a:pt x="1716089" y="84138"/>
                </a:moveTo>
                <a:cubicBezTo>
                  <a:pt x="1641444" y="84138"/>
                  <a:pt x="1575093" y="108903"/>
                  <a:pt x="1521183" y="150178"/>
                </a:cubicBezTo>
                <a:cubicBezTo>
                  <a:pt x="1512889" y="158433"/>
                  <a:pt x="1512889" y="162561"/>
                  <a:pt x="1517036" y="166688"/>
                </a:cubicBezTo>
                <a:cubicBezTo>
                  <a:pt x="1550212" y="203836"/>
                  <a:pt x="1550212" y="203836"/>
                  <a:pt x="1550212" y="203836"/>
                </a:cubicBezTo>
                <a:cubicBezTo>
                  <a:pt x="1554359" y="207963"/>
                  <a:pt x="1558505" y="207963"/>
                  <a:pt x="1566799" y="203836"/>
                </a:cubicBezTo>
                <a:cubicBezTo>
                  <a:pt x="1608269" y="170816"/>
                  <a:pt x="1658032" y="150178"/>
                  <a:pt x="1716089" y="150178"/>
                </a:cubicBezTo>
                <a:cubicBezTo>
                  <a:pt x="1769999" y="150178"/>
                  <a:pt x="1823910" y="170816"/>
                  <a:pt x="1865379" y="203836"/>
                </a:cubicBezTo>
                <a:cubicBezTo>
                  <a:pt x="1873673" y="207963"/>
                  <a:pt x="1877820" y="207963"/>
                  <a:pt x="1881967" y="203836"/>
                </a:cubicBezTo>
                <a:cubicBezTo>
                  <a:pt x="1915142" y="166688"/>
                  <a:pt x="1915142" y="166688"/>
                  <a:pt x="1915142" y="166688"/>
                </a:cubicBezTo>
                <a:cubicBezTo>
                  <a:pt x="1919289" y="162561"/>
                  <a:pt x="1919289" y="158433"/>
                  <a:pt x="1910995" y="150178"/>
                </a:cubicBezTo>
                <a:cubicBezTo>
                  <a:pt x="1857085" y="108903"/>
                  <a:pt x="1790734" y="84138"/>
                  <a:pt x="1716089" y="84138"/>
                </a:cubicBezTo>
                <a:close/>
                <a:moveTo>
                  <a:pt x="1181894" y="84137"/>
                </a:moveTo>
                <a:cubicBezTo>
                  <a:pt x="1214799" y="84137"/>
                  <a:pt x="1227138" y="108970"/>
                  <a:pt x="1227138" y="137942"/>
                </a:cubicBezTo>
                <a:cubicBezTo>
                  <a:pt x="1227138" y="146220"/>
                  <a:pt x="1227138" y="146220"/>
                  <a:pt x="1227138" y="146220"/>
                </a:cubicBezTo>
                <a:cubicBezTo>
                  <a:pt x="1148989" y="146220"/>
                  <a:pt x="1148989" y="146220"/>
                  <a:pt x="1148989" y="146220"/>
                </a:cubicBezTo>
                <a:cubicBezTo>
                  <a:pt x="1148989" y="166914"/>
                  <a:pt x="1161329" y="187608"/>
                  <a:pt x="1186007" y="187608"/>
                </a:cubicBezTo>
                <a:cubicBezTo>
                  <a:pt x="1198346" y="187608"/>
                  <a:pt x="1210686" y="183470"/>
                  <a:pt x="1218912" y="179331"/>
                </a:cubicBezTo>
                <a:lnTo>
                  <a:pt x="1218912" y="191747"/>
                </a:lnTo>
                <a:cubicBezTo>
                  <a:pt x="1210686" y="195886"/>
                  <a:pt x="1194233" y="200025"/>
                  <a:pt x="1186007" y="200025"/>
                </a:cubicBezTo>
                <a:cubicBezTo>
                  <a:pt x="1148989" y="200025"/>
                  <a:pt x="1136650" y="175192"/>
                  <a:pt x="1136650" y="142081"/>
                </a:cubicBezTo>
                <a:cubicBezTo>
                  <a:pt x="1136650" y="104831"/>
                  <a:pt x="1153102" y="84137"/>
                  <a:pt x="1181894" y="84137"/>
                </a:cubicBezTo>
                <a:close/>
                <a:moveTo>
                  <a:pt x="887413" y="41274"/>
                </a:moveTo>
                <a:lnTo>
                  <a:pt x="995363" y="41274"/>
                </a:lnTo>
                <a:lnTo>
                  <a:pt x="995363" y="53974"/>
                </a:lnTo>
                <a:lnTo>
                  <a:pt x="949326" y="53974"/>
                </a:lnTo>
                <a:lnTo>
                  <a:pt x="949326" y="195262"/>
                </a:lnTo>
                <a:lnTo>
                  <a:pt x="933451" y="195262"/>
                </a:lnTo>
                <a:lnTo>
                  <a:pt x="933451" y="53974"/>
                </a:lnTo>
                <a:lnTo>
                  <a:pt x="887413" y="53974"/>
                </a:lnTo>
                <a:close/>
                <a:moveTo>
                  <a:pt x="1020763" y="28574"/>
                </a:moveTo>
                <a:cubicBezTo>
                  <a:pt x="1033010" y="28574"/>
                  <a:pt x="1033010" y="28574"/>
                  <a:pt x="1033010" y="28574"/>
                </a:cubicBezTo>
                <a:cubicBezTo>
                  <a:pt x="1033010" y="103584"/>
                  <a:pt x="1033010" y="103584"/>
                  <a:pt x="1033010" y="103584"/>
                </a:cubicBezTo>
                <a:cubicBezTo>
                  <a:pt x="1041174" y="91082"/>
                  <a:pt x="1053420" y="82748"/>
                  <a:pt x="1069749" y="82748"/>
                </a:cubicBezTo>
                <a:cubicBezTo>
                  <a:pt x="1098324" y="82748"/>
                  <a:pt x="1106488" y="99416"/>
                  <a:pt x="1106488" y="128587"/>
                </a:cubicBezTo>
                <a:cubicBezTo>
                  <a:pt x="1106488" y="195262"/>
                  <a:pt x="1106488" y="195262"/>
                  <a:pt x="1106488" y="195262"/>
                </a:cubicBezTo>
                <a:cubicBezTo>
                  <a:pt x="1090160" y="195262"/>
                  <a:pt x="1090160" y="195262"/>
                  <a:pt x="1090160" y="195262"/>
                </a:cubicBezTo>
                <a:cubicBezTo>
                  <a:pt x="1090160" y="128587"/>
                  <a:pt x="1090160" y="128587"/>
                  <a:pt x="1090160" y="128587"/>
                </a:cubicBezTo>
                <a:cubicBezTo>
                  <a:pt x="1090160" y="107751"/>
                  <a:pt x="1090160" y="91082"/>
                  <a:pt x="1065667" y="91082"/>
                </a:cubicBezTo>
                <a:cubicBezTo>
                  <a:pt x="1041174" y="91082"/>
                  <a:pt x="1033010" y="116085"/>
                  <a:pt x="1033010" y="136921"/>
                </a:cubicBezTo>
                <a:cubicBezTo>
                  <a:pt x="1033010" y="195262"/>
                  <a:pt x="1033010" y="195262"/>
                  <a:pt x="1033010" y="195262"/>
                </a:cubicBezTo>
                <a:cubicBezTo>
                  <a:pt x="1020763" y="195262"/>
                  <a:pt x="1020763" y="195262"/>
                  <a:pt x="1020763" y="195262"/>
                </a:cubicBezTo>
                <a:close/>
                <a:moveTo>
                  <a:pt x="1704456" y="0"/>
                </a:moveTo>
                <a:cubicBezTo>
                  <a:pt x="1712741" y="0"/>
                  <a:pt x="1721026" y="0"/>
                  <a:pt x="1729310" y="0"/>
                </a:cubicBezTo>
                <a:cubicBezTo>
                  <a:pt x="1741737" y="20820"/>
                  <a:pt x="1745880" y="41641"/>
                  <a:pt x="1745880" y="62461"/>
                </a:cubicBezTo>
                <a:cubicBezTo>
                  <a:pt x="1750022" y="62461"/>
                  <a:pt x="1770734" y="66625"/>
                  <a:pt x="1774877" y="66625"/>
                </a:cubicBezTo>
                <a:cubicBezTo>
                  <a:pt x="1779019" y="45805"/>
                  <a:pt x="1791446" y="24984"/>
                  <a:pt x="1803873" y="12492"/>
                </a:cubicBezTo>
                <a:cubicBezTo>
                  <a:pt x="1808016" y="12492"/>
                  <a:pt x="1808016" y="12492"/>
                  <a:pt x="1808016" y="12492"/>
                </a:cubicBezTo>
                <a:cubicBezTo>
                  <a:pt x="1816300" y="12492"/>
                  <a:pt x="1824585" y="16656"/>
                  <a:pt x="1832870" y="16656"/>
                </a:cubicBezTo>
                <a:cubicBezTo>
                  <a:pt x="1832870" y="20820"/>
                  <a:pt x="1832870" y="20820"/>
                  <a:pt x="1832870" y="20820"/>
                </a:cubicBezTo>
                <a:cubicBezTo>
                  <a:pt x="1837012" y="29149"/>
                  <a:pt x="1837012" y="37477"/>
                  <a:pt x="1837012" y="49969"/>
                </a:cubicBezTo>
                <a:cubicBezTo>
                  <a:pt x="1837012" y="62461"/>
                  <a:pt x="1837012" y="70789"/>
                  <a:pt x="1832870" y="83282"/>
                </a:cubicBezTo>
                <a:cubicBezTo>
                  <a:pt x="1837012" y="83282"/>
                  <a:pt x="1853582" y="91610"/>
                  <a:pt x="1857724" y="91610"/>
                </a:cubicBezTo>
                <a:cubicBezTo>
                  <a:pt x="1870151" y="74953"/>
                  <a:pt x="1886721" y="58297"/>
                  <a:pt x="1903291" y="49969"/>
                </a:cubicBezTo>
                <a:cubicBezTo>
                  <a:pt x="1911575" y="49969"/>
                  <a:pt x="1919860" y="58297"/>
                  <a:pt x="1928145" y="62461"/>
                </a:cubicBezTo>
                <a:cubicBezTo>
                  <a:pt x="1928145" y="83282"/>
                  <a:pt x="1919860" y="104102"/>
                  <a:pt x="1911575" y="124922"/>
                </a:cubicBezTo>
                <a:cubicBezTo>
                  <a:pt x="1911575" y="124922"/>
                  <a:pt x="1928145" y="137414"/>
                  <a:pt x="1932287" y="141579"/>
                </a:cubicBezTo>
                <a:cubicBezTo>
                  <a:pt x="1948857" y="124922"/>
                  <a:pt x="1965426" y="112430"/>
                  <a:pt x="1986138" y="108266"/>
                </a:cubicBezTo>
                <a:cubicBezTo>
                  <a:pt x="1994423" y="112430"/>
                  <a:pt x="2002708" y="120758"/>
                  <a:pt x="2006850" y="129086"/>
                </a:cubicBezTo>
                <a:cubicBezTo>
                  <a:pt x="2002708" y="149907"/>
                  <a:pt x="1990281" y="166563"/>
                  <a:pt x="1973711" y="183219"/>
                </a:cubicBezTo>
                <a:cubicBezTo>
                  <a:pt x="1977853" y="187383"/>
                  <a:pt x="1990281" y="204040"/>
                  <a:pt x="1990281" y="204040"/>
                </a:cubicBezTo>
                <a:cubicBezTo>
                  <a:pt x="2010993" y="195711"/>
                  <a:pt x="2031705" y="187383"/>
                  <a:pt x="2052416" y="187383"/>
                </a:cubicBezTo>
                <a:cubicBezTo>
                  <a:pt x="2052416" y="191547"/>
                  <a:pt x="2052416" y="191547"/>
                  <a:pt x="2052416" y="191547"/>
                </a:cubicBezTo>
                <a:cubicBezTo>
                  <a:pt x="2056559" y="195711"/>
                  <a:pt x="2064844" y="204040"/>
                  <a:pt x="2064844" y="212368"/>
                </a:cubicBezTo>
                <a:cubicBezTo>
                  <a:pt x="2056559" y="233188"/>
                  <a:pt x="2039989" y="245680"/>
                  <a:pt x="2023420" y="258173"/>
                </a:cubicBezTo>
                <a:cubicBezTo>
                  <a:pt x="2023420" y="262337"/>
                  <a:pt x="2031705" y="278993"/>
                  <a:pt x="2031705" y="283157"/>
                </a:cubicBezTo>
                <a:cubicBezTo>
                  <a:pt x="2052416" y="278993"/>
                  <a:pt x="2073128" y="278993"/>
                  <a:pt x="2093840" y="283157"/>
                </a:cubicBezTo>
                <a:cubicBezTo>
                  <a:pt x="2097983" y="291485"/>
                  <a:pt x="2102125" y="299813"/>
                  <a:pt x="2102125" y="308141"/>
                </a:cubicBezTo>
                <a:cubicBezTo>
                  <a:pt x="2102125" y="312306"/>
                  <a:pt x="2102125" y="312306"/>
                  <a:pt x="2102125" y="312306"/>
                </a:cubicBezTo>
                <a:cubicBezTo>
                  <a:pt x="2089698" y="324798"/>
                  <a:pt x="2068986" y="337290"/>
                  <a:pt x="2048274" y="341454"/>
                </a:cubicBezTo>
                <a:cubicBezTo>
                  <a:pt x="2048274" y="345618"/>
                  <a:pt x="2052416" y="366438"/>
                  <a:pt x="2052416" y="366438"/>
                </a:cubicBezTo>
                <a:cubicBezTo>
                  <a:pt x="2073128" y="366438"/>
                  <a:pt x="2093840" y="374767"/>
                  <a:pt x="2110410" y="383095"/>
                </a:cubicBezTo>
                <a:cubicBezTo>
                  <a:pt x="2110410" y="387259"/>
                  <a:pt x="2110410" y="387259"/>
                  <a:pt x="2110410" y="387259"/>
                </a:cubicBezTo>
                <a:cubicBezTo>
                  <a:pt x="2114552" y="391423"/>
                  <a:pt x="2114552" y="395587"/>
                  <a:pt x="2114552" y="399751"/>
                </a:cubicBezTo>
                <a:cubicBezTo>
                  <a:pt x="2114552" y="403915"/>
                  <a:pt x="2114552" y="408079"/>
                  <a:pt x="2110410" y="412243"/>
                </a:cubicBezTo>
                <a:cubicBezTo>
                  <a:pt x="2093840" y="424736"/>
                  <a:pt x="2073128" y="428900"/>
                  <a:pt x="2052416" y="428900"/>
                </a:cubicBezTo>
                <a:cubicBezTo>
                  <a:pt x="2048274" y="433064"/>
                  <a:pt x="2048274" y="453884"/>
                  <a:pt x="2048274" y="453884"/>
                </a:cubicBezTo>
                <a:cubicBezTo>
                  <a:pt x="2068986" y="462212"/>
                  <a:pt x="2085556" y="470540"/>
                  <a:pt x="2102125" y="487197"/>
                </a:cubicBezTo>
                <a:cubicBezTo>
                  <a:pt x="2102125" y="495525"/>
                  <a:pt x="2097983" y="508017"/>
                  <a:pt x="2093840" y="512181"/>
                </a:cubicBezTo>
                <a:cubicBezTo>
                  <a:pt x="2093840" y="516345"/>
                  <a:pt x="2093840" y="516345"/>
                  <a:pt x="2093840" y="516345"/>
                </a:cubicBezTo>
                <a:cubicBezTo>
                  <a:pt x="2073128" y="520509"/>
                  <a:pt x="2052416" y="520509"/>
                  <a:pt x="2031705" y="516345"/>
                </a:cubicBezTo>
                <a:cubicBezTo>
                  <a:pt x="2031705" y="516345"/>
                  <a:pt x="2023420" y="537165"/>
                  <a:pt x="2023420" y="537165"/>
                </a:cubicBezTo>
                <a:cubicBezTo>
                  <a:pt x="2039989" y="549658"/>
                  <a:pt x="2056559" y="566314"/>
                  <a:pt x="2064844" y="582970"/>
                </a:cubicBezTo>
                <a:cubicBezTo>
                  <a:pt x="2064844" y="587134"/>
                  <a:pt x="2064844" y="587134"/>
                  <a:pt x="2064844" y="587134"/>
                </a:cubicBezTo>
                <a:cubicBezTo>
                  <a:pt x="2060701" y="591298"/>
                  <a:pt x="2056559" y="599627"/>
                  <a:pt x="2052416" y="607955"/>
                </a:cubicBezTo>
                <a:cubicBezTo>
                  <a:pt x="2031705" y="607955"/>
                  <a:pt x="2010993" y="603791"/>
                  <a:pt x="1990281" y="591298"/>
                </a:cubicBezTo>
                <a:cubicBezTo>
                  <a:pt x="1990281" y="595463"/>
                  <a:pt x="1977853" y="612119"/>
                  <a:pt x="1973711" y="612119"/>
                </a:cubicBezTo>
                <a:cubicBezTo>
                  <a:pt x="1990281" y="628775"/>
                  <a:pt x="2002708" y="649595"/>
                  <a:pt x="2006850" y="666252"/>
                </a:cubicBezTo>
                <a:cubicBezTo>
                  <a:pt x="2006850" y="670416"/>
                  <a:pt x="2006850" y="670416"/>
                  <a:pt x="2006850" y="670416"/>
                </a:cubicBezTo>
                <a:cubicBezTo>
                  <a:pt x="2002708" y="674580"/>
                  <a:pt x="1994423" y="682908"/>
                  <a:pt x="1986138" y="687072"/>
                </a:cubicBezTo>
                <a:cubicBezTo>
                  <a:pt x="1965426" y="682908"/>
                  <a:pt x="1944714" y="670416"/>
                  <a:pt x="1932287" y="657924"/>
                </a:cubicBezTo>
                <a:cubicBezTo>
                  <a:pt x="1928145" y="657924"/>
                  <a:pt x="1911575" y="670416"/>
                  <a:pt x="1911575" y="674580"/>
                </a:cubicBezTo>
                <a:cubicBezTo>
                  <a:pt x="1919860" y="691236"/>
                  <a:pt x="1928145" y="712057"/>
                  <a:pt x="1928145" y="732877"/>
                </a:cubicBezTo>
                <a:cubicBezTo>
                  <a:pt x="1928145" y="732877"/>
                  <a:pt x="1928145" y="737041"/>
                  <a:pt x="1928145" y="737041"/>
                </a:cubicBezTo>
                <a:cubicBezTo>
                  <a:pt x="1924002" y="737041"/>
                  <a:pt x="1924002" y="737041"/>
                  <a:pt x="1924002" y="737041"/>
                </a:cubicBezTo>
                <a:cubicBezTo>
                  <a:pt x="1919860" y="741205"/>
                  <a:pt x="1911575" y="745369"/>
                  <a:pt x="1903291" y="749533"/>
                </a:cubicBezTo>
                <a:cubicBezTo>
                  <a:pt x="1882579" y="737041"/>
                  <a:pt x="1870151" y="724549"/>
                  <a:pt x="1857724" y="703728"/>
                </a:cubicBezTo>
                <a:cubicBezTo>
                  <a:pt x="1853582" y="703728"/>
                  <a:pt x="1837012" y="712057"/>
                  <a:pt x="1832870" y="716221"/>
                </a:cubicBezTo>
                <a:cubicBezTo>
                  <a:pt x="1837012" y="724549"/>
                  <a:pt x="1837012" y="737041"/>
                  <a:pt x="1837012" y="745369"/>
                </a:cubicBezTo>
                <a:cubicBezTo>
                  <a:pt x="1837012" y="757861"/>
                  <a:pt x="1837012" y="766190"/>
                  <a:pt x="1832870" y="778682"/>
                </a:cubicBezTo>
                <a:cubicBezTo>
                  <a:pt x="1824585" y="782846"/>
                  <a:pt x="1816300" y="782846"/>
                  <a:pt x="1808016" y="787010"/>
                </a:cubicBezTo>
                <a:cubicBezTo>
                  <a:pt x="1803873" y="787010"/>
                  <a:pt x="1803873" y="787010"/>
                  <a:pt x="1803873" y="787010"/>
                </a:cubicBezTo>
                <a:cubicBezTo>
                  <a:pt x="1791446" y="770354"/>
                  <a:pt x="1779019" y="749533"/>
                  <a:pt x="1774877" y="732877"/>
                </a:cubicBezTo>
                <a:cubicBezTo>
                  <a:pt x="1770734" y="732877"/>
                  <a:pt x="1750022" y="732877"/>
                  <a:pt x="1750022" y="732877"/>
                </a:cubicBezTo>
                <a:cubicBezTo>
                  <a:pt x="1750022" y="757861"/>
                  <a:pt x="1741737" y="778682"/>
                  <a:pt x="1733453" y="795338"/>
                </a:cubicBezTo>
                <a:cubicBezTo>
                  <a:pt x="1729310" y="795338"/>
                  <a:pt x="1729310" y="795338"/>
                  <a:pt x="1729310" y="795338"/>
                </a:cubicBezTo>
                <a:cubicBezTo>
                  <a:pt x="1725168" y="795338"/>
                  <a:pt x="1712741" y="795338"/>
                  <a:pt x="1704456" y="795338"/>
                </a:cubicBezTo>
                <a:cubicBezTo>
                  <a:pt x="1692029" y="778682"/>
                  <a:pt x="1687886" y="757861"/>
                  <a:pt x="1687886" y="732877"/>
                </a:cubicBezTo>
                <a:cubicBezTo>
                  <a:pt x="1683744" y="732877"/>
                  <a:pt x="1663032" y="732877"/>
                  <a:pt x="1658890" y="732877"/>
                </a:cubicBezTo>
                <a:cubicBezTo>
                  <a:pt x="1654747" y="749533"/>
                  <a:pt x="1642320" y="770354"/>
                  <a:pt x="1629893" y="787010"/>
                </a:cubicBezTo>
                <a:cubicBezTo>
                  <a:pt x="1625751" y="787010"/>
                  <a:pt x="1625751" y="787010"/>
                  <a:pt x="1625751" y="787010"/>
                </a:cubicBezTo>
                <a:cubicBezTo>
                  <a:pt x="1617466" y="782846"/>
                  <a:pt x="1609181" y="782846"/>
                  <a:pt x="1600896" y="778682"/>
                </a:cubicBezTo>
                <a:cubicBezTo>
                  <a:pt x="1596754" y="766190"/>
                  <a:pt x="1596754" y="757861"/>
                  <a:pt x="1596754" y="745369"/>
                </a:cubicBezTo>
                <a:cubicBezTo>
                  <a:pt x="1596754" y="737041"/>
                  <a:pt x="1596754" y="724549"/>
                  <a:pt x="1600896" y="716221"/>
                </a:cubicBezTo>
                <a:cubicBezTo>
                  <a:pt x="1596754" y="712057"/>
                  <a:pt x="1580184" y="707892"/>
                  <a:pt x="1576042" y="703728"/>
                </a:cubicBezTo>
                <a:cubicBezTo>
                  <a:pt x="1567757" y="724549"/>
                  <a:pt x="1551188" y="741205"/>
                  <a:pt x="1534618" y="749533"/>
                </a:cubicBezTo>
                <a:cubicBezTo>
                  <a:pt x="1530476" y="749533"/>
                  <a:pt x="1530476" y="749533"/>
                  <a:pt x="1530476" y="749533"/>
                </a:cubicBezTo>
                <a:cubicBezTo>
                  <a:pt x="1522191" y="745369"/>
                  <a:pt x="1513906" y="741205"/>
                  <a:pt x="1509764" y="737041"/>
                </a:cubicBezTo>
                <a:cubicBezTo>
                  <a:pt x="1509764" y="737041"/>
                  <a:pt x="1509764" y="732877"/>
                  <a:pt x="1509764" y="732877"/>
                </a:cubicBezTo>
                <a:cubicBezTo>
                  <a:pt x="1509764" y="716221"/>
                  <a:pt x="1513906" y="691236"/>
                  <a:pt x="1522191" y="674580"/>
                </a:cubicBezTo>
                <a:cubicBezTo>
                  <a:pt x="1522191" y="674580"/>
                  <a:pt x="1505621" y="657924"/>
                  <a:pt x="1501479" y="657924"/>
                </a:cubicBezTo>
                <a:cubicBezTo>
                  <a:pt x="1489052" y="674580"/>
                  <a:pt x="1468340" y="682908"/>
                  <a:pt x="1447628" y="687072"/>
                </a:cubicBezTo>
                <a:cubicBezTo>
                  <a:pt x="1439343" y="682908"/>
                  <a:pt x="1435201" y="674580"/>
                  <a:pt x="1426916" y="670416"/>
                </a:cubicBezTo>
                <a:cubicBezTo>
                  <a:pt x="1435201" y="649595"/>
                  <a:pt x="1443486" y="628775"/>
                  <a:pt x="1460055" y="616283"/>
                </a:cubicBezTo>
                <a:cubicBezTo>
                  <a:pt x="1455913" y="612119"/>
                  <a:pt x="1443486" y="595463"/>
                  <a:pt x="1443486" y="591298"/>
                </a:cubicBezTo>
                <a:cubicBezTo>
                  <a:pt x="1422774" y="603791"/>
                  <a:pt x="1402062" y="607955"/>
                  <a:pt x="1381350" y="607955"/>
                </a:cubicBezTo>
                <a:cubicBezTo>
                  <a:pt x="1377208" y="603791"/>
                  <a:pt x="1373065" y="591298"/>
                  <a:pt x="1368923" y="587134"/>
                </a:cubicBezTo>
                <a:cubicBezTo>
                  <a:pt x="1368923" y="582970"/>
                  <a:pt x="1368923" y="582970"/>
                  <a:pt x="1368923" y="582970"/>
                </a:cubicBezTo>
                <a:cubicBezTo>
                  <a:pt x="1377208" y="566314"/>
                  <a:pt x="1393777" y="549658"/>
                  <a:pt x="1414489" y="541330"/>
                </a:cubicBezTo>
                <a:cubicBezTo>
                  <a:pt x="1410347" y="537165"/>
                  <a:pt x="1402062" y="516345"/>
                  <a:pt x="1402062" y="516345"/>
                </a:cubicBezTo>
                <a:cubicBezTo>
                  <a:pt x="1381350" y="520509"/>
                  <a:pt x="1360638" y="520509"/>
                  <a:pt x="1339926" y="516345"/>
                </a:cubicBezTo>
                <a:cubicBezTo>
                  <a:pt x="1335784" y="508017"/>
                  <a:pt x="1331641" y="495525"/>
                  <a:pt x="1331641" y="491361"/>
                </a:cubicBezTo>
                <a:cubicBezTo>
                  <a:pt x="1331641" y="487197"/>
                  <a:pt x="1331641" y="487197"/>
                  <a:pt x="1331641" y="487197"/>
                </a:cubicBezTo>
                <a:cubicBezTo>
                  <a:pt x="1344068" y="474704"/>
                  <a:pt x="1364780" y="462212"/>
                  <a:pt x="1385492" y="453884"/>
                </a:cubicBezTo>
                <a:cubicBezTo>
                  <a:pt x="1385492" y="453884"/>
                  <a:pt x="1381350" y="433064"/>
                  <a:pt x="1381350" y="428900"/>
                </a:cubicBezTo>
                <a:cubicBezTo>
                  <a:pt x="1360638" y="428900"/>
                  <a:pt x="1339926" y="424736"/>
                  <a:pt x="1323357" y="412243"/>
                </a:cubicBezTo>
                <a:cubicBezTo>
                  <a:pt x="1319214" y="412243"/>
                  <a:pt x="1319214" y="412243"/>
                  <a:pt x="1319214" y="412243"/>
                </a:cubicBezTo>
                <a:cubicBezTo>
                  <a:pt x="1319214" y="408079"/>
                  <a:pt x="1319214" y="403915"/>
                  <a:pt x="1319214" y="399751"/>
                </a:cubicBezTo>
                <a:cubicBezTo>
                  <a:pt x="1319214" y="391423"/>
                  <a:pt x="1319214" y="387259"/>
                  <a:pt x="1319214" y="383095"/>
                </a:cubicBezTo>
                <a:cubicBezTo>
                  <a:pt x="1323357" y="383095"/>
                  <a:pt x="1323357" y="383095"/>
                  <a:pt x="1323357" y="383095"/>
                </a:cubicBezTo>
                <a:cubicBezTo>
                  <a:pt x="1339926" y="374767"/>
                  <a:pt x="1360638" y="366438"/>
                  <a:pt x="1381350" y="366438"/>
                </a:cubicBezTo>
                <a:cubicBezTo>
                  <a:pt x="1381350" y="362274"/>
                  <a:pt x="1385492" y="345618"/>
                  <a:pt x="1385492" y="341454"/>
                </a:cubicBezTo>
                <a:cubicBezTo>
                  <a:pt x="1364780" y="333126"/>
                  <a:pt x="1344068" y="324798"/>
                  <a:pt x="1331641" y="308141"/>
                </a:cubicBezTo>
                <a:cubicBezTo>
                  <a:pt x="1331641" y="299813"/>
                  <a:pt x="1335784" y="291485"/>
                  <a:pt x="1339926" y="283157"/>
                </a:cubicBezTo>
                <a:cubicBezTo>
                  <a:pt x="1356496" y="274829"/>
                  <a:pt x="1381350" y="274829"/>
                  <a:pt x="1402062" y="283157"/>
                </a:cubicBezTo>
                <a:cubicBezTo>
                  <a:pt x="1402062" y="278993"/>
                  <a:pt x="1410347" y="262337"/>
                  <a:pt x="1410347" y="258173"/>
                </a:cubicBezTo>
                <a:cubicBezTo>
                  <a:pt x="1393777" y="245680"/>
                  <a:pt x="1377208" y="229024"/>
                  <a:pt x="1368923" y="212368"/>
                </a:cubicBezTo>
                <a:cubicBezTo>
                  <a:pt x="1368923" y="204040"/>
                  <a:pt x="1377208" y="195711"/>
                  <a:pt x="1381350" y="187383"/>
                </a:cubicBezTo>
                <a:cubicBezTo>
                  <a:pt x="1402062" y="187383"/>
                  <a:pt x="1422774" y="195711"/>
                  <a:pt x="1443486" y="204040"/>
                </a:cubicBezTo>
                <a:cubicBezTo>
                  <a:pt x="1443486" y="204040"/>
                  <a:pt x="1455913" y="183219"/>
                  <a:pt x="1460055" y="183219"/>
                </a:cubicBezTo>
                <a:cubicBezTo>
                  <a:pt x="1443486" y="166563"/>
                  <a:pt x="1431059" y="145743"/>
                  <a:pt x="1426916" y="129086"/>
                </a:cubicBezTo>
                <a:cubicBezTo>
                  <a:pt x="1426916" y="124922"/>
                  <a:pt x="1426916" y="124922"/>
                  <a:pt x="1426916" y="124922"/>
                </a:cubicBezTo>
                <a:cubicBezTo>
                  <a:pt x="1431059" y="120758"/>
                  <a:pt x="1439343" y="112430"/>
                  <a:pt x="1447628" y="108266"/>
                </a:cubicBezTo>
                <a:cubicBezTo>
                  <a:pt x="1468340" y="112430"/>
                  <a:pt x="1489052" y="124922"/>
                  <a:pt x="1501479" y="137414"/>
                </a:cubicBezTo>
                <a:cubicBezTo>
                  <a:pt x="1505621" y="137414"/>
                  <a:pt x="1518049" y="124922"/>
                  <a:pt x="1522191" y="124922"/>
                </a:cubicBezTo>
                <a:cubicBezTo>
                  <a:pt x="1509764" y="104102"/>
                  <a:pt x="1505621" y="83282"/>
                  <a:pt x="1505621" y="62461"/>
                </a:cubicBezTo>
                <a:cubicBezTo>
                  <a:pt x="1513906" y="58297"/>
                  <a:pt x="1522191" y="49969"/>
                  <a:pt x="1530476" y="49969"/>
                </a:cubicBezTo>
                <a:cubicBezTo>
                  <a:pt x="1547045" y="58297"/>
                  <a:pt x="1563615" y="74953"/>
                  <a:pt x="1576042" y="91610"/>
                </a:cubicBezTo>
                <a:cubicBezTo>
                  <a:pt x="1576042" y="91610"/>
                  <a:pt x="1596754" y="83282"/>
                  <a:pt x="1600896" y="83282"/>
                </a:cubicBezTo>
                <a:cubicBezTo>
                  <a:pt x="1596754" y="70789"/>
                  <a:pt x="1596754" y="62461"/>
                  <a:pt x="1596754" y="49969"/>
                </a:cubicBezTo>
                <a:cubicBezTo>
                  <a:pt x="1596754" y="37477"/>
                  <a:pt x="1596754" y="29149"/>
                  <a:pt x="1600896" y="20820"/>
                </a:cubicBezTo>
                <a:cubicBezTo>
                  <a:pt x="1600896" y="16656"/>
                  <a:pt x="1600896" y="16656"/>
                  <a:pt x="1600896" y="16656"/>
                </a:cubicBezTo>
                <a:cubicBezTo>
                  <a:pt x="1609181" y="16656"/>
                  <a:pt x="1617466" y="12492"/>
                  <a:pt x="1625751" y="12492"/>
                </a:cubicBezTo>
                <a:cubicBezTo>
                  <a:pt x="1629893" y="12492"/>
                  <a:pt x="1629893" y="12492"/>
                  <a:pt x="1629893" y="12492"/>
                </a:cubicBezTo>
                <a:cubicBezTo>
                  <a:pt x="1642320" y="24984"/>
                  <a:pt x="1654747" y="45805"/>
                  <a:pt x="1658890" y="66625"/>
                </a:cubicBezTo>
                <a:cubicBezTo>
                  <a:pt x="1663032" y="66625"/>
                  <a:pt x="1683744" y="62461"/>
                  <a:pt x="1687886" y="62461"/>
                </a:cubicBezTo>
                <a:cubicBezTo>
                  <a:pt x="1687886" y="41641"/>
                  <a:pt x="1692029" y="20820"/>
                  <a:pt x="1704456" y="0"/>
                </a:cubicBezTo>
                <a:close/>
              </a:path>
            </a:pathLst>
          </a:custGeom>
          <a:solidFill>
            <a:srgbClr val="8BD4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800">
              <a:solidFill>
                <a:schemeClr val="tx1"/>
              </a:solidFill>
            </a:endParaRPr>
          </a:p>
        </p:txBody>
      </p:sp>
      <p:sp>
        <p:nvSpPr>
          <p:cNvPr id="145" name="Freeform: Shape 144" hidden="1">
            <a:extLst>
              <a:ext uri="{FF2B5EF4-FFF2-40B4-BE49-F238E27FC236}">
                <a16:creationId xmlns:a16="http://schemas.microsoft.com/office/drawing/2014/main" id="{1274828A-9669-4F9D-82E2-5BF5C078FD1A}"/>
              </a:ext>
            </a:extLst>
          </p:cNvPr>
          <p:cNvSpPr/>
          <p:nvPr userDrawn="1"/>
        </p:nvSpPr>
        <p:spPr>
          <a:xfrm>
            <a:off x="4889270" y="-1027549"/>
            <a:ext cx="1789604" cy="677148"/>
          </a:xfrm>
          <a:custGeom>
            <a:avLst/>
            <a:gdLst>
              <a:gd name="connsiteX0" fmla="*/ 2068305 w 2114552"/>
              <a:gd name="connsiteY0" fmla="*/ 749732 h 800100"/>
              <a:gd name="connsiteX1" fmla="*/ 2068305 w 2114552"/>
              <a:gd name="connsiteY1" fmla="*/ 761609 h 800100"/>
              <a:gd name="connsiteX2" fmla="*/ 2076013 w 2114552"/>
              <a:gd name="connsiteY2" fmla="*/ 761609 h 800100"/>
              <a:gd name="connsiteX3" fmla="*/ 2083551 w 2114552"/>
              <a:gd name="connsiteY3" fmla="*/ 759961 h 800100"/>
              <a:gd name="connsiteX4" fmla="*/ 2085563 w 2114552"/>
              <a:gd name="connsiteY4" fmla="*/ 755598 h 800100"/>
              <a:gd name="connsiteX5" fmla="*/ 2084594 w 2114552"/>
              <a:gd name="connsiteY5" fmla="*/ 752471 h 800100"/>
              <a:gd name="connsiteX6" fmla="*/ 2081903 w 2114552"/>
              <a:gd name="connsiteY6" fmla="*/ 750411 h 800100"/>
              <a:gd name="connsiteX7" fmla="*/ 2075528 w 2114552"/>
              <a:gd name="connsiteY7" fmla="*/ 749732 h 800100"/>
              <a:gd name="connsiteX8" fmla="*/ 2061954 w 2114552"/>
              <a:gd name="connsiteY8" fmla="*/ 744400 h 800100"/>
              <a:gd name="connsiteX9" fmla="*/ 2075480 w 2114552"/>
              <a:gd name="connsiteY9" fmla="*/ 744400 h 800100"/>
              <a:gd name="connsiteX10" fmla="*/ 2085514 w 2114552"/>
              <a:gd name="connsiteY10" fmla="*/ 745491 h 800100"/>
              <a:gd name="connsiteX11" fmla="*/ 2090459 w 2114552"/>
              <a:gd name="connsiteY11" fmla="*/ 749296 h 800100"/>
              <a:gd name="connsiteX12" fmla="*/ 2092301 w 2114552"/>
              <a:gd name="connsiteY12" fmla="*/ 755065 h 800100"/>
              <a:gd name="connsiteX13" fmla="*/ 2089223 w 2114552"/>
              <a:gd name="connsiteY13" fmla="*/ 762579 h 800100"/>
              <a:gd name="connsiteX14" fmla="*/ 2081055 w 2114552"/>
              <a:gd name="connsiteY14" fmla="*/ 766166 h 800100"/>
              <a:gd name="connsiteX15" fmla="*/ 2084400 w 2114552"/>
              <a:gd name="connsiteY15" fmla="*/ 768251 h 800100"/>
              <a:gd name="connsiteX16" fmla="*/ 2090217 w 2114552"/>
              <a:gd name="connsiteY16" fmla="*/ 776055 h 800100"/>
              <a:gd name="connsiteX17" fmla="*/ 2095016 w 2114552"/>
              <a:gd name="connsiteY17" fmla="*/ 783763 h 800100"/>
              <a:gd name="connsiteX18" fmla="*/ 2087260 w 2114552"/>
              <a:gd name="connsiteY18" fmla="*/ 783763 h 800100"/>
              <a:gd name="connsiteX19" fmla="*/ 2083769 w 2114552"/>
              <a:gd name="connsiteY19" fmla="*/ 777558 h 800100"/>
              <a:gd name="connsiteX20" fmla="*/ 2077128 w 2114552"/>
              <a:gd name="connsiteY20" fmla="*/ 768396 h 800100"/>
              <a:gd name="connsiteX21" fmla="*/ 2072038 w 2114552"/>
              <a:gd name="connsiteY21" fmla="*/ 767039 h 800100"/>
              <a:gd name="connsiteX22" fmla="*/ 2068305 w 2114552"/>
              <a:gd name="connsiteY22" fmla="*/ 767039 h 800100"/>
              <a:gd name="connsiteX23" fmla="*/ 2068305 w 2114552"/>
              <a:gd name="connsiteY23" fmla="*/ 783763 h 800100"/>
              <a:gd name="connsiteX24" fmla="*/ 2061954 w 2114552"/>
              <a:gd name="connsiteY24" fmla="*/ 783763 h 800100"/>
              <a:gd name="connsiteX25" fmla="*/ 834048 w 2114552"/>
              <a:gd name="connsiteY25" fmla="*/ 741362 h 800100"/>
              <a:gd name="connsiteX26" fmla="*/ 784225 w 2114552"/>
              <a:gd name="connsiteY26" fmla="*/ 766474 h 800100"/>
              <a:gd name="connsiteX27" fmla="*/ 804985 w 2114552"/>
              <a:gd name="connsiteY27" fmla="*/ 787400 h 800100"/>
              <a:gd name="connsiteX28" fmla="*/ 838200 w 2114552"/>
              <a:gd name="connsiteY28" fmla="*/ 745547 h 800100"/>
              <a:gd name="connsiteX29" fmla="*/ 838200 w 2114552"/>
              <a:gd name="connsiteY29" fmla="*/ 741362 h 800100"/>
              <a:gd name="connsiteX30" fmla="*/ 834048 w 2114552"/>
              <a:gd name="connsiteY30" fmla="*/ 741362 h 800100"/>
              <a:gd name="connsiteX31" fmla="*/ 2078001 w 2114552"/>
              <a:gd name="connsiteY31" fmla="*/ 733008 h 800100"/>
              <a:gd name="connsiteX32" fmla="*/ 2062997 w 2114552"/>
              <a:gd name="connsiteY32" fmla="*/ 736959 h 800100"/>
              <a:gd name="connsiteX33" fmla="*/ 2051581 w 2114552"/>
              <a:gd name="connsiteY33" fmla="*/ 748254 h 800100"/>
              <a:gd name="connsiteX34" fmla="*/ 2047460 w 2114552"/>
              <a:gd name="connsiteY34" fmla="*/ 763548 h 800100"/>
              <a:gd name="connsiteX35" fmla="*/ 2051508 w 2114552"/>
              <a:gd name="connsiteY35" fmla="*/ 778697 h 800100"/>
              <a:gd name="connsiteX36" fmla="*/ 2062827 w 2114552"/>
              <a:gd name="connsiteY36" fmla="*/ 789993 h 800100"/>
              <a:gd name="connsiteX37" fmla="*/ 2078001 w 2114552"/>
              <a:gd name="connsiteY37" fmla="*/ 794041 h 800100"/>
              <a:gd name="connsiteX38" fmla="*/ 2093174 w 2114552"/>
              <a:gd name="connsiteY38" fmla="*/ 789993 h 800100"/>
              <a:gd name="connsiteX39" fmla="*/ 2104469 w 2114552"/>
              <a:gd name="connsiteY39" fmla="*/ 778697 h 800100"/>
              <a:gd name="connsiteX40" fmla="*/ 2108493 w 2114552"/>
              <a:gd name="connsiteY40" fmla="*/ 763548 h 800100"/>
              <a:gd name="connsiteX41" fmla="*/ 2104397 w 2114552"/>
              <a:gd name="connsiteY41" fmla="*/ 748254 h 800100"/>
              <a:gd name="connsiteX42" fmla="*/ 2092980 w 2114552"/>
              <a:gd name="connsiteY42" fmla="*/ 736959 h 800100"/>
              <a:gd name="connsiteX43" fmla="*/ 2078001 w 2114552"/>
              <a:gd name="connsiteY43" fmla="*/ 733008 h 800100"/>
              <a:gd name="connsiteX44" fmla="*/ 2078001 w 2114552"/>
              <a:gd name="connsiteY44" fmla="*/ 726948 h 800100"/>
              <a:gd name="connsiteX45" fmla="*/ 2095985 w 2114552"/>
              <a:gd name="connsiteY45" fmla="*/ 731675 h 800100"/>
              <a:gd name="connsiteX46" fmla="*/ 2109656 w 2114552"/>
              <a:gd name="connsiteY46" fmla="*/ 745200 h 800100"/>
              <a:gd name="connsiteX47" fmla="*/ 2114552 w 2114552"/>
              <a:gd name="connsiteY47" fmla="*/ 763548 h 800100"/>
              <a:gd name="connsiteX48" fmla="*/ 2109729 w 2114552"/>
              <a:gd name="connsiteY48" fmla="*/ 781727 h 800100"/>
              <a:gd name="connsiteX49" fmla="*/ 2096204 w 2114552"/>
              <a:gd name="connsiteY49" fmla="*/ 795277 h 800100"/>
              <a:gd name="connsiteX50" fmla="*/ 2078001 w 2114552"/>
              <a:gd name="connsiteY50" fmla="*/ 800100 h 800100"/>
              <a:gd name="connsiteX51" fmla="*/ 2059797 w 2114552"/>
              <a:gd name="connsiteY51" fmla="*/ 795277 h 800100"/>
              <a:gd name="connsiteX52" fmla="*/ 2046248 w 2114552"/>
              <a:gd name="connsiteY52" fmla="*/ 781727 h 800100"/>
              <a:gd name="connsiteX53" fmla="*/ 2041400 w 2114552"/>
              <a:gd name="connsiteY53" fmla="*/ 763548 h 800100"/>
              <a:gd name="connsiteX54" fmla="*/ 2046321 w 2114552"/>
              <a:gd name="connsiteY54" fmla="*/ 745200 h 800100"/>
              <a:gd name="connsiteX55" fmla="*/ 2060016 w 2114552"/>
              <a:gd name="connsiteY55" fmla="*/ 731675 h 800100"/>
              <a:gd name="connsiteX56" fmla="*/ 2078001 w 2114552"/>
              <a:gd name="connsiteY56" fmla="*/ 726948 h 800100"/>
              <a:gd name="connsiteX57" fmla="*/ 1058070 w 2114552"/>
              <a:gd name="connsiteY57" fmla="*/ 692149 h 800100"/>
              <a:gd name="connsiteX58" fmla="*/ 1020763 w 2114552"/>
              <a:gd name="connsiteY58" fmla="*/ 739774 h 800100"/>
              <a:gd name="connsiteX59" fmla="*/ 1058070 w 2114552"/>
              <a:gd name="connsiteY59" fmla="*/ 787399 h 800100"/>
              <a:gd name="connsiteX60" fmla="*/ 1095377 w 2114552"/>
              <a:gd name="connsiteY60" fmla="*/ 739774 h 800100"/>
              <a:gd name="connsiteX61" fmla="*/ 1058070 w 2114552"/>
              <a:gd name="connsiteY61" fmla="*/ 692149 h 800100"/>
              <a:gd name="connsiteX62" fmla="*/ 692151 w 2114552"/>
              <a:gd name="connsiteY62" fmla="*/ 692149 h 800100"/>
              <a:gd name="connsiteX63" fmla="*/ 658813 w 2114552"/>
              <a:gd name="connsiteY63" fmla="*/ 739774 h 800100"/>
              <a:gd name="connsiteX64" fmla="*/ 692151 w 2114552"/>
              <a:gd name="connsiteY64" fmla="*/ 787399 h 800100"/>
              <a:gd name="connsiteX65" fmla="*/ 725489 w 2114552"/>
              <a:gd name="connsiteY65" fmla="*/ 739774 h 800100"/>
              <a:gd name="connsiteX66" fmla="*/ 692151 w 2114552"/>
              <a:gd name="connsiteY66" fmla="*/ 692149 h 800100"/>
              <a:gd name="connsiteX67" fmla="*/ 323056 w 2114552"/>
              <a:gd name="connsiteY67" fmla="*/ 692149 h 800100"/>
              <a:gd name="connsiteX68" fmla="*/ 285749 w 2114552"/>
              <a:gd name="connsiteY68" fmla="*/ 739774 h 800100"/>
              <a:gd name="connsiteX69" fmla="*/ 323056 w 2114552"/>
              <a:gd name="connsiteY69" fmla="*/ 787399 h 800100"/>
              <a:gd name="connsiteX70" fmla="*/ 360363 w 2114552"/>
              <a:gd name="connsiteY70" fmla="*/ 739774 h 800100"/>
              <a:gd name="connsiteX71" fmla="*/ 323056 w 2114552"/>
              <a:gd name="connsiteY71" fmla="*/ 692149 h 800100"/>
              <a:gd name="connsiteX72" fmla="*/ 966943 w 2114552"/>
              <a:gd name="connsiteY72" fmla="*/ 685949 h 800100"/>
              <a:gd name="connsiteX73" fmla="*/ 981464 w 2114552"/>
              <a:gd name="connsiteY73" fmla="*/ 685949 h 800100"/>
              <a:gd name="connsiteX74" fmla="*/ 981464 w 2114552"/>
              <a:gd name="connsiteY74" fmla="*/ 799333 h 800100"/>
              <a:gd name="connsiteX75" fmla="*/ 966943 w 2114552"/>
              <a:gd name="connsiteY75" fmla="*/ 799333 h 800100"/>
              <a:gd name="connsiteX76" fmla="*/ 1136650 w 2114552"/>
              <a:gd name="connsiteY76" fmla="*/ 684212 h 800100"/>
              <a:gd name="connsiteX77" fmla="*/ 1148897 w 2114552"/>
              <a:gd name="connsiteY77" fmla="*/ 684212 h 800100"/>
              <a:gd name="connsiteX78" fmla="*/ 1148897 w 2114552"/>
              <a:gd name="connsiteY78" fmla="*/ 704791 h 800100"/>
              <a:gd name="connsiteX79" fmla="*/ 1185636 w 2114552"/>
              <a:gd name="connsiteY79" fmla="*/ 684212 h 800100"/>
              <a:gd name="connsiteX80" fmla="*/ 1222375 w 2114552"/>
              <a:gd name="connsiteY80" fmla="*/ 725369 h 800100"/>
              <a:gd name="connsiteX81" fmla="*/ 1222375 w 2114552"/>
              <a:gd name="connsiteY81" fmla="*/ 795337 h 800100"/>
              <a:gd name="connsiteX82" fmla="*/ 1210129 w 2114552"/>
              <a:gd name="connsiteY82" fmla="*/ 795337 h 800100"/>
              <a:gd name="connsiteX83" fmla="*/ 1210129 w 2114552"/>
              <a:gd name="connsiteY83" fmla="*/ 729485 h 800100"/>
              <a:gd name="connsiteX84" fmla="*/ 1185636 w 2114552"/>
              <a:gd name="connsiteY84" fmla="*/ 692443 h 800100"/>
              <a:gd name="connsiteX85" fmla="*/ 1152979 w 2114552"/>
              <a:gd name="connsiteY85" fmla="*/ 733601 h 800100"/>
              <a:gd name="connsiteX86" fmla="*/ 1152979 w 2114552"/>
              <a:gd name="connsiteY86" fmla="*/ 795337 h 800100"/>
              <a:gd name="connsiteX87" fmla="*/ 1136650 w 2114552"/>
              <a:gd name="connsiteY87" fmla="*/ 795337 h 800100"/>
              <a:gd name="connsiteX88" fmla="*/ 1136650 w 2114552"/>
              <a:gd name="connsiteY88" fmla="*/ 713022 h 800100"/>
              <a:gd name="connsiteX89" fmla="*/ 1136650 w 2114552"/>
              <a:gd name="connsiteY89" fmla="*/ 684212 h 800100"/>
              <a:gd name="connsiteX90" fmla="*/ 1054894 w 2114552"/>
              <a:gd name="connsiteY90" fmla="*/ 684212 h 800100"/>
              <a:gd name="connsiteX91" fmla="*/ 1106488 w 2114552"/>
              <a:gd name="connsiteY91" fmla="*/ 742156 h 800100"/>
              <a:gd name="connsiteX92" fmla="*/ 1054894 w 2114552"/>
              <a:gd name="connsiteY92" fmla="*/ 800100 h 800100"/>
              <a:gd name="connsiteX93" fmla="*/ 1003300 w 2114552"/>
              <a:gd name="connsiteY93" fmla="*/ 742156 h 800100"/>
              <a:gd name="connsiteX94" fmla="*/ 1054894 w 2114552"/>
              <a:gd name="connsiteY94" fmla="*/ 684212 h 800100"/>
              <a:gd name="connsiteX95" fmla="*/ 812499 w 2114552"/>
              <a:gd name="connsiteY95" fmla="*/ 684212 h 800100"/>
              <a:gd name="connsiteX96" fmla="*/ 854076 w 2114552"/>
              <a:gd name="connsiteY96" fmla="*/ 725601 h 800100"/>
              <a:gd name="connsiteX97" fmla="*/ 854076 w 2114552"/>
              <a:gd name="connsiteY97" fmla="*/ 775267 h 800100"/>
              <a:gd name="connsiteX98" fmla="*/ 854076 w 2114552"/>
              <a:gd name="connsiteY98" fmla="*/ 795961 h 800100"/>
              <a:gd name="connsiteX99" fmla="*/ 841603 w 2114552"/>
              <a:gd name="connsiteY99" fmla="*/ 795961 h 800100"/>
              <a:gd name="connsiteX100" fmla="*/ 841603 w 2114552"/>
              <a:gd name="connsiteY100" fmla="*/ 779406 h 800100"/>
              <a:gd name="connsiteX101" fmla="*/ 837445 w 2114552"/>
              <a:gd name="connsiteY101" fmla="*/ 779406 h 800100"/>
              <a:gd name="connsiteX102" fmla="*/ 804183 w 2114552"/>
              <a:gd name="connsiteY102" fmla="*/ 800100 h 800100"/>
              <a:gd name="connsiteX103" fmla="*/ 766763 w 2114552"/>
              <a:gd name="connsiteY103" fmla="*/ 766989 h 800100"/>
              <a:gd name="connsiteX104" fmla="*/ 837445 w 2114552"/>
              <a:gd name="connsiteY104" fmla="*/ 729739 h 800100"/>
              <a:gd name="connsiteX105" fmla="*/ 837445 w 2114552"/>
              <a:gd name="connsiteY105" fmla="*/ 721462 h 800100"/>
              <a:gd name="connsiteX106" fmla="*/ 812499 w 2114552"/>
              <a:gd name="connsiteY106" fmla="*/ 692490 h 800100"/>
              <a:gd name="connsiteX107" fmla="*/ 779236 w 2114552"/>
              <a:gd name="connsiteY107" fmla="*/ 704906 h 800100"/>
              <a:gd name="connsiteX108" fmla="*/ 779236 w 2114552"/>
              <a:gd name="connsiteY108" fmla="*/ 688351 h 800100"/>
              <a:gd name="connsiteX109" fmla="*/ 812499 w 2114552"/>
              <a:gd name="connsiteY109" fmla="*/ 684212 h 800100"/>
              <a:gd name="connsiteX110" fmla="*/ 527050 w 2114552"/>
              <a:gd name="connsiteY110" fmla="*/ 684212 h 800100"/>
              <a:gd name="connsiteX111" fmla="*/ 539523 w 2114552"/>
              <a:gd name="connsiteY111" fmla="*/ 684212 h 800100"/>
              <a:gd name="connsiteX112" fmla="*/ 539523 w 2114552"/>
              <a:gd name="connsiteY112" fmla="*/ 704791 h 800100"/>
              <a:gd name="connsiteX113" fmla="*/ 576943 w 2114552"/>
              <a:gd name="connsiteY113" fmla="*/ 684212 h 800100"/>
              <a:gd name="connsiteX114" fmla="*/ 614363 w 2114552"/>
              <a:gd name="connsiteY114" fmla="*/ 725369 h 800100"/>
              <a:gd name="connsiteX115" fmla="*/ 614363 w 2114552"/>
              <a:gd name="connsiteY115" fmla="*/ 795337 h 800100"/>
              <a:gd name="connsiteX116" fmla="*/ 601890 w 2114552"/>
              <a:gd name="connsiteY116" fmla="*/ 795337 h 800100"/>
              <a:gd name="connsiteX117" fmla="*/ 601890 w 2114552"/>
              <a:gd name="connsiteY117" fmla="*/ 729485 h 800100"/>
              <a:gd name="connsiteX118" fmla="*/ 576943 w 2114552"/>
              <a:gd name="connsiteY118" fmla="*/ 692443 h 800100"/>
              <a:gd name="connsiteX119" fmla="*/ 543681 w 2114552"/>
              <a:gd name="connsiteY119" fmla="*/ 733601 h 800100"/>
              <a:gd name="connsiteX120" fmla="*/ 543681 w 2114552"/>
              <a:gd name="connsiteY120" fmla="*/ 795337 h 800100"/>
              <a:gd name="connsiteX121" fmla="*/ 527050 w 2114552"/>
              <a:gd name="connsiteY121" fmla="*/ 795337 h 800100"/>
              <a:gd name="connsiteX122" fmla="*/ 527050 w 2114552"/>
              <a:gd name="connsiteY122" fmla="*/ 713022 h 800100"/>
              <a:gd name="connsiteX123" fmla="*/ 527050 w 2114552"/>
              <a:gd name="connsiteY123" fmla="*/ 684212 h 800100"/>
              <a:gd name="connsiteX124" fmla="*/ 406400 w 2114552"/>
              <a:gd name="connsiteY124" fmla="*/ 684212 h 800100"/>
              <a:gd name="connsiteX125" fmla="*/ 418873 w 2114552"/>
              <a:gd name="connsiteY125" fmla="*/ 684212 h 800100"/>
              <a:gd name="connsiteX126" fmla="*/ 418873 w 2114552"/>
              <a:gd name="connsiteY126" fmla="*/ 754573 h 800100"/>
              <a:gd name="connsiteX127" fmla="*/ 443820 w 2114552"/>
              <a:gd name="connsiteY127" fmla="*/ 787683 h 800100"/>
              <a:gd name="connsiteX128" fmla="*/ 477082 w 2114552"/>
              <a:gd name="connsiteY128" fmla="*/ 746295 h 800100"/>
              <a:gd name="connsiteX129" fmla="*/ 477082 w 2114552"/>
              <a:gd name="connsiteY129" fmla="*/ 684212 h 800100"/>
              <a:gd name="connsiteX130" fmla="*/ 493713 w 2114552"/>
              <a:gd name="connsiteY130" fmla="*/ 684212 h 800100"/>
              <a:gd name="connsiteX131" fmla="*/ 493713 w 2114552"/>
              <a:gd name="connsiteY131" fmla="*/ 771128 h 800100"/>
              <a:gd name="connsiteX132" fmla="*/ 493713 w 2114552"/>
              <a:gd name="connsiteY132" fmla="*/ 795961 h 800100"/>
              <a:gd name="connsiteX133" fmla="*/ 481240 w 2114552"/>
              <a:gd name="connsiteY133" fmla="*/ 795961 h 800100"/>
              <a:gd name="connsiteX134" fmla="*/ 481240 w 2114552"/>
              <a:gd name="connsiteY134" fmla="*/ 779406 h 800100"/>
              <a:gd name="connsiteX135" fmla="*/ 443820 w 2114552"/>
              <a:gd name="connsiteY135" fmla="*/ 800100 h 800100"/>
              <a:gd name="connsiteX136" fmla="*/ 406400 w 2114552"/>
              <a:gd name="connsiteY136" fmla="*/ 758711 h 800100"/>
              <a:gd name="connsiteX137" fmla="*/ 406400 w 2114552"/>
              <a:gd name="connsiteY137" fmla="*/ 684212 h 800100"/>
              <a:gd name="connsiteX138" fmla="*/ 325437 w 2114552"/>
              <a:gd name="connsiteY138" fmla="*/ 684212 h 800100"/>
              <a:gd name="connsiteX139" fmla="*/ 377825 w 2114552"/>
              <a:gd name="connsiteY139" fmla="*/ 742156 h 800100"/>
              <a:gd name="connsiteX140" fmla="*/ 325437 w 2114552"/>
              <a:gd name="connsiteY140" fmla="*/ 800100 h 800100"/>
              <a:gd name="connsiteX141" fmla="*/ 273049 w 2114552"/>
              <a:gd name="connsiteY141" fmla="*/ 742156 h 800100"/>
              <a:gd name="connsiteX142" fmla="*/ 325437 w 2114552"/>
              <a:gd name="connsiteY142" fmla="*/ 684212 h 800100"/>
              <a:gd name="connsiteX143" fmla="*/ 1724027 w 2114552"/>
              <a:gd name="connsiteY143" fmla="*/ 666750 h 800100"/>
              <a:gd name="connsiteX144" fmla="*/ 1720852 w 2114552"/>
              <a:gd name="connsiteY144" fmla="*/ 679450 h 800100"/>
              <a:gd name="connsiteX145" fmla="*/ 1716089 w 2114552"/>
              <a:gd name="connsiteY145" fmla="*/ 687388 h 800100"/>
              <a:gd name="connsiteX146" fmla="*/ 1733552 w 2114552"/>
              <a:gd name="connsiteY146" fmla="*/ 687388 h 800100"/>
              <a:gd name="connsiteX147" fmla="*/ 1728789 w 2114552"/>
              <a:gd name="connsiteY147" fmla="*/ 679450 h 800100"/>
              <a:gd name="connsiteX148" fmla="*/ 1728922 w 2114552"/>
              <a:gd name="connsiteY148" fmla="*/ 654050 h 800100"/>
              <a:gd name="connsiteX149" fmla="*/ 1728922 w 2114552"/>
              <a:gd name="connsiteY149" fmla="*/ 658202 h 800100"/>
              <a:gd name="connsiteX150" fmla="*/ 1737124 w 2114552"/>
              <a:gd name="connsiteY150" fmla="*/ 678962 h 800100"/>
              <a:gd name="connsiteX151" fmla="*/ 1749427 w 2114552"/>
              <a:gd name="connsiteY151" fmla="*/ 703873 h 800100"/>
              <a:gd name="connsiteX152" fmla="*/ 1737124 w 2114552"/>
              <a:gd name="connsiteY152" fmla="*/ 703873 h 800100"/>
              <a:gd name="connsiteX153" fmla="*/ 1737124 w 2114552"/>
              <a:gd name="connsiteY153" fmla="*/ 695569 h 800100"/>
              <a:gd name="connsiteX154" fmla="*/ 1712517 w 2114552"/>
              <a:gd name="connsiteY154" fmla="*/ 695569 h 800100"/>
              <a:gd name="connsiteX155" fmla="*/ 1712517 w 2114552"/>
              <a:gd name="connsiteY155" fmla="*/ 708025 h 800100"/>
              <a:gd name="connsiteX156" fmla="*/ 1700214 w 2114552"/>
              <a:gd name="connsiteY156" fmla="*/ 703873 h 800100"/>
              <a:gd name="connsiteX157" fmla="*/ 1712517 w 2114552"/>
              <a:gd name="connsiteY157" fmla="*/ 678962 h 800100"/>
              <a:gd name="connsiteX158" fmla="*/ 1716618 w 2114552"/>
              <a:gd name="connsiteY158" fmla="*/ 658202 h 800100"/>
              <a:gd name="connsiteX159" fmla="*/ 1728922 w 2114552"/>
              <a:gd name="connsiteY159" fmla="*/ 654050 h 800100"/>
              <a:gd name="connsiteX160" fmla="*/ 907733 w 2114552"/>
              <a:gd name="connsiteY160" fmla="*/ 654049 h 800100"/>
              <a:gd name="connsiteX161" fmla="*/ 907733 w 2114552"/>
              <a:gd name="connsiteY161" fmla="*/ 683259 h 800100"/>
              <a:gd name="connsiteX162" fmla="*/ 932498 w 2114552"/>
              <a:gd name="connsiteY162" fmla="*/ 683259 h 800100"/>
              <a:gd name="connsiteX163" fmla="*/ 932498 w 2114552"/>
              <a:gd name="connsiteY163" fmla="*/ 695778 h 800100"/>
              <a:gd name="connsiteX164" fmla="*/ 907733 w 2114552"/>
              <a:gd name="connsiteY164" fmla="*/ 695778 h 800100"/>
              <a:gd name="connsiteX165" fmla="*/ 907733 w 2114552"/>
              <a:gd name="connsiteY165" fmla="*/ 770889 h 800100"/>
              <a:gd name="connsiteX166" fmla="*/ 924243 w 2114552"/>
              <a:gd name="connsiteY166" fmla="*/ 787580 h 800100"/>
              <a:gd name="connsiteX167" fmla="*/ 936626 w 2114552"/>
              <a:gd name="connsiteY167" fmla="*/ 783408 h 800100"/>
              <a:gd name="connsiteX168" fmla="*/ 936626 w 2114552"/>
              <a:gd name="connsiteY168" fmla="*/ 795926 h 800100"/>
              <a:gd name="connsiteX169" fmla="*/ 920116 w 2114552"/>
              <a:gd name="connsiteY169" fmla="*/ 800099 h 800100"/>
              <a:gd name="connsiteX170" fmla="*/ 895351 w 2114552"/>
              <a:gd name="connsiteY170" fmla="*/ 762543 h 800100"/>
              <a:gd name="connsiteX171" fmla="*/ 895351 w 2114552"/>
              <a:gd name="connsiteY171" fmla="*/ 695778 h 800100"/>
              <a:gd name="connsiteX172" fmla="*/ 874713 w 2114552"/>
              <a:gd name="connsiteY172" fmla="*/ 695778 h 800100"/>
              <a:gd name="connsiteX173" fmla="*/ 874713 w 2114552"/>
              <a:gd name="connsiteY173" fmla="*/ 683259 h 800100"/>
              <a:gd name="connsiteX174" fmla="*/ 895351 w 2114552"/>
              <a:gd name="connsiteY174" fmla="*/ 683259 h 800100"/>
              <a:gd name="connsiteX175" fmla="*/ 895351 w 2114552"/>
              <a:gd name="connsiteY175" fmla="*/ 658222 h 800100"/>
              <a:gd name="connsiteX176" fmla="*/ 907733 w 2114552"/>
              <a:gd name="connsiteY176" fmla="*/ 654049 h 800100"/>
              <a:gd name="connsiteX177" fmla="*/ 1658542 w 2114552"/>
              <a:gd name="connsiteY177" fmla="*/ 650875 h 800100"/>
              <a:gd name="connsiteX178" fmla="*/ 1666745 w 2114552"/>
              <a:gd name="connsiteY178" fmla="*/ 650875 h 800100"/>
              <a:gd name="connsiteX179" fmla="*/ 1683149 w 2114552"/>
              <a:gd name="connsiteY179" fmla="*/ 688242 h 800100"/>
              <a:gd name="connsiteX180" fmla="*/ 1687250 w 2114552"/>
              <a:gd name="connsiteY180" fmla="*/ 655027 h 800100"/>
              <a:gd name="connsiteX181" fmla="*/ 1695452 w 2114552"/>
              <a:gd name="connsiteY181" fmla="*/ 655027 h 800100"/>
              <a:gd name="connsiteX182" fmla="*/ 1687250 w 2114552"/>
              <a:gd name="connsiteY182" fmla="*/ 704850 h 800100"/>
              <a:gd name="connsiteX183" fmla="*/ 1679048 w 2114552"/>
              <a:gd name="connsiteY183" fmla="*/ 704850 h 800100"/>
              <a:gd name="connsiteX184" fmla="*/ 1662643 w 2114552"/>
              <a:gd name="connsiteY184" fmla="*/ 671635 h 800100"/>
              <a:gd name="connsiteX185" fmla="*/ 1658542 w 2114552"/>
              <a:gd name="connsiteY185" fmla="*/ 700698 h 800100"/>
              <a:gd name="connsiteX186" fmla="*/ 1646239 w 2114552"/>
              <a:gd name="connsiteY186" fmla="*/ 700698 h 800100"/>
              <a:gd name="connsiteX187" fmla="*/ 1658542 w 2114552"/>
              <a:gd name="connsiteY187" fmla="*/ 650875 h 800100"/>
              <a:gd name="connsiteX188" fmla="*/ 1787526 w 2114552"/>
              <a:gd name="connsiteY188" fmla="*/ 646113 h 800100"/>
              <a:gd name="connsiteX189" fmla="*/ 1787526 w 2114552"/>
              <a:gd name="connsiteY189" fmla="*/ 654504 h 800100"/>
              <a:gd name="connsiteX190" fmla="*/ 1771016 w 2114552"/>
              <a:gd name="connsiteY190" fmla="*/ 658700 h 800100"/>
              <a:gd name="connsiteX191" fmla="*/ 1779271 w 2114552"/>
              <a:gd name="connsiteY191" fmla="*/ 700655 h 800100"/>
              <a:gd name="connsiteX192" fmla="*/ 1771016 w 2114552"/>
              <a:gd name="connsiteY192" fmla="*/ 704851 h 800100"/>
              <a:gd name="connsiteX193" fmla="*/ 1762761 w 2114552"/>
              <a:gd name="connsiteY193" fmla="*/ 662895 h 800100"/>
              <a:gd name="connsiteX194" fmla="*/ 1746251 w 2114552"/>
              <a:gd name="connsiteY194" fmla="*/ 662895 h 800100"/>
              <a:gd name="connsiteX195" fmla="*/ 1746251 w 2114552"/>
              <a:gd name="connsiteY195" fmla="*/ 654504 h 800100"/>
              <a:gd name="connsiteX196" fmla="*/ 1787526 w 2114552"/>
              <a:gd name="connsiteY196" fmla="*/ 646113 h 800100"/>
              <a:gd name="connsiteX197" fmla="*/ 1617029 w 2114552"/>
              <a:gd name="connsiteY197" fmla="*/ 646113 h 800100"/>
              <a:gd name="connsiteX198" fmla="*/ 1617029 w 2114552"/>
              <a:gd name="connsiteY198" fmla="*/ 654051 h 800100"/>
              <a:gd name="connsiteX199" fmla="*/ 1612901 w 2114552"/>
              <a:gd name="connsiteY199" fmla="*/ 658019 h 800100"/>
              <a:gd name="connsiteX200" fmla="*/ 1625284 w 2114552"/>
              <a:gd name="connsiteY200" fmla="*/ 661988 h 800100"/>
              <a:gd name="connsiteX201" fmla="*/ 1633539 w 2114552"/>
              <a:gd name="connsiteY201" fmla="*/ 658019 h 800100"/>
              <a:gd name="connsiteX202" fmla="*/ 1633539 w 2114552"/>
              <a:gd name="connsiteY202" fmla="*/ 654051 h 800100"/>
              <a:gd name="connsiteX203" fmla="*/ 1629412 w 2114552"/>
              <a:gd name="connsiteY203" fmla="*/ 650082 h 800100"/>
              <a:gd name="connsiteX204" fmla="*/ 1617029 w 2114552"/>
              <a:gd name="connsiteY204" fmla="*/ 646113 h 800100"/>
              <a:gd name="connsiteX205" fmla="*/ 966943 w 2114552"/>
              <a:gd name="connsiteY205" fmla="*/ 643885 h 800100"/>
              <a:gd name="connsiteX206" fmla="*/ 981464 w 2114552"/>
              <a:gd name="connsiteY206" fmla="*/ 643885 h 800100"/>
              <a:gd name="connsiteX207" fmla="*/ 981464 w 2114552"/>
              <a:gd name="connsiteY207" fmla="*/ 660066 h 800100"/>
              <a:gd name="connsiteX208" fmla="*/ 966943 w 2114552"/>
              <a:gd name="connsiteY208" fmla="*/ 660066 h 800100"/>
              <a:gd name="connsiteX209" fmla="*/ 1795464 w 2114552"/>
              <a:gd name="connsiteY209" fmla="*/ 641350 h 800100"/>
              <a:gd name="connsiteX210" fmla="*/ 1807711 w 2114552"/>
              <a:gd name="connsiteY210" fmla="*/ 641350 h 800100"/>
              <a:gd name="connsiteX211" fmla="*/ 1824039 w 2114552"/>
              <a:gd name="connsiteY211" fmla="*/ 687917 h 800100"/>
              <a:gd name="connsiteX212" fmla="*/ 1811793 w 2114552"/>
              <a:gd name="connsiteY212" fmla="*/ 692150 h 800100"/>
              <a:gd name="connsiteX213" fmla="*/ 1795464 w 2114552"/>
              <a:gd name="connsiteY213" fmla="*/ 641350 h 800100"/>
              <a:gd name="connsiteX214" fmla="*/ 177800 w 2114552"/>
              <a:gd name="connsiteY214" fmla="*/ 641349 h 800100"/>
              <a:gd name="connsiteX215" fmla="*/ 252413 w 2114552"/>
              <a:gd name="connsiteY215" fmla="*/ 641349 h 800100"/>
              <a:gd name="connsiteX216" fmla="*/ 252413 w 2114552"/>
              <a:gd name="connsiteY216" fmla="*/ 654049 h 800100"/>
              <a:gd name="connsiteX217" fmla="*/ 195262 w 2114552"/>
              <a:gd name="connsiteY217" fmla="*/ 654049 h 800100"/>
              <a:gd name="connsiteX218" fmla="*/ 195262 w 2114552"/>
              <a:gd name="connsiteY218" fmla="*/ 712787 h 800100"/>
              <a:gd name="connsiteX219" fmla="*/ 249238 w 2114552"/>
              <a:gd name="connsiteY219" fmla="*/ 712787 h 800100"/>
              <a:gd name="connsiteX220" fmla="*/ 249238 w 2114552"/>
              <a:gd name="connsiteY220" fmla="*/ 725487 h 800100"/>
              <a:gd name="connsiteX221" fmla="*/ 195262 w 2114552"/>
              <a:gd name="connsiteY221" fmla="*/ 725487 h 800100"/>
              <a:gd name="connsiteX222" fmla="*/ 195262 w 2114552"/>
              <a:gd name="connsiteY222" fmla="*/ 795337 h 800100"/>
              <a:gd name="connsiteX223" fmla="*/ 177800 w 2114552"/>
              <a:gd name="connsiteY223" fmla="*/ 795337 h 800100"/>
              <a:gd name="connsiteX224" fmla="*/ 1612770 w 2114552"/>
              <a:gd name="connsiteY224" fmla="*/ 633413 h 800100"/>
              <a:gd name="connsiteX225" fmla="*/ 1633275 w 2114552"/>
              <a:gd name="connsiteY225" fmla="*/ 641668 h 800100"/>
              <a:gd name="connsiteX226" fmla="*/ 1641477 w 2114552"/>
              <a:gd name="connsiteY226" fmla="*/ 654051 h 800100"/>
              <a:gd name="connsiteX227" fmla="*/ 1641477 w 2114552"/>
              <a:gd name="connsiteY227" fmla="*/ 658178 h 800100"/>
              <a:gd name="connsiteX228" fmla="*/ 1629174 w 2114552"/>
              <a:gd name="connsiteY228" fmla="*/ 670561 h 800100"/>
              <a:gd name="connsiteX229" fmla="*/ 1633275 w 2114552"/>
              <a:gd name="connsiteY229" fmla="*/ 695326 h 800100"/>
              <a:gd name="connsiteX230" fmla="*/ 1620972 w 2114552"/>
              <a:gd name="connsiteY230" fmla="*/ 691198 h 800100"/>
              <a:gd name="connsiteX231" fmla="*/ 1620972 w 2114552"/>
              <a:gd name="connsiteY231" fmla="*/ 670561 h 800100"/>
              <a:gd name="connsiteX232" fmla="*/ 1608668 w 2114552"/>
              <a:gd name="connsiteY232" fmla="*/ 666433 h 800100"/>
              <a:gd name="connsiteX233" fmla="*/ 1604567 w 2114552"/>
              <a:gd name="connsiteY233" fmla="*/ 682943 h 800100"/>
              <a:gd name="connsiteX234" fmla="*/ 1592264 w 2114552"/>
              <a:gd name="connsiteY234" fmla="*/ 678816 h 800100"/>
              <a:gd name="connsiteX235" fmla="*/ 1604567 w 2114552"/>
              <a:gd name="connsiteY235" fmla="*/ 658178 h 800100"/>
              <a:gd name="connsiteX236" fmla="*/ 1604567 w 2114552"/>
              <a:gd name="connsiteY236" fmla="*/ 654051 h 800100"/>
              <a:gd name="connsiteX237" fmla="*/ 1612770 w 2114552"/>
              <a:gd name="connsiteY237" fmla="*/ 633413 h 800100"/>
              <a:gd name="connsiteX238" fmla="*/ 1855109 w 2114552"/>
              <a:gd name="connsiteY238" fmla="*/ 630214 h 800100"/>
              <a:gd name="connsiteX239" fmla="*/ 1844903 w 2114552"/>
              <a:gd name="connsiteY239" fmla="*/ 632818 h 800100"/>
              <a:gd name="connsiteX240" fmla="*/ 1836739 w 2114552"/>
              <a:gd name="connsiteY240" fmla="*/ 645320 h 800100"/>
              <a:gd name="connsiteX241" fmla="*/ 1836739 w 2114552"/>
              <a:gd name="connsiteY241" fmla="*/ 653655 h 800100"/>
              <a:gd name="connsiteX242" fmla="*/ 1840821 w 2114552"/>
              <a:gd name="connsiteY242" fmla="*/ 657822 h 800100"/>
              <a:gd name="connsiteX243" fmla="*/ 1857150 w 2114552"/>
              <a:gd name="connsiteY243" fmla="*/ 661989 h 800100"/>
              <a:gd name="connsiteX244" fmla="*/ 1861232 w 2114552"/>
              <a:gd name="connsiteY244" fmla="*/ 657822 h 800100"/>
              <a:gd name="connsiteX245" fmla="*/ 1865314 w 2114552"/>
              <a:gd name="connsiteY245" fmla="*/ 645320 h 800100"/>
              <a:gd name="connsiteX246" fmla="*/ 1865314 w 2114552"/>
              <a:gd name="connsiteY246" fmla="*/ 636986 h 800100"/>
              <a:gd name="connsiteX247" fmla="*/ 1855109 w 2114552"/>
              <a:gd name="connsiteY247" fmla="*/ 630214 h 800100"/>
              <a:gd name="connsiteX248" fmla="*/ 726110 w 2114552"/>
              <a:gd name="connsiteY248" fmla="*/ 628649 h 800100"/>
              <a:gd name="connsiteX249" fmla="*/ 742951 w 2114552"/>
              <a:gd name="connsiteY249" fmla="*/ 628649 h 800100"/>
              <a:gd name="connsiteX250" fmla="*/ 742951 w 2114552"/>
              <a:gd name="connsiteY250" fmla="*/ 795917 h 800100"/>
              <a:gd name="connsiteX251" fmla="*/ 726110 w 2114552"/>
              <a:gd name="connsiteY251" fmla="*/ 795917 h 800100"/>
              <a:gd name="connsiteX252" fmla="*/ 726110 w 2114552"/>
              <a:gd name="connsiteY252" fmla="*/ 779190 h 800100"/>
              <a:gd name="connsiteX253" fmla="*/ 692427 w 2114552"/>
              <a:gd name="connsiteY253" fmla="*/ 800099 h 800100"/>
              <a:gd name="connsiteX254" fmla="*/ 646113 w 2114552"/>
              <a:gd name="connsiteY254" fmla="*/ 741555 h 800100"/>
              <a:gd name="connsiteX255" fmla="*/ 692427 w 2114552"/>
              <a:gd name="connsiteY255" fmla="*/ 683011 h 800100"/>
              <a:gd name="connsiteX256" fmla="*/ 726110 w 2114552"/>
              <a:gd name="connsiteY256" fmla="*/ 703920 h 800100"/>
              <a:gd name="connsiteX257" fmla="*/ 726110 w 2114552"/>
              <a:gd name="connsiteY257" fmla="*/ 628649 h 800100"/>
              <a:gd name="connsiteX258" fmla="*/ 1857377 w 2114552"/>
              <a:gd name="connsiteY258" fmla="*/ 622131 h 800100"/>
              <a:gd name="connsiteX259" fmla="*/ 1874839 w 2114552"/>
              <a:gd name="connsiteY259" fmla="*/ 633868 h 800100"/>
              <a:gd name="connsiteX260" fmla="*/ 1874839 w 2114552"/>
              <a:gd name="connsiteY260" fmla="*/ 646114 h 800100"/>
              <a:gd name="connsiteX261" fmla="*/ 1874839 w 2114552"/>
              <a:gd name="connsiteY261" fmla="*/ 658360 h 800100"/>
              <a:gd name="connsiteX262" fmla="*/ 1862139 w 2114552"/>
              <a:gd name="connsiteY262" fmla="*/ 666525 h 800100"/>
              <a:gd name="connsiteX263" fmla="*/ 1828272 w 2114552"/>
              <a:gd name="connsiteY263" fmla="*/ 658360 h 800100"/>
              <a:gd name="connsiteX264" fmla="*/ 1824039 w 2114552"/>
              <a:gd name="connsiteY264" fmla="*/ 646114 h 800100"/>
              <a:gd name="connsiteX265" fmla="*/ 1836739 w 2114552"/>
              <a:gd name="connsiteY265" fmla="*/ 625703 h 800100"/>
              <a:gd name="connsiteX266" fmla="*/ 1857377 w 2114552"/>
              <a:gd name="connsiteY266" fmla="*/ 622131 h 800100"/>
              <a:gd name="connsiteX267" fmla="*/ 1571138 w 2114552"/>
              <a:gd name="connsiteY267" fmla="*/ 612775 h 800100"/>
              <a:gd name="connsiteX268" fmla="*/ 1600201 w 2114552"/>
              <a:gd name="connsiteY268" fmla="*/ 629285 h 800100"/>
              <a:gd name="connsiteX269" fmla="*/ 1596049 w 2114552"/>
              <a:gd name="connsiteY269" fmla="*/ 637540 h 800100"/>
              <a:gd name="connsiteX270" fmla="*/ 1575290 w 2114552"/>
              <a:gd name="connsiteY270" fmla="*/ 625158 h 800100"/>
              <a:gd name="connsiteX271" fmla="*/ 1571138 w 2114552"/>
              <a:gd name="connsiteY271" fmla="*/ 633413 h 800100"/>
              <a:gd name="connsiteX272" fmla="*/ 1583593 w 2114552"/>
              <a:gd name="connsiteY272" fmla="*/ 641668 h 800100"/>
              <a:gd name="connsiteX273" fmla="*/ 1579442 w 2114552"/>
              <a:gd name="connsiteY273" fmla="*/ 649923 h 800100"/>
              <a:gd name="connsiteX274" fmla="*/ 1566986 w 2114552"/>
              <a:gd name="connsiteY274" fmla="*/ 641668 h 800100"/>
              <a:gd name="connsiteX275" fmla="*/ 1558682 w 2114552"/>
              <a:gd name="connsiteY275" fmla="*/ 654050 h 800100"/>
              <a:gd name="connsiteX276" fmla="*/ 1579442 w 2114552"/>
              <a:gd name="connsiteY276" fmla="*/ 666433 h 800100"/>
              <a:gd name="connsiteX277" fmla="*/ 1575290 w 2114552"/>
              <a:gd name="connsiteY277" fmla="*/ 674688 h 800100"/>
              <a:gd name="connsiteX278" fmla="*/ 1546226 w 2114552"/>
              <a:gd name="connsiteY278" fmla="*/ 654050 h 800100"/>
              <a:gd name="connsiteX279" fmla="*/ 1571138 w 2114552"/>
              <a:gd name="connsiteY279" fmla="*/ 612775 h 800100"/>
              <a:gd name="connsiteX280" fmla="*/ 1898969 w 2114552"/>
              <a:gd name="connsiteY280" fmla="*/ 579438 h 800100"/>
              <a:gd name="connsiteX281" fmla="*/ 1931989 w 2114552"/>
              <a:gd name="connsiteY281" fmla="*/ 616943 h 800100"/>
              <a:gd name="connsiteX282" fmla="*/ 1923734 w 2114552"/>
              <a:gd name="connsiteY282" fmla="*/ 625277 h 800100"/>
              <a:gd name="connsiteX283" fmla="*/ 1890714 w 2114552"/>
              <a:gd name="connsiteY283" fmla="*/ 612776 h 800100"/>
              <a:gd name="connsiteX284" fmla="*/ 1907224 w 2114552"/>
              <a:gd name="connsiteY284" fmla="*/ 637779 h 800100"/>
              <a:gd name="connsiteX285" fmla="*/ 1898969 w 2114552"/>
              <a:gd name="connsiteY285" fmla="*/ 646113 h 800100"/>
              <a:gd name="connsiteX286" fmla="*/ 1870076 w 2114552"/>
              <a:gd name="connsiteY286" fmla="*/ 604441 h 800100"/>
              <a:gd name="connsiteX287" fmla="*/ 1878331 w 2114552"/>
              <a:gd name="connsiteY287" fmla="*/ 600274 h 800100"/>
              <a:gd name="connsiteX288" fmla="*/ 1911351 w 2114552"/>
              <a:gd name="connsiteY288" fmla="*/ 608608 h 800100"/>
              <a:gd name="connsiteX289" fmla="*/ 1890714 w 2114552"/>
              <a:gd name="connsiteY289" fmla="*/ 587772 h 800100"/>
              <a:gd name="connsiteX290" fmla="*/ 1898969 w 2114552"/>
              <a:gd name="connsiteY290" fmla="*/ 579438 h 800100"/>
              <a:gd name="connsiteX291" fmla="*/ 1534626 w 2114552"/>
              <a:gd name="connsiteY291" fmla="*/ 579438 h 800100"/>
              <a:gd name="connsiteX292" fmla="*/ 1563689 w 2114552"/>
              <a:gd name="connsiteY292" fmla="*/ 604350 h 800100"/>
              <a:gd name="connsiteX293" fmla="*/ 1559537 w 2114552"/>
              <a:gd name="connsiteY293" fmla="*/ 612653 h 800100"/>
              <a:gd name="connsiteX294" fmla="*/ 1547081 w 2114552"/>
              <a:gd name="connsiteY294" fmla="*/ 604350 h 800100"/>
              <a:gd name="connsiteX295" fmla="*/ 1518018 w 2114552"/>
              <a:gd name="connsiteY295" fmla="*/ 633413 h 800100"/>
              <a:gd name="connsiteX296" fmla="*/ 1509714 w 2114552"/>
              <a:gd name="connsiteY296" fmla="*/ 625109 h 800100"/>
              <a:gd name="connsiteX297" fmla="*/ 1538778 w 2114552"/>
              <a:gd name="connsiteY297" fmla="*/ 596046 h 800100"/>
              <a:gd name="connsiteX298" fmla="*/ 1526322 w 2114552"/>
              <a:gd name="connsiteY298" fmla="*/ 583590 h 800100"/>
              <a:gd name="connsiteX299" fmla="*/ 1534626 w 2114552"/>
              <a:gd name="connsiteY299" fmla="*/ 579438 h 800100"/>
              <a:gd name="connsiteX300" fmla="*/ 1924051 w 2114552"/>
              <a:gd name="connsiteY300" fmla="*/ 566738 h 800100"/>
              <a:gd name="connsiteX301" fmla="*/ 1931989 w 2114552"/>
              <a:gd name="connsiteY301" fmla="*/ 579438 h 800100"/>
              <a:gd name="connsiteX302" fmla="*/ 1936751 w 2114552"/>
              <a:gd name="connsiteY302" fmla="*/ 587376 h 800100"/>
              <a:gd name="connsiteX303" fmla="*/ 1944689 w 2114552"/>
              <a:gd name="connsiteY303" fmla="*/ 579438 h 800100"/>
              <a:gd name="connsiteX304" fmla="*/ 1944689 w 2114552"/>
              <a:gd name="connsiteY304" fmla="*/ 574676 h 800100"/>
              <a:gd name="connsiteX305" fmla="*/ 1919742 w 2114552"/>
              <a:gd name="connsiteY305" fmla="*/ 558800 h 800100"/>
              <a:gd name="connsiteX306" fmla="*/ 1970089 w 2114552"/>
              <a:gd name="connsiteY306" fmla="*/ 571103 h 800100"/>
              <a:gd name="connsiteX307" fmla="*/ 1965894 w 2114552"/>
              <a:gd name="connsiteY307" fmla="*/ 579305 h 800100"/>
              <a:gd name="connsiteX308" fmla="*/ 1961698 w 2114552"/>
              <a:gd name="connsiteY308" fmla="*/ 579305 h 800100"/>
              <a:gd name="connsiteX309" fmla="*/ 1953307 w 2114552"/>
              <a:gd name="connsiteY309" fmla="*/ 579305 h 800100"/>
              <a:gd name="connsiteX310" fmla="*/ 1940720 w 2114552"/>
              <a:gd name="connsiteY310" fmla="*/ 595710 h 800100"/>
              <a:gd name="connsiteX311" fmla="*/ 1944916 w 2114552"/>
              <a:gd name="connsiteY311" fmla="*/ 603912 h 800100"/>
              <a:gd name="connsiteX312" fmla="*/ 1940720 w 2114552"/>
              <a:gd name="connsiteY312" fmla="*/ 608013 h 800100"/>
              <a:gd name="connsiteX313" fmla="*/ 1919742 w 2114552"/>
              <a:gd name="connsiteY313" fmla="*/ 579305 h 800100"/>
              <a:gd name="connsiteX314" fmla="*/ 1911351 w 2114552"/>
              <a:gd name="connsiteY314" fmla="*/ 567002 h 800100"/>
              <a:gd name="connsiteX315" fmla="*/ 1500586 w 2114552"/>
              <a:gd name="connsiteY315" fmla="*/ 541338 h 800100"/>
              <a:gd name="connsiteX316" fmla="*/ 1508920 w 2114552"/>
              <a:gd name="connsiteY316" fmla="*/ 549805 h 800100"/>
              <a:gd name="connsiteX317" fmla="*/ 1496419 w 2114552"/>
              <a:gd name="connsiteY317" fmla="*/ 583671 h 800100"/>
              <a:gd name="connsiteX318" fmla="*/ 1521422 w 2114552"/>
              <a:gd name="connsiteY318" fmla="*/ 562505 h 800100"/>
              <a:gd name="connsiteX319" fmla="*/ 1525589 w 2114552"/>
              <a:gd name="connsiteY319" fmla="*/ 570971 h 800100"/>
              <a:gd name="connsiteX320" fmla="*/ 1488084 w 2114552"/>
              <a:gd name="connsiteY320" fmla="*/ 604838 h 800100"/>
              <a:gd name="connsiteX321" fmla="*/ 1479750 w 2114552"/>
              <a:gd name="connsiteY321" fmla="*/ 596371 h 800100"/>
              <a:gd name="connsiteX322" fmla="*/ 1492252 w 2114552"/>
              <a:gd name="connsiteY322" fmla="*/ 562505 h 800100"/>
              <a:gd name="connsiteX323" fmla="*/ 1467249 w 2114552"/>
              <a:gd name="connsiteY323" fmla="*/ 579438 h 800100"/>
              <a:gd name="connsiteX324" fmla="*/ 1458914 w 2114552"/>
              <a:gd name="connsiteY324" fmla="*/ 570971 h 800100"/>
              <a:gd name="connsiteX325" fmla="*/ 1500586 w 2114552"/>
              <a:gd name="connsiteY325" fmla="*/ 541338 h 800100"/>
              <a:gd name="connsiteX326" fmla="*/ 1936752 w 2114552"/>
              <a:gd name="connsiteY326" fmla="*/ 528638 h 800100"/>
              <a:gd name="connsiteX327" fmla="*/ 1973264 w 2114552"/>
              <a:gd name="connsiteY327" fmla="*/ 550863 h 800100"/>
              <a:gd name="connsiteX328" fmla="*/ 1985965 w 2114552"/>
              <a:gd name="connsiteY328" fmla="*/ 528638 h 800100"/>
              <a:gd name="connsiteX329" fmla="*/ 1993902 w 2114552"/>
              <a:gd name="connsiteY329" fmla="*/ 533401 h 800100"/>
              <a:gd name="connsiteX330" fmla="*/ 1978027 w 2114552"/>
              <a:gd name="connsiteY330" fmla="*/ 561976 h 800100"/>
              <a:gd name="connsiteX331" fmla="*/ 1931989 w 2114552"/>
              <a:gd name="connsiteY331" fmla="*/ 538163 h 800100"/>
              <a:gd name="connsiteX332" fmla="*/ 1492829 w 2114552"/>
              <a:gd name="connsiteY332" fmla="*/ 525463 h 800100"/>
              <a:gd name="connsiteX333" fmla="*/ 1497014 w 2114552"/>
              <a:gd name="connsiteY333" fmla="*/ 533798 h 800100"/>
              <a:gd name="connsiteX334" fmla="*/ 1455161 w 2114552"/>
              <a:gd name="connsiteY334" fmla="*/ 558801 h 800100"/>
              <a:gd name="connsiteX335" fmla="*/ 1450976 w 2114552"/>
              <a:gd name="connsiteY335" fmla="*/ 550467 h 800100"/>
              <a:gd name="connsiteX336" fmla="*/ 1492829 w 2114552"/>
              <a:gd name="connsiteY336" fmla="*/ 525463 h 800100"/>
              <a:gd name="connsiteX337" fmla="*/ 1482542 w 2114552"/>
              <a:gd name="connsiteY337" fmla="*/ 485751 h 800100"/>
              <a:gd name="connsiteX338" fmla="*/ 1476320 w 2114552"/>
              <a:gd name="connsiteY338" fmla="*/ 488355 h 800100"/>
              <a:gd name="connsiteX339" fmla="*/ 1430696 w 2114552"/>
              <a:gd name="connsiteY339" fmla="*/ 500857 h 800100"/>
              <a:gd name="connsiteX340" fmla="*/ 1422401 w 2114552"/>
              <a:gd name="connsiteY340" fmla="*/ 517526 h 800100"/>
              <a:gd name="connsiteX341" fmla="*/ 1716883 w 2114552"/>
              <a:gd name="connsiteY341" fmla="*/ 717551 h 800100"/>
              <a:gd name="connsiteX342" fmla="*/ 2011364 w 2114552"/>
              <a:gd name="connsiteY342" fmla="*/ 513358 h 800100"/>
              <a:gd name="connsiteX343" fmla="*/ 2003069 w 2114552"/>
              <a:gd name="connsiteY343" fmla="*/ 500857 h 800100"/>
              <a:gd name="connsiteX344" fmla="*/ 1957445 w 2114552"/>
              <a:gd name="connsiteY344" fmla="*/ 488355 h 800100"/>
              <a:gd name="connsiteX345" fmla="*/ 1951224 w 2114552"/>
              <a:gd name="connsiteY345" fmla="*/ 485751 h 800100"/>
              <a:gd name="connsiteX346" fmla="*/ 1945002 w 2114552"/>
              <a:gd name="connsiteY346" fmla="*/ 492522 h 800100"/>
              <a:gd name="connsiteX347" fmla="*/ 1716883 w 2114552"/>
              <a:gd name="connsiteY347" fmla="*/ 646709 h 800100"/>
              <a:gd name="connsiteX348" fmla="*/ 1488763 w 2114552"/>
              <a:gd name="connsiteY348" fmla="*/ 492522 h 800100"/>
              <a:gd name="connsiteX349" fmla="*/ 1482542 w 2114552"/>
              <a:gd name="connsiteY349" fmla="*/ 485751 h 800100"/>
              <a:gd name="connsiteX350" fmla="*/ 1662749 w 2114552"/>
              <a:gd name="connsiteY350" fmla="*/ 478852 h 800100"/>
              <a:gd name="connsiteX351" fmla="*/ 1551306 w 2114552"/>
              <a:gd name="connsiteY351" fmla="*/ 533313 h 800100"/>
              <a:gd name="connsiteX352" fmla="*/ 1543051 w 2114552"/>
              <a:gd name="connsiteY352" fmla="*/ 537502 h 800100"/>
              <a:gd name="connsiteX353" fmla="*/ 1543051 w 2114552"/>
              <a:gd name="connsiteY353" fmla="*/ 541691 h 800100"/>
              <a:gd name="connsiteX354" fmla="*/ 1547179 w 2114552"/>
              <a:gd name="connsiteY354" fmla="*/ 545880 h 800100"/>
              <a:gd name="connsiteX355" fmla="*/ 1675132 w 2114552"/>
              <a:gd name="connsiteY355" fmla="*/ 621287 h 800100"/>
              <a:gd name="connsiteX356" fmla="*/ 1683387 w 2114552"/>
              <a:gd name="connsiteY356" fmla="*/ 621287 h 800100"/>
              <a:gd name="connsiteX357" fmla="*/ 1687514 w 2114552"/>
              <a:gd name="connsiteY357" fmla="*/ 608719 h 800100"/>
              <a:gd name="connsiteX358" fmla="*/ 1679259 w 2114552"/>
              <a:gd name="connsiteY358" fmla="*/ 487231 h 800100"/>
              <a:gd name="connsiteX359" fmla="*/ 1675132 w 2114552"/>
              <a:gd name="connsiteY359" fmla="*/ 478852 h 800100"/>
              <a:gd name="connsiteX360" fmla="*/ 1662749 w 2114552"/>
              <a:gd name="connsiteY360" fmla="*/ 478852 h 800100"/>
              <a:gd name="connsiteX361" fmla="*/ 1762761 w 2114552"/>
              <a:gd name="connsiteY361" fmla="*/ 474663 h 800100"/>
              <a:gd name="connsiteX362" fmla="*/ 1758634 w 2114552"/>
              <a:gd name="connsiteY362" fmla="*/ 487182 h 800100"/>
              <a:gd name="connsiteX363" fmla="*/ 1746251 w 2114552"/>
              <a:gd name="connsiteY363" fmla="*/ 608194 h 800100"/>
              <a:gd name="connsiteX364" fmla="*/ 1750379 w 2114552"/>
              <a:gd name="connsiteY364" fmla="*/ 620713 h 800100"/>
              <a:gd name="connsiteX365" fmla="*/ 1758634 w 2114552"/>
              <a:gd name="connsiteY365" fmla="*/ 620713 h 800100"/>
              <a:gd name="connsiteX366" fmla="*/ 1886587 w 2114552"/>
              <a:gd name="connsiteY366" fmla="*/ 545602 h 800100"/>
              <a:gd name="connsiteX367" fmla="*/ 1890714 w 2114552"/>
              <a:gd name="connsiteY367" fmla="*/ 537256 h 800100"/>
              <a:gd name="connsiteX368" fmla="*/ 1882459 w 2114552"/>
              <a:gd name="connsiteY368" fmla="*/ 528910 h 800100"/>
              <a:gd name="connsiteX369" fmla="*/ 1775144 w 2114552"/>
              <a:gd name="connsiteY369" fmla="*/ 474663 h 800100"/>
              <a:gd name="connsiteX370" fmla="*/ 1762761 w 2114552"/>
              <a:gd name="connsiteY370" fmla="*/ 474663 h 800100"/>
              <a:gd name="connsiteX371" fmla="*/ 725572 w 2114552"/>
              <a:gd name="connsiteY371" fmla="*/ 428624 h 800100"/>
              <a:gd name="connsiteX372" fmla="*/ 696913 w 2114552"/>
              <a:gd name="connsiteY372" fmla="*/ 457993 h 800100"/>
              <a:gd name="connsiteX373" fmla="*/ 717384 w 2114552"/>
              <a:gd name="connsiteY373" fmla="*/ 487362 h 800100"/>
              <a:gd name="connsiteX374" fmla="*/ 774701 w 2114552"/>
              <a:gd name="connsiteY374" fmla="*/ 478971 h 800100"/>
              <a:gd name="connsiteX375" fmla="*/ 774701 w 2114552"/>
              <a:gd name="connsiteY375" fmla="*/ 428624 h 800100"/>
              <a:gd name="connsiteX376" fmla="*/ 352426 w 2114552"/>
              <a:gd name="connsiteY376" fmla="*/ 346073 h 800100"/>
              <a:gd name="connsiteX377" fmla="*/ 303213 w 2114552"/>
              <a:gd name="connsiteY377" fmla="*/ 412562 h 800100"/>
              <a:gd name="connsiteX378" fmla="*/ 352426 w 2114552"/>
              <a:gd name="connsiteY378" fmla="*/ 487361 h 800100"/>
              <a:gd name="connsiteX379" fmla="*/ 401638 w 2114552"/>
              <a:gd name="connsiteY379" fmla="*/ 412562 h 800100"/>
              <a:gd name="connsiteX380" fmla="*/ 352426 w 2114552"/>
              <a:gd name="connsiteY380" fmla="*/ 346073 h 800100"/>
              <a:gd name="connsiteX381" fmla="*/ 1704770 w 2114552"/>
              <a:gd name="connsiteY381" fmla="*/ 341312 h 800100"/>
              <a:gd name="connsiteX382" fmla="*/ 1704770 w 2114552"/>
              <a:gd name="connsiteY382" fmla="*/ 353885 h 800100"/>
              <a:gd name="connsiteX383" fmla="*/ 1671639 w 2114552"/>
              <a:gd name="connsiteY383" fmla="*/ 399986 h 800100"/>
              <a:gd name="connsiteX384" fmla="*/ 1717193 w 2114552"/>
              <a:gd name="connsiteY384" fmla="*/ 446087 h 800100"/>
              <a:gd name="connsiteX385" fmla="*/ 1766889 w 2114552"/>
              <a:gd name="connsiteY385" fmla="*/ 399986 h 800100"/>
              <a:gd name="connsiteX386" fmla="*/ 1729617 w 2114552"/>
              <a:gd name="connsiteY386" fmla="*/ 353885 h 800100"/>
              <a:gd name="connsiteX387" fmla="*/ 1729617 w 2114552"/>
              <a:gd name="connsiteY387" fmla="*/ 341312 h 800100"/>
              <a:gd name="connsiteX388" fmla="*/ 1704770 w 2114552"/>
              <a:gd name="connsiteY388" fmla="*/ 341312 h 800100"/>
              <a:gd name="connsiteX389" fmla="*/ 1716883 w 2114552"/>
              <a:gd name="connsiteY389" fmla="*/ 328612 h 800100"/>
              <a:gd name="connsiteX390" fmla="*/ 1787527 w 2114552"/>
              <a:gd name="connsiteY390" fmla="*/ 400050 h 800100"/>
              <a:gd name="connsiteX391" fmla="*/ 1716883 w 2114552"/>
              <a:gd name="connsiteY391" fmla="*/ 471488 h 800100"/>
              <a:gd name="connsiteX392" fmla="*/ 1646239 w 2114552"/>
              <a:gd name="connsiteY392" fmla="*/ 400050 h 800100"/>
              <a:gd name="connsiteX393" fmla="*/ 1716883 w 2114552"/>
              <a:gd name="connsiteY393" fmla="*/ 328612 h 800100"/>
              <a:gd name="connsiteX394" fmla="*/ 1716883 w 2114552"/>
              <a:gd name="connsiteY394" fmla="*/ 320675 h 800100"/>
              <a:gd name="connsiteX395" fmla="*/ 1638301 w 2114552"/>
              <a:gd name="connsiteY395" fmla="*/ 400050 h 800100"/>
              <a:gd name="connsiteX396" fmla="*/ 1716883 w 2114552"/>
              <a:gd name="connsiteY396" fmla="*/ 479425 h 800100"/>
              <a:gd name="connsiteX397" fmla="*/ 1795465 w 2114552"/>
              <a:gd name="connsiteY397" fmla="*/ 400050 h 800100"/>
              <a:gd name="connsiteX398" fmla="*/ 1716883 w 2114552"/>
              <a:gd name="connsiteY398" fmla="*/ 320675 h 800100"/>
              <a:gd name="connsiteX399" fmla="*/ 1924004 w 2114552"/>
              <a:gd name="connsiteY399" fmla="*/ 317500 h 800100"/>
              <a:gd name="connsiteX400" fmla="*/ 1911592 w 2114552"/>
              <a:gd name="connsiteY400" fmla="*/ 321667 h 800100"/>
              <a:gd name="connsiteX401" fmla="*/ 1812301 w 2114552"/>
              <a:gd name="connsiteY401" fmla="*/ 388342 h 800100"/>
              <a:gd name="connsiteX402" fmla="*/ 1808164 w 2114552"/>
              <a:gd name="connsiteY402" fmla="*/ 400844 h 800100"/>
              <a:gd name="connsiteX403" fmla="*/ 1812301 w 2114552"/>
              <a:gd name="connsiteY403" fmla="*/ 409178 h 800100"/>
              <a:gd name="connsiteX404" fmla="*/ 1915729 w 2114552"/>
              <a:gd name="connsiteY404" fmla="*/ 480021 h 800100"/>
              <a:gd name="connsiteX405" fmla="*/ 1924004 w 2114552"/>
              <a:gd name="connsiteY405" fmla="*/ 480021 h 800100"/>
              <a:gd name="connsiteX406" fmla="*/ 1928141 w 2114552"/>
              <a:gd name="connsiteY406" fmla="*/ 471686 h 800100"/>
              <a:gd name="connsiteX407" fmla="*/ 1928141 w 2114552"/>
              <a:gd name="connsiteY407" fmla="*/ 325834 h 800100"/>
              <a:gd name="connsiteX408" fmla="*/ 1924004 w 2114552"/>
              <a:gd name="connsiteY408" fmla="*/ 317500 h 800100"/>
              <a:gd name="connsiteX409" fmla="*/ 1509762 w 2114552"/>
              <a:gd name="connsiteY409" fmla="*/ 317500 h 800100"/>
              <a:gd name="connsiteX410" fmla="*/ 1501487 w 2114552"/>
              <a:gd name="connsiteY410" fmla="*/ 325834 h 800100"/>
              <a:gd name="connsiteX411" fmla="*/ 1501487 w 2114552"/>
              <a:gd name="connsiteY411" fmla="*/ 475854 h 800100"/>
              <a:gd name="connsiteX412" fmla="*/ 1509762 w 2114552"/>
              <a:gd name="connsiteY412" fmla="*/ 480021 h 800100"/>
              <a:gd name="connsiteX413" fmla="*/ 1518036 w 2114552"/>
              <a:gd name="connsiteY413" fmla="*/ 480021 h 800100"/>
              <a:gd name="connsiteX414" fmla="*/ 1621464 w 2114552"/>
              <a:gd name="connsiteY414" fmla="*/ 409178 h 800100"/>
              <a:gd name="connsiteX415" fmla="*/ 1625601 w 2114552"/>
              <a:gd name="connsiteY415" fmla="*/ 400844 h 800100"/>
              <a:gd name="connsiteX416" fmla="*/ 1621464 w 2114552"/>
              <a:gd name="connsiteY416" fmla="*/ 388342 h 800100"/>
              <a:gd name="connsiteX417" fmla="*/ 1518036 w 2114552"/>
              <a:gd name="connsiteY417" fmla="*/ 321667 h 800100"/>
              <a:gd name="connsiteX418" fmla="*/ 1509762 w 2114552"/>
              <a:gd name="connsiteY418" fmla="*/ 317500 h 800100"/>
              <a:gd name="connsiteX419" fmla="*/ 1032821 w 2114552"/>
              <a:gd name="connsiteY419" fmla="*/ 304799 h 800100"/>
              <a:gd name="connsiteX420" fmla="*/ 1041062 w 2114552"/>
              <a:gd name="connsiteY420" fmla="*/ 304799 h 800100"/>
              <a:gd name="connsiteX421" fmla="*/ 1074028 w 2114552"/>
              <a:gd name="connsiteY421" fmla="*/ 304799 h 800100"/>
              <a:gd name="connsiteX422" fmla="*/ 1082270 w 2114552"/>
              <a:gd name="connsiteY422" fmla="*/ 308966 h 800100"/>
              <a:gd name="connsiteX423" fmla="*/ 1123477 w 2114552"/>
              <a:gd name="connsiteY423" fmla="*/ 479821 h 800100"/>
              <a:gd name="connsiteX424" fmla="*/ 1127598 w 2114552"/>
              <a:gd name="connsiteY424" fmla="*/ 479821 h 800100"/>
              <a:gd name="connsiteX425" fmla="*/ 1172926 w 2114552"/>
              <a:gd name="connsiteY425" fmla="*/ 308966 h 800100"/>
              <a:gd name="connsiteX426" fmla="*/ 1181168 w 2114552"/>
              <a:gd name="connsiteY426" fmla="*/ 304799 h 800100"/>
              <a:gd name="connsiteX427" fmla="*/ 1214134 w 2114552"/>
              <a:gd name="connsiteY427" fmla="*/ 304799 h 800100"/>
              <a:gd name="connsiteX428" fmla="*/ 1222375 w 2114552"/>
              <a:gd name="connsiteY428" fmla="*/ 304799 h 800100"/>
              <a:gd name="connsiteX429" fmla="*/ 1222375 w 2114552"/>
              <a:gd name="connsiteY429" fmla="*/ 313133 h 800100"/>
              <a:gd name="connsiteX430" fmla="*/ 1218254 w 2114552"/>
              <a:gd name="connsiteY430" fmla="*/ 338137 h 800100"/>
              <a:gd name="connsiteX431" fmla="*/ 1201771 w 2114552"/>
              <a:gd name="connsiteY431" fmla="*/ 388143 h 800100"/>
              <a:gd name="connsiteX432" fmla="*/ 1164685 w 2114552"/>
              <a:gd name="connsiteY432" fmla="*/ 542329 h 800100"/>
              <a:gd name="connsiteX433" fmla="*/ 1098753 w 2114552"/>
              <a:gd name="connsiteY433" fmla="*/ 604837 h 800100"/>
              <a:gd name="connsiteX434" fmla="*/ 1094632 w 2114552"/>
              <a:gd name="connsiteY434" fmla="*/ 604837 h 800100"/>
              <a:gd name="connsiteX435" fmla="*/ 1041062 w 2114552"/>
              <a:gd name="connsiteY435" fmla="*/ 600670 h 800100"/>
              <a:gd name="connsiteX436" fmla="*/ 1032821 w 2114552"/>
              <a:gd name="connsiteY436" fmla="*/ 592335 h 800100"/>
              <a:gd name="connsiteX437" fmla="*/ 1032821 w 2114552"/>
              <a:gd name="connsiteY437" fmla="*/ 567332 h 800100"/>
              <a:gd name="connsiteX438" fmla="*/ 1036942 w 2114552"/>
              <a:gd name="connsiteY438" fmla="*/ 563165 h 800100"/>
              <a:gd name="connsiteX439" fmla="*/ 1041062 w 2114552"/>
              <a:gd name="connsiteY439" fmla="*/ 558998 h 800100"/>
              <a:gd name="connsiteX440" fmla="*/ 1082270 w 2114552"/>
              <a:gd name="connsiteY440" fmla="*/ 563165 h 800100"/>
              <a:gd name="connsiteX441" fmla="*/ 1115236 w 2114552"/>
              <a:gd name="connsiteY441" fmla="*/ 538162 h 800100"/>
              <a:gd name="connsiteX442" fmla="*/ 1119357 w 2114552"/>
              <a:gd name="connsiteY442" fmla="*/ 529828 h 800100"/>
              <a:gd name="connsiteX443" fmla="*/ 1106994 w 2114552"/>
              <a:gd name="connsiteY443" fmla="*/ 529828 h 800100"/>
              <a:gd name="connsiteX444" fmla="*/ 1082270 w 2114552"/>
              <a:gd name="connsiteY444" fmla="*/ 504824 h 800100"/>
              <a:gd name="connsiteX445" fmla="*/ 1032821 w 2114552"/>
              <a:gd name="connsiteY445" fmla="*/ 313133 h 800100"/>
              <a:gd name="connsiteX446" fmla="*/ 1032821 w 2114552"/>
              <a:gd name="connsiteY446" fmla="*/ 304799 h 800100"/>
              <a:gd name="connsiteX447" fmla="*/ 994979 w 2114552"/>
              <a:gd name="connsiteY447" fmla="*/ 300037 h 800100"/>
              <a:gd name="connsiteX448" fmla="*/ 999140 w 2114552"/>
              <a:gd name="connsiteY448" fmla="*/ 304193 h 800100"/>
              <a:gd name="connsiteX449" fmla="*/ 1003300 w 2114552"/>
              <a:gd name="connsiteY449" fmla="*/ 308350 h 800100"/>
              <a:gd name="connsiteX450" fmla="*/ 1003300 w 2114552"/>
              <a:gd name="connsiteY450" fmla="*/ 341601 h 800100"/>
              <a:gd name="connsiteX451" fmla="*/ 994979 w 2114552"/>
              <a:gd name="connsiteY451" fmla="*/ 349913 h 800100"/>
              <a:gd name="connsiteX452" fmla="*/ 932574 w 2114552"/>
              <a:gd name="connsiteY452" fmla="*/ 374852 h 800100"/>
              <a:gd name="connsiteX453" fmla="*/ 932574 w 2114552"/>
              <a:gd name="connsiteY453" fmla="*/ 520324 h 800100"/>
              <a:gd name="connsiteX454" fmla="*/ 924254 w 2114552"/>
              <a:gd name="connsiteY454" fmla="*/ 528637 h 800100"/>
              <a:gd name="connsiteX455" fmla="*/ 890971 w 2114552"/>
              <a:gd name="connsiteY455" fmla="*/ 528637 h 800100"/>
              <a:gd name="connsiteX456" fmla="*/ 882650 w 2114552"/>
              <a:gd name="connsiteY456" fmla="*/ 520324 h 800100"/>
              <a:gd name="connsiteX457" fmla="*/ 882650 w 2114552"/>
              <a:gd name="connsiteY457" fmla="*/ 312506 h 800100"/>
              <a:gd name="connsiteX458" fmla="*/ 890971 w 2114552"/>
              <a:gd name="connsiteY458" fmla="*/ 304193 h 800100"/>
              <a:gd name="connsiteX459" fmla="*/ 924254 w 2114552"/>
              <a:gd name="connsiteY459" fmla="*/ 304193 h 800100"/>
              <a:gd name="connsiteX460" fmla="*/ 932574 w 2114552"/>
              <a:gd name="connsiteY460" fmla="*/ 312506 h 800100"/>
              <a:gd name="connsiteX461" fmla="*/ 932574 w 2114552"/>
              <a:gd name="connsiteY461" fmla="*/ 324975 h 800100"/>
              <a:gd name="connsiteX462" fmla="*/ 994979 w 2114552"/>
              <a:gd name="connsiteY462" fmla="*/ 300037 h 800100"/>
              <a:gd name="connsiteX463" fmla="*/ 750816 w 2114552"/>
              <a:gd name="connsiteY463" fmla="*/ 295274 h 800100"/>
              <a:gd name="connsiteX464" fmla="*/ 825501 w 2114552"/>
              <a:gd name="connsiteY464" fmla="*/ 374649 h 800100"/>
              <a:gd name="connsiteX465" fmla="*/ 825501 w 2114552"/>
              <a:gd name="connsiteY465" fmla="*/ 525044 h 800100"/>
              <a:gd name="connsiteX466" fmla="*/ 825501 w 2114552"/>
              <a:gd name="connsiteY466" fmla="*/ 529221 h 800100"/>
              <a:gd name="connsiteX467" fmla="*/ 817203 w 2114552"/>
              <a:gd name="connsiteY467" fmla="*/ 533399 h 800100"/>
              <a:gd name="connsiteX468" fmla="*/ 784010 w 2114552"/>
              <a:gd name="connsiteY468" fmla="*/ 516688 h 800100"/>
              <a:gd name="connsiteX469" fmla="*/ 709325 w 2114552"/>
              <a:gd name="connsiteY469" fmla="*/ 533399 h 800100"/>
              <a:gd name="connsiteX470" fmla="*/ 642938 w 2114552"/>
              <a:gd name="connsiteY470" fmla="*/ 462379 h 800100"/>
              <a:gd name="connsiteX471" fmla="*/ 717623 w 2114552"/>
              <a:gd name="connsiteY471" fmla="*/ 391360 h 800100"/>
              <a:gd name="connsiteX472" fmla="*/ 775711 w 2114552"/>
              <a:gd name="connsiteY472" fmla="*/ 387182 h 800100"/>
              <a:gd name="connsiteX473" fmla="*/ 775711 w 2114552"/>
              <a:gd name="connsiteY473" fmla="*/ 374649 h 800100"/>
              <a:gd name="connsiteX474" fmla="*/ 746667 w 2114552"/>
              <a:gd name="connsiteY474" fmla="*/ 345406 h 800100"/>
              <a:gd name="connsiteX475" fmla="*/ 667833 w 2114552"/>
              <a:gd name="connsiteY475" fmla="*/ 349583 h 800100"/>
              <a:gd name="connsiteX476" fmla="*/ 663684 w 2114552"/>
              <a:gd name="connsiteY476" fmla="*/ 349583 h 800100"/>
              <a:gd name="connsiteX477" fmla="*/ 659535 w 2114552"/>
              <a:gd name="connsiteY477" fmla="*/ 341228 h 800100"/>
              <a:gd name="connsiteX478" fmla="*/ 659535 w 2114552"/>
              <a:gd name="connsiteY478" fmla="*/ 311985 h 800100"/>
              <a:gd name="connsiteX479" fmla="*/ 667833 w 2114552"/>
              <a:gd name="connsiteY479" fmla="*/ 303629 h 800100"/>
              <a:gd name="connsiteX480" fmla="*/ 750816 w 2114552"/>
              <a:gd name="connsiteY480" fmla="*/ 295274 h 800100"/>
              <a:gd name="connsiteX481" fmla="*/ 354013 w 2114552"/>
              <a:gd name="connsiteY481" fmla="*/ 295273 h 800100"/>
              <a:gd name="connsiteX482" fmla="*/ 455613 w 2114552"/>
              <a:gd name="connsiteY482" fmla="*/ 414336 h 800100"/>
              <a:gd name="connsiteX483" fmla="*/ 354013 w 2114552"/>
              <a:gd name="connsiteY483" fmla="*/ 533399 h 800100"/>
              <a:gd name="connsiteX484" fmla="*/ 252413 w 2114552"/>
              <a:gd name="connsiteY484" fmla="*/ 414336 h 800100"/>
              <a:gd name="connsiteX485" fmla="*/ 354013 w 2114552"/>
              <a:gd name="connsiteY485" fmla="*/ 295273 h 800100"/>
              <a:gd name="connsiteX486" fmla="*/ 53975 w 2114552"/>
              <a:gd name="connsiteY486" fmla="*/ 266699 h 800100"/>
              <a:gd name="connsiteX487" fmla="*/ 53975 w 2114552"/>
              <a:gd name="connsiteY487" fmla="*/ 358774 h 800100"/>
              <a:gd name="connsiteX488" fmla="*/ 107480 w 2114552"/>
              <a:gd name="connsiteY488" fmla="*/ 358774 h 800100"/>
              <a:gd name="connsiteX489" fmla="*/ 165100 w 2114552"/>
              <a:gd name="connsiteY489" fmla="*/ 312737 h 800100"/>
              <a:gd name="connsiteX490" fmla="*/ 111595 w 2114552"/>
              <a:gd name="connsiteY490" fmla="*/ 266699 h 800100"/>
              <a:gd name="connsiteX491" fmla="*/ 91017 w 2114552"/>
              <a:gd name="connsiteY491" fmla="*/ 266699 h 800100"/>
              <a:gd name="connsiteX492" fmla="*/ 53975 w 2114552"/>
              <a:gd name="connsiteY492" fmla="*/ 266699 h 800100"/>
              <a:gd name="connsiteX493" fmla="*/ 546894 w 2114552"/>
              <a:gd name="connsiteY493" fmla="*/ 250824 h 800100"/>
              <a:gd name="connsiteX494" fmla="*/ 551050 w 2114552"/>
              <a:gd name="connsiteY494" fmla="*/ 250824 h 800100"/>
              <a:gd name="connsiteX495" fmla="*/ 555205 w 2114552"/>
              <a:gd name="connsiteY495" fmla="*/ 259135 h 800100"/>
              <a:gd name="connsiteX496" fmla="*/ 555205 w 2114552"/>
              <a:gd name="connsiteY496" fmla="*/ 304846 h 800100"/>
              <a:gd name="connsiteX497" fmla="*/ 609227 w 2114552"/>
              <a:gd name="connsiteY497" fmla="*/ 304846 h 800100"/>
              <a:gd name="connsiteX498" fmla="*/ 617538 w 2114552"/>
              <a:gd name="connsiteY498" fmla="*/ 313157 h 800100"/>
              <a:gd name="connsiteX499" fmla="*/ 617538 w 2114552"/>
              <a:gd name="connsiteY499" fmla="*/ 342245 h 800100"/>
              <a:gd name="connsiteX500" fmla="*/ 609227 w 2114552"/>
              <a:gd name="connsiteY500" fmla="*/ 350556 h 800100"/>
              <a:gd name="connsiteX501" fmla="*/ 555205 w 2114552"/>
              <a:gd name="connsiteY501" fmla="*/ 350556 h 800100"/>
              <a:gd name="connsiteX502" fmla="*/ 555205 w 2114552"/>
              <a:gd name="connsiteY502" fmla="*/ 441978 h 800100"/>
              <a:gd name="connsiteX503" fmla="*/ 580138 w 2114552"/>
              <a:gd name="connsiteY503" fmla="*/ 483533 h 800100"/>
              <a:gd name="connsiteX504" fmla="*/ 609227 w 2114552"/>
              <a:gd name="connsiteY504" fmla="*/ 483533 h 800100"/>
              <a:gd name="connsiteX505" fmla="*/ 617538 w 2114552"/>
              <a:gd name="connsiteY505" fmla="*/ 491844 h 800100"/>
              <a:gd name="connsiteX506" fmla="*/ 617538 w 2114552"/>
              <a:gd name="connsiteY506" fmla="*/ 520932 h 800100"/>
              <a:gd name="connsiteX507" fmla="*/ 609227 w 2114552"/>
              <a:gd name="connsiteY507" fmla="*/ 529244 h 800100"/>
              <a:gd name="connsiteX508" fmla="*/ 571827 w 2114552"/>
              <a:gd name="connsiteY508" fmla="*/ 533399 h 800100"/>
              <a:gd name="connsiteX509" fmla="*/ 505339 w 2114552"/>
              <a:gd name="connsiteY509" fmla="*/ 450289 h 800100"/>
              <a:gd name="connsiteX510" fmla="*/ 505339 w 2114552"/>
              <a:gd name="connsiteY510" fmla="*/ 350556 h 800100"/>
              <a:gd name="connsiteX511" fmla="*/ 484561 w 2114552"/>
              <a:gd name="connsiteY511" fmla="*/ 350556 h 800100"/>
              <a:gd name="connsiteX512" fmla="*/ 476250 w 2114552"/>
              <a:gd name="connsiteY512" fmla="*/ 342245 h 800100"/>
              <a:gd name="connsiteX513" fmla="*/ 476250 w 2114552"/>
              <a:gd name="connsiteY513" fmla="*/ 313157 h 800100"/>
              <a:gd name="connsiteX514" fmla="*/ 484561 w 2114552"/>
              <a:gd name="connsiteY514" fmla="*/ 304846 h 800100"/>
              <a:gd name="connsiteX515" fmla="*/ 505339 w 2114552"/>
              <a:gd name="connsiteY515" fmla="*/ 304846 h 800100"/>
              <a:gd name="connsiteX516" fmla="*/ 505339 w 2114552"/>
              <a:gd name="connsiteY516" fmla="*/ 267446 h 800100"/>
              <a:gd name="connsiteX517" fmla="*/ 509494 w 2114552"/>
              <a:gd name="connsiteY517" fmla="*/ 259135 h 800100"/>
              <a:gd name="connsiteX518" fmla="*/ 546894 w 2114552"/>
              <a:gd name="connsiteY518" fmla="*/ 250824 h 800100"/>
              <a:gd name="connsiteX519" fmla="*/ 103337 w 2114552"/>
              <a:gd name="connsiteY519" fmla="*/ 217487 h 800100"/>
              <a:gd name="connsiteX520" fmla="*/ 111604 w 2114552"/>
              <a:gd name="connsiteY520" fmla="*/ 217487 h 800100"/>
              <a:gd name="connsiteX521" fmla="*/ 219075 w 2114552"/>
              <a:gd name="connsiteY521" fmla="*/ 312906 h 800100"/>
              <a:gd name="connsiteX522" fmla="*/ 165340 w 2114552"/>
              <a:gd name="connsiteY522" fmla="*/ 391731 h 800100"/>
              <a:gd name="connsiteX523" fmla="*/ 219075 w 2114552"/>
              <a:gd name="connsiteY523" fmla="*/ 516191 h 800100"/>
              <a:gd name="connsiteX524" fmla="*/ 219075 w 2114552"/>
              <a:gd name="connsiteY524" fmla="*/ 524488 h 800100"/>
              <a:gd name="connsiteX525" fmla="*/ 210808 w 2114552"/>
              <a:gd name="connsiteY525" fmla="*/ 528637 h 800100"/>
              <a:gd name="connsiteX526" fmla="*/ 173607 w 2114552"/>
              <a:gd name="connsiteY526" fmla="*/ 528637 h 800100"/>
              <a:gd name="connsiteX527" fmla="*/ 165340 w 2114552"/>
              <a:gd name="connsiteY527" fmla="*/ 524488 h 800100"/>
              <a:gd name="connsiteX528" fmla="*/ 111604 w 2114552"/>
              <a:gd name="connsiteY528" fmla="*/ 408326 h 800100"/>
              <a:gd name="connsiteX529" fmla="*/ 53736 w 2114552"/>
              <a:gd name="connsiteY529" fmla="*/ 404177 h 800100"/>
              <a:gd name="connsiteX530" fmla="*/ 53736 w 2114552"/>
              <a:gd name="connsiteY530" fmla="*/ 520340 h 800100"/>
              <a:gd name="connsiteX531" fmla="*/ 45469 w 2114552"/>
              <a:gd name="connsiteY531" fmla="*/ 528637 h 800100"/>
              <a:gd name="connsiteX532" fmla="*/ 8267 w 2114552"/>
              <a:gd name="connsiteY532" fmla="*/ 528637 h 800100"/>
              <a:gd name="connsiteX533" fmla="*/ 0 w 2114552"/>
              <a:gd name="connsiteY533" fmla="*/ 520340 h 800100"/>
              <a:gd name="connsiteX534" fmla="*/ 0 w 2114552"/>
              <a:gd name="connsiteY534" fmla="*/ 229933 h 800100"/>
              <a:gd name="connsiteX535" fmla="*/ 8267 w 2114552"/>
              <a:gd name="connsiteY535" fmla="*/ 221636 h 800100"/>
              <a:gd name="connsiteX536" fmla="*/ 103337 w 2114552"/>
              <a:gd name="connsiteY536" fmla="*/ 217487 h 800100"/>
              <a:gd name="connsiteX537" fmla="*/ 1941299 w 2114552"/>
              <a:gd name="connsiteY537" fmla="*/ 180951 h 800100"/>
              <a:gd name="connsiteX538" fmla="*/ 1936665 w 2114552"/>
              <a:gd name="connsiteY538" fmla="*/ 183555 h 800100"/>
              <a:gd name="connsiteX539" fmla="*/ 1903714 w 2114552"/>
              <a:gd name="connsiteY539" fmla="*/ 221060 h 800100"/>
              <a:gd name="connsiteX540" fmla="*/ 1903714 w 2114552"/>
              <a:gd name="connsiteY540" fmla="*/ 237729 h 800100"/>
              <a:gd name="connsiteX541" fmla="*/ 1957260 w 2114552"/>
              <a:gd name="connsiteY541" fmla="*/ 450256 h 800100"/>
              <a:gd name="connsiteX542" fmla="*/ 1965498 w 2114552"/>
              <a:gd name="connsiteY542" fmla="*/ 462757 h 800100"/>
              <a:gd name="connsiteX543" fmla="*/ 2010806 w 2114552"/>
              <a:gd name="connsiteY543" fmla="*/ 475259 h 800100"/>
              <a:gd name="connsiteX544" fmla="*/ 2023163 w 2114552"/>
              <a:gd name="connsiteY544" fmla="*/ 471092 h 800100"/>
              <a:gd name="connsiteX545" fmla="*/ 1949022 w 2114552"/>
              <a:gd name="connsiteY545" fmla="*/ 187722 h 800100"/>
              <a:gd name="connsiteX546" fmla="*/ 1941299 w 2114552"/>
              <a:gd name="connsiteY546" fmla="*/ 180951 h 800100"/>
              <a:gd name="connsiteX547" fmla="*/ 1491989 w 2114552"/>
              <a:gd name="connsiteY547" fmla="*/ 180951 h 800100"/>
              <a:gd name="connsiteX548" fmla="*/ 1484185 w 2114552"/>
              <a:gd name="connsiteY548" fmla="*/ 187722 h 800100"/>
              <a:gd name="connsiteX549" fmla="*/ 1409272 w 2114552"/>
              <a:gd name="connsiteY549" fmla="*/ 471092 h 800100"/>
              <a:gd name="connsiteX550" fmla="*/ 1421758 w 2114552"/>
              <a:gd name="connsiteY550" fmla="*/ 475259 h 800100"/>
              <a:gd name="connsiteX551" fmla="*/ 1467538 w 2114552"/>
              <a:gd name="connsiteY551" fmla="*/ 462757 h 800100"/>
              <a:gd name="connsiteX552" fmla="*/ 1475862 w 2114552"/>
              <a:gd name="connsiteY552" fmla="*/ 450256 h 800100"/>
              <a:gd name="connsiteX553" fmla="*/ 1529965 w 2114552"/>
              <a:gd name="connsiteY553" fmla="*/ 237729 h 800100"/>
              <a:gd name="connsiteX554" fmla="*/ 1534127 w 2114552"/>
              <a:gd name="connsiteY554" fmla="*/ 221060 h 800100"/>
              <a:gd name="connsiteX555" fmla="*/ 1496671 w 2114552"/>
              <a:gd name="connsiteY555" fmla="*/ 183555 h 800100"/>
              <a:gd name="connsiteX556" fmla="*/ 1491989 w 2114552"/>
              <a:gd name="connsiteY556" fmla="*/ 180951 h 800100"/>
              <a:gd name="connsiteX557" fmla="*/ 1750379 w 2114552"/>
              <a:gd name="connsiteY557" fmla="*/ 174625 h 800100"/>
              <a:gd name="connsiteX558" fmla="*/ 1746251 w 2114552"/>
              <a:gd name="connsiteY558" fmla="*/ 187144 h 800100"/>
              <a:gd name="connsiteX559" fmla="*/ 1754506 w 2114552"/>
              <a:gd name="connsiteY559" fmla="*/ 308156 h 800100"/>
              <a:gd name="connsiteX560" fmla="*/ 1762761 w 2114552"/>
              <a:gd name="connsiteY560" fmla="*/ 320675 h 800100"/>
              <a:gd name="connsiteX561" fmla="*/ 1775144 w 2114552"/>
              <a:gd name="connsiteY561" fmla="*/ 320675 h 800100"/>
              <a:gd name="connsiteX562" fmla="*/ 1882459 w 2114552"/>
              <a:gd name="connsiteY562" fmla="*/ 266428 h 800100"/>
              <a:gd name="connsiteX563" fmla="*/ 1890714 w 2114552"/>
              <a:gd name="connsiteY563" fmla="*/ 258082 h 800100"/>
              <a:gd name="connsiteX564" fmla="*/ 1886587 w 2114552"/>
              <a:gd name="connsiteY564" fmla="*/ 249736 h 800100"/>
              <a:gd name="connsiteX565" fmla="*/ 1758634 w 2114552"/>
              <a:gd name="connsiteY565" fmla="*/ 174625 h 800100"/>
              <a:gd name="connsiteX566" fmla="*/ 1750379 w 2114552"/>
              <a:gd name="connsiteY566" fmla="*/ 174625 h 800100"/>
              <a:gd name="connsiteX567" fmla="*/ 1675132 w 2114552"/>
              <a:gd name="connsiteY567" fmla="*/ 174625 h 800100"/>
              <a:gd name="connsiteX568" fmla="*/ 1547179 w 2114552"/>
              <a:gd name="connsiteY568" fmla="*/ 249736 h 800100"/>
              <a:gd name="connsiteX569" fmla="*/ 1543051 w 2114552"/>
              <a:gd name="connsiteY569" fmla="*/ 258082 h 800100"/>
              <a:gd name="connsiteX570" fmla="*/ 1551306 w 2114552"/>
              <a:gd name="connsiteY570" fmla="*/ 266428 h 800100"/>
              <a:gd name="connsiteX571" fmla="*/ 1658622 w 2114552"/>
              <a:gd name="connsiteY571" fmla="*/ 320675 h 800100"/>
              <a:gd name="connsiteX572" fmla="*/ 1671004 w 2114552"/>
              <a:gd name="connsiteY572" fmla="*/ 320675 h 800100"/>
              <a:gd name="connsiteX573" fmla="*/ 1675132 w 2114552"/>
              <a:gd name="connsiteY573" fmla="*/ 312329 h 800100"/>
              <a:gd name="connsiteX574" fmla="*/ 1687514 w 2114552"/>
              <a:gd name="connsiteY574" fmla="*/ 187144 h 800100"/>
              <a:gd name="connsiteX575" fmla="*/ 1683387 w 2114552"/>
              <a:gd name="connsiteY575" fmla="*/ 174625 h 800100"/>
              <a:gd name="connsiteX576" fmla="*/ 1675132 w 2114552"/>
              <a:gd name="connsiteY576" fmla="*/ 174625 h 800100"/>
              <a:gd name="connsiteX577" fmla="*/ 1579247 w 2114552"/>
              <a:gd name="connsiteY577" fmla="*/ 133350 h 800100"/>
              <a:gd name="connsiteX578" fmla="*/ 1566864 w 2114552"/>
              <a:gd name="connsiteY578" fmla="*/ 142082 h 800100"/>
              <a:gd name="connsiteX579" fmla="*/ 1570992 w 2114552"/>
              <a:gd name="connsiteY579" fmla="*/ 142082 h 800100"/>
              <a:gd name="connsiteX580" fmla="*/ 1575119 w 2114552"/>
              <a:gd name="connsiteY580" fmla="*/ 150813 h 800100"/>
              <a:gd name="connsiteX581" fmla="*/ 1583375 w 2114552"/>
              <a:gd name="connsiteY581" fmla="*/ 146447 h 800100"/>
              <a:gd name="connsiteX582" fmla="*/ 1587502 w 2114552"/>
              <a:gd name="connsiteY582" fmla="*/ 142082 h 800100"/>
              <a:gd name="connsiteX583" fmla="*/ 1579247 w 2114552"/>
              <a:gd name="connsiteY583" fmla="*/ 133350 h 800100"/>
              <a:gd name="connsiteX584" fmla="*/ 1575142 w 2114552"/>
              <a:gd name="connsiteY584" fmla="*/ 124846 h 800100"/>
              <a:gd name="connsiteX585" fmla="*/ 1596120 w 2114552"/>
              <a:gd name="connsiteY585" fmla="*/ 141628 h 800100"/>
              <a:gd name="connsiteX586" fmla="*/ 1596120 w 2114552"/>
              <a:gd name="connsiteY586" fmla="*/ 145823 h 800100"/>
              <a:gd name="connsiteX587" fmla="*/ 1612902 w 2114552"/>
              <a:gd name="connsiteY587" fmla="*/ 162606 h 800100"/>
              <a:gd name="connsiteX588" fmla="*/ 1604511 w 2114552"/>
              <a:gd name="connsiteY588" fmla="*/ 166801 h 800100"/>
              <a:gd name="connsiteX589" fmla="*/ 1587729 w 2114552"/>
              <a:gd name="connsiteY589" fmla="*/ 154215 h 800100"/>
              <a:gd name="connsiteX590" fmla="*/ 1579338 w 2114552"/>
              <a:gd name="connsiteY590" fmla="*/ 158410 h 800100"/>
              <a:gd name="connsiteX591" fmla="*/ 1587729 w 2114552"/>
              <a:gd name="connsiteY591" fmla="*/ 175192 h 800100"/>
              <a:gd name="connsiteX592" fmla="*/ 1579338 w 2114552"/>
              <a:gd name="connsiteY592" fmla="*/ 179388 h 800100"/>
              <a:gd name="connsiteX593" fmla="*/ 1558360 w 2114552"/>
              <a:gd name="connsiteY593" fmla="*/ 141628 h 800100"/>
              <a:gd name="connsiteX594" fmla="*/ 1554164 w 2114552"/>
              <a:gd name="connsiteY594" fmla="*/ 137432 h 800100"/>
              <a:gd name="connsiteX595" fmla="*/ 1575142 w 2114552"/>
              <a:gd name="connsiteY595" fmla="*/ 124846 h 800100"/>
              <a:gd name="connsiteX596" fmla="*/ 1836161 w 2114552"/>
              <a:gd name="connsiteY596" fmla="*/ 117475 h 800100"/>
              <a:gd name="connsiteX597" fmla="*/ 1844532 w 2114552"/>
              <a:gd name="connsiteY597" fmla="*/ 121557 h 800100"/>
              <a:gd name="connsiteX598" fmla="*/ 1848717 w 2114552"/>
              <a:gd name="connsiteY598" fmla="*/ 141968 h 800100"/>
              <a:gd name="connsiteX599" fmla="*/ 1869644 w 2114552"/>
              <a:gd name="connsiteY599" fmla="*/ 133804 h 800100"/>
              <a:gd name="connsiteX600" fmla="*/ 1878014 w 2114552"/>
              <a:gd name="connsiteY600" fmla="*/ 137886 h 800100"/>
              <a:gd name="connsiteX601" fmla="*/ 1848717 w 2114552"/>
              <a:gd name="connsiteY601" fmla="*/ 154214 h 800100"/>
              <a:gd name="connsiteX602" fmla="*/ 1840347 w 2114552"/>
              <a:gd name="connsiteY602" fmla="*/ 174625 h 800100"/>
              <a:gd name="connsiteX603" fmla="*/ 1831976 w 2114552"/>
              <a:gd name="connsiteY603" fmla="*/ 166461 h 800100"/>
              <a:gd name="connsiteX604" fmla="*/ 1840347 w 2114552"/>
              <a:gd name="connsiteY604" fmla="*/ 146050 h 800100"/>
              <a:gd name="connsiteX605" fmla="*/ 1836161 w 2114552"/>
              <a:gd name="connsiteY605" fmla="*/ 117475 h 800100"/>
              <a:gd name="connsiteX606" fmla="*/ 1794829 w 2114552"/>
              <a:gd name="connsiteY606" fmla="*/ 112713 h 800100"/>
              <a:gd name="connsiteX607" fmla="*/ 1790701 w 2114552"/>
              <a:gd name="connsiteY607" fmla="*/ 120651 h 800100"/>
              <a:gd name="connsiteX608" fmla="*/ 1790701 w 2114552"/>
              <a:gd name="connsiteY608" fmla="*/ 124619 h 800100"/>
              <a:gd name="connsiteX609" fmla="*/ 1803084 w 2114552"/>
              <a:gd name="connsiteY609" fmla="*/ 128588 h 800100"/>
              <a:gd name="connsiteX610" fmla="*/ 1811339 w 2114552"/>
              <a:gd name="connsiteY610" fmla="*/ 120651 h 800100"/>
              <a:gd name="connsiteX611" fmla="*/ 1807212 w 2114552"/>
              <a:gd name="connsiteY611" fmla="*/ 116682 h 800100"/>
              <a:gd name="connsiteX612" fmla="*/ 1794829 w 2114552"/>
              <a:gd name="connsiteY612" fmla="*/ 112713 h 800100"/>
              <a:gd name="connsiteX613" fmla="*/ 1637508 w 2114552"/>
              <a:gd name="connsiteY613" fmla="*/ 112117 h 800100"/>
              <a:gd name="connsiteX614" fmla="*/ 1620839 w 2114552"/>
              <a:gd name="connsiteY614" fmla="*/ 124619 h 800100"/>
              <a:gd name="connsiteX615" fmla="*/ 1620839 w 2114552"/>
              <a:gd name="connsiteY615" fmla="*/ 128786 h 800100"/>
              <a:gd name="connsiteX616" fmla="*/ 1637508 w 2114552"/>
              <a:gd name="connsiteY616" fmla="*/ 141288 h 800100"/>
              <a:gd name="connsiteX617" fmla="*/ 1654177 w 2114552"/>
              <a:gd name="connsiteY617" fmla="*/ 124619 h 800100"/>
              <a:gd name="connsiteX618" fmla="*/ 1637508 w 2114552"/>
              <a:gd name="connsiteY618" fmla="*/ 112117 h 800100"/>
              <a:gd name="connsiteX619" fmla="*/ 1741489 w 2114552"/>
              <a:gd name="connsiteY619" fmla="*/ 104775 h 800100"/>
              <a:gd name="connsiteX620" fmla="*/ 1737520 w 2114552"/>
              <a:gd name="connsiteY620" fmla="*/ 117158 h 800100"/>
              <a:gd name="connsiteX621" fmla="*/ 1733551 w 2114552"/>
              <a:gd name="connsiteY621" fmla="*/ 125413 h 800100"/>
              <a:gd name="connsiteX622" fmla="*/ 1749426 w 2114552"/>
              <a:gd name="connsiteY622" fmla="*/ 125413 h 800100"/>
              <a:gd name="connsiteX623" fmla="*/ 1745457 w 2114552"/>
              <a:gd name="connsiteY623" fmla="*/ 117158 h 800100"/>
              <a:gd name="connsiteX624" fmla="*/ 1741489 w 2114552"/>
              <a:gd name="connsiteY624" fmla="*/ 104775 h 800100"/>
              <a:gd name="connsiteX625" fmla="*/ 1633407 w 2114552"/>
              <a:gd name="connsiteY625" fmla="*/ 104165 h 800100"/>
              <a:gd name="connsiteX626" fmla="*/ 1662114 w 2114552"/>
              <a:gd name="connsiteY626" fmla="*/ 124925 h 800100"/>
              <a:gd name="connsiteX627" fmla="*/ 1637508 w 2114552"/>
              <a:gd name="connsiteY627" fmla="*/ 149836 h 800100"/>
              <a:gd name="connsiteX628" fmla="*/ 1612901 w 2114552"/>
              <a:gd name="connsiteY628" fmla="*/ 129076 h 800100"/>
              <a:gd name="connsiteX629" fmla="*/ 1612901 w 2114552"/>
              <a:gd name="connsiteY629" fmla="*/ 124925 h 800100"/>
              <a:gd name="connsiteX630" fmla="*/ 1633407 w 2114552"/>
              <a:gd name="connsiteY630" fmla="*/ 104165 h 800100"/>
              <a:gd name="connsiteX631" fmla="*/ 1787382 w 2114552"/>
              <a:gd name="connsiteY631" fmla="*/ 100013 h 800100"/>
              <a:gd name="connsiteX632" fmla="*/ 1812494 w 2114552"/>
              <a:gd name="connsiteY632" fmla="*/ 108404 h 800100"/>
              <a:gd name="connsiteX633" fmla="*/ 1820864 w 2114552"/>
              <a:gd name="connsiteY633" fmla="*/ 120991 h 800100"/>
              <a:gd name="connsiteX634" fmla="*/ 1808308 w 2114552"/>
              <a:gd name="connsiteY634" fmla="*/ 137773 h 800100"/>
              <a:gd name="connsiteX635" fmla="*/ 1812494 w 2114552"/>
              <a:gd name="connsiteY635" fmla="*/ 158751 h 800100"/>
              <a:gd name="connsiteX636" fmla="*/ 1804123 w 2114552"/>
              <a:gd name="connsiteY636" fmla="*/ 154555 h 800100"/>
              <a:gd name="connsiteX637" fmla="*/ 1799938 w 2114552"/>
              <a:gd name="connsiteY637" fmla="*/ 133578 h 800100"/>
              <a:gd name="connsiteX638" fmla="*/ 1791567 w 2114552"/>
              <a:gd name="connsiteY638" fmla="*/ 133578 h 800100"/>
              <a:gd name="connsiteX639" fmla="*/ 1787382 w 2114552"/>
              <a:gd name="connsiteY639" fmla="*/ 150360 h 800100"/>
              <a:gd name="connsiteX640" fmla="*/ 1774826 w 2114552"/>
              <a:gd name="connsiteY640" fmla="*/ 146164 h 800100"/>
              <a:gd name="connsiteX641" fmla="*/ 1783197 w 2114552"/>
              <a:gd name="connsiteY641" fmla="*/ 120991 h 800100"/>
              <a:gd name="connsiteX642" fmla="*/ 1787382 w 2114552"/>
              <a:gd name="connsiteY642" fmla="*/ 100013 h 800100"/>
              <a:gd name="connsiteX643" fmla="*/ 1737015 w 2114552"/>
              <a:gd name="connsiteY643" fmla="*/ 92075 h 800100"/>
              <a:gd name="connsiteX644" fmla="*/ 1749571 w 2114552"/>
              <a:gd name="connsiteY644" fmla="*/ 92075 h 800100"/>
              <a:gd name="connsiteX645" fmla="*/ 1753757 w 2114552"/>
              <a:gd name="connsiteY645" fmla="*/ 116987 h 800100"/>
              <a:gd name="connsiteX646" fmla="*/ 1762127 w 2114552"/>
              <a:gd name="connsiteY646" fmla="*/ 146050 h 800100"/>
              <a:gd name="connsiteX647" fmla="*/ 1753757 w 2114552"/>
              <a:gd name="connsiteY647" fmla="*/ 141898 h 800100"/>
              <a:gd name="connsiteX648" fmla="*/ 1749571 w 2114552"/>
              <a:gd name="connsiteY648" fmla="*/ 133594 h 800100"/>
              <a:gd name="connsiteX649" fmla="*/ 1728645 w 2114552"/>
              <a:gd name="connsiteY649" fmla="*/ 133594 h 800100"/>
              <a:gd name="connsiteX650" fmla="*/ 1724460 w 2114552"/>
              <a:gd name="connsiteY650" fmla="*/ 141898 h 800100"/>
              <a:gd name="connsiteX651" fmla="*/ 1716089 w 2114552"/>
              <a:gd name="connsiteY651" fmla="*/ 141898 h 800100"/>
              <a:gd name="connsiteX652" fmla="*/ 1728645 w 2114552"/>
              <a:gd name="connsiteY652" fmla="*/ 116987 h 800100"/>
              <a:gd name="connsiteX653" fmla="*/ 1737015 w 2114552"/>
              <a:gd name="connsiteY653" fmla="*/ 92075 h 800100"/>
              <a:gd name="connsiteX654" fmla="*/ 1712914 w 2114552"/>
              <a:gd name="connsiteY654" fmla="*/ 92075 h 800100"/>
              <a:gd name="connsiteX655" fmla="*/ 1712914 w 2114552"/>
              <a:gd name="connsiteY655" fmla="*/ 100277 h 800100"/>
              <a:gd name="connsiteX656" fmla="*/ 1696173 w 2114552"/>
              <a:gd name="connsiteY656" fmla="*/ 100277 h 800100"/>
              <a:gd name="connsiteX657" fmla="*/ 1700358 w 2114552"/>
              <a:gd name="connsiteY657" fmla="*/ 141288 h 800100"/>
              <a:gd name="connsiteX658" fmla="*/ 1687802 w 2114552"/>
              <a:gd name="connsiteY658" fmla="*/ 141288 h 800100"/>
              <a:gd name="connsiteX659" fmla="*/ 1683617 w 2114552"/>
              <a:gd name="connsiteY659" fmla="*/ 100277 h 800100"/>
              <a:gd name="connsiteX660" fmla="*/ 1666876 w 2114552"/>
              <a:gd name="connsiteY660" fmla="*/ 104378 h 800100"/>
              <a:gd name="connsiteX661" fmla="*/ 1666876 w 2114552"/>
              <a:gd name="connsiteY661" fmla="*/ 96176 h 800100"/>
              <a:gd name="connsiteX662" fmla="*/ 1712914 w 2114552"/>
              <a:gd name="connsiteY662" fmla="*/ 92075 h 800100"/>
              <a:gd name="connsiteX663" fmla="*/ 1181630 w 2114552"/>
              <a:gd name="connsiteY663" fmla="*/ 92074 h 800100"/>
              <a:gd name="connsiteX664" fmla="*/ 1147763 w 2114552"/>
              <a:gd name="connsiteY664" fmla="*/ 133349 h 800100"/>
              <a:gd name="connsiteX665" fmla="*/ 1211263 w 2114552"/>
              <a:gd name="connsiteY665" fmla="*/ 133349 h 800100"/>
              <a:gd name="connsiteX666" fmla="*/ 1181630 w 2114552"/>
              <a:gd name="connsiteY666" fmla="*/ 92074 h 800100"/>
              <a:gd name="connsiteX667" fmla="*/ 1716089 w 2114552"/>
              <a:gd name="connsiteY667" fmla="*/ 84138 h 800100"/>
              <a:gd name="connsiteX668" fmla="*/ 1521183 w 2114552"/>
              <a:gd name="connsiteY668" fmla="*/ 150178 h 800100"/>
              <a:gd name="connsiteX669" fmla="*/ 1517036 w 2114552"/>
              <a:gd name="connsiteY669" fmla="*/ 166688 h 800100"/>
              <a:gd name="connsiteX670" fmla="*/ 1550212 w 2114552"/>
              <a:gd name="connsiteY670" fmla="*/ 203836 h 800100"/>
              <a:gd name="connsiteX671" fmla="*/ 1566799 w 2114552"/>
              <a:gd name="connsiteY671" fmla="*/ 203836 h 800100"/>
              <a:gd name="connsiteX672" fmla="*/ 1716089 w 2114552"/>
              <a:gd name="connsiteY672" fmla="*/ 150178 h 800100"/>
              <a:gd name="connsiteX673" fmla="*/ 1865379 w 2114552"/>
              <a:gd name="connsiteY673" fmla="*/ 203836 h 800100"/>
              <a:gd name="connsiteX674" fmla="*/ 1881967 w 2114552"/>
              <a:gd name="connsiteY674" fmla="*/ 203836 h 800100"/>
              <a:gd name="connsiteX675" fmla="*/ 1915142 w 2114552"/>
              <a:gd name="connsiteY675" fmla="*/ 166688 h 800100"/>
              <a:gd name="connsiteX676" fmla="*/ 1910995 w 2114552"/>
              <a:gd name="connsiteY676" fmla="*/ 150178 h 800100"/>
              <a:gd name="connsiteX677" fmla="*/ 1716089 w 2114552"/>
              <a:gd name="connsiteY677" fmla="*/ 84138 h 800100"/>
              <a:gd name="connsiteX678" fmla="*/ 1181894 w 2114552"/>
              <a:gd name="connsiteY678" fmla="*/ 84137 h 800100"/>
              <a:gd name="connsiteX679" fmla="*/ 1227138 w 2114552"/>
              <a:gd name="connsiteY679" fmla="*/ 137942 h 800100"/>
              <a:gd name="connsiteX680" fmla="*/ 1227138 w 2114552"/>
              <a:gd name="connsiteY680" fmla="*/ 146220 h 800100"/>
              <a:gd name="connsiteX681" fmla="*/ 1148989 w 2114552"/>
              <a:gd name="connsiteY681" fmla="*/ 146220 h 800100"/>
              <a:gd name="connsiteX682" fmla="*/ 1186007 w 2114552"/>
              <a:gd name="connsiteY682" fmla="*/ 187608 h 800100"/>
              <a:gd name="connsiteX683" fmla="*/ 1218912 w 2114552"/>
              <a:gd name="connsiteY683" fmla="*/ 179331 h 800100"/>
              <a:gd name="connsiteX684" fmla="*/ 1218912 w 2114552"/>
              <a:gd name="connsiteY684" fmla="*/ 191747 h 800100"/>
              <a:gd name="connsiteX685" fmla="*/ 1186007 w 2114552"/>
              <a:gd name="connsiteY685" fmla="*/ 200025 h 800100"/>
              <a:gd name="connsiteX686" fmla="*/ 1136650 w 2114552"/>
              <a:gd name="connsiteY686" fmla="*/ 142081 h 800100"/>
              <a:gd name="connsiteX687" fmla="*/ 1181894 w 2114552"/>
              <a:gd name="connsiteY687" fmla="*/ 84137 h 800100"/>
              <a:gd name="connsiteX688" fmla="*/ 887413 w 2114552"/>
              <a:gd name="connsiteY688" fmla="*/ 41274 h 800100"/>
              <a:gd name="connsiteX689" fmla="*/ 995363 w 2114552"/>
              <a:gd name="connsiteY689" fmla="*/ 41274 h 800100"/>
              <a:gd name="connsiteX690" fmla="*/ 995363 w 2114552"/>
              <a:gd name="connsiteY690" fmla="*/ 53974 h 800100"/>
              <a:gd name="connsiteX691" fmla="*/ 949326 w 2114552"/>
              <a:gd name="connsiteY691" fmla="*/ 53974 h 800100"/>
              <a:gd name="connsiteX692" fmla="*/ 949326 w 2114552"/>
              <a:gd name="connsiteY692" fmla="*/ 195262 h 800100"/>
              <a:gd name="connsiteX693" fmla="*/ 933451 w 2114552"/>
              <a:gd name="connsiteY693" fmla="*/ 195262 h 800100"/>
              <a:gd name="connsiteX694" fmla="*/ 933451 w 2114552"/>
              <a:gd name="connsiteY694" fmla="*/ 53974 h 800100"/>
              <a:gd name="connsiteX695" fmla="*/ 887413 w 2114552"/>
              <a:gd name="connsiteY695" fmla="*/ 53974 h 800100"/>
              <a:gd name="connsiteX696" fmla="*/ 1020763 w 2114552"/>
              <a:gd name="connsiteY696" fmla="*/ 28574 h 800100"/>
              <a:gd name="connsiteX697" fmla="*/ 1033010 w 2114552"/>
              <a:gd name="connsiteY697" fmla="*/ 28574 h 800100"/>
              <a:gd name="connsiteX698" fmla="*/ 1033010 w 2114552"/>
              <a:gd name="connsiteY698" fmla="*/ 103584 h 800100"/>
              <a:gd name="connsiteX699" fmla="*/ 1069749 w 2114552"/>
              <a:gd name="connsiteY699" fmla="*/ 82748 h 800100"/>
              <a:gd name="connsiteX700" fmla="*/ 1106488 w 2114552"/>
              <a:gd name="connsiteY700" fmla="*/ 128587 h 800100"/>
              <a:gd name="connsiteX701" fmla="*/ 1106488 w 2114552"/>
              <a:gd name="connsiteY701" fmla="*/ 195262 h 800100"/>
              <a:gd name="connsiteX702" fmla="*/ 1090160 w 2114552"/>
              <a:gd name="connsiteY702" fmla="*/ 195262 h 800100"/>
              <a:gd name="connsiteX703" fmla="*/ 1090160 w 2114552"/>
              <a:gd name="connsiteY703" fmla="*/ 128587 h 800100"/>
              <a:gd name="connsiteX704" fmla="*/ 1065667 w 2114552"/>
              <a:gd name="connsiteY704" fmla="*/ 91082 h 800100"/>
              <a:gd name="connsiteX705" fmla="*/ 1033010 w 2114552"/>
              <a:gd name="connsiteY705" fmla="*/ 136921 h 800100"/>
              <a:gd name="connsiteX706" fmla="*/ 1033010 w 2114552"/>
              <a:gd name="connsiteY706" fmla="*/ 195262 h 800100"/>
              <a:gd name="connsiteX707" fmla="*/ 1020763 w 2114552"/>
              <a:gd name="connsiteY707" fmla="*/ 195262 h 800100"/>
              <a:gd name="connsiteX708" fmla="*/ 1704456 w 2114552"/>
              <a:gd name="connsiteY708" fmla="*/ 0 h 800100"/>
              <a:gd name="connsiteX709" fmla="*/ 1729310 w 2114552"/>
              <a:gd name="connsiteY709" fmla="*/ 0 h 800100"/>
              <a:gd name="connsiteX710" fmla="*/ 1745880 w 2114552"/>
              <a:gd name="connsiteY710" fmla="*/ 62461 h 800100"/>
              <a:gd name="connsiteX711" fmla="*/ 1774877 w 2114552"/>
              <a:gd name="connsiteY711" fmla="*/ 66625 h 800100"/>
              <a:gd name="connsiteX712" fmla="*/ 1803873 w 2114552"/>
              <a:gd name="connsiteY712" fmla="*/ 12492 h 800100"/>
              <a:gd name="connsiteX713" fmla="*/ 1808016 w 2114552"/>
              <a:gd name="connsiteY713" fmla="*/ 12492 h 800100"/>
              <a:gd name="connsiteX714" fmla="*/ 1832870 w 2114552"/>
              <a:gd name="connsiteY714" fmla="*/ 16656 h 800100"/>
              <a:gd name="connsiteX715" fmla="*/ 1832870 w 2114552"/>
              <a:gd name="connsiteY715" fmla="*/ 20820 h 800100"/>
              <a:gd name="connsiteX716" fmla="*/ 1837012 w 2114552"/>
              <a:gd name="connsiteY716" fmla="*/ 49969 h 800100"/>
              <a:gd name="connsiteX717" fmla="*/ 1832870 w 2114552"/>
              <a:gd name="connsiteY717" fmla="*/ 83282 h 800100"/>
              <a:gd name="connsiteX718" fmla="*/ 1857724 w 2114552"/>
              <a:gd name="connsiteY718" fmla="*/ 91610 h 800100"/>
              <a:gd name="connsiteX719" fmla="*/ 1903291 w 2114552"/>
              <a:gd name="connsiteY719" fmla="*/ 49969 h 800100"/>
              <a:gd name="connsiteX720" fmla="*/ 1928145 w 2114552"/>
              <a:gd name="connsiteY720" fmla="*/ 62461 h 800100"/>
              <a:gd name="connsiteX721" fmla="*/ 1911575 w 2114552"/>
              <a:gd name="connsiteY721" fmla="*/ 124922 h 800100"/>
              <a:gd name="connsiteX722" fmla="*/ 1932287 w 2114552"/>
              <a:gd name="connsiteY722" fmla="*/ 141579 h 800100"/>
              <a:gd name="connsiteX723" fmla="*/ 1986138 w 2114552"/>
              <a:gd name="connsiteY723" fmla="*/ 108266 h 800100"/>
              <a:gd name="connsiteX724" fmla="*/ 2006850 w 2114552"/>
              <a:gd name="connsiteY724" fmla="*/ 129086 h 800100"/>
              <a:gd name="connsiteX725" fmla="*/ 1973711 w 2114552"/>
              <a:gd name="connsiteY725" fmla="*/ 183219 h 800100"/>
              <a:gd name="connsiteX726" fmla="*/ 1990281 w 2114552"/>
              <a:gd name="connsiteY726" fmla="*/ 204040 h 800100"/>
              <a:gd name="connsiteX727" fmla="*/ 2052416 w 2114552"/>
              <a:gd name="connsiteY727" fmla="*/ 187383 h 800100"/>
              <a:gd name="connsiteX728" fmla="*/ 2052416 w 2114552"/>
              <a:gd name="connsiteY728" fmla="*/ 191547 h 800100"/>
              <a:gd name="connsiteX729" fmla="*/ 2064844 w 2114552"/>
              <a:gd name="connsiteY729" fmla="*/ 212368 h 800100"/>
              <a:gd name="connsiteX730" fmla="*/ 2023420 w 2114552"/>
              <a:gd name="connsiteY730" fmla="*/ 258173 h 800100"/>
              <a:gd name="connsiteX731" fmla="*/ 2031705 w 2114552"/>
              <a:gd name="connsiteY731" fmla="*/ 283157 h 800100"/>
              <a:gd name="connsiteX732" fmla="*/ 2093840 w 2114552"/>
              <a:gd name="connsiteY732" fmla="*/ 283157 h 800100"/>
              <a:gd name="connsiteX733" fmla="*/ 2102125 w 2114552"/>
              <a:gd name="connsiteY733" fmla="*/ 308141 h 800100"/>
              <a:gd name="connsiteX734" fmla="*/ 2102125 w 2114552"/>
              <a:gd name="connsiteY734" fmla="*/ 312306 h 800100"/>
              <a:gd name="connsiteX735" fmla="*/ 2048274 w 2114552"/>
              <a:gd name="connsiteY735" fmla="*/ 341454 h 800100"/>
              <a:gd name="connsiteX736" fmla="*/ 2052416 w 2114552"/>
              <a:gd name="connsiteY736" fmla="*/ 366438 h 800100"/>
              <a:gd name="connsiteX737" fmla="*/ 2110410 w 2114552"/>
              <a:gd name="connsiteY737" fmla="*/ 383095 h 800100"/>
              <a:gd name="connsiteX738" fmla="*/ 2110410 w 2114552"/>
              <a:gd name="connsiteY738" fmla="*/ 387259 h 800100"/>
              <a:gd name="connsiteX739" fmla="*/ 2114552 w 2114552"/>
              <a:gd name="connsiteY739" fmla="*/ 399751 h 800100"/>
              <a:gd name="connsiteX740" fmla="*/ 2110410 w 2114552"/>
              <a:gd name="connsiteY740" fmla="*/ 412243 h 800100"/>
              <a:gd name="connsiteX741" fmla="*/ 2052416 w 2114552"/>
              <a:gd name="connsiteY741" fmla="*/ 428900 h 800100"/>
              <a:gd name="connsiteX742" fmla="*/ 2048274 w 2114552"/>
              <a:gd name="connsiteY742" fmla="*/ 453884 h 800100"/>
              <a:gd name="connsiteX743" fmla="*/ 2102125 w 2114552"/>
              <a:gd name="connsiteY743" fmla="*/ 487197 h 800100"/>
              <a:gd name="connsiteX744" fmla="*/ 2093840 w 2114552"/>
              <a:gd name="connsiteY744" fmla="*/ 512181 h 800100"/>
              <a:gd name="connsiteX745" fmla="*/ 2093840 w 2114552"/>
              <a:gd name="connsiteY745" fmla="*/ 516345 h 800100"/>
              <a:gd name="connsiteX746" fmla="*/ 2031705 w 2114552"/>
              <a:gd name="connsiteY746" fmla="*/ 516345 h 800100"/>
              <a:gd name="connsiteX747" fmla="*/ 2023420 w 2114552"/>
              <a:gd name="connsiteY747" fmla="*/ 537165 h 800100"/>
              <a:gd name="connsiteX748" fmla="*/ 2064844 w 2114552"/>
              <a:gd name="connsiteY748" fmla="*/ 582970 h 800100"/>
              <a:gd name="connsiteX749" fmla="*/ 2064844 w 2114552"/>
              <a:gd name="connsiteY749" fmla="*/ 587134 h 800100"/>
              <a:gd name="connsiteX750" fmla="*/ 2052416 w 2114552"/>
              <a:gd name="connsiteY750" fmla="*/ 607955 h 800100"/>
              <a:gd name="connsiteX751" fmla="*/ 1990281 w 2114552"/>
              <a:gd name="connsiteY751" fmla="*/ 591298 h 800100"/>
              <a:gd name="connsiteX752" fmla="*/ 1973711 w 2114552"/>
              <a:gd name="connsiteY752" fmla="*/ 612119 h 800100"/>
              <a:gd name="connsiteX753" fmla="*/ 2006850 w 2114552"/>
              <a:gd name="connsiteY753" fmla="*/ 666252 h 800100"/>
              <a:gd name="connsiteX754" fmla="*/ 2006850 w 2114552"/>
              <a:gd name="connsiteY754" fmla="*/ 670416 h 800100"/>
              <a:gd name="connsiteX755" fmla="*/ 1986138 w 2114552"/>
              <a:gd name="connsiteY755" fmla="*/ 687072 h 800100"/>
              <a:gd name="connsiteX756" fmla="*/ 1932287 w 2114552"/>
              <a:gd name="connsiteY756" fmla="*/ 657924 h 800100"/>
              <a:gd name="connsiteX757" fmla="*/ 1911575 w 2114552"/>
              <a:gd name="connsiteY757" fmla="*/ 674580 h 800100"/>
              <a:gd name="connsiteX758" fmla="*/ 1928145 w 2114552"/>
              <a:gd name="connsiteY758" fmla="*/ 732877 h 800100"/>
              <a:gd name="connsiteX759" fmla="*/ 1928145 w 2114552"/>
              <a:gd name="connsiteY759" fmla="*/ 737041 h 800100"/>
              <a:gd name="connsiteX760" fmla="*/ 1924002 w 2114552"/>
              <a:gd name="connsiteY760" fmla="*/ 737041 h 800100"/>
              <a:gd name="connsiteX761" fmla="*/ 1903291 w 2114552"/>
              <a:gd name="connsiteY761" fmla="*/ 749533 h 800100"/>
              <a:gd name="connsiteX762" fmla="*/ 1857724 w 2114552"/>
              <a:gd name="connsiteY762" fmla="*/ 703728 h 800100"/>
              <a:gd name="connsiteX763" fmla="*/ 1832870 w 2114552"/>
              <a:gd name="connsiteY763" fmla="*/ 716221 h 800100"/>
              <a:gd name="connsiteX764" fmla="*/ 1837012 w 2114552"/>
              <a:gd name="connsiteY764" fmla="*/ 745369 h 800100"/>
              <a:gd name="connsiteX765" fmla="*/ 1832870 w 2114552"/>
              <a:gd name="connsiteY765" fmla="*/ 778682 h 800100"/>
              <a:gd name="connsiteX766" fmla="*/ 1808016 w 2114552"/>
              <a:gd name="connsiteY766" fmla="*/ 787010 h 800100"/>
              <a:gd name="connsiteX767" fmla="*/ 1803873 w 2114552"/>
              <a:gd name="connsiteY767" fmla="*/ 787010 h 800100"/>
              <a:gd name="connsiteX768" fmla="*/ 1774877 w 2114552"/>
              <a:gd name="connsiteY768" fmla="*/ 732877 h 800100"/>
              <a:gd name="connsiteX769" fmla="*/ 1750022 w 2114552"/>
              <a:gd name="connsiteY769" fmla="*/ 732877 h 800100"/>
              <a:gd name="connsiteX770" fmla="*/ 1733453 w 2114552"/>
              <a:gd name="connsiteY770" fmla="*/ 795338 h 800100"/>
              <a:gd name="connsiteX771" fmla="*/ 1729310 w 2114552"/>
              <a:gd name="connsiteY771" fmla="*/ 795338 h 800100"/>
              <a:gd name="connsiteX772" fmla="*/ 1704456 w 2114552"/>
              <a:gd name="connsiteY772" fmla="*/ 795338 h 800100"/>
              <a:gd name="connsiteX773" fmla="*/ 1687886 w 2114552"/>
              <a:gd name="connsiteY773" fmla="*/ 732877 h 800100"/>
              <a:gd name="connsiteX774" fmla="*/ 1658890 w 2114552"/>
              <a:gd name="connsiteY774" fmla="*/ 732877 h 800100"/>
              <a:gd name="connsiteX775" fmla="*/ 1629893 w 2114552"/>
              <a:gd name="connsiteY775" fmla="*/ 787010 h 800100"/>
              <a:gd name="connsiteX776" fmla="*/ 1625751 w 2114552"/>
              <a:gd name="connsiteY776" fmla="*/ 787010 h 800100"/>
              <a:gd name="connsiteX777" fmla="*/ 1600896 w 2114552"/>
              <a:gd name="connsiteY777" fmla="*/ 778682 h 800100"/>
              <a:gd name="connsiteX778" fmla="*/ 1596754 w 2114552"/>
              <a:gd name="connsiteY778" fmla="*/ 745369 h 800100"/>
              <a:gd name="connsiteX779" fmla="*/ 1600896 w 2114552"/>
              <a:gd name="connsiteY779" fmla="*/ 716221 h 800100"/>
              <a:gd name="connsiteX780" fmla="*/ 1576042 w 2114552"/>
              <a:gd name="connsiteY780" fmla="*/ 703728 h 800100"/>
              <a:gd name="connsiteX781" fmla="*/ 1534618 w 2114552"/>
              <a:gd name="connsiteY781" fmla="*/ 749533 h 800100"/>
              <a:gd name="connsiteX782" fmla="*/ 1530476 w 2114552"/>
              <a:gd name="connsiteY782" fmla="*/ 749533 h 800100"/>
              <a:gd name="connsiteX783" fmla="*/ 1509764 w 2114552"/>
              <a:gd name="connsiteY783" fmla="*/ 737041 h 800100"/>
              <a:gd name="connsiteX784" fmla="*/ 1509764 w 2114552"/>
              <a:gd name="connsiteY784" fmla="*/ 732877 h 800100"/>
              <a:gd name="connsiteX785" fmla="*/ 1522191 w 2114552"/>
              <a:gd name="connsiteY785" fmla="*/ 674580 h 800100"/>
              <a:gd name="connsiteX786" fmla="*/ 1501479 w 2114552"/>
              <a:gd name="connsiteY786" fmla="*/ 657924 h 800100"/>
              <a:gd name="connsiteX787" fmla="*/ 1447628 w 2114552"/>
              <a:gd name="connsiteY787" fmla="*/ 687072 h 800100"/>
              <a:gd name="connsiteX788" fmla="*/ 1426916 w 2114552"/>
              <a:gd name="connsiteY788" fmla="*/ 670416 h 800100"/>
              <a:gd name="connsiteX789" fmla="*/ 1460055 w 2114552"/>
              <a:gd name="connsiteY789" fmla="*/ 616283 h 800100"/>
              <a:gd name="connsiteX790" fmla="*/ 1443486 w 2114552"/>
              <a:gd name="connsiteY790" fmla="*/ 591298 h 800100"/>
              <a:gd name="connsiteX791" fmla="*/ 1381350 w 2114552"/>
              <a:gd name="connsiteY791" fmla="*/ 607955 h 800100"/>
              <a:gd name="connsiteX792" fmla="*/ 1368923 w 2114552"/>
              <a:gd name="connsiteY792" fmla="*/ 587134 h 800100"/>
              <a:gd name="connsiteX793" fmla="*/ 1368923 w 2114552"/>
              <a:gd name="connsiteY793" fmla="*/ 582970 h 800100"/>
              <a:gd name="connsiteX794" fmla="*/ 1414489 w 2114552"/>
              <a:gd name="connsiteY794" fmla="*/ 541330 h 800100"/>
              <a:gd name="connsiteX795" fmla="*/ 1402062 w 2114552"/>
              <a:gd name="connsiteY795" fmla="*/ 516345 h 800100"/>
              <a:gd name="connsiteX796" fmla="*/ 1339926 w 2114552"/>
              <a:gd name="connsiteY796" fmla="*/ 516345 h 800100"/>
              <a:gd name="connsiteX797" fmla="*/ 1331641 w 2114552"/>
              <a:gd name="connsiteY797" fmla="*/ 491361 h 800100"/>
              <a:gd name="connsiteX798" fmla="*/ 1331641 w 2114552"/>
              <a:gd name="connsiteY798" fmla="*/ 487197 h 800100"/>
              <a:gd name="connsiteX799" fmla="*/ 1385492 w 2114552"/>
              <a:gd name="connsiteY799" fmla="*/ 453884 h 800100"/>
              <a:gd name="connsiteX800" fmla="*/ 1381350 w 2114552"/>
              <a:gd name="connsiteY800" fmla="*/ 428900 h 800100"/>
              <a:gd name="connsiteX801" fmla="*/ 1323357 w 2114552"/>
              <a:gd name="connsiteY801" fmla="*/ 412243 h 800100"/>
              <a:gd name="connsiteX802" fmla="*/ 1319214 w 2114552"/>
              <a:gd name="connsiteY802" fmla="*/ 412243 h 800100"/>
              <a:gd name="connsiteX803" fmla="*/ 1319214 w 2114552"/>
              <a:gd name="connsiteY803" fmla="*/ 399751 h 800100"/>
              <a:gd name="connsiteX804" fmla="*/ 1319214 w 2114552"/>
              <a:gd name="connsiteY804" fmla="*/ 383095 h 800100"/>
              <a:gd name="connsiteX805" fmla="*/ 1323357 w 2114552"/>
              <a:gd name="connsiteY805" fmla="*/ 383095 h 800100"/>
              <a:gd name="connsiteX806" fmla="*/ 1381350 w 2114552"/>
              <a:gd name="connsiteY806" fmla="*/ 366438 h 800100"/>
              <a:gd name="connsiteX807" fmla="*/ 1385492 w 2114552"/>
              <a:gd name="connsiteY807" fmla="*/ 341454 h 800100"/>
              <a:gd name="connsiteX808" fmla="*/ 1331641 w 2114552"/>
              <a:gd name="connsiteY808" fmla="*/ 308141 h 800100"/>
              <a:gd name="connsiteX809" fmla="*/ 1339926 w 2114552"/>
              <a:gd name="connsiteY809" fmla="*/ 283157 h 800100"/>
              <a:gd name="connsiteX810" fmla="*/ 1402062 w 2114552"/>
              <a:gd name="connsiteY810" fmla="*/ 283157 h 800100"/>
              <a:gd name="connsiteX811" fmla="*/ 1410347 w 2114552"/>
              <a:gd name="connsiteY811" fmla="*/ 258173 h 800100"/>
              <a:gd name="connsiteX812" fmla="*/ 1368923 w 2114552"/>
              <a:gd name="connsiteY812" fmla="*/ 212368 h 800100"/>
              <a:gd name="connsiteX813" fmla="*/ 1381350 w 2114552"/>
              <a:gd name="connsiteY813" fmla="*/ 187383 h 800100"/>
              <a:gd name="connsiteX814" fmla="*/ 1443486 w 2114552"/>
              <a:gd name="connsiteY814" fmla="*/ 204040 h 800100"/>
              <a:gd name="connsiteX815" fmla="*/ 1460055 w 2114552"/>
              <a:gd name="connsiteY815" fmla="*/ 183219 h 800100"/>
              <a:gd name="connsiteX816" fmla="*/ 1426916 w 2114552"/>
              <a:gd name="connsiteY816" fmla="*/ 129086 h 800100"/>
              <a:gd name="connsiteX817" fmla="*/ 1426916 w 2114552"/>
              <a:gd name="connsiteY817" fmla="*/ 124922 h 800100"/>
              <a:gd name="connsiteX818" fmla="*/ 1447628 w 2114552"/>
              <a:gd name="connsiteY818" fmla="*/ 108266 h 800100"/>
              <a:gd name="connsiteX819" fmla="*/ 1501479 w 2114552"/>
              <a:gd name="connsiteY819" fmla="*/ 137414 h 800100"/>
              <a:gd name="connsiteX820" fmla="*/ 1522191 w 2114552"/>
              <a:gd name="connsiteY820" fmla="*/ 124922 h 800100"/>
              <a:gd name="connsiteX821" fmla="*/ 1505621 w 2114552"/>
              <a:gd name="connsiteY821" fmla="*/ 62461 h 800100"/>
              <a:gd name="connsiteX822" fmla="*/ 1530476 w 2114552"/>
              <a:gd name="connsiteY822" fmla="*/ 49969 h 800100"/>
              <a:gd name="connsiteX823" fmla="*/ 1576042 w 2114552"/>
              <a:gd name="connsiteY823" fmla="*/ 91610 h 800100"/>
              <a:gd name="connsiteX824" fmla="*/ 1600896 w 2114552"/>
              <a:gd name="connsiteY824" fmla="*/ 83282 h 800100"/>
              <a:gd name="connsiteX825" fmla="*/ 1596754 w 2114552"/>
              <a:gd name="connsiteY825" fmla="*/ 49969 h 800100"/>
              <a:gd name="connsiteX826" fmla="*/ 1600896 w 2114552"/>
              <a:gd name="connsiteY826" fmla="*/ 20820 h 800100"/>
              <a:gd name="connsiteX827" fmla="*/ 1600896 w 2114552"/>
              <a:gd name="connsiteY827" fmla="*/ 16656 h 800100"/>
              <a:gd name="connsiteX828" fmla="*/ 1625751 w 2114552"/>
              <a:gd name="connsiteY828" fmla="*/ 12492 h 800100"/>
              <a:gd name="connsiteX829" fmla="*/ 1629893 w 2114552"/>
              <a:gd name="connsiteY829" fmla="*/ 12492 h 800100"/>
              <a:gd name="connsiteX830" fmla="*/ 1658890 w 2114552"/>
              <a:gd name="connsiteY830" fmla="*/ 66625 h 800100"/>
              <a:gd name="connsiteX831" fmla="*/ 1687886 w 2114552"/>
              <a:gd name="connsiteY831" fmla="*/ 62461 h 800100"/>
              <a:gd name="connsiteX832" fmla="*/ 1704456 w 2114552"/>
              <a:gd name="connsiteY832" fmla="*/ 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Lst>
            <a:rect l="l" t="t" r="r" b="b"/>
            <a:pathLst>
              <a:path w="2114552" h="800100">
                <a:moveTo>
                  <a:pt x="2068305" y="749732"/>
                </a:moveTo>
                <a:lnTo>
                  <a:pt x="2068305" y="761609"/>
                </a:lnTo>
                <a:lnTo>
                  <a:pt x="2076013" y="761609"/>
                </a:lnTo>
                <a:cubicBezTo>
                  <a:pt x="2079697" y="761609"/>
                  <a:pt x="2082210" y="761060"/>
                  <a:pt x="2083551" y="759961"/>
                </a:cubicBezTo>
                <a:cubicBezTo>
                  <a:pt x="2084892" y="758862"/>
                  <a:pt x="2085563" y="757408"/>
                  <a:pt x="2085563" y="755598"/>
                </a:cubicBezTo>
                <a:cubicBezTo>
                  <a:pt x="2085563" y="754435"/>
                  <a:pt x="2085240" y="753392"/>
                  <a:pt x="2084594" y="752471"/>
                </a:cubicBezTo>
                <a:cubicBezTo>
                  <a:pt x="2083947" y="751550"/>
                  <a:pt x="2083050" y="750863"/>
                  <a:pt x="2081903" y="750411"/>
                </a:cubicBezTo>
                <a:cubicBezTo>
                  <a:pt x="2080756" y="749959"/>
                  <a:pt x="2078631" y="749732"/>
                  <a:pt x="2075528" y="749732"/>
                </a:cubicBezTo>
                <a:close/>
                <a:moveTo>
                  <a:pt x="2061954" y="744400"/>
                </a:moveTo>
                <a:lnTo>
                  <a:pt x="2075480" y="744400"/>
                </a:lnTo>
                <a:cubicBezTo>
                  <a:pt x="2080101" y="744400"/>
                  <a:pt x="2083446" y="744763"/>
                  <a:pt x="2085514" y="745491"/>
                </a:cubicBezTo>
                <a:cubicBezTo>
                  <a:pt x="2087583" y="746218"/>
                  <a:pt x="2089231" y="747486"/>
                  <a:pt x="2090459" y="749296"/>
                </a:cubicBezTo>
                <a:cubicBezTo>
                  <a:pt x="2091687" y="751106"/>
                  <a:pt x="2092301" y="753029"/>
                  <a:pt x="2092301" y="755065"/>
                </a:cubicBezTo>
                <a:cubicBezTo>
                  <a:pt x="2092301" y="757941"/>
                  <a:pt x="2091275" y="760446"/>
                  <a:pt x="2089223" y="762579"/>
                </a:cubicBezTo>
                <a:cubicBezTo>
                  <a:pt x="2087171" y="764712"/>
                  <a:pt x="2084448" y="765907"/>
                  <a:pt x="2081055" y="766166"/>
                </a:cubicBezTo>
                <a:cubicBezTo>
                  <a:pt x="2082444" y="766748"/>
                  <a:pt x="2083559" y="767443"/>
                  <a:pt x="2084400" y="768251"/>
                </a:cubicBezTo>
                <a:cubicBezTo>
                  <a:pt x="2085983" y="769802"/>
                  <a:pt x="2087922" y="772403"/>
                  <a:pt x="2090217" y="776055"/>
                </a:cubicBezTo>
                <a:lnTo>
                  <a:pt x="2095016" y="783763"/>
                </a:lnTo>
                <a:lnTo>
                  <a:pt x="2087260" y="783763"/>
                </a:lnTo>
                <a:lnTo>
                  <a:pt x="2083769" y="777558"/>
                </a:lnTo>
                <a:cubicBezTo>
                  <a:pt x="2081022" y="772678"/>
                  <a:pt x="2078808" y="769624"/>
                  <a:pt x="2077128" y="768396"/>
                </a:cubicBezTo>
                <a:cubicBezTo>
                  <a:pt x="2075965" y="767491"/>
                  <a:pt x="2074268" y="767039"/>
                  <a:pt x="2072038" y="767039"/>
                </a:cubicBezTo>
                <a:lnTo>
                  <a:pt x="2068305" y="767039"/>
                </a:lnTo>
                <a:lnTo>
                  <a:pt x="2068305" y="783763"/>
                </a:lnTo>
                <a:lnTo>
                  <a:pt x="2061954" y="783763"/>
                </a:lnTo>
                <a:close/>
                <a:moveTo>
                  <a:pt x="834048" y="741362"/>
                </a:moveTo>
                <a:cubicBezTo>
                  <a:pt x="813289" y="741362"/>
                  <a:pt x="784225" y="741362"/>
                  <a:pt x="784225" y="766474"/>
                </a:cubicBezTo>
                <a:cubicBezTo>
                  <a:pt x="784225" y="783215"/>
                  <a:pt x="792529" y="787400"/>
                  <a:pt x="804985" y="787400"/>
                </a:cubicBezTo>
                <a:cubicBezTo>
                  <a:pt x="838200" y="787400"/>
                  <a:pt x="838200" y="758103"/>
                  <a:pt x="838200" y="745547"/>
                </a:cubicBezTo>
                <a:lnTo>
                  <a:pt x="838200" y="741362"/>
                </a:lnTo>
                <a:cubicBezTo>
                  <a:pt x="834048" y="741362"/>
                  <a:pt x="834048" y="741362"/>
                  <a:pt x="834048" y="741362"/>
                </a:cubicBezTo>
                <a:close/>
                <a:moveTo>
                  <a:pt x="2078001" y="733008"/>
                </a:moveTo>
                <a:cubicBezTo>
                  <a:pt x="2072862" y="733008"/>
                  <a:pt x="2067861" y="734325"/>
                  <a:pt x="2062997" y="736959"/>
                </a:cubicBezTo>
                <a:cubicBezTo>
                  <a:pt x="2058133" y="739592"/>
                  <a:pt x="2054328" y="743358"/>
                  <a:pt x="2051581" y="748254"/>
                </a:cubicBezTo>
                <a:cubicBezTo>
                  <a:pt x="2048833" y="753150"/>
                  <a:pt x="2047460" y="758248"/>
                  <a:pt x="2047460" y="763548"/>
                </a:cubicBezTo>
                <a:cubicBezTo>
                  <a:pt x="2047460" y="768816"/>
                  <a:pt x="2048809" y="773866"/>
                  <a:pt x="2051508" y="778697"/>
                </a:cubicBezTo>
                <a:cubicBezTo>
                  <a:pt x="2054206" y="783529"/>
                  <a:pt x="2057980" y="787294"/>
                  <a:pt x="2062827" y="789993"/>
                </a:cubicBezTo>
                <a:cubicBezTo>
                  <a:pt x="2067675" y="792691"/>
                  <a:pt x="2072733" y="794041"/>
                  <a:pt x="2078001" y="794041"/>
                </a:cubicBezTo>
                <a:cubicBezTo>
                  <a:pt x="2083269" y="794041"/>
                  <a:pt x="2088326" y="792691"/>
                  <a:pt x="2093174" y="789993"/>
                </a:cubicBezTo>
                <a:cubicBezTo>
                  <a:pt x="2098022" y="787294"/>
                  <a:pt x="2101787" y="783529"/>
                  <a:pt x="2104469" y="778697"/>
                </a:cubicBezTo>
                <a:cubicBezTo>
                  <a:pt x="2107152" y="773866"/>
                  <a:pt x="2108493" y="768816"/>
                  <a:pt x="2108493" y="763548"/>
                </a:cubicBezTo>
                <a:cubicBezTo>
                  <a:pt x="2108493" y="758248"/>
                  <a:pt x="2107127" y="753150"/>
                  <a:pt x="2104397" y="748254"/>
                </a:cubicBezTo>
                <a:cubicBezTo>
                  <a:pt x="2101666" y="743358"/>
                  <a:pt x="2097860" y="739592"/>
                  <a:pt x="2092980" y="736959"/>
                </a:cubicBezTo>
                <a:cubicBezTo>
                  <a:pt x="2088100" y="734325"/>
                  <a:pt x="2083107" y="733008"/>
                  <a:pt x="2078001" y="733008"/>
                </a:cubicBezTo>
                <a:close/>
                <a:moveTo>
                  <a:pt x="2078001" y="726948"/>
                </a:moveTo>
                <a:cubicBezTo>
                  <a:pt x="2084141" y="726948"/>
                  <a:pt x="2090136" y="728524"/>
                  <a:pt x="2095985" y="731675"/>
                </a:cubicBezTo>
                <a:cubicBezTo>
                  <a:pt x="2101835" y="734825"/>
                  <a:pt x="2106392" y="739334"/>
                  <a:pt x="2109656" y="745200"/>
                </a:cubicBezTo>
                <a:cubicBezTo>
                  <a:pt x="2112920" y="751065"/>
                  <a:pt x="2114552" y="757181"/>
                  <a:pt x="2114552" y="763548"/>
                </a:cubicBezTo>
                <a:cubicBezTo>
                  <a:pt x="2114552" y="769850"/>
                  <a:pt x="2112944" y="775910"/>
                  <a:pt x="2109729" y="781727"/>
                </a:cubicBezTo>
                <a:cubicBezTo>
                  <a:pt x="2106513" y="787544"/>
                  <a:pt x="2102005" y="792061"/>
                  <a:pt x="2096204" y="795277"/>
                </a:cubicBezTo>
                <a:cubicBezTo>
                  <a:pt x="2090402" y="798492"/>
                  <a:pt x="2084335" y="800100"/>
                  <a:pt x="2078001" y="800100"/>
                </a:cubicBezTo>
                <a:cubicBezTo>
                  <a:pt x="2071666" y="800100"/>
                  <a:pt x="2065599" y="798492"/>
                  <a:pt x="2059797" y="795277"/>
                </a:cubicBezTo>
                <a:cubicBezTo>
                  <a:pt x="2053996" y="792061"/>
                  <a:pt x="2049480" y="787544"/>
                  <a:pt x="2046248" y="781727"/>
                </a:cubicBezTo>
                <a:cubicBezTo>
                  <a:pt x="2043016" y="775910"/>
                  <a:pt x="2041400" y="769850"/>
                  <a:pt x="2041400" y="763548"/>
                </a:cubicBezTo>
                <a:cubicBezTo>
                  <a:pt x="2041400" y="757181"/>
                  <a:pt x="2043041" y="751065"/>
                  <a:pt x="2046321" y="745200"/>
                </a:cubicBezTo>
                <a:cubicBezTo>
                  <a:pt x="2049601" y="739334"/>
                  <a:pt x="2054166" y="734825"/>
                  <a:pt x="2060016" y="731675"/>
                </a:cubicBezTo>
                <a:cubicBezTo>
                  <a:pt x="2065865" y="728524"/>
                  <a:pt x="2071860" y="726948"/>
                  <a:pt x="2078001" y="726948"/>
                </a:cubicBezTo>
                <a:close/>
                <a:moveTo>
                  <a:pt x="1058070" y="692149"/>
                </a:moveTo>
                <a:cubicBezTo>
                  <a:pt x="1037466" y="692149"/>
                  <a:pt x="1020763" y="713471"/>
                  <a:pt x="1020763" y="739774"/>
                </a:cubicBezTo>
                <a:cubicBezTo>
                  <a:pt x="1020763" y="766077"/>
                  <a:pt x="1037466" y="787399"/>
                  <a:pt x="1058070" y="787399"/>
                </a:cubicBezTo>
                <a:cubicBezTo>
                  <a:pt x="1078674" y="787399"/>
                  <a:pt x="1095377" y="766077"/>
                  <a:pt x="1095377" y="739774"/>
                </a:cubicBezTo>
                <a:cubicBezTo>
                  <a:pt x="1095377" y="713471"/>
                  <a:pt x="1078674" y="692149"/>
                  <a:pt x="1058070" y="692149"/>
                </a:cubicBezTo>
                <a:close/>
                <a:moveTo>
                  <a:pt x="692151" y="692149"/>
                </a:moveTo>
                <a:cubicBezTo>
                  <a:pt x="673739" y="692149"/>
                  <a:pt x="658813" y="713471"/>
                  <a:pt x="658813" y="739774"/>
                </a:cubicBezTo>
                <a:cubicBezTo>
                  <a:pt x="658813" y="766077"/>
                  <a:pt x="673739" y="787399"/>
                  <a:pt x="692151" y="787399"/>
                </a:cubicBezTo>
                <a:cubicBezTo>
                  <a:pt x="710563" y="787399"/>
                  <a:pt x="725489" y="766077"/>
                  <a:pt x="725489" y="739774"/>
                </a:cubicBezTo>
                <a:cubicBezTo>
                  <a:pt x="725489" y="713471"/>
                  <a:pt x="710563" y="692149"/>
                  <a:pt x="692151" y="692149"/>
                </a:cubicBezTo>
                <a:close/>
                <a:moveTo>
                  <a:pt x="323056" y="692149"/>
                </a:moveTo>
                <a:cubicBezTo>
                  <a:pt x="302452" y="692149"/>
                  <a:pt x="285749" y="713471"/>
                  <a:pt x="285749" y="739774"/>
                </a:cubicBezTo>
                <a:cubicBezTo>
                  <a:pt x="285749" y="766077"/>
                  <a:pt x="302452" y="787399"/>
                  <a:pt x="323056" y="787399"/>
                </a:cubicBezTo>
                <a:cubicBezTo>
                  <a:pt x="343660" y="787399"/>
                  <a:pt x="360363" y="766077"/>
                  <a:pt x="360363" y="739774"/>
                </a:cubicBezTo>
                <a:cubicBezTo>
                  <a:pt x="360363" y="713471"/>
                  <a:pt x="343660" y="692149"/>
                  <a:pt x="323056" y="692149"/>
                </a:cubicBezTo>
                <a:close/>
                <a:moveTo>
                  <a:pt x="966943" y="685949"/>
                </a:moveTo>
                <a:lnTo>
                  <a:pt x="981464" y="685949"/>
                </a:lnTo>
                <a:lnTo>
                  <a:pt x="981464" y="799333"/>
                </a:lnTo>
                <a:lnTo>
                  <a:pt x="966943" y="799333"/>
                </a:lnTo>
                <a:close/>
                <a:moveTo>
                  <a:pt x="1136650" y="684212"/>
                </a:moveTo>
                <a:cubicBezTo>
                  <a:pt x="1148897" y="684212"/>
                  <a:pt x="1148897" y="684212"/>
                  <a:pt x="1148897" y="684212"/>
                </a:cubicBezTo>
                <a:cubicBezTo>
                  <a:pt x="1148897" y="704791"/>
                  <a:pt x="1148897" y="704791"/>
                  <a:pt x="1148897" y="704791"/>
                </a:cubicBezTo>
                <a:cubicBezTo>
                  <a:pt x="1157061" y="696559"/>
                  <a:pt x="1165225" y="684212"/>
                  <a:pt x="1185636" y="684212"/>
                </a:cubicBezTo>
                <a:cubicBezTo>
                  <a:pt x="1214211" y="684212"/>
                  <a:pt x="1222375" y="700675"/>
                  <a:pt x="1222375" y="725369"/>
                </a:cubicBezTo>
                <a:cubicBezTo>
                  <a:pt x="1222375" y="795337"/>
                  <a:pt x="1222375" y="795337"/>
                  <a:pt x="1222375" y="795337"/>
                </a:cubicBezTo>
                <a:cubicBezTo>
                  <a:pt x="1210129" y="795337"/>
                  <a:pt x="1210129" y="795337"/>
                  <a:pt x="1210129" y="795337"/>
                </a:cubicBezTo>
                <a:cubicBezTo>
                  <a:pt x="1210129" y="729485"/>
                  <a:pt x="1210129" y="729485"/>
                  <a:pt x="1210129" y="729485"/>
                </a:cubicBezTo>
                <a:cubicBezTo>
                  <a:pt x="1210129" y="708906"/>
                  <a:pt x="1201964" y="692443"/>
                  <a:pt x="1185636" y="692443"/>
                </a:cubicBezTo>
                <a:cubicBezTo>
                  <a:pt x="1161143" y="692443"/>
                  <a:pt x="1152979" y="717138"/>
                  <a:pt x="1152979" y="733601"/>
                </a:cubicBezTo>
                <a:cubicBezTo>
                  <a:pt x="1152979" y="795337"/>
                  <a:pt x="1152979" y="795337"/>
                  <a:pt x="1152979" y="795337"/>
                </a:cubicBezTo>
                <a:cubicBezTo>
                  <a:pt x="1136650" y="795337"/>
                  <a:pt x="1136650" y="795337"/>
                  <a:pt x="1136650" y="795337"/>
                </a:cubicBezTo>
                <a:lnTo>
                  <a:pt x="1136650" y="713022"/>
                </a:lnTo>
                <a:cubicBezTo>
                  <a:pt x="1136650" y="704791"/>
                  <a:pt x="1136650" y="692443"/>
                  <a:pt x="1136650" y="684212"/>
                </a:cubicBezTo>
                <a:close/>
                <a:moveTo>
                  <a:pt x="1054894" y="684212"/>
                </a:moveTo>
                <a:cubicBezTo>
                  <a:pt x="1083389" y="684212"/>
                  <a:pt x="1106488" y="710154"/>
                  <a:pt x="1106488" y="742156"/>
                </a:cubicBezTo>
                <a:cubicBezTo>
                  <a:pt x="1106488" y="774158"/>
                  <a:pt x="1083389" y="800100"/>
                  <a:pt x="1054894" y="800100"/>
                </a:cubicBezTo>
                <a:cubicBezTo>
                  <a:pt x="1026399" y="800100"/>
                  <a:pt x="1003300" y="774158"/>
                  <a:pt x="1003300" y="742156"/>
                </a:cubicBezTo>
                <a:cubicBezTo>
                  <a:pt x="1003300" y="710154"/>
                  <a:pt x="1026399" y="684212"/>
                  <a:pt x="1054894" y="684212"/>
                </a:cubicBezTo>
                <a:close/>
                <a:moveTo>
                  <a:pt x="812499" y="684212"/>
                </a:moveTo>
                <a:cubicBezTo>
                  <a:pt x="841603" y="684212"/>
                  <a:pt x="854076" y="696629"/>
                  <a:pt x="854076" y="725601"/>
                </a:cubicBezTo>
                <a:cubicBezTo>
                  <a:pt x="854076" y="775267"/>
                  <a:pt x="854076" y="775267"/>
                  <a:pt x="854076" y="775267"/>
                </a:cubicBezTo>
                <a:cubicBezTo>
                  <a:pt x="854076" y="783545"/>
                  <a:pt x="854076" y="791822"/>
                  <a:pt x="854076" y="795961"/>
                </a:cubicBezTo>
                <a:cubicBezTo>
                  <a:pt x="841603" y="795961"/>
                  <a:pt x="841603" y="795961"/>
                  <a:pt x="841603" y="795961"/>
                </a:cubicBezTo>
                <a:lnTo>
                  <a:pt x="841603" y="779406"/>
                </a:lnTo>
                <a:cubicBezTo>
                  <a:pt x="837445" y="779406"/>
                  <a:pt x="837445" y="779406"/>
                  <a:pt x="837445" y="779406"/>
                </a:cubicBezTo>
                <a:cubicBezTo>
                  <a:pt x="833287" y="791822"/>
                  <a:pt x="816656" y="800100"/>
                  <a:pt x="804183" y="800100"/>
                </a:cubicBezTo>
                <a:cubicBezTo>
                  <a:pt x="770921" y="800100"/>
                  <a:pt x="766763" y="779406"/>
                  <a:pt x="766763" y="766989"/>
                </a:cubicBezTo>
                <a:cubicBezTo>
                  <a:pt x="766763" y="729739"/>
                  <a:pt x="808341" y="729739"/>
                  <a:pt x="837445" y="729739"/>
                </a:cubicBezTo>
                <a:cubicBezTo>
                  <a:pt x="837445" y="721462"/>
                  <a:pt x="837445" y="721462"/>
                  <a:pt x="837445" y="721462"/>
                </a:cubicBezTo>
                <a:cubicBezTo>
                  <a:pt x="837445" y="704906"/>
                  <a:pt x="833287" y="692490"/>
                  <a:pt x="812499" y="692490"/>
                </a:cubicBezTo>
                <a:cubicBezTo>
                  <a:pt x="800025" y="692490"/>
                  <a:pt x="791710" y="696629"/>
                  <a:pt x="779236" y="704906"/>
                </a:cubicBezTo>
                <a:cubicBezTo>
                  <a:pt x="779236" y="688351"/>
                  <a:pt x="779236" y="688351"/>
                  <a:pt x="779236" y="688351"/>
                </a:cubicBezTo>
                <a:cubicBezTo>
                  <a:pt x="787552" y="684212"/>
                  <a:pt x="804183" y="684212"/>
                  <a:pt x="812499" y="684212"/>
                </a:cubicBezTo>
                <a:close/>
                <a:moveTo>
                  <a:pt x="527050" y="684212"/>
                </a:moveTo>
                <a:cubicBezTo>
                  <a:pt x="539523" y="684212"/>
                  <a:pt x="539523" y="684212"/>
                  <a:pt x="539523" y="684212"/>
                </a:cubicBezTo>
                <a:cubicBezTo>
                  <a:pt x="539523" y="704791"/>
                  <a:pt x="539523" y="704791"/>
                  <a:pt x="539523" y="704791"/>
                </a:cubicBezTo>
                <a:cubicBezTo>
                  <a:pt x="547839" y="696559"/>
                  <a:pt x="556154" y="684212"/>
                  <a:pt x="576943" y="684212"/>
                </a:cubicBezTo>
                <a:cubicBezTo>
                  <a:pt x="606047" y="684212"/>
                  <a:pt x="614363" y="700675"/>
                  <a:pt x="614363" y="725369"/>
                </a:cubicBezTo>
                <a:cubicBezTo>
                  <a:pt x="614363" y="795337"/>
                  <a:pt x="614363" y="795337"/>
                  <a:pt x="614363" y="795337"/>
                </a:cubicBezTo>
                <a:cubicBezTo>
                  <a:pt x="601890" y="795337"/>
                  <a:pt x="601890" y="795337"/>
                  <a:pt x="601890" y="795337"/>
                </a:cubicBezTo>
                <a:cubicBezTo>
                  <a:pt x="601890" y="729485"/>
                  <a:pt x="601890" y="729485"/>
                  <a:pt x="601890" y="729485"/>
                </a:cubicBezTo>
                <a:cubicBezTo>
                  <a:pt x="601890" y="708906"/>
                  <a:pt x="593574" y="692443"/>
                  <a:pt x="576943" y="692443"/>
                </a:cubicBezTo>
                <a:cubicBezTo>
                  <a:pt x="551996" y="692443"/>
                  <a:pt x="543681" y="717138"/>
                  <a:pt x="543681" y="733601"/>
                </a:cubicBezTo>
                <a:cubicBezTo>
                  <a:pt x="543681" y="795337"/>
                  <a:pt x="543681" y="795337"/>
                  <a:pt x="543681" y="795337"/>
                </a:cubicBezTo>
                <a:cubicBezTo>
                  <a:pt x="527050" y="795337"/>
                  <a:pt x="527050" y="795337"/>
                  <a:pt x="527050" y="795337"/>
                </a:cubicBezTo>
                <a:lnTo>
                  <a:pt x="527050" y="713022"/>
                </a:lnTo>
                <a:cubicBezTo>
                  <a:pt x="527050" y="704791"/>
                  <a:pt x="527050" y="692443"/>
                  <a:pt x="527050" y="684212"/>
                </a:cubicBezTo>
                <a:close/>
                <a:moveTo>
                  <a:pt x="406400" y="684212"/>
                </a:moveTo>
                <a:cubicBezTo>
                  <a:pt x="418873" y="684212"/>
                  <a:pt x="418873" y="684212"/>
                  <a:pt x="418873" y="684212"/>
                </a:cubicBezTo>
                <a:cubicBezTo>
                  <a:pt x="418873" y="754573"/>
                  <a:pt x="418873" y="754573"/>
                  <a:pt x="418873" y="754573"/>
                </a:cubicBezTo>
                <a:cubicBezTo>
                  <a:pt x="418873" y="775267"/>
                  <a:pt x="427189" y="787683"/>
                  <a:pt x="443820" y="787683"/>
                </a:cubicBezTo>
                <a:cubicBezTo>
                  <a:pt x="468766" y="787683"/>
                  <a:pt x="477082" y="766989"/>
                  <a:pt x="477082" y="746295"/>
                </a:cubicBezTo>
                <a:cubicBezTo>
                  <a:pt x="477082" y="684212"/>
                  <a:pt x="477082" y="684212"/>
                  <a:pt x="477082" y="684212"/>
                </a:cubicBezTo>
                <a:cubicBezTo>
                  <a:pt x="493713" y="684212"/>
                  <a:pt x="493713" y="684212"/>
                  <a:pt x="493713" y="684212"/>
                </a:cubicBezTo>
                <a:lnTo>
                  <a:pt x="493713" y="771128"/>
                </a:lnTo>
                <a:cubicBezTo>
                  <a:pt x="493713" y="779406"/>
                  <a:pt x="493713" y="787683"/>
                  <a:pt x="493713" y="795961"/>
                </a:cubicBezTo>
                <a:cubicBezTo>
                  <a:pt x="481240" y="795961"/>
                  <a:pt x="481240" y="795961"/>
                  <a:pt x="481240" y="795961"/>
                </a:cubicBezTo>
                <a:cubicBezTo>
                  <a:pt x="481240" y="779406"/>
                  <a:pt x="481240" y="779406"/>
                  <a:pt x="481240" y="779406"/>
                </a:cubicBezTo>
                <a:cubicBezTo>
                  <a:pt x="472924" y="787683"/>
                  <a:pt x="464609" y="800100"/>
                  <a:pt x="443820" y="800100"/>
                </a:cubicBezTo>
                <a:cubicBezTo>
                  <a:pt x="414715" y="800100"/>
                  <a:pt x="406400" y="783545"/>
                  <a:pt x="406400" y="758711"/>
                </a:cubicBezTo>
                <a:cubicBezTo>
                  <a:pt x="406400" y="684212"/>
                  <a:pt x="406400" y="684212"/>
                  <a:pt x="406400" y="684212"/>
                </a:cubicBezTo>
                <a:close/>
                <a:moveTo>
                  <a:pt x="325437" y="684212"/>
                </a:moveTo>
                <a:cubicBezTo>
                  <a:pt x="354370" y="684212"/>
                  <a:pt x="377825" y="710154"/>
                  <a:pt x="377825" y="742156"/>
                </a:cubicBezTo>
                <a:cubicBezTo>
                  <a:pt x="377825" y="774158"/>
                  <a:pt x="354370" y="800100"/>
                  <a:pt x="325437" y="800100"/>
                </a:cubicBezTo>
                <a:cubicBezTo>
                  <a:pt x="296504" y="800100"/>
                  <a:pt x="273049" y="774158"/>
                  <a:pt x="273049" y="742156"/>
                </a:cubicBezTo>
                <a:cubicBezTo>
                  <a:pt x="273049" y="710154"/>
                  <a:pt x="296504" y="684212"/>
                  <a:pt x="325437" y="684212"/>
                </a:cubicBezTo>
                <a:close/>
                <a:moveTo>
                  <a:pt x="1724027" y="666750"/>
                </a:moveTo>
                <a:lnTo>
                  <a:pt x="1720852" y="679450"/>
                </a:lnTo>
                <a:lnTo>
                  <a:pt x="1716089" y="687388"/>
                </a:lnTo>
                <a:lnTo>
                  <a:pt x="1733552" y="687388"/>
                </a:lnTo>
                <a:lnTo>
                  <a:pt x="1728789" y="679450"/>
                </a:lnTo>
                <a:close/>
                <a:moveTo>
                  <a:pt x="1728922" y="654050"/>
                </a:moveTo>
                <a:cubicBezTo>
                  <a:pt x="1728922" y="658202"/>
                  <a:pt x="1728922" y="658202"/>
                  <a:pt x="1728922" y="658202"/>
                </a:cubicBezTo>
                <a:lnTo>
                  <a:pt x="1737124" y="678962"/>
                </a:lnTo>
                <a:cubicBezTo>
                  <a:pt x="1749427" y="703873"/>
                  <a:pt x="1749427" y="703873"/>
                  <a:pt x="1749427" y="703873"/>
                </a:cubicBezTo>
                <a:cubicBezTo>
                  <a:pt x="1745326" y="703873"/>
                  <a:pt x="1741225" y="703873"/>
                  <a:pt x="1737124" y="703873"/>
                </a:cubicBezTo>
                <a:cubicBezTo>
                  <a:pt x="1737124" y="695569"/>
                  <a:pt x="1737124" y="695569"/>
                  <a:pt x="1737124" y="695569"/>
                </a:cubicBezTo>
                <a:cubicBezTo>
                  <a:pt x="1712517" y="695569"/>
                  <a:pt x="1712517" y="695569"/>
                  <a:pt x="1712517" y="695569"/>
                </a:cubicBezTo>
                <a:cubicBezTo>
                  <a:pt x="1712517" y="708025"/>
                  <a:pt x="1712517" y="708025"/>
                  <a:pt x="1712517" y="708025"/>
                </a:cubicBezTo>
                <a:cubicBezTo>
                  <a:pt x="1708416" y="703873"/>
                  <a:pt x="1704315" y="703873"/>
                  <a:pt x="1700214" y="703873"/>
                </a:cubicBezTo>
                <a:cubicBezTo>
                  <a:pt x="1712517" y="678962"/>
                  <a:pt x="1712517" y="678962"/>
                  <a:pt x="1712517" y="678962"/>
                </a:cubicBezTo>
                <a:cubicBezTo>
                  <a:pt x="1716618" y="658202"/>
                  <a:pt x="1716618" y="658202"/>
                  <a:pt x="1716618" y="658202"/>
                </a:cubicBezTo>
                <a:cubicBezTo>
                  <a:pt x="1728922" y="654050"/>
                  <a:pt x="1728922" y="654050"/>
                  <a:pt x="1728922" y="654050"/>
                </a:cubicBezTo>
                <a:close/>
                <a:moveTo>
                  <a:pt x="907733" y="654049"/>
                </a:moveTo>
                <a:cubicBezTo>
                  <a:pt x="907733" y="683259"/>
                  <a:pt x="907733" y="683259"/>
                  <a:pt x="907733" y="683259"/>
                </a:cubicBezTo>
                <a:cubicBezTo>
                  <a:pt x="932498" y="683259"/>
                  <a:pt x="932498" y="683259"/>
                  <a:pt x="932498" y="683259"/>
                </a:cubicBezTo>
                <a:lnTo>
                  <a:pt x="932498" y="695778"/>
                </a:lnTo>
                <a:cubicBezTo>
                  <a:pt x="907733" y="695778"/>
                  <a:pt x="907733" y="695778"/>
                  <a:pt x="907733" y="695778"/>
                </a:cubicBezTo>
                <a:cubicBezTo>
                  <a:pt x="907733" y="770889"/>
                  <a:pt x="907733" y="770889"/>
                  <a:pt x="907733" y="770889"/>
                </a:cubicBezTo>
                <a:cubicBezTo>
                  <a:pt x="907733" y="779235"/>
                  <a:pt x="911861" y="787580"/>
                  <a:pt x="924243" y="787580"/>
                </a:cubicBezTo>
                <a:cubicBezTo>
                  <a:pt x="928371" y="787580"/>
                  <a:pt x="932498" y="787580"/>
                  <a:pt x="936626" y="783408"/>
                </a:cubicBezTo>
                <a:cubicBezTo>
                  <a:pt x="936626" y="795926"/>
                  <a:pt x="936626" y="795926"/>
                  <a:pt x="936626" y="795926"/>
                </a:cubicBezTo>
                <a:cubicBezTo>
                  <a:pt x="932498" y="800099"/>
                  <a:pt x="928371" y="800099"/>
                  <a:pt x="920116" y="800099"/>
                </a:cubicBezTo>
                <a:cubicBezTo>
                  <a:pt x="895351" y="800099"/>
                  <a:pt x="895351" y="783408"/>
                  <a:pt x="895351" y="762543"/>
                </a:cubicBezTo>
                <a:cubicBezTo>
                  <a:pt x="895351" y="695778"/>
                  <a:pt x="895351" y="695778"/>
                  <a:pt x="895351" y="695778"/>
                </a:cubicBezTo>
                <a:cubicBezTo>
                  <a:pt x="874713" y="695778"/>
                  <a:pt x="874713" y="695778"/>
                  <a:pt x="874713" y="695778"/>
                </a:cubicBezTo>
                <a:cubicBezTo>
                  <a:pt x="874713" y="683259"/>
                  <a:pt x="874713" y="683259"/>
                  <a:pt x="874713" y="683259"/>
                </a:cubicBezTo>
                <a:cubicBezTo>
                  <a:pt x="895351" y="683259"/>
                  <a:pt x="895351" y="683259"/>
                  <a:pt x="895351" y="683259"/>
                </a:cubicBezTo>
                <a:cubicBezTo>
                  <a:pt x="895351" y="658222"/>
                  <a:pt x="895351" y="658222"/>
                  <a:pt x="895351" y="658222"/>
                </a:cubicBezTo>
                <a:cubicBezTo>
                  <a:pt x="907733" y="654049"/>
                  <a:pt x="907733" y="654049"/>
                  <a:pt x="907733" y="654049"/>
                </a:cubicBezTo>
                <a:close/>
                <a:moveTo>
                  <a:pt x="1658542" y="650875"/>
                </a:moveTo>
                <a:cubicBezTo>
                  <a:pt x="1662643" y="650875"/>
                  <a:pt x="1662643" y="650875"/>
                  <a:pt x="1666745" y="650875"/>
                </a:cubicBezTo>
                <a:cubicBezTo>
                  <a:pt x="1666745" y="650875"/>
                  <a:pt x="1666745" y="650875"/>
                  <a:pt x="1683149" y="688242"/>
                </a:cubicBezTo>
                <a:cubicBezTo>
                  <a:pt x="1683149" y="688242"/>
                  <a:pt x="1683149" y="688242"/>
                  <a:pt x="1687250" y="655027"/>
                </a:cubicBezTo>
                <a:cubicBezTo>
                  <a:pt x="1687250" y="655027"/>
                  <a:pt x="1691351" y="655027"/>
                  <a:pt x="1695452" y="655027"/>
                </a:cubicBezTo>
                <a:cubicBezTo>
                  <a:pt x="1695452" y="655027"/>
                  <a:pt x="1695452" y="655027"/>
                  <a:pt x="1687250" y="704850"/>
                </a:cubicBezTo>
                <a:cubicBezTo>
                  <a:pt x="1687250" y="704850"/>
                  <a:pt x="1683149" y="704850"/>
                  <a:pt x="1679048" y="704850"/>
                </a:cubicBezTo>
                <a:cubicBezTo>
                  <a:pt x="1679048" y="704850"/>
                  <a:pt x="1679048" y="704850"/>
                  <a:pt x="1662643" y="671635"/>
                </a:cubicBezTo>
                <a:cubicBezTo>
                  <a:pt x="1662643" y="671635"/>
                  <a:pt x="1662643" y="671635"/>
                  <a:pt x="1658542" y="700698"/>
                </a:cubicBezTo>
                <a:cubicBezTo>
                  <a:pt x="1654441" y="700698"/>
                  <a:pt x="1650340" y="700698"/>
                  <a:pt x="1646239" y="700698"/>
                </a:cubicBezTo>
                <a:cubicBezTo>
                  <a:pt x="1646239" y="700698"/>
                  <a:pt x="1646239" y="700698"/>
                  <a:pt x="1658542" y="650875"/>
                </a:cubicBezTo>
                <a:close/>
                <a:moveTo>
                  <a:pt x="1787526" y="646113"/>
                </a:moveTo>
                <a:lnTo>
                  <a:pt x="1787526" y="654504"/>
                </a:lnTo>
                <a:cubicBezTo>
                  <a:pt x="1783399" y="658700"/>
                  <a:pt x="1779271" y="658700"/>
                  <a:pt x="1771016" y="658700"/>
                </a:cubicBezTo>
                <a:cubicBezTo>
                  <a:pt x="1771016" y="658700"/>
                  <a:pt x="1771016" y="658700"/>
                  <a:pt x="1779271" y="700655"/>
                </a:cubicBezTo>
                <a:cubicBezTo>
                  <a:pt x="1779271" y="700655"/>
                  <a:pt x="1779271" y="700655"/>
                  <a:pt x="1771016" y="704851"/>
                </a:cubicBezTo>
                <a:cubicBezTo>
                  <a:pt x="1771016" y="704851"/>
                  <a:pt x="1771016" y="704851"/>
                  <a:pt x="1762761" y="662895"/>
                </a:cubicBezTo>
                <a:cubicBezTo>
                  <a:pt x="1758634" y="662895"/>
                  <a:pt x="1754506" y="662895"/>
                  <a:pt x="1746251" y="662895"/>
                </a:cubicBezTo>
                <a:cubicBezTo>
                  <a:pt x="1746251" y="662895"/>
                  <a:pt x="1746251" y="662895"/>
                  <a:pt x="1746251" y="654504"/>
                </a:cubicBezTo>
                <a:cubicBezTo>
                  <a:pt x="1758634" y="654504"/>
                  <a:pt x="1771016" y="650309"/>
                  <a:pt x="1787526" y="646113"/>
                </a:cubicBezTo>
                <a:close/>
                <a:moveTo>
                  <a:pt x="1617029" y="646113"/>
                </a:moveTo>
                <a:cubicBezTo>
                  <a:pt x="1617029" y="654051"/>
                  <a:pt x="1617029" y="654051"/>
                  <a:pt x="1617029" y="654051"/>
                </a:cubicBezTo>
                <a:cubicBezTo>
                  <a:pt x="1612901" y="658019"/>
                  <a:pt x="1612901" y="658019"/>
                  <a:pt x="1612901" y="658019"/>
                </a:cubicBezTo>
                <a:cubicBezTo>
                  <a:pt x="1625284" y="661988"/>
                  <a:pt x="1625284" y="661988"/>
                  <a:pt x="1625284" y="661988"/>
                </a:cubicBezTo>
                <a:cubicBezTo>
                  <a:pt x="1629412" y="661988"/>
                  <a:pt x="1633539" y="658019"/>
                  <a:pt x="1633539" y="658019"/>
                </a:cubicBezTo>
                <a:cubicBezTo>
                  <a:pt x="1633539" y="658019"/>
                  <a:pt x="1633539" y="654051"/>
                  <a:pt x="1633539" y="654051"/>
                </a:cubicBezTo>
                <a:cubicBezTo>
                  <a:pt x="1633539" y="654051"/>
                  <a:pt x="1633539" y="650082"/>
                  <a:pt x="1629412" y="650082"/>
                </a:cubicBezTo>
                <a:cubicBezTo>
                  <a:pt x="1617029" y="646113"/>
                  <a:pt x="1617029" y="646113"/>
                  <a:pt x="1617029" y="646113"/>
                </a:cubicBezTo>
                <a:close/>
                <a:moveTo>
                  <a:pt x="966943" y="643885"/>
                </a:moveTo>
                <a:lnTo>
                  <a:pt x="981464" y="643885"/>
                </a:lnTo>
                <a:lnTo>
                  <a:pt x="981464" y="660066"/>
                </a:lnTo>
                <a:lnTo>
                  <a:pt x="966943" y="660066"/>
                </a:lnTo>
                <a:close/>
                <a:moveTo>
                  <a:pt x="1795464" y="641350"/>
                </a:moveTo>
                <a:cubicBezTo>
                  <a:pt x="1799546" y="641350"/>
                  <a:pt x="1803628" y="641350"/>
                  <a:pt x="1807711" y="641350"/>
                </a:cubicBezTo>
                <a:cubicBezTo>
                  <a:pt x="1807711" y="641350"/>
                  <a:pt x="1807711" y="641350"/>
                  <a:pt x="1824039" y="687917"/>
                </a:cubicBezTo>
                <a:cubicBezTo>
                  <a:pt x="1819957" y="687917"/>
                  <a:pt x="1815875" y="687917"/>
                  <a:pt x="1811793" y="692150"/>
                </a:cubicBezTo>
                <a:cubicBezTo>
                  <a:pt x="1811793" y="692150"/>
                  <a:pt x="1811793" y="692150"/>
                  <a:pt x="1795464" y="641350"/>
                </a:cubicBezTo>
                <a:close/>
                <a:moveTo>
                  <a:pt x="177800" y="641349"/>
                </a:moveTo>
                <a:lnTo>
                  <a:pt x="252413" y="641349"/>
                </a:lnTo>
                <a:lnTo>
                  <a:pt x="252413" y="654049"/>
                </a:lnTo>
                <a:lnTo>
                  <a:pt x="195262" y="654049"/>
                </a:lnTo>
                <a:lnTo>
                  <a:pt x="195262" y="712787"/>
                </a:lnTo>
                <a:lnTo>
                  <a:pt x="249238" y="712787"/>
                </a:lnTo>
                <a:lnTo>
                  <a:pt x="249238" y="725487"/>
                </a:lnTo>
                <a:lnTo>
                  <a:pt x="195262" y="725487"/>
                </a:lnTo>
                <a:lnTo>
                  <a:pt x="195262" y="795337"/>
                </a:lnTo>
                <a:lnTo>
                  <a:pt x="177800" y="795337"/>
                </a:lnTo>
                <a:close/>
                <a:moveTo>
                  <a:pt x="1612770" y="633413"/>
                </a:moveTo>
                <a:cubicBezTo>
                  <a:pt x="1633275" y="641668"/>
                  <a:pt x="1633275" y="641668"/>
                  <a:pt x="1633275" y="641668"/>
                </a:cubicBezTo>
                <a:cubicBezTo>
                  <a:pt x="1641477" y="645796"/>
                  <a:pt x="1641477" y="649923"/>
                  <a:pt x="1641477" y="654051"/>
                </a:cubicBezTo>
                <a:cubicBezTo>
                  <a:pt x="1641477" y="654051"/>
                  <a:pt x="1641477" y="658178"/>
                  <a:pt x="1641477" y="658178"/>
                </a:cubicBezTo>
                <a:cubicBezTo>
                  <a:pt x="1641477" y="662306"/>
                  <a:pt x="1637376" y="670561"/>
                  <a:pt x="1629174" y="670561"/>
                </a:cubicBezTo>
                <a:cubicBezTo>
                  <a:pt x="1633275" y="695326"/>
                  <a:pt x="1633275" y="695326"/>
                  <a:pt x="1633275" y="695326"/>
                </a:cubicBezTo>
                <a:cubicBezTo>
                  <a:pt x="1629174" y="695326"/>
                  <a:pt x="1625073" y="691198"/>
                  <a:pt x="1620972" y="691198"/>
                </a:cubicBezTo>
                <a:cubicBezTo>
                  <a:pt x="1620972" y="670561"/>
                  <a:pt x="1620972" y="670561"/>
                  <a:pt x="1620972" y="670561"/>
                </a:cubicBezTo>
                <a:cubicBezTo>
                  <a:pt x="1608668" y="666433"/>
                  <a:pt x="1608668" y="666433"/>
                  <a:pt x="1608668" y="666433"/>
                </a:cubicBezTo>
                <a:cubicBezTo>
                  <a:pt x="1604567" y="682943"/>
                  <a:pt x="1604567" y="682943"/>
                  <a:pt x="1604567" y="682943"/>
                </a:cubicBezTo>
                <a:cubicBezTo>
                  <a:pt x="1600466" y="682943"/>
                  <a:pt x="1596365" y="682943"/>
                  <a:pt x="1592264" y="678816"/>
                </a:cubicBezTo>
                <a:cubicBezTo>
                  <a:pt x="1604567" y="658178"/>
                  <a:pt x="1604567" y="658178"/>
                  <a:pt x="1604567" y="658178"/>
                </a:cubicBezTo>
                <a:cubicBezTo>
                  <a:pt x="1604567" y="654051"/>
                  <a:pt x="1604567" y="654051"/>
                  <a:pt x="1604567" y="654051"/>
                </a:cubicBezTo>
                <a:cubicBezTo>
                  <a:pt x="1612770" y="633413"/>
                  <a:pt x="1612770" y="633413"/>
                  <a:pt x="1612770" y="633413"/>
                </a:cubicBezTo>
                <a:close/>
                <a:moveTo>
                  <a:pt x="1855109" y="630214"/>
                </a:moveTo>
                <a:cubicBezTo>
                  <a:pt x="1851027" y="629693"/>
                  <a:pt x="1846945" y="630735"/>
                  <a:pt x="1844903" y="632818"/>
                </a:cubicBezTo>
                <a:cubicBezTo>
                  <a:pt x="1836739" y="636986"/>
                  <a:pt x="1836739" y="641153"/>
                  <a:pt x="1836739" y="645320"/>
                </a:cubicBezTo>
                <a:cubicBezTo>
                  <a:pt x="1836739" y="649487"/>
                  <a:pt x="1836739" y="653655"/>
                  <a:pt x="1836739" y="653655"/>
                </a:cubicBezTo>
                <a:cubicBezTo>
                  <a:pt x="1836739" y="653655"/>
                  <a:pt x="1836739" y="657822"/>
                  <a:pt x="1840821" y="657822"/>
                </a:cubicBezTo>
                <a:cubicBezTo>
                  <a:pt x="1844903" y="661989"/>
                  <a:pt x="1853068" y="661989"/>
                  <a:pt x="1857150" y="661989"/>
                </a:cubicBezTo>
                <a:cubicBezTo>
                  <a:pt x="1861232" y="657822"/>
                  <a:pt x="1861232" y="657822"/>
                  <a:pt x="1861232" y="657822"/>
                </a:cubicBezTo>
                <a:cubicBezTo>
                  <a:pt x="1865314" y="653655"/>
                  <a:pt x="1865314" y="649487"/>
                  <a:pt x="1865314" y="645320"/>
                </a:cubicBezTo>
                <a:cubicBezTo>
                  <a:pt x="1865314" y="645320"/>
                  <a:pt x="1865314" y="641153"/>
                  <a:pt x="1865314" y="636986"/>
                </a:cubicBezTo>
                <a:cubicBezTo>
                  <a:pt x="1863273" y="632818"/>
                  <a:pt x="1859191" y="630735"/>
                  <a:pt x="1855109" y="630214"/>
                </a:cubicBezTo>
                <a:close/>
                <a:moveTo>
                  <a:pt x="726110" y="628649"/>
                </a:moveTo>
                <a:cubicBezTo>
                  <a:pt x="742951" y="628649"/>
                  <a:pt x="742951" y="628649"/>
                  <a:pt x="742951" y="628649"/>
                </a:cubicBezTo>
                <a:lnTo>
                  <a:pt x="742951" y="795917"/>
                </a:lnTo>
                <a:cubicBezTo>
                  <a:pt x="726110" y="795917"/>
                  <a:pt x="726110" y="795917"/>
                  <a:pt x="726110" y="795917"/>
                </a:cubicBezTo>
                <a:cubicBezTo>
                  <a:pt x="726110" y="779190"/>
                  <a:pt x="726110" y="779190"/>
                  <a:pt x="726110" y="779190"/>
                </a:cubicBezTo>
                <a:cubicBezTo>
                  <a:pt x="717689" y="795917"/>
                  <a:pt x="709268" y="800099"/>
                  <a:pt x="692427" y="800099"/>
                </a:cubicBezTo>
                <a:cubicBezTo>
                  <a:pt x="658744" y="800099"/>
                  <a:pt x="646113" y="775009"/>
                  <a:pt x="646113" y="741555"/>
                </a:cubicBezTo>
                <a:cubicBezTo>
                  <a:pt x="646113" y="708101"/>
                  <a:pt x="658744" y="683011"/>
                  <a:pt x="692427" y="683011"/>
                </a:cubicBezTo>
                <a:cubicBezTo>
                  <a:pt x="713479" y="683011"/>
                  <a:pt x="726110" y="695556"/>
                  <a:pt x="726110" y="703920"/>
                </a:cubicBezTo>
                <a:cubicBezTo>
                  <a:pt x="726110" y="628649"/>
                  <a:pt x="726110" y="628649"/>
                  <a:pt x="726110" y="628649"/>
                </a:cubicBezTo>
                <a:close/>
                <a:moveTo>
                  <a:pt x="1857377" y="622131"/>
                </a:moveTo>
                <a:cubicBezTo>
                  <a:pt x="1864256" y="623662"/>
                  <a:pt x="1870606" y="627744"/>
                  <a:pt x="1874839" y="633868"/>
                </a:cubicBezTo>
                <a:cubicBezTo>
                  <a:pt x="1874839" y="637950"/>
                  <a:pt x="1874839" y="642032"/>
                  <a:pt x="1874839" y="646114"/>
                </a:cubicBezTo>
                <a:cubicBezTo>
                  <a:pt x="1874839" y="650196"/>
                  <a:pt x="1874839" y="654278"/>
                  <a:pt x="1874839" y="658360"/>
                </a:cubicBezTo>
                <a:cubicBezTo>
                  <a:pt x="1870606" y="662443"/>
                  <a:pt x="1870606" y="666525"/>
                  <a:pt x="1862139" y="666525"/>
                </a:cubicBezTo>
                <a:cubicBezTo>
                  <a:pt x="1853672" y="674689"/>
                  <a:pt x="1836739" y="670607"/>
                  <a:pt x="1828272" y="658360"/>
                </a:cubicBezTo>
                <a:cubicBezTo>
                  <a:pt x="1828272" y="654278"/>
                  <a:pt x="1824039" y="650196"/>
                  <a:pt x="1824039" y="646114"/>
                </a:cubicBezTo>
                <a:cubicBezTo>
                  <a:pt x="1824039" y="637950"/>
                  <a:pt x="1828272" y="629785"/>
                  <a:pt x="1836739" y="625703"/>
                </a:cubicBezTo>
                <a:cubicBezTo>
                  <a:pt x="1843089" y="621621"/>
                  <a:pt x="1850497" y="620601"/>
                  <a:pt x="1857377" y="622131"/>
                </a:cubicBezTo>
                <a:close/>
                <a:moveTo>
                  <a:pt x="1571138" y="612775"/>
                </a:moveTo>
                <a:cubicBezTo>
                  <a:pt x="1579442" y="616903"/>
                  <a:pt x="1591897" y="625158"/>
                  <a:pt x="1600201" y="629285"/>
                </a:cubicBezTo>
                <a:cubicBezTo>
                  <a:pt x="1600201" y="629285"/>
                  <a:pt x="1600201" y="629285"/>
                  <a:pt x="1596049" y="637540"/>
                </a:cubicBezTo>
                <a:cubicBezTo>
                  <a:pt x="1587745" y="633413"/>
                  <a:pt x="1583593" y="629285"/>
                  <a:pt x="1575290" y="625158"/>
                </a:cubicBezTo>
                <a:lnTo>
                  <a:pt x="1571138" y="633413"/>
                </a:lnTo>
                <a:cubicBezTo>
                  <a:pt x="1575290" y="637540"/>
                  <a:pt x="1579442" y="641668"/>
                  <a:pt x="1583593" y="641668"/>
                </a:cubicBezTo>
                <a:cubicBezTo>
                  <a:pt x="1583593" y="641668"/>
                  <a:pt x="1583593" y="641668"/>
                  <a:pt x="1579442" y="649923"/>
                </a:cubicBezTo>
                <a:cubicBezTo>
                  <a:pt x="1579442" y="649923"/>
                  <a:pt x="1579442" y="649923"/>
                  <a:pt x="1566986" y="641668"/>
                </a:cubicBezTo>
                <a:cubicBezTo>
                  <a:pt x="1566986" y="641668"/>
                  <a:pt x="1566986" y="641668"/>
                  <a:pt x="1558682" y="654050"/>
                </a:cubicBezTo>
                <a:cubicBezTo>
                  <a:pt x="1558682" y="654050"/>
                  <a:pt x="1558682" y="654050"/>
                  <a:pt x="1579442" y="666433"/>
                </a:cubicBezTo>
                <a:cubicBezTo>
                  <a:pt x="1579442" y="666433"/>
                  <a:pt x="1579442" y="666433"/>
                  <a:pt x="1575290" y="674688"/>
                </a:cubicBezTo>
                <a:cubicBezTo>
                  <a:pt x="1562834" y="666433"/>
                  <a:pt x="1554530" y="662305"/>
                  <a:pt x="1546226" y="654050"/>
                </a:cubicBezTo>
                <a:cubicBezTo>
                  <a:pt x="1546226" y="654050"/>
                  <a:pt x="1546226" y="654050"/>
                  <a:pt x="1571138" y="612775"/>
                </a:cubicBezTo>
                <a:close/>
                <a:moveTo>
                  <a:pt x="1898969" y="579438"/>
                </a:moveTo>
                <a:cubicBezTo>
                  <a:pt x="1898969" y="579438"/>
                  <a:pt x="1898969" y="579438"/>
                  <a:pt x="1931989" y="616943"/>
                </a:cubicBezTo>
                <a:cubicBezTo>
                  <a:pt x="1927862" y="621110"/>
                  <a:pt x="1927862" y="621110"/>
                  <a:pt x="1923734" y="625277"/>
                </a:cubicBezTo>
                <a:cubicBezTo>
                  <a:pt x="1923734" y="625277"/>
                  <a:pt x="1923734" y="625277"/>
                  <a:pt x="1890714" y="612776"/>
                </a:cubicBezTo>
                <a:cubicBezTo>
                  <a:pt x="1890714" y="612776"/>
                  <a:pt x="1890714" y="612776"/>
                  <a:pt x="1907224" y="637779"/>
                </a:cubicBezTo>
                <a:cubicBezTo>
                  <a:pt x="1903096" y="641946"/>
                  <a:pt x="1903096" y="641946"/>
                  <a:pt x="1898969" y="646113"/>
                </a:cubicBezTo>
                <a:cubicBezTo>
                  <a:pt x="1898969" y="646113"/>
                  <a:pt x="1898969" y="646113"/>
                  <a:pt x="1870076" y="604441"/>
                </a:cubicBezTo>
                <a:cubicBezTo>
                  <a:pt x="1874204" y="604441"/>
                  <a:pt x="1874204" y="600274"/>
                  <a:pt x="1878331" y="600274"/>
                </a:cubicBezTo>
                <a:cubicBezTo>
                  <a:pt x="1878331" y="600274"/>
                  <a:pt x="1878331" y="600274"/>
                  <a:pt x="1911351" y="608608"/>
                </a:cubicBezTo>
                <a:cubicBezTo>
                  <a:pt x="1911351" y="608608"/>
                  <a:pt x="1911351" y="608608"/>
                  <a:pt x="1890714" y="587772"/>
                </a:cubicBezTo>
                <a:cubicBezTo>
                  <a:pt x="1894841" y="583605"/>
                  <a:pt x="1894841" y="583605"/>
                  <a:pt x="1898969" y="579438"/>
                </a:cubicBezTo>
                <a:close/>
                <a:moveTo>
                  <a:pt x="1534626" y="579438"/>
                </a:moveTo>
                <a:cubicBezTo>
                  <a:pt x="1542930" y="587742"/>
                  <a:pt x="1551233" y="596046"/>
                  <a:pt x="1563689" y="604350"/>
                </a:cubicBezTo>
                <a:cubicBezTo>
                  <a:pt x="1559537" y="612653"/>
                  <a:pt x="1559537" y="612653"/>
                  <a:pt x="1559537" y="612653"/>
                </a:cubicBezTo>
                <a:cubicBezTo>
                  <a:pt x="1555385" y="608501"/>
                  <a:pt x="1551233" y="604350"/>
                  <a:pt x="1547081" y="604350"/>
                </a:cubicBezTo>
                <a:cubicBezTo>
                  <a:pt x="1518018" y="633413"/>
                  <a:pt x="1518018" y="633413"/>
                  <a:pt x="1518018" y="633413"/>
                </a:cubicBezTo>
                <a:cubicBezTo>
                  <a:pt x="1509714" y="625109"/>
                  <a:pt x="1509714" y="625109"/>
                  <a:pt x="1509714" y="625109"/>
                </a:cubicBezTo>
                <a:cubicBezTo>
                  <a:pt x="1538778" y="596046"/>
                  <a:pt x="1538778" y="596046"/>
                  <a:pt x="1538778" y="596046"/>
                </a:cubicBezTo>
                <a:cubicBezTo>
                  <a:pt x="1534626" y="591894"/>
                  <a:pt x="1530474" y="587742"/>
                  <a:pt x="1526322" y="583590"/>
                </a:cubicBezTo>
                <a:cubicBezTo>
                  <a:pt x="1534626" y="579438"/>
                  <a:pt x="1534626" y="579438"/>
                  <a:pt x="1534626" y="579438"/>
                </a:cubicBezTo>
                <a:close/>
                <a:moveTo>
                  <a:pt x="1924051" y="566738"/>
                </a:moveTo>
                <a:lnTo>
                  <a:pt x="1931989" y="579438"/>
                </a:lnTo>
                <a:lnTo>
                  <a:pt x="1936751" y="587376"/>
                </a:lnTo>
                <a:lnTo>
                  <a:pt x="1944689" y="579438"/>
                </a:lnTo>
                <a:lnTo>
                  <a:pt x="1944689" y="574676"/>
                </a:lnTo>
                <a:close/>
                <a:moveTo>
                  <a:pt x="1919742" y="558800"/>
                </a:moveTo>
                <a:cubicBezTo>
                  <a:pt x="1970089" y="571103"/>
                  <a:pt x="1970089" y="571103"/>
                  <a:pt x="1970089" y="571103"/>
                </a:cubicBezTo>
                <a:cubicBezTo>
                  <a:pt x="1970089" y="575204"/>
                  <a:pt x="1965894" y="575204"/>
                  <a:pt x="1965894" y="579305"/>
                </a:cubicBezTo>
                <a:cubicBezTo>
                  <a:pt x="1965894" y="579305"/>
                  <a:pt x="1965894" y="579305"/>
                  <a:pt x="1961698" y="579305"/>
                </a:cubicBezTo>
                <a:cubicBezTo>
                  <a:pt x="1953307" y="579305"/>
                  <a:pt x="1953307" y="579305"/>
                  <a:pt x="1953307" y="579305"/>
                </a:cubicBezTo>
                <a:cubicBezTo>
                  <a:pt x="1940720" y="595710"/>
                  <a:pt x="1940720" y="595710"/>
                  <a:pt x="1940720" y="595710"/>
                </a:cubicBezTo>
                <a:cubicBezTo>
                  <a:pt x="1944916" y="603912"/>
                  <a:pt x="1944916" y="603912"/>
                  <a:pt x="1944916" y="603912"/>
                </a:cubicBezTo>
                <a:cubicBezTo>
                  <a:pt x="1944916" y="603912"/>
                  <a:pt x="1940720" y="608013"/>
                  <a:pt x="1940720" y="608013"/>
                </a:cubicBezTo>
                <a:cubicBezTo>
                  <a:pt x="1919742" y="579305"/>
                  <a:pt x="1919742" y="579305"/>
                  <a:pt x="1919742" y="579305"/>
                </a:cubicBezTo>
                <a:cubicBezTo>
                  <a:pt x="1911351" y="567002"/>
                  <a:pt x="1911351" y="567002"/>
                  <a:pt x="1911351" y="567002"/>
                </a:cubicBezTo>
                <a:close/>
                <a:moveTo>
                  <a:pt x="1500586" y="541338"/>
                </a:moveTo>
                <a:cubicBezTo>
                  <a:pt x="1504753" y="545571"/>
                  <a:pt x="1504753" y="545571"/>
                  <a:pt x="1508920" y="549805"/>
                </a:cubicBezTo>
                <a:cubicBezTo>
                  <a:pt x="1508920" y="549805"/>
                  <a:pt x="1508920" y="549805"/>
                  <a:pt x="1496419" y="583671"/>
                </a:cubicBezTo>
                <a:cubicBezTo>
                  <a:pt x="1496419" y="583671"/>
                  <a:pt x="1496419" y="583671"/>
                  <a:pt x="1521422" y="562505"/>
                </a:cubicBezTo>
                <a:cubicBezTo>
                  <a:pt x="1521422" y="566738"/>
                  <a:pt x="1525589" y="566738"/>
                  <a:pt x="1525589" y="570971"/>
                </a:cubicBezTo>
                <a:cubicBezTo>
                  <a:pt x="1525589" y="570971"/>
                  <a:pt x="1525589" y="570971"/>
                  <a:pt x="1488084" y="604838"/>
                </a:cubicBezTo>
                <a:cubicBezTo>
                  <a:pt x="1483917" y="600605"/>
                  <a:pt x="1483917" y="600605"/>
                  <a:pt x="1479750" y="596371"/>
                </a:cubicBezTo>
                <a:cubicBezTo>
                  <a:pt x="1479750" y="596371"/>
                  <a:pt x="1479750" y="596371"/>
                  <a:pt x="1492252" y="562505"/>
                </a:cubicBezTo>
                <a:cubicBezTo>
                  <a:pt x="1492252" y="562505"/>
                  <a:pt x="1492252" y="562505"/>
                  <a:pt x="1467249" y="579438"/>
                </a:cubicBezTo>
                <a:cubicBezTo>
                  <a:pt x="1463081" y="575205"/>
                  <a:pt x="1463081" y="575205"/>
                  <a:pt x="1458914" y="570971"/>
                </a:cubicBezTo>
                <a:cubicBezTo>
                  <a:pt x="1458914" y="570971"/>
                  <a:pt x="1458914" y="570971"/>
                  <a:pt x="1500586" y="541338"/>
                </a:cubicBezTo>
                <a:close/>
                <a:moveTo>
                  <a:pt x="1936752" y="528638"/>
                </a:moveTo>
                <a:lnTo>
                  <a:pt x="1973264" y="550863"/>
                </a:lnTo>
                <a:lnTo>
                  <a:pt x="1985965" y="528638"/>
                </a:lnTo>
                <a:lnTo>
                  <a:pt x="1993902" y="533401"/>
                </a:lnTo>
                <a:lnTo>
                  <a:pt x="1978027" y="561976"/>
                </a:lnTo>
                <a:lnTo>
                  <a:pt x="1931989" y="538163"/>
                </a:lnTo>
                <a:close/>
                <a:moveTo>
                  <a:pt x="1492829" y="525463"/>
                </a:moveTo>
                <a:cubicBezTo>
                  <a:pt x="1492829" y="529630"/>
                  <a:pt x="1497014" y="529630"/>
                  <a:pt x="1497014" y="533798"/>
                </a:cubicBezTo>
                <a:cubicBezTo>
                  <a:pt x="1497014" y="533798"/>
                  <a:pt x="1497014" y="533798"/>
                  <a:pt x="1455161" y="558801"/>
                </a:cubicBezTo>
                <a:cubicBezTo>
                  <a:pt x="1450976" y="554634"/>
                  <a:pt x="1450976" y="550467"/>
                  <a:pt x="1450976" y="550467"/>
                </a:cubicBezTo>
                <a:cubicBezTo>
                  <a:pt x="1450976" y="550467"/>
                  <a:pt x="1450976" y="550467"/>
                  <a:pt x="1492829" y="525463"/>
                </a:cubicBezTo>
                <a:close/>
                <a:moveTo>
                  <a:pt x="1482542" y="485751"/>
                </a:moveTo>
                <a:cubicBezTo>
                  <a:pt x="1480468" y="485230"/>
                  <a:pt x="1478394" y="486272"/>
                  <a:pt x="1476320" y="488355"/>
                </a:cubicBezTo>
                <a:cubicBezTo>
                  <a:pt x="1430696" y="500857"/>
                  <a:pt x="1430696" y="500857"/>
                  <a:pt x="1430696" y="500857"/>
                </a:cubicBezTo>
                <a:cubicBezTo>
                  <a:pt x="1422401" y="505024"/>
                  <a:pt x="1422401" y="509191"/>
                  <a:pt x="1422401" y="517526"/>
                </a:cubicBezTo>
                <a:cubicBezTo>
                  <a:pt x="1468025" y="634207"/>
                  <a:pt x="1584159" y="717551"/>
                  <a:pt x="1716883" y="717551"/>
                </a:cubicBezTo>
                <a:cubicBezTo>
                  <a:pt x="1849607" y="717551"/>
                  <a:pt x="1965740" y="634207"/>
                  <a:pt x="2011364" y="513358"/>
                </a:cubicBezTo>
                <a:cubicBezTo>
                  <a:pt x="2011364" y="509191"/>
                  <a:pt x="2007217" y="505024"/>
                  <a:pt x="2003069" y="500857"/>
                </a:cubicBezTo>
                <a:cubicBezTo>
                  <a:pt x="1957445" y="488355"/>
                  <a:pt x="1957445" y="488355"/>
                  <a:pt x="1957445" y="488355"/>
                </a:cubicBezTo>
                <a:cubicBezTo>
                  <a:pt x="1955371" y="486272"/>
                  <a:pt x="1953297" y="485230"/>
                  <a:pt x="1951224" y="485751"/>
                </a:cubicBezTo>
                <a:cubicBezTo>
                  <a:pt x="1949150" y="486272"/>
                  <a:pt x="1947076" y="488355"/>
                  <a:pt x="1945002" y="492522"/>
                </a:cubicBezTo>
                <a:cubicBezTo>
                  <a:pt x="1907673" y="584201"/>
                  <a:pt x="1820573" y="646709"/>
                  <a:pt x="1716883" y="646709"/>
                </a:cubicBezTo>
                <a:cubicBezTo>
                  <a:pt x="1613192" y="646709"/>
                  <a:pt x="1526092" y="584201"/>
                  <a:pt x="1488763" y="492522"/>
                </a:cubicBezTo>
                <a:cubicBezTo>
                  <a:pt x="1486689" y="488355"/>
                  <a:pt x="1484616" y="486272"/>
                  <a:pt x="1482542" y="485751"/>
                </a:cubicBezTo>
                <a:close/>
                <a:moveTo>
                  <a:pt x="1662749" y="478852"/>
                </a:moveTo>
                <a:cubicBezTo>
                  <a:pt x="1551306" y="533313"/>
                  <a:pt x="1551306" y="533313"/>
                  <a:pt x="1551306" y="533313"/>
                </a:cubicBezTo>
                <a:cubicBezTo>
                  <a:pt x="1547179" y="533313"/>
                  <a:pt x="1543051" y="533313"/>
                  <a:pt x="1543051" y="537502"/>
                </a:cubicBezTo>
                <a:cubicBezTo>
                  <a:pt x="1543051" y="537502"/>
                  <a:pt x="1543051" y="537502"/>
                  <a:pt x="1543051" y="541691"/>
                </a:cubicBezTo>
                <a:cubicBezTo>
                  <a:pt x="1543051" y="541691"/>
                  <a:pt x="1543051" y="545880"/>
                  <a:pt x="1547179" y="545880"/>
                </a:cubicBezTo>
                <a:cubicBezTo>
                  <a:pt x="1584326" y="587773"/>
                  <a:pt x="1621474" y="608719"/>
                  <a:pt x="1675132" y="621287"/>
                </a:cubicBezTo>
                <a:cubicBezTo>
                  <a:pt x="1679259" y="625476"/>
                  <a:pt x="1683387" y="625476"/>
                  <a:pt x="1683387" y="621287"/>
                </a:cubicBezTo>
                <a:cubicBezTo>
                  <a:pt x="1687514" y="621287"/>
                  <a:pt x="1687514" y="617098"/>
                  <a:pt x="1687514" y="608719"/>
                </a:cubicBezTo>
                <a:cubicBezTo>
                  <a:pt x="1687514" y="608719"/>
                  <a:pt x="1679259" y="487231"/>
                  <a:pt x="1679259" y="487231"/>
                </a:cubicBezTo>
                <a:cubicBezTo>
                  <a:pt x="1679259" y="483042"/>
                  <a:pt x="1675132" y="478852"/>
                  <a:pt x="1675132" y="478852"/>
                </a:cubicBezTo>
                <a:cubicBezTo>
                  <a:pt x="1671004" y="474663"/>
                  <a:pt x="1666877" y="474663"/>
                  <a:pt x="1662749" y="478852"/>
                </a:cubicBezTo>
                <a:close/>
                <a:moveTo>
                  <a:pt x="1762761" y="474663"/>
                </a:moveTo>
                <a:cubicBezTo>
                  <a:pt x="1758634" y="478836"/>
                  <a:pt x="1758634" y="483009"/>
                  <a:pt x="1758634" y="487182"/>
                </a:cubicBezTo>
                <a:cubicBezTo>
                  <a:pt x="1746251" y="608194"/>
                  <a:pt x="1746251" y="608194"/>
                  <a:pt x="1746251" y="608194"/>
                </a:cubicBezTo>
                <a:cubicBezTo>
                  <a:pt x="1746251" y="612367"/>
                  <a:pt x="1746251" y="616540"/>
                  <a:pt x="1750379" y="620713"/>
                </a:cubicBezTo>
                <a:cubicBezTo>
                  <a:pt x="1750379" y="620713"/>
                  <a:pt x="1754506" y="620713"/>
                  <a:pt x="1758634" y="620713"/>
                </a:cubicBezTo>
                <a:cubicBezTo>
                  <a:pt x="1812291" y="608194"/>
                  <a:pt x="1849439" y="587330"/>
                  <a:pt x="1886587" y="545602"/>
                </a:cubicBezTo>
                <a:cubicBezTo>
                  <a:pt x="1890714" y="541429"/>
                  <a:pt x="1890714" y="541429"/>
                  <a:pt x="1890714" y="537256"/>
                </a:cubicBezTo>
                <a:cubicBezTo>
                  <a:pt x="1890714" y="533083"/>
                  <a:pt x="1886587" y="533083"/>
                  <a:pt x="1882459" y="528910"/>
                </a:cubicBezTo>
                <a:cubicBezTo>
                  <a:pt x="1775144" y="474663"/>
                  <a:pt x="1775144" y="474663"/>
                  <a:pt x="1775144" y="474663"/>
                </a:cubicBezTo>
                <a:cubicBezTo>
                  <a:pt x="1771016" y="474663"/>
                  <a:pt x="1766889" y="474663"/>
                  <a:pt x="1762761" y="474663"/>
                </a:cubicBezTo>
                <a:close/>
                <a:moveTo>
                  <a:pt x="725572" y="428624"/>
                </a:moveTo>
                <a:cubicBezTo>
                  <a:pt x="705101" y="432820"/>
                  <a:pt x="696913" y="441211"/>
                  <a:pt x="696913" y="457993"/>
                </a:cubicBezTo>
                <a:cubicBezTo>
                  <a:pt x="696913" y="470580"/>
                  <a:pt x="696913" y="487362"/>
                  <a:pt x="717384" y="487362"/>
                </a:cubicBezTo>
                <a:cubicBezTo>
                  <a:pt x="741948" y="487362"/>
                  <a:pt x="774701" y="478971"/>
                  <a:pt x="774701" y="478971"/>
                </a:cubicBezTo>
                <a:cubicBezTo>
                  <a:pt x="774701" y="428624"/>
                  <a:pt x="774701" y="428624"/>
                  <a:pt x="774701" y="428624"/>
                </a:cubicBezTo>
                <a:close/>
                <a:moveTo>
                  <a:pt x="352426" y="346073"/>
                </a:moveTo>
                <a:cubicBezTo>
                  <a:pt x="315516" y="346073"/>
                  <a:pt x="303213" y="362695"/>
                  <a:pt x="303213" y="412562"/>
                </a:cubicBezTo>
                <a:cubicBezTo>
                  <a:pt x="303213" y="462428"/>
                  <a:pt x="311415" y="487361"/>
                  <a:pt x="352426" y="487361"/>
                </a:cubicBezTo>
                <a:cubicBezTo>
                  <a:pt x="393436" y="487361"/>
                  <a:pt x="401638" y="458272"/>
                  <a:pt x="401638" y="412562"/>
                </a:cubicBezTo>
                <a:cubicBezTo>
                  <a:pt x="401638" y="362695"/>
                  <a:pt x="389335" y="346073"/>
                  <a:pt x="352426" y="346073"/>
                </a:cubicBezTo>
                <a:close/>
                <a:moveTo>
                  <a:pt x="1704770" y="341312"/>
                </a:moveTo>
                <a:cubicBezTo>
                  <a:pt x="1704770" y="341312"/>
                  <a:pt x="1704770" y="353885"/>
                  <a:pt x="1704770" y="353885"/>
                </a:cubicBezTo>
                <a:cubicBezTo>
                  <a:pt x="1684063" y="358076"/>
                  <a:pt x="1671639" y="379031"/>
                  <a:pt x="1671639" y="399986"/>
                </a:cubicBezTo>
                <a:cubicBezTo>
                  <a:pt x="1671639" y="425132"/>
                  <a:pt x="1692346" y="446087"/>
                  <a:pt x="1717193" y="446087"/>
                </a:cubicBezTo>
                <a:cubicBezTo>
                  <a:pt x="1742041" y="446087"/>
                  <a:pt x="1766889" y="425132"/>
                  <a:pt x="1766889" y="399986"/>
                </a:cubicBezTo>
                <a:cubicBezTo>
                  <a:pt x="1766889" y="379031"/>
                  <a:pt x="1750324" y="358076"/>
                  <a:pt x="1729617" y="353885"/>
                </a:cubicBezTo>
                <a:cubicBezTo>
                  <a:pt x="1729617" y="349694"/>
                  <a:pt x="1729617" y="341312"/>
                  <a:pt x="1729617" y="341312"/>
                </a:cubicBezTo>
                <a:cubicBezTo>
                  <a:pt x="1704770" y="341312"/>
                  <a:pt x="1704770" y="341312"/>
                  <a:pt x="1704770" y="341312"/>
                </a:cubicBezTo>
                <a:close/>
                <a:moveTo>
                  <a:pt x="1716883" y="328612"/>
                </a:moveTo>
                <a:cubicBezTo>
                  <a:pt x="1755899" y="328612"/>
                  <a:pt x="1787527" y="360596"/>
                  <a:pt x="1787527" y="400050"/>
                </a:cubicBezTo>
                <a:cubicBezTo>
                  <a:pt x="1787527" y="439504"/>
                  <a:pt x="1755899" y="471488"/>
                  <a:pt x="1716883" y="471488"/>
                </a:cubicBezTo>
                <a:cubicBezTo>
                  <a:pt x="1677867" y="471488"/>
                  <a:pt x="1646239" y="439504"/>
                  <a:pt x="1646239" y="400050"/>
                </a:cubicBezTo>
                <a:cubicBezTo>
                  <a:pt x="1646239" y="360596"/>
                  <a:pt x="1677867" y="328612"/>
                  <a:pt x="1716883" y="328612"/>
                </a:cubicBezTo>
                <a:close/>
                <a:moveTo>
                  <a:pt x="1716883" y="320675"/>
                </a:moveTo>
                <a:cubicBezTo>
                  <a:pt x="1673483" y="320675"/>
                  <a:pt x="1638301" y="356212"/>
                  <a:pt x="1638301" y="400050"/>
                </a:cubicBezTo>
                <a:cubicBezTo>
                  <a:pt x="1638301" y="443888"/>
                  <a:pt x="1673483" y="479425"/>
                  <a:pt x="1716883" y="479425"/>
                </a:cubicBezTo>
                <a:cubicBezTo>
                  <a:pt x="1760283" y="479425"/>
                  <a:pt x="1795465" y="443888"/>
                  <a:pt x="1795465" y="400050"/>
                </a:cubicBezTo>
                <a:cubicBezTo>
                  <a:pt x="1795465" y="356212"/>
                  <a:pt x="1760283" y="320675"/>
                  <a:pt x="1716883" y="320675"/>
                </a:cubicBezTo>
                <a:close/>
                <a:moveTo>
                  <a:pt x="1924004" y="317500"/>
                </a:moveTo>
                <a:cubicBezTo>
                  <a:pt x="1924004" y="317500"/>
                  <a:pt x="1919866" y="317500"/>
                  <a:pt x="1911592" y="321667"/>
                </a:cubicBezTo>
                <a:cubicBezTo>
                  <a:pt x="1812301" y="388342"/>
                  <a:pt x="1812301" y="388342"/>
                  <a:pt x="1812301" y="388342"/>
                </a:cubicBezTo>
                <a:cubicBezTo>
                  <a:pt x="1808164" y="392510"/>
                  <a:pt x="1808164" y="396677"/>
                  <a:pt x="1808164" y="400844"/>
                </a:cubicBezTo>
                <a:cubicBezTo>
                  <a:pt x="1808164" y="400844"/>
                  <a:pt x="1808164" y="405011"/>
                  <a:pt x="1812301" y="409178"/>
                </a:cubicBezTo>
                <a:lnTo>
                  <a:pt x="1915729" y="480021"/>
                </a:lnTo>
                <a:cubicBezTo>
                  <a:pt x="1915729" y="480021"/>
                  <a:pt x="1919866" y="484188"/>
                  <a:pt x="1924004" y="480021"/>
                </a:cubicBezTo>
                <a:cubicBezTo>
                  <a:pt x="1928141" y="480021"/>
                  <a:pt x="1928141" y="480021"/>
                  <a:pt x="1928141" y="471686"/>
                </a:cubicBezTo>
                <a:cubicBezTo>
                  <a:pt x="1944689" y="421680"/>
                  <a:pt x="1944689" y="375841"/>
                  <a:pt x="1928141" y="325834"/>
                </a:cubicBezTo>
                <a:cubicBezTo>
                  <a:pt x="1928141" y="321667"/>
                  <a:pt x="1928141" y="317500"/>
                  <a:pt x="1924004" y="317500"/>
                </a:cubicBezTo>
                <a:close/>
                <a:moveTo>
                  <a:pt x="1509762" y="317500"/>
                </a:moveTo>
                <a:cubicBezTo>
                  <a:pt x="1505625" y="317500"/>
                  <a:pt x="1505625" y="321667"/>
                  <a:pt x="1501487" y="325834"/>
                </a:cubicBezTo>
                <a:cubicBezTo>
                  <a:pt x="1489076" y="375841"/>
                  <a:pt x="1489076" y="421680"/>
                  <a:pt x="1501487" y="475854"/>
                </a:cubicBezTo>
                <a:cubicBezTo>
                  <a:pt x="1505625" y="475854"/>
                  <a:pt x="1505625" y="480021"/>
                  <a:pt x="1509762" y="480021"/>
                </a:cubicBezTo>
                <a:cubicBezTo>
                  <a:pt x="1509762" y="484188"/>
                  <a:pt x="1513899" y="480021"/>
                  <a:pt x="1518036" y="480021"/>
                </a:cubicBezTo>
                <a:cubicBezTo>
                  <a:pt x="1621464" y="409178"/>
                  <a:pt x="1621464" y="409178"/>
                  <a:pt x="1621464" y="409178"/>
                </a:cubicBezTo>
                <a:cubicBezTo>
                  <a:pt x="1625601" y="409178"/>
                  <a:pt x="1625601" y="405011"/>
                  <a:pt x="1625601" y="400844"/>
                </a:cubicBezTo>
                <a:cubicBezTo>
                  <a:pt x="1625601" y="396677"/>
                  <a:pt x="1625601" y="392510"/>
                  <a:pt x="1621464" y="388342"/>
                </a:cubicBezTo>
                <a:lnTo>
                  <a:pt x="1518036" y="321667"/>
                </a:lnTo>
                <a:cubicBezTo>
                  <a:pt x="1518036" y="317500"/>
                  <a:pt x="1513899" y="317500"/>
                  <a:pt x="1509762" y="317500"/>
                </a:cubicBezTo>
                <a:close/>
                <a:moveTo>
                  <a:pt x="1032821" y="304799"/>
                </a:moveTo>
                <a:cubicBezTo>
                  <a:pt x="1032821" y="304799"/>
                  <a:pt x="1036942" y="304799"/>
                  <a:pt x="1041062" y="304799"/>
                </a:cubicBezTo>
                <a:cubicBezTo>
                  <a:pt x="1041062" y="304799"/>
                  <a:pt x="1041062" y="304799"/>
                  <a:pt x="1074028" y="304799"/>
                </a:cubicBezTo>
                <a:cubicBezTo>
                  <a:pt x="1078149" y="304799"/>
                  <a:pt x="1078149" y="304799"/>
                  <a:pt x="1082270" y="308966"/>
                </a:cubicBezTo>
                <a:cubicBezTo>
                  <a:pt x="1082270" y="308966"/>
                  <a:pt x="1082270" y="308966"/>
                  <a:pt x="1123477" y="479821"/>
                </a:cubicBezTo>
                <a:cubicBezTo>
                  <a:pt x="1123477" y="479821"/>
                  <a:pt x="1123477" y="479821"/>
                  <a:pt x="1127598" y="479821"/>
                </a:cubicBezTo>
                <a:cubicBezTo>
                  <a:pt x="1127598" y="479821"/>
                  <a:pt x="1127598" y="479821"/>
                  <a:pt x="1172926" y="308966"/>
                </a:cubicBezTo>
                <a:cubicBezTo>
                  <a:pt x="1172926" y="304799"/>
                  <a:pt x="1177047" y="304799"/>
                  <a:pt x="1181168" y="304799"/>
                </a:cubicBezTo>
                <a:cubicBezTo>
                  <a:pt x="1181168" y="304799"/>
                  <a:pt x="1181168" y="304799"/>
                  <a:pt x="1214134" y="304799"/>
                </a:cubicBezTo>
                <a:cubicBezTo>
                  <a:pt x="1218254" y="304799"/>
                  <a:pt x="1218254" y="304799"/>
                  <a:pt x="1222375" y="304799"/>
                </a:cubicBezTo>
                <a:cubicBezTo>
                  <a:pt x="1222375" y="308966"/>
                  <a:pt x="1222375" y="308966"/>
                  <a:pt x="1222375" y="313133"/>
                </a:cubicBezTo>
                <a:cubicBezTo>
                  <a:pt x="1222375" y="313133"/>
                  <a:pt x="1222375" y="313133"/>
                  <a:pt x="1218254" y="338137"/>
                </a:cubicBezTo>
                <a:cubicBezTo>
                  <a:pt x="1214134" y="350638"/>
                  <a:pt x="1210013" y="367307"/>
                  <a:pt x="1201771" y="388143"/>
                </a:cubicBezTo>
                <a:cubicBezTo>
                  <a:pt x="1193530" y="433982"/>
                  <a:pt x="1177047" y="496490"/>
                  <a:pt x="1164685" y="542329"/>
                </a:cubicBezTo>
                <a:cubicBezTo>
                  <a:pt x="1152322" y="584001"/>
                  <a:pt x="1131719" y="604837"/>
                  <a:pt x="1098753" y="604837"/>
                </a:cubicBezTo>
                <a:cubicBezTo>
                  <a:pt x="1098753" y="604837"/>
                  <a:pt x="1098753" y="604837"/>
                  <a:pt x="1094632" y="604837"/>
                </a:cubicBezTo>
                <a:cubicBezTo>
                  <a:pt x="1078149" y="604837"/>
                  <a:pt x="1053425" y="600670"/>
                  <a:pt x="1041062" y="600670"/>
                </a:cubicBezTo>
                <a:cubicBezTo>
                  <a:pt x="1036942" y="596503"/>
                  <a:pt x="1032821" y="596503"/>
                  <a:pt x="1032821" y="592335"/>
                </a:cubicBezTo>
                <a:cubicBezTo>
                  <a:pt x="1032821" y="592335"/>
                  <a:pt x="1032821" y="592335"/>
                  <a:pt x="1032821" y="567332"/>
                </a:cubicBezTo>
                <a:cubicBezTo>
                  <a:pt x="1032821" y="567332"/>
                  <a:pt x="1032821" y="563165"/>
                  <a:pt x="1036942" y="563165"/>
                </a:cubicBezTo>
                <a:cubicBezTo>
                  <a:pt x="1036942" y="558998"/>
                  <a:pt x="1041062" y="558998"/>
                  <a:pt x="1041062" y="558998"/>
                </a:cubicBezTo>
                <a:cubicBezTo>
                  <a:pt x="1041062" y="558998"/>
                  <a:pt x="1041062" y="558998"/>
                  <a:pt x="1082270" y="563165"/>
                </a:cubicBezTo>
                <a:cubicBezTo>
                  <a:pt x="1106994" y="563165"/>
                  <a:pt x="1111115" y="550663"/>
                  <a:pt x="1115236" y="538162"/>
                </a:cubicBezTo>
                <a:cubicBezTo>
                  <a:pt x="1115236" y="533995"/>
                  <a:pt x="1115236" y="533995"/>
                  <a:pt x="1119357" y="529828"/>
                </a:cubicBezTo>
                <a:cubicBezTo>
                  <a:pt x="1119357" y="529828"/>
                  <a:pt x="1119357" y="529828"/>
                  <a:pt x="1106994" y="529828"/>
                </a:cubicBezTo>
                <a:cubicBezTo>
                  <a:pt x="1090511" y="529828"/>
                  <a:pt x="1082270" y="513159"/>
                  <a:pt x="1082270" y="504824"/>
                </a:cubicBezTo>
                <a:cubicBezTo>
                  <a:pt x="1082270" y="504824"/>
                  <a:pt x="1082270" y="504824"/>
                  <a:pt x="1032821" y="313133"/>
                </a:cubicBezTo>
                <a:cubicBezTo>
                  <a:pt x="1028700" y="308966"/>
                  <a:pt x="1032821" y="308966"/>
                  <a:pt x="1032821" y="304799"/>
                </a:cubicBezTo>
                <a:close/>
                <a:moveTo>
                  <a:pt x="994979" y="300037"/>
                </a:moveTo>
                <a:cubicBezTo>
                  <a:pt x="994979" y="300037"/>
                  <a:pt x="999140" y="300037"/>
                  <a:pt x="999140" y="304193"/>
                </a:cubicBezTo>
                <a:cubicBezTo>
                  <a:pt x="1003300" y="304193"/>
                  <a:pt x="1003300" y="308350"/>
                  <a:pt x="1003300" y="308350"/>
                </a:cubicBezTo>
                <a:cubicBezTo>
                  <a:pt x="1003300" y="308350"/>
                  <a:pt x="1003300" y="308350"/>
                  <a:pt x="1003300" y="341601"/>
                </a:cubicBezTo>
                <a:cubicBezTo>
                  <a:pt x="1003300" y="345757"/>
                  <a:pt x="999140" y="345757"/>
                  <a:pt x="994979" y="349913"/>
                </a:cubicBezTo>
                <a:cubicBezTo>
                  <a:pt x="965857" y="349913"/>
                  <a:pt x="940895" y="370695"/>
                  <a:pt x="932574" y="374852"/>
                </a:cubicBezTo>
                <a:cubicBezTo>
                  <a:pt x="932574" y="374852"/>
                  <a:pt x="932574" y="374852"/>
                  <a:pt x="932574" y="520324"/>
                </a:cubicBezTo>
                <a:cubicBezTo>
                  <a:pt x="932574" y="524481"/>
                  <a:pt x="928414" y="528637"/>
                  <a:pt x="924254" y="528637"/>
                </a:cubicBezTo>
                <a:cubicBezTo>
                  <a:pt x="924254" y="528637"/>
                  <a:pt x="924254" y="528637"/>
                  <a:pt x="890971" y="528637"/>
                </a:cubicBezTo>
                <a:cubicBezTo>
                  <a:pt x="886810" y="528637"/>
                  <a:pt x="882650" y="524481"/>
                  <a:pt x="882650" y="520324"/>
                </a:cubicBezTo>
                <a:cubicBezTo>
                  <a:pt x="882650" y="520324"/>
                  <a:pt x="882650" y="520324"/>
                  <a:pt x="882650" y="312506"/>
                </a:cubicBezTo>
                <a:cubicBezTo>
                  <a:pt x="882650" y="304193"/>
                  <a:pt x="886810" y="304193"/>
                  <a:pt x="890971" y="304193"/>
                </a:cubicBezTo>
                <a:cubicBezTo>
                  <a:pt x="890971" y="304193"/>
                  <a:pt x="890971" y="304193"/>
                  <a:pt x="924254" y="304193"/>
                </a:cubicBezTo>
                <a:cubicBezTo>
                  <a:pt x="928414" y="304193"/>
                  <a:pt x="932574" y="304193"/>
                  <a:pt x="932574" y="312506"/>
                </a:cubicBezTo>
                <a:cubicBezTo>
                  <a:pt x="932574" y="312506"/>
                  <a:pt x="932574" y="312506"/>
                  <a:pt x="932574" y="324975"/>
                </a:cubicBezTo>
                <a:cubicBezTo>
                  <a:pt x="949216" y="316662"/>
                  <a:pt x="970017" y="300037"/>
                  <a:pt x="994979" y="300037"/>
                </a:cubicBezTo>
                <a:close/>
                <a:moveTo>
                  <a:pt x="750816" y="295274"/>
                </a:moveTo>
                <a:cubicBezTo>
                  <a:pt x="800606" y="295274"/>
                  <a:pt x="825501" y="320340"/>
                  <a:pt x="825501" y="374649"/>
                </a:cubicBezTo>
                <a:cubicBezTo>
                  <a:pt x="825501" y="525044"/>
                  <a:pt x="825501" y="525044"/>
                  <a:pt x="825501" y="525044"/>
                </a:cubicBezTo>
                <a:cubicBezTo>
                  <a:pt x="825501" y="525044"/>
                  <a:pt x="825501" y="529221"/>
                  <a:pt x="825501" y="529221"/>
                </a:cubicBezTo>
                <a:cubicBezTo>
                  <a:pt x="821352" y="533399"/>
                  <a:pt x="821352" y="533399"/>
                  <a:pt x="817203" y="533399"/>
                </a:cubicBezTo>
                <a:cubicBezTo>
                  <a:pt x="800606" y="529221"/>
                  <a:pt x="792308" y="525044"/>
                  <a:pt x="784010" y="516688"/>
                </a:cubicBezTo>
                <a:cubicBezTo>
                  <a:pt x="784010" y="516688"/>
                  <a:pt x="742518" y="533399"/>
                  <a:pt x="709325" y="533399"/>
                </a:cubicBezTo>
                <a:cubicBezTo>
                  <a:pt x="667833" y="533399"/>
                  <a:pt x="642938" y="508333"/>
                  <a:pt x="642938" y="462379"/>
                </a:cubicBezTo>
                <a:cubicBezTo>
                  <a:pt x="642938" y="416425"/>
                  <a:pt x="667833" y="395537"/>
                  <a:pt x="717623" y="391360"/>
                </a:cubicBezTo>
                <a:cubicBezTo>
                  <a:pt x="775711" y="387182"/>
                  <a:pt x="775711" y="387182"/>
                  <a:pt x="775711" y="387182"/>
                </a:cubicBezTo>
                <a:cubicBezTo>
                  <a:pt x="775711" y="374649"/>
                  <a:pt x="775711" y="374649"/>
                  <a:pt x="775711" y="374649"/>
                </a:cubicBezTo>
                <a:cubicBezTo>
                  <a:pt x="775711" y="357939"/>
                  <a:pt x="763264" y="345406"/>
                  <a:pt x="746667" y="345406"/>
                </a:cubicBezTo>
                <a:cubicBezTo>
                  <a:pt x="721772" y="345406"/>
                  <a:pt x="688579" y="349583"/>
                  <a:pt x="667833" y="349583"/>
                </a:cubicBezTo>
                <a:cubicBezTo>
                  <a:pt x="667833" y="349583"/>
                  <a:pt x="663684" y="349583"/>
                  <a:pt x="663684" y="349583"/>
                </a:cubicBezTo>
                <a:cubicBezTo>
                  <a:pt x="659535" y="345406"/>
                  <a:pt x="659535" y="345406"/>
                  <a:pt x="659535" y="341228"/>
                </a:cubicBezTo>
                <a:cubicBezTo>
                  <a:pt x="659535" y="311985"/>
                  <a:pt x="659535" y="311985"/>
                  <a:pt x="659535" y="311985"/>
                </a:cubicBezTo>
                <a:cubicBezTo>
                  <a:pt x="659535" y="307807"/>
                  <a:pt x="663684" y="303629"/>
                  <a:pt x="667833" y="303629"/>
                </a:cubicBezTo>
                <a:cubicBezTo>
                  <a:pt x="684430" y="303629"/>
                  <a:pt x="725921" y="295274"/>
                  <a:pt x="750816" y="295274"/>
                </a:cubicBezTo>
                <a:close/>
                <a:moveTo>
                  <a:pt x="354013" y="295273"/>
                </a:moveTo>
                <a:cubicBezTo>
                  <a:pt x="410125" y="295273"/>
                  <a:pt x="455613" y="348579"/>
                  <a:pt x="455613" y="414336"/>
                </a:cubicBezTo>
                <a:cubicBezTo>
                  <a:pt x="455613" y="480093"/>
                  <a:pt x="410125" y="533399"/>
                  <a:pt x="354013" y="533399"/>
                </a:cubicBezTo>
                <a:cubicBezTo>
                  <a:pt x="297901" y="533399"/>
                  <a:pt x="252413" y="480093"/>
                  <a:pt x="252413" y="414336"/>
                </a:cubicBezTo>
                <a:cubicBezTo>
                  <a:pt x="252413" y="348579"/>
                  <a:pt x="297901" y="295273"/>
                  <a:pt x="354013" y="295273"/>
                </a:cubicBezTo>
                <a:close/>
                <a:moveTo>
                  <a:pt x="53975" y="266699"/>
                </a:moveTo>
                <a:cubicBezTo>
                  <a:pt x="53975" y="358774"/>
                  <a:pt x="53975" y="358774"/>
                  <a:pt x="53975" y="358774"/>
                </a:cubicBezTo>
                <a:cubicBezTo>
                  <a:pt x="62207" y="358774"/>
                  <a:pt x="82785" y="358774"/>
                  <a:pt x="107480" y="358774"/>
                </a:cubicBezTo>
                <a:cubicBezTo>
                  <a:pt x="144521" y="358774"/>
                  <a:pt x="165100" y="342033"/>
                  <a:pt x="165100" y="312737"/>
                </a:cubicBezTo>
                <a:cubicBezTo>
                  <a:pt x="165100" y="291810"/>
                  <a:pt x="148637" y="266699"/>
                  <a:pt x="111595" y="266699"/>
                </a:cubicBezTo>
                <a:cubicBezTo>
                  <a:pt x="91017" y="266699"/>
                  <a:pt x="91017" y="266699"/>
                  <a:pt x="91017" y="266699"/>
                </a:cubicBezTo>
                <a:cubicBezTo>
                  <a:pt x="70438" y="266699"/>
                  <a:pt x="62207" y="266699"/>
                  <a:pt x="53975" y="266699"/>
                </a:cubicBezTo>
                <a:close/>
                <a:moveTo>
                  <a:pt x="546894" y="250824"/>
                </a:moveTo>
                <a:cubicBezTo>
                  <a:pt x="546894" y="250824"/>
                  <a:pt x="551050" y="250824"/>
                  <a:pt x="551050" y="250824"/>
                </a:cubicBezTo>
                <a:cubicBezTo>
                  <a:pt x="555205" y="254980"/>
                  <a:pt x="555205" y="254980"/>
                  <a:pt x="555205" y="259135"/>
                </a:cubicBezTo>
                <a:cubicBezTo>
                  <a:pt x="555205" y="304846"/>
                  <a:pt x="555205" y="304846"/>
                  <a:pt x="555205" y="304846"/>
                </a:cubicBezTo>
                <a:cubicBezTo>
                  <a:pt x="609227" y="304846"/>
                  <a:pt x="609227" y="304846"/>
                  <a:pt x="609227" y="304846"/>
                </a:cubicBezTo>
                <a:cubicBezTo>
                  <a:pt x="613383" y="304846"/>
                  <a:pt x="617538" y="304846"/>
                  <a:pt x="617538" y="313157"/>
                </a:cubicBezTo>
                <a:cubicBezTo>
                  <a:pt x="617538" y="342245"/>
                  <a:pt x="617538" y="342245"/>
                  <a:pt x="617538" y="342245"/>
                </a:cubicBezTo>
                <a:cubicBezTo>
                  <a:pt x="617538" y="346401"/>
                  <a:pt x="613383" y="350556"/>
                  <a:pt x="609227" y="350556"/>
                </a:cubicBezTo>
                <a:cubicBezTo>
                  <a:pt x="555205" y="350556"/>
                  <a:pt x="555205" y="350556"/>
                  <a:pt x="555205" y="350556"/>
                </a:cubicBezTo>
                <a:cubicBezTo>
                  <a:pt x="555205" y="441978"/>
                  <a:pt x="555205" y="441978"/>
                  <a:pt x="555205" y="441978"/>
                </a:cubicBezTo>
                <a:cubicBezTo>
                  <a:pt x="555205" y="475222"/>
                  <a:pt x="555205" y="483533"/>
                  <a:pt x="580138" y="483533"/>
                </a:cubicBezTo>
                <a:cubicBezTo>
                  <a:pt x="588449" y="483533"/>
                  <a:pt x="600916" y="483533"/>
                  <a:pt x="609227" y="483533"/>
                </a:cubicBezTo>
                <a:cubicBezTo>
                  <a:pt x="613383" y="483533"/>
                  <a:pt x="617538" y="487688"/>
                  <a:pt x="617538" y="491844"/>
                </a:cubicBezTo>
                <a:cubicBezTo>
                  <a:pt x="617538" y="520932"/>
                  <a:pt x="617538" y="520932"/>
                  <a:pt x="617538" y="520932"/>
                </a:cubicBezTo>
                <a:cubicBezTo>
                  <a:pt x="617538" y="525088"/>
                  <a:pt x="613383" y="529244"/>
                  <a:pt x="609227" y="529244"/>
                </a:cubicBezTo>
                <a:cubicBezTo>
                  <a:pt x="596760" y="529244"/>
                  <a:pt x="584294" y="533399"/>
                  <a:pt x="571827" y="533399"/>
                </a:cubicBezTo>
                <a:cubicBezTo>
                  <a:pt x="521961" y="533399"/>
                  <a:pt x="505339" y="512621"/>
                  <a:pt x="505339" y="450289"/>
                </a:cubicBezTo>
                <a:cubicBezTo>
                  <a:pt x="505339" y="350556"/>
                  <a:pt x="505339" y="350556"/>
                  <a:pt x="505339" y="350556"/>
                </a:cubicBezTo>
                <a:cubicBezTo>
                  <a:pt x="484561" y="350556"/>
                  <a:pt x="484561" y="350556"/>
                  <a:pt x="484561" y="350556"/>
                </a:cubicBezTo>
                <a:cubicBezTo>
                  <a:pt x="480406" y="350556"/>
                  <a:pt x="476250" y="346401"/>
                  <a:pt x="476250" y="342245"/>
                </a:cubicBezTo>
                <a:cubicBezTo>
                  <a:pt x="476250" y="313157"/>
                  <a:pt x="476250" y="313157"/>
                  <a:pt x="476250" y="313157"/>
                </a:cubicBezTo>
                <a:cubicBezTo>
                  <a:pt x="476250" y="304846"/>
                  <a:pt x="480406" y="304846"/>
                  <a:pt x="484561" y="304846"/>
                </a:cubicBezTo>
                <a:cubicBezTo>
                  <a:pt x="505339" y="304846"/>
                  <a:pt x="505339" y="304846"/>
                  <a:pt x="505339" y="304846"/>
                </a:cubicBezTo>
                <a:cubicBezTo>
                  <a:pt x="505339" y="267446"/>
                  <a:pt x="505339" y="267446"/>
                  <a:pt x="505339" y="267446"/>
                </a:cubicBezTo>
                <a:cubicBezTo>
                  <a:pt x="505339" y="263291"/>
                  <a:pt x="505339" y="259135"/>
                  <a:pt x="509494" y="259135"/>
                </a:cubicBezTo>
                <a:cubicBezTo>
                  <a:pt x="546894" y="250824"/>
                  <a:pt x="546894" y="250824"/>
                  <a:pt x="546894" y="250824"/>
                </a:cubicBezTo>
                <a:close/>
                <a:moveTo>
                  <a:pt x="103337" y="217487"/>
                </a:moveTo>
                <a:cubicBezTo>
                  <a:pt x="107471" y="217487"/>
                  <a:pt x="111604" y="217487"/>
                  <a:pt x="111604" y="217487"/>
                </a:cubicBezTo>
                <a:cubicBezTo>
                  <a:pt x="198408" y="217487"/>
                  <a:pt x="219075" y="267271"/>
                  <a:pt x="219075" y="312906"/>
                </a:cubicBezTo>
                <a:cubicBezTo>
                  <a:pt x="219075" y="350244"/>
                  <a:pt x="202541" y="375136"/>
                  <a:pt x="165340" y="391731"/>
                </a:cubicBezTo>
                <a:lnTo>
                  <a:pt x="219075" y="516191"/>
                </a:lnTo>
                <a:cubicBezTo>
                  <a:pt x="219075" y="520340"/>
                  <a:pt x="219075" y="520340"/>
                  <a:pt x="219075" y="524488"/>
                </a:cubicBezTo>
                <a:cubicBezTo>
                  <a:pt x="219075" y="524488"/>
                  <a:pt x="214942" y="528637"/>
                  <a:pt x="210808" y="528637"/>
                </a:cubicBezTo>
                <a:cubicBezTo>
                  <a:pt x="173607" y="528637"/>
                  <a:pt x="173607" y="528637"/>
                  <a:pt x="173607" y="528637"/>
                </a:cubicBezTo>
                <a:cubicBezTo>
                  <a:pt x="169473" y="528637"/>
                  <a:pt x="165340" y="524488"/>
                  <a:pt x="165340" y="524488"/>
                </a:cubicBezTo>
                <a:cubicBezTo>
                  <a:pt x="111604" y="408326"/>
                  <a:pt x="111604" y="408326"/>
                  <a:pt x="111604" y="408326"/>
                </a:cubicBezTo>
                <a:cubicBezTo>
                  <a:pt x="86803" y="408326"/>
                  <a:pt x="66136" y="408326"/>
                  <a:pt x="53736" y="404177"/>
                </a:cubicBezTo>
                <a:cubicBezTo>
                  <a:pt x="53736" y="520340"/>
                  <a:pt x="53736" y="520340"/>
                  <a:pt x="53736" y="520340"/>
                </a:cubicBezTo>
                <a:cubicBezTo>
                  <a:pt x="53736" y="524488"/>
                  <a:pt x="49602" y="528637"/>
                  <a:pt x="45469" y="528637"/>
                </a:cubicBezTo>
                <a:cubicBezTo>
                  <a:pt x="8267" y="528637"/>
                  <a:pt x="8267" y="528637"/>
                  <a:pt x="8267" y="528637"/>
                </a:cubicBezTo>
                <a:cubicBezTo>
                  <a:pt x="4134" y="528637"/>
                  <a:pt x="0" y="524488"/>
                  <a:pt x="0" y="520340"/>
                </a:cubicBezTo>
                <a:cubicBezTo>
                  <a:pt x="0" y="229933"/>
                  <a:pt x="0" y="229933"/>
                  <a:pt x="0" y="229933"/>
                </a:cubicBezTo>
                <a:cubicBezTo>
                  <a:pt x="0" y="225784"/>
                  <a:pt x="4134" y="221636"/>
                  <a:pt x="8267" y="221636"/>
                </a:cubicBezTo>
                <a:cubicBezTo>
                  <a:pt x="53736" y="217487"/>
                  <a:pt x="90937" y="217487"/>
                  <a:pt x="103337" y="217487"/>
                </a:cubicBezTo>
                <a:close/>
                <a:moveTo>
                  <a:pt x="1941299" y="180951"/>
                </a:moveTo>
                <a:cubicBezTo>
                  <a:pt x="1938725" y="180430"/>
                  <a:pt x="1936665" y="181472"/>
                  <a:pt x="1936665" y="183555"/>
                </a:cubicBezTo>
                <a:cubicBezTo>
                  <a:pt x="1903714" y="221060"/>
                  <a:pt x="1903714" y="221060"/>
                  <a:pt x="1903714" y="221060"/>
                </a:cubicBezTo>
                <a:cubicBezTo>
                  <a:pt x="1895476" y="225227"/>
                  <a:pt x="1895476" y="233562"/>
                  <a:pt x="1903714" y="237729"/>
                </a:cubicBezTo>
                <a:cubicBezTo>
                  <a:pt x="1953141" y="291902"/>
                  <a:pt x="1973736" y="362745"/>
                  <a:pt x="1957260" y="450256"/>
                </a:cubicBezTo>
                <a:cubicBezTo>
                  <a:pt x="1957260" y="458590"/>
                  <a:pt x="1961379" y="462757"/>
                  <a:pt x="1965498" y="462757"/>
                </a:cubicBezTo>
                <a:cubicBezTo>
                  <a:pt x="2010806" y="475259"/>
                  <a:pt x="2010806" y="475259"/>
                  <a:pt x="2010806" y="475259"/>
                </a:cubicBezTo>
                <a:cubicBezTo>
                  <a:pt x="2019044" y="479426"/>
                  <a:pt x="2023163" y="475259"/>
                  <a:pt x="2023163" y="471092"/>
                </a:cubicBezTo>
                <a:cubicBezTo>
                  <a:pt x="2047876" y="362745"/>
                  <a:pt x="2014925" y="254398"/>
                  <a:pt x="1949022" y="187722"/>
                </a:cubicBezTo>
                <a:cubicBezTo>
                  <a:pt x="1946963" y="183555"/>
                  <a:pt x="1943873" y="181472"/>
                  <a:pt x="1941299" y="180951"/>
                </a:cubicBezTo>
                <a:close/>
                <a:moveTo>
                  <a:pt x="1491989" y="180951"/>
                </a:moveTo>
                <a:cubicBezTo>
                  <a:pt x="1489388" y="181472"/>
                  <a:pt x="1486266" y="183555"/>
                  <a:pt x="1484185" y="187722"/>
                </a:cubicBezTo>
                <a:cubicBezTo>
                  <a:pt x="1417596" y="254398"/>
                  <a:pt x="1384301" y="362745"/>
                  <a:pt x="1409272" y="471092"/>
                </a:cubicBezTo>
                <a:cubicBezTo>
                  <a:pt x="1409272" y="475259"/>
                  <a:pt x="1413434" y="479426"/>
                  <a:pt x="1421758" y="475259"/>
                </a:cubicBezTo>
                <a:cubicBezTo>
                  <a:pt x="1467538" y="462757"/>
                  <a:pt x="1467538" y="462757"/>
                  <a:pt x="1467538" y="462757"/>
                </a:cubicBezTo>
                <a:cubicBezTo>
                  <a:pt x="1471700" y="462757"/>
                  <a:pt x="1475862" y="458590"/>
                  <a:pt x="1475862" y="450256"/>
                </a:cubicBezTo>
                <a:cubicBezTo>
                  <a:pt x="1459214" y="362745"/>
                  <a:pt x="1480023" y="291902"/>
                  <a:pt x="1529965" y="237729"/>
                </a:cubicBezTo>
                <a:cubicBezTo>
                  <a:pt x="1538289" y="233562"/>
                  <a:pt x="1538289" y="225227"/>
                  <a:pt x="1534127" y="221060"/>
                </a:cubicBezTo>
                <a:cubicBezTo>
                  <a:pt x="1496671" y="183555"/>
                  <a:pt x="1496671" y="183555"/>
                  <a:pt x="1496671" y="183555"/>
                </a:cubicBezTo>
                <a:cubicBezTo>
                  <a:pt x="1496671" y="181472"/>
                  <a:pt x="1494590" y="180430"/>
                  <a:pt x="1491989" y="180951"/>
                </a:cubicBezTo>
                <a:close/>
                <a:moveTo>
                  <a:pt x="1750379" y="174625"/>
                </a:moveTo>
                <a:cubicBezTo>
                  <a:pt x="1746251" y="178798"/>
                  <a:pt x="1746251" y="182971"/>
                  <a:pt x="1746251" y="187144"/>
                </a:cubicBezTo>
                <a:cubicBezTo>
                  <a:pt x="1754506" y="308156"/>
                  <a:pt x="1754506" y="308156"/>
                  <a:pt x="1754506" y="308156"/>
                </a:cubicBezTo>
                <a:cubicBezTo>
                  <a:pt x="1758634" y="312329"/>
                  <a:pt x="1758634" y="316502"/>
                  <a:pt x="1762761" y="320675"/>
                </a:cubicBezTo>
                <a:cubicBezTo>
                  <a:pt x="1766889" y="320675"/>
                  <a:pt x="1771016" y="320675"/>
                  <a:pt x="1775144" y="320675"/>
                </a:cubicBezTo>
                <a:cubicBezTo>
                  <a:pt x="1882459" y="266428"/>
                  <a:pt x="1882459" y="266428"/>
                  <a:pt x="1882459" y="266428"/>
                </a:cubicBezTo>
                <a:cubicBezTo>
                  <a:pt x="1886587" y="262255"/>
                  <a:pt x="1890714" y="262255"/>
                  <a:pt x="1890714" y="258082"/>
                </a:cubicBezTo>
                <a:cubicBezTo>
                  <a:pt x="1890714" y="253909"/>
                  <a:pt x="1890714" y="253909"/>
                  <a:pt x="1886587" y="249736"/>
                </a:cubicBezTo>
                <a:cubicBezTo>
                  <a:pt x="1849439" y="208008"/>
                  <a:pt x="1812291" y="187144"/>
                  <a:pt x="1758634" y="174625"/>
                </a:cubicBezTo>
                <a:cubicBezTo>
                  <a:pt x="1754506" y="174625"/>
                  <a:pt x="1754506" y="174625"/>
                  <a:pt x="1750379" y="174625"/>
                </a:cubicBezTo>
                <a:close/>
                <a:moveTo>
                  <a:pt x="1675132" y="174625"/>
                </a:moveTo>
                <a:cubicBezTo>
                  <a:pt x="1621474" y="187144"/>
                  <a:pt x="1584326" y="212181"/>
                  <a:pt x="1547179" y="249736"/>
                </a:cubicBezTo>
                <a:cubicBezTo>
                  <a:pt x="1543051" y="253909"/>
                  <a:pt x="1543051" y="258082"/>
                  <a:pt x="1543051" y="258082"/>
                </a:cubicBezTo>
                <a:cubicBezTo>
                  <a:pt x="1543051" y="262255"/>
                  <a:pt x="1547179" y="266428"/>
                  <a:pt x="1551306" y="266428"/>
                </a:cubicBezTo>
                <a:cubicBezTo>
                  <a:pt x="1658622" y="320675"/>
                  <a:pt x="1658622" y="320675"/>
                  <a:pt x="1658622" y="320675"/>
                </a:cubicBezTo>
                <a:cubicBezTo>
                  <a:pt x="1662749" y="320675"/>
                  <a:pt x="1666877" y="320675"/>
                  <a:pt x="1671004" y="320675"/>
                </a:cubicBezTo>
                <a:cubicBezTo>
                  <a:pt x="1675132" y="320675"/>
                  <a:pt x="1675132" y="316502"/>
                  <a:pt x="1675132" y="312329"/>
                </a:cubicBezTo>
                <a:cubicBezTo>
                  <a:pt x="1687514" y="187144"/>
                  <a:pt x="1687514" y="187144"/>
                  <a:pt x="1687514" y="187144"/>
                </a:cubicBezTo>
                <a:cubicBezTo>
                  <a:pt x="1687514" y="182971"/>
                  <a:pt x="1683387" y="178798"/>
                  <a:pt x="1683387" y="174625"/>
                </a:cubicBezTo>
                <a:cubicBezTo>
                  <a:pt x="1679259" y="174625"/>
                  <a:pt x="1679259" y="174625"/>
                  <a:pt x="1675132" y="174625"/>
                </a:cubicBezTo>
                <a:close/>
                <a:moveTo>
                  <a:pt x="1579247" y="133350"/>
                </a:moveTo>
                <a:cubicBezTo>
                  <a:pt x="1575119" y="137716"/>
                  <a:pt x="1570992" y="137716"/>
                  <a:pt x="1566864" y="142082"/>
                </a:cubicBezTo>
                <a:cubicBezTo>
                  <a:pt x="1570992" y="142082"/>
                  <a:pt x="1570992" y="142082"/>
                  <a:pt x="1570992" y="142082"/>
                </a:cubicBezTo>
                <a:cubicBezTo>
                  <a:pt x="1575119" y="150813"/>
                  <a:pt x="1575119" y="150813"/>
                  <a:pt x="1575119" y="150813"/>
                </a:cubicBezTo>
                <a:cubicBezTo>
                  <a:pt x="1583375" y="146447"/>
                  <a:pt x="1583375" y="146447"/>
                  <a:pt x="1583375" y="146447"/>
                </a:cubicBezTo>
                <a:cubicBezTo>
                  <a:pt x="1587502" y="146447"/>
                  <a:pt x="1587502" y="146447"/>
                  <a:pt x="1587502" y="142082"/>
                </a:cubicBezTo>
                <a:cubicBezTo>
                  <a:pt x="1587502" y="137716"/>
                  <a:pt x="1583375" y="133350"/>
                  <a:pt x="1579247" y="133350"/>
                </a:cubicBezTo>
                <a:close/>
                <a:moveTo>
                  <a:pt x="1575142" y="124846"/>
                </a:moveTo>
                <a:cubicBezTo>
                  <a:pt x="1587729" y="120650"/>
                  <a:pt x="1600315" y="133237"/>
                  <a:pt x="1596120" y="141628"/>
                </a:cubicBezTo>
                <a:cubicBezTo>
                  <a:pt x="1596120" y="145823"/>
                  <a:pt x="1596120" y="145823"/>
                  <a:pt x="1596120" y="145823"/>
                </a:cubicBezTo>
                <a:cubicBezTo>
                  <a:pt x="1612902" y="162606"/>
                  <a:pt x="1612902" y="162606"/>
                  <a:pt x="1612902" y="162606"/>
                </a:cubicBezTo>
                <a:cubicBezTo>
                  <a:pt x="1608707" y="162606"/>
                  <a:pt x="1608707" y="162606"/>
                  <a:pt x="1604511" y="166801"/>
                </a:cubicBezTo>
                <a:cubicBezTo>
                  <a:pt x="1587729" y="154215"/>
                  <a:pt x="1587729" y="154215"/>
                  <a:pt x="1587729" y="154215"/>
                </a:cubicBezTo>
                <a:cubicBezTo>
                  <a:pt x="1579338" y="158410"/>
                  <a:pt x="1579338" y="158410"/>
                  <a:pt x="1579338" y="158410"/>
                </a:cubicBezTo>
                <a:cubicBezTo>
                  <a:pt x="1587729" y="175192"/>
                  <a:pt x="1587729" y="175192"/>
                  <a:pt x="1587729" y="175192"/>
                </a:cubicBezTo>
                <a:cubicBezTo>
                  <a:pt x="1583533" y="175192"/>
                  <a:pt x="1583533" y="179388"/>
                  <a:pt x="1579338" y="179388"/>
                </a:cubicBezTo>
                <a:lnTo>
                  <a:pt x="1558360" y="141628"/>
                </a:lnTo>
                <a:cubicBezTo>
                  <a:pt x="1554164" y="137432"/>
                  <a:pt x="1554164" y="137432"/>
                  <a:pt x="1554164" y="137432"/>
                </a:cubicBezTo>
                <a:cubicBezTo>
                  <a:pt x="1562555" y="133237"/>
                  <a:pt x="1570946" y="129041"/>
                  <a:pt x="1575142" y="124846"/>
                </a:cubicBezTo>
                <a:close/>
                <a:moveTo>
                  <a:pt x="1836161" y="117475"/>
                </a:moveTo>
                <a:cubicBezTo>
                  <a:pt x="1840347" y="117475"/>
                  <a:pt x="1840347" y="117475"/>
                  <a:pt x="1844532" y="121557"/>
                </a:cubicBezTo>
                <a:cubicBezTo>
                  <a:pt x="1844532" y="121557"/>
                  <a:pt x="1844532" y="121557"/>
                  <a:pt x="1848717" y="141968"/>
                </a:cubicBezTo>
                <a:cubicBezTo>
                  <a:pt x="1848717" y="141968"/>
                  <a:pt x="1848717" y="141968"/>
                  <a:pt x="1869644" y="133804"/>
                </a:cubicBezTo>
                <a:cubicBezTo>
                  <a:pt x="1873829" y="133804"/>
                  <a:pt x="1878014" y="137886"/>
                  <a:pt x="1878014" y="137886"/>
                </a:cubicBezTo>
                <a:cubicBezTo>
                  <a:pt x="1878014" y="137886"/>
                  <a:pt x="1878014" y="137886"/>
                  <a:pt x="1848717" y="154214"/>
                </a:cubicBezTo>
                <a:cubicBezTo>
                  <a:pt x="1848717" y="154214"/>
                  <a:pt x="1848717" y="154214"/>
                  <a:pt x="1840347" y="174625"/>
                </a:cubicBezTo>
                <a:lnTo>
                  <a:pt x="1831976" y="166461"/>
                </a:lnTo>
                <a:cubicBezTo>
                  <a:pt x="1831976" y="166461"/>
                  <a:pt x="1831976" y="166461"/>
                  <a:pt x="1840347" y="146050"/>
                </a:cubicBezTo>
                <a:cubicBezTo>
                  <a:pt x="1840347" y="146050"/>
                  <a:pt x="1840347" y="146050"/>
                  <a:pt x="1836161" y="117475"/>
                </a:cubicBezTo>
                <a:close/>
                <a:moveTo>
                  <a:pt x="1794829" y="112713"/>
                </a:moveTo>
                <a:cubicBezTo>
                  <a:pt x="1790701" y="120651"/>
                  <a:pt x="1790701" y="120651"/>
                  <a:pt x="1790701" y="120651"/>
                </a:cubicBezTo>
                <a:lnTo>
                  <a:pt x="1790701" y="124619"/>
                </a:lnTo>
                <a:cubicBezTo>
                  <a:pt x="1803084" y="128588"/>
                  <a:pt x="1803084" y="128588"/>
                  <a:pt x="1803084" y="128588"/>
                </a:cubicBezTo>
                <a:cubicBezTo>
                  <a:pt x="1807212" y="128588"/>
                  <a:pt x="1811339" y="124619"/>
                  <a:pt x="1811339" y="120651"/>
                </a:cubicBezTo>
                <a:cubicBezTo>
                  <a:pt x="1811339" y="116682"/>
                  <a:pt x="1807212" y="116682"/>
                  <a:pt x="1807212" y="116682"/>
                </a:cubicBezTo>
                <a:cubicBezTo>
                  <a:pt x="1803084" y="112713"/>
                  <a:pt x="1798956" y="112713"/>
                  <a:pt x="1794829" y="112713"/>
                </a:cubicBezTo>
                <a:close/>
                <a:moveTo>
                  <a:pt x="1637508" y="112117"/>
                </a:moveTo>
                <a:cubicBezTo>
                  <a:pt x="1629174" y="112117"/>
                  <a:pt x="1620839" y="116285"/>
                  <a:pt x="1620839" y="124619"/>
                </a:cubicBezTo>
                <a:cubicBezTo>
                  <a:pt x="1620839" y="128786"/>
                  <a:pt x="1620839" y="128786"/>
                  <a:pt x="1620839" y="128786"/>
                </a:cubicBezTo>
                <a:cubicBezTo>
                  <a:pt x="1620839" y="137121"/>
                  <a:pt x="1629174" y="141288"/>
                  <a:pt x="1637508" y="141288"/>
                </a:cubicBezTo>
                <a:cubicBezTo>
                  <a:pt x="1645843" y="141288"/>
                  <a:pt x="1654177" y="132954"/>
                  <a:pt x="1654177" y="124619"/>
                </a:cubicBezTo>
                <a:cubicBezTo>
                  <a:pt x="1654177" y="116285"/>
                  <a:pt x="1645843" y="107950"/>
                  <a:pt x="1637508" y="112117"/>
                </a:cubicBezTo>
                <a:close/>
                <a:moveTo>
                  <a:pt x="1741489" y="104775"/>
                </a:moveTo>
                <a:cubicBezTo>
                  <a:pt x="1737520" y="117158"/>
                  <a:pt x="1737520" y="117158"/>
                  <a:pt x="1737520" y="117158"/>
                </a:cubicBezTo>
                <a:lnTo>
                  <a:pt x="1733551" y="125413"/>
                </a:lnTo>
                <a:cubicBezTo>
                  <a:pt x="1737520" y="125413"/>
                  <a:pt x="1745457" y="125413"/>
                  <a:pt x="1749426" y="125413"/>
                </a:cubicBezTo>
                <a:cubicBezTo>
                  <a:pt x="1745457" y="117158"/>
                  <a:pt x="1745457" y="117158"/>
                  <a:pt x="1745457" y="117158"/>
                </a:cubicBezTo>
                <a:cubicBezTo>
                  <a:pt x="1741489" y="104775"/>
                  <a:pt x="1741489" y="104775"/>
                  <a:pt x="1741489" y="104775"/>
                </a:cubicBezTo>
                <a:close/>
                <a:moveTo>
                  <a:pt x="1633407" y="104165"/>
                </a:moveTo>
                <a:cubicBezTo>
                  <a:pt x="1649811" y="100013"/>
                  <a:pt x="1662114" y="112469"/>
                  <a:pt x="1662114" y="124925"/>
                </a:cubicBezTo>
                <a:cubicBezTo>
                  <a:pt x="1662114" y="141532"/>
                  <a:pt x="1653912" y="149836"/>
                  <a:pt x="1637508" y="149836"/>
                </a:cubicBezTo>
                <a:cubicBezTo>
                  <a:pt x="1625204" y="153988"/>
                  <a:pt x="1612901" y="141532"/>
                  <a:pt x="1612901" y="129076"/>
                </a:cubicBezTo>
                <a:cubicBezTo>
                  <a:pt x="1612901" y="129076"/>
                  <a:pt x="1612901" y="129076"/>
                  <a:pt x="1612901" y="124925"/>
                </a:cubicBezTo>
                <a:cubicBezTo>
                  <a:pt x="1612901" y="112469"/>
                  <a:pt x="1621103" y="104165"/>
                  <a:pt x="1633407" y="104165"/>
                </a:cubicBezTo>
                <a:close/>
                <a:moveTo>
                  <a:pt x="1787382" y="100013"/>
                </a:moveTo>
                <a:cubicBezTo>
                  <a:pt x="1795752" y="100013"/>
                  <a:pt x="1804123" y="104209"/>
                  <a:pt x="1812494" y="108404"/>
                </a:cubicBezTo>
                <a:cubicBezTo>
                  <a:pt x="1816679" y="108404"/>
                  <a:pt x="1820864" y="112600"/>
                  <a:pt x="1820864" y="120991"/>
                </a:cubicBezTo>
                <a:cubicBezTo>
                  <a:pt x="1820864" y="125186"/>
                  <a:pt x="1816679" y="133578"/>
                  <a:pt x="1808308" y="137773"/>
                </a:cubicBezTo>
                <a:cubicBezTo>
                  <a:pt x="1812494" y="158751"/>
                  <a:pt x="1812494" y="158751"/>
                  <a:pt x="1812494" y="158751"/>
                </a:cubicBezTo>
                <a:cubicBezTo>
                  <a:pt x="1808308" y="158751"/>
                  <a:pt x="1808308" y="158751"/>
                  <a:pt x="1804123" y="154555"/>
                </a:cubicBezTo>
                <a:cubicBezTo>
                  <a:pt x="1799938" y="133578"/>
                  <a:pt x="1799938" y="133578"/>
                  <a:pt x="1799938" y="133578"/>
                </a:cubicBezTo>
                <a:cubicBezTo>
                  <a:pt x="1791567" y="133578"/>
                  <a:pt x="1791567" y="133578"/>
                  <a:pt x="1791567" y="133578"/>
                </a:cubicBezTo>
                <a:lnTo>
                  <a:pt x="1787382" y="150360"/>
                </a:lnTo>
                <a:cubicBezTo>
                  <a:pt x="1783197" y="150360"/>
                  <a:pt x="1779011" y="150360"/>
                  <a:pt x="1774826" y="146164"/>
                </a:cubicBezTo>
                <a:cubicBezTo>
                  <a:pt x="1783197" y="120991"/>
                  <a:pt x="1783197" y="120991"/>
                  <a:pt x="1783197" y="120991"/>
                </a:cubicBezTo>
                <a:cubicBezTo>
                  <a:pt x="1787382" y="100013"/>
                  <a:pt x="1787382" y="100013"/>
                  <a:pt x="1787382" y="100013"/>
                </a:cubicBezTo>
                <a:close/>
                <a:moveTo>
                  <a:pt x="1737015" y="92075"/>
                </a:moveTo>
                <a:cubicBezTo>
                  <a:pt x="1749571" y="92075"/>
                  <a:pt x="1749571" y="92075"/>
                  <a:pt x="1749571" y="92075"/>
                </a:cubicBezTo>
                <a:cubicBezTo>
                  <a:pt x="1753757" y="116987"/>
                  <a:pt x="1753757" y="116987"/>
                  <a:pt x="1753757" y="116987"/>
                </a:cubicBezTo>
                <a:cubicBezTo>
                  <a:pt x="1762127" y="146050"/>
                  <a:pt x="1762127" y="146050"/>
                  <a:pt x="1762127" y="146050"/>
                </a:cubicBezTo>
                <a:cubicBezTo>
                  <a:pt x="1757942" y="146050"/>
                  <a:pt x="1757942" y="141898"/>
                  <a:pt x="1753757" y="141898"/>
                </a:cubicBezTo>
                <a:cubicBezTo>
                  <a:pt x="1749571" y="133594"/>
                  <a:pt x="1749571" y="133594"/>
                  <a:pt x="1749571" y="133594"/>
                </a:cubicBezTo>
                <a:cubicBezTo>
                  <a:pt x="1741201" y="133594"/>
                  <a:pt x="1737015" y="133594"/>
                  <a:pt x="1728645" y="133594"/>
                </a:cubicBezTo>
                <a:lnTo>
                  <a:pt x="1724460" y="141898"/>
                </a:lnTo>
                <a:cubicBezTo>
                  <a:pt x="1720274" y="141898"/>
                  <a:pt x="1720274" y="141898"/>
                  <a:pt x="1716089" y="141898"/>
                </a:cubicBezTo>
                <a:cubicBezTo>
                  <a:pt x="1728645" y="116987"/>
                  <a:pt x="1728645" y="116987"/>
                  <a:pt x="1728645" y="116987"/>
                </a:cubicBezTo>
                <a:cubicBezTo>
                  <a:pt x="1737015" y="92075"/>
                  <a:pt x="1737015" y="92075"/>
                  <a:pt x="1737015" y="92075"/>
                </a:cubicBezTo>
                <a:close/>
                <a:moveTo>
                  <a:pt x="1712914" y="92075"/>
                </a:moveTo>
                <a:cubicBezTo>
                  <a:pt x="1712914" y="92075"/>
                  <a:pt x="1712914" y="92075"/>
                  <a:pt x="1712914" y="100277"/>
                </a:cubicBezTo>
                <a:cubicBezTo>
                  <a:pt x="1712914" y="100277"/>
                  <a:pt x="1712914" y="100277"/>
                  <a:pt x="1696173" y="100277"/>
                </a:cubicBezTo>
                <a:cubicBezTo>
                  <a:pt x="1696173" y="100277"/>
                  <a:pt x="1696173" y="100277"/>
                  <a:pt x="1700358" y="141288"/>
                </a:cubicBezTo>
                <a:cubicBezTo>
                  <a:pt x="1700358" y="141288"/>
                  <a:pt x="1700358" y="141288"/>
                  <a:pt x="1687802" y="141288"/>
                </a:cubicBezTo>
                <a:cubicBezTo>
                  <a:pt x="1687802" y="141288"/>
                  <a:pt x="1687802" y="141288"/>
                  <a:pt x="1683617" y="100277"/>
                </a:cubicBezTo>
                <a:lnTo>
                  <a:pt x="1666876" y="104378"/>
                </a:lnTo>
                <a:cubicBezTo>
                  <a:pt x="1666876" y="104378"/>
                  <a:pt x="1666876" y="104378"/>
                  <a:pt x="1666876" y="96176"/>
                </a:cubicBezTo>
                <a:cubicBezTo>
                  <a:pt x="1683617" y="92075"/>
                  <a:pt x="1691988" y="92075"/>
                  <a:pt x="1712914" y="92075"/>
                </a:cubicBezTo>
                <a:close/>
                <a:moveTo>
                  <a:pt x="1181630" y="92074"/>
                </a:moveTo>
                <a:cubicBezTo>
                  <a:pt x="1160463" y="92074"/>
                  <a:pt x="1147763" y="112712"/>
                  <a:pt x="1147763" y="133349"/>
                </a:cubicBezTo>
                <a:lnTo>
                  <a:pt x="1211263" y="133349"/>
                </a:lnTo>
                <a:cubicBezTo>
                  <a:pt x="1211263" y="112712"/>
                  <a:pt x="1202796" y="92074"/>
                  <a:pt x="1181630" y="92074"/>
                </a:cubicBezTo>
                <a:close/>
                <a:moveTo>
                  <a:pt x="1716089" y="84138"/>
                </a:moveTo>
                <a:cubicBezTo>
                  <a:pt x="1641444" y="84138"/>
                  <a:pt x="1575093" y="108903"/>
                  <a:pt x="1521183" y="150178"/>
                </a:cubicBezTo>
                <a:cubicBezTo>
                  <a:pt x="1512889" y="158433"/>
                  <a:pt x="1512889" y="162561"/>
                  <a:pt x="1517036" y="166688"/>
                </a:cubicBezTo>
                <a:cubicBezTo>
                  <a:pt x="1550212" y="203836"/>
                  <a:pt x="1550212" y="203836"/>
                  <a:pt x="1550212" y="203836"/>
                </a:cubicBezTo>
                <a:cubicBezTo>
                  <a:pt x="1554359" y="207963"/>
                  <a:pt x="1558505" y="207963"/>
                  <a:pt x="1566799" y="203836"/>
                </a:cubicBezTo>
                <a:cubicBezTo>
                  <a:pt x="1608269" y="170816"/>
                  <a:pt x="1658032" y="150178"/>
                  <a:pt x="1716089" y="150178"/>
                </a:cubicBezTo>
                <a:cubicBezTo>
                  <a:pt x="1769999" y="150178"/>
                  <a:pt x="1823910" y="170816"/>
                  <a:pt x="1865379" y="203836"/>
                </a:cubicBezTo>
                <a:cubicBezTo>
                  <a:pt x="1873673" y="207963"/>
                  <a:pt x="1877820" y="207963"/>
                  <a:pt x="1881967" y="203836"/>
                </a:cubicBezTo>
                <a:cubicBezTo>
                  <a:pt x="1915142" y="166688"/>
                  <a:pt x="1915142" y="166688"/>
                  <a:pt x="1915142" y="166688"/>
                </a:cubicBezTo>
                <a:cubicBezTo>
                  <a:pt x="1919289" y="162561"/>
                  <a:pt x="1919289" y="158433"/>
                  <a:pt x="1910995" y="150178"/>
                </a:cubicBezTo>
                <a:cubicBezTo>
                  <a:pt x="1857085" y="108903"/>
                  <a:pt x="1790734" y="84138"/>
                  <a:pt x="1716089" y="84138"/>
                </a:cubicBezTo>
                <a:close/>
                <a:moveTo>
                  <a:pt x="1181894" y="84137"/>
                </a:moveTo>
                <a:cubicBezTo>
                  <a:pt x="1214799" y="84137"/>
                  <a:pt x="1227138" y="108970"/>
                  <a:pt x="1227138" y="137942"/>
                </a:cubicBezTo>
                <a:cubicBezTo>
                  <a:pt x="1227138" y="146220"/>
                  <a:pt x="1227138" y="146220"/>
                  <a:pt x="1227138" y="146220"/>
                </a:cubicBezTo>
                <a:cubicBezTo>
                  <a:pt x="1148989" y="146220"/>
                  <a:pt x="1148989" y="146220"/>
                  <a:pt x="1148989" y="146220"/>
                </a:cubicBezTo>
                <a:cubicBezTo>
                  <a:pt x="1148989" y="166914"/>
                  <a:pt x="1161329" y="187608"/>
                  <a:pt x="1186007" y="187608"/>
                </a:cubicBezTo>
                <a:cubicBezTo>
                  <a:pt x="1198346" y="187608"/>
                  <a:pt x="1210686" y="183470"/>
                  <a:pt x="1218912" y="179331"/>
                </a:cubicBezTo>
                <a:lnTo>
                  <a:pt x="1218912" y="191747"/>
                </a:lnTo>
                <a:cubicBezTo>
                  <a:pt x="1210686" y="195886"/>
                  <a:pt x="1194233" y="200025"/>
                  <a:pt x="1186007" y="200025"/>
                </a:cubicBezTo>
                <a:cubicBezTo>
                  <a:pt x="1148989" y="200025"/>
                  <a:pt x="1136650" y="175192"/>
                  <a:pt x="1136650" y="142081"/>
                </a:cubicBezTo>
                <a:cubicBezTo>
                  <a:pt x="1136650" y="104831"/>
                  <a:pt x="1153102" y="84137"/>
                  <a:pt x="1181894" y="84137"/>
                </a:cubicBezTo>
                <a:close/>
                <a:moveTo>
                  <a:pt x="887413" y="41274"/>
                </a:moveTo>
                <a:lnTo>
                  <a:pt x="995363" y="41274"/>
                </a:lnTo>
                <a:lnTo>
                  <a:pt x="995363" y="53974"/>
                </a:lnTo>
                <a:lnTo>
                  <a:pt x="949326" y="53974"/>
                </a:lnTo>
                <a:lnTo>
                  <a:pt x="949326" y="195262"/>
                </a:lnTo>
                <a:lnTo>
                  <a:pt x="933451" y="195262"/>
                </a:lnTo>
                <a:lnTo>
                  <a:pt x="933451" y="53974"/>
                </a:lnTo>
                <a:lnTo>
                  <a:pt x="887413" y="53974"/>
                </a:lnTo>
                <a:close/>
                <a:moveTo>
                  <a:pt x="1020763" y="28574"/>
                </a:moveTo>
                <a:cubicBezTo>
                  <a:pt x="1033010" y="28574"/>
                  <a:pt x="1033010" y="28574"/>
                  <a:pt x="1033010" y="28574"/>
                </a:cubicBezTo>
                <a:cubicBezTo>
                  <a:pt x="1033010" y="103584"/>
                  <a:pt x="1033010" y="103584"/>
                  <a:pt x="1033010" y="103584"/>
                </a:cubicBezTo>
                <a:cubicBezTo>
                  <a:pt x="1041174" y="91082"/>
                  <a:pt x="1053420" y="82748"/>
                  <a:pt x="1069749" y="82748"/>
                </a:cubicBezTo>
                <a:cubicBezTo>
                  <a:pt x="1098324" y="82748"/>
                  <a:pt x="1106488" y="99416"/>
                  <a:pt x="1106488" y="128587"/>
                </a:cubicBezTo>
                <a:cubicBezTo>
                  <a:pt x="1106488" y="195262"/>
                  <a:pt x="1106488" y="195262"/>
                  <a:pt x="1106488" y="195262"/>
                </a:cubicBezTo>
                <a:cubicBezTo>
                  <a:pt x="1090160" y="195262"/>
                  <a:pt x="1090160" y="195262"/>
                  <a:pt x="1090160" y="195262"/>
                </a:cubicBezTo>
                <a:cubicBezTo>
                  <a:pt x="1090160" y="128587"/>
                  <a:pt x="1090160" y="128587"/>
                  <a:pt x="1090160" y="128587"/>
                </a:cubicBezTo>
                <a:cubicBezTo>
                  <a:pt x="1090160" y="107751"/>
                  <a:pt x="1090160" y="91082"/>
                  <a:pt x="1065667" y="91082"/>
                </a:cubicBezTo>
                <a:cubicBezTo>
                  <a:pt x="1041174" y="91082"/>
                  <a:pt x="1033010" y="116085"/>
                  <a:pt x="1033010" y="136921"/>
                </a:cubicBezTo>
                <a:cubicBezTo>
                  <a:pt x="1033010" y="195262"/>
                  <a:pt x="1033010" y="195262"/>
                  <a:pt x="1033010" y="195262"/>
                </a:cubicBezTo>
                <a:cubicBezTo>
                  <a:pt x="1020763" y="195262"/>
                  <a:pt x="1020763" y="195262"/>
                  <a:pt x="1020763" y="195262"/>
                </a:cubicBezTo>
                <a:close/>
                <a:moveTo>
                  <a:pt x="1704456" y="0"/>
                </a:moveTo>
                <a:cubicBezTo>
                  <a:pt x="1712741" y="0"/>
                  <a:pt x="1721026" y="0"/>
                  <a:pt x="1729310" y="0"/>
                </a:cubicBezTo>
                <a:cubicBezTo>
                  <a:pt x="1741737" y="20820"/>
                  <a:pt x="1745880" y="41641"/>
                  <a:pt x="1745880" y="62461"/>
                </a:cubicBezTo>
                <a:cubicBezTo>
                  <a:pt x="1750022" y="62461"/>
                  <a:pt x="1770734" y="66625"/>
                  <a:pt x="1774877" y="66625"/>
                </a:cubicBezTo>
                <a:cubicBezTo>
                  <a:pt x="1779019" y="45805"/>
                  <a:pt x="1791446" y="24984"/>
                  <a:pt x="1803873" y="12492"/>
                </a:cubicBezTo>
                <a:cubicBezTo>
                  <a:pt x="1808016" y="12492"/>
                  <a:pt x="1808016" y="12492"/>
                  <a:pt x="1808016" y="12492"/>
                </a:cubicBezTo>
                <a:cubicBezTo>
                  <a:pt x="1816300" y="12492"/>
                  <a:pt x="1824585" y="16656"/>
                  <a:pt x="1832870" y="16656"/>
                </a:cubicBezTo>
                <a:cubicBezTo>
                  <a:pt x="1832870" y="20820"/>
                  <a:pt x="1832870" y="20820"/>
                  <a:pt x="1832870" y="20820"/>
                </a:cubicBezTo>
                <a:cubicBezTo>
                  <a:pt x="1837012" y="29149"/>
                  <a:pt x="1837012" y="37477"/>
                  <a:pt x="1837012" y="49969"/>
                </a:cubicBezTo>
                <a:cubicBezTo>
                  <a:pt x="1837012" y="62461"/>
                  <a:pt x="1837012" y="70789"/>
                  <a:pt x="1832870" y="83282"/>
                </a:cubicBezTo>
                <a:cubicBezTo>
                  <a:pt x="1837012" y="83282"/>
                  <a:pt x="1853582" y="91610"/>
                  <a:pt x="1857724" y="91610"/>
                </a:cubicBezTo>
                <a:cubicBezTo>
                  <a:pt x="1870151" y="74953"/>
                  <a:pt x="1886721" y="58297"/>
                  <a:pt x="1903291" y="49969"/>
                </a:cubicBezTo>
                <a:cubicBezTo>
                  <a:pt x="1911575" y="49969"/>
                  <a:pt x="1919860" y="58297"/>
                  <a:pt x="1928145" y="62461"/>
                </a:cubicBezTo>
                <a:cubicBezTo>
                  <a:pt x="1928145" y="83282"/>
                  <a:pt x="1919860" y="104102"/>
                  <a:pt x="1911575" y="124922"/>
                </a:cubicBezTo>
                <a:cubicBezTo>
                  <a:pt x="1911575" y="124922"/>
                  <a:pt x="1928145" y="137414"/>
                  <a:pt x="1932287" y="141579"/>
                </a:cubicBezTo>
                <a:cubicBezTo>
                  <a:pt x="1948857" y="124922"/>
                  <a:pt x="1965426" y="112430"/>
                  <a:pt x="1986138" y="108266"/>
                </a:cubicBezTo>
                <a:cubicBezTo>
                  <a:pt x="1994423" y="112430"/>
                  <a:pt x="2002708" y="120758"/>
                  <a:pt x="2006850" y="129086"/>
                </a:cubicBezTo>
                <a:cubicBezTo>
                  <a:pt x="2002708" y="149907"/>
                  <a:pt x="1990281" y="166563"/>
                  <a:pt x="1973711" y="183219"/>
                </a:cubicBezTo>
                <a:cubicBezTo>
                  <a:pt x="1977853" y="187383"/>
                  <a:pt x="1990281" y="204040"/>
                  <a:pt x="1990281" y="204040"/>
                </a:cubicBezTo>
                <a:cubicBezTo>
                  <a:pt x="2010993" y="195711"/>
                  <a:pt x="2031705" y="187383"/>
                  <a:pt x="2052416" y="187383"/>
                </a:cubicBezTo>
                <a:cubicBezTo>
                  <a:pt x="2052416" y="191547"/>
                  <a:pt x="2052416" y="191547"/>
                  <a:pt x="2052416" y="191547"/>
                </a:cubicBezTo>
                <a:cubicBezTo>
                  <a:pt x="2056559" y="195711"/>
                  <a:pt x="2064844" y="204040"/>
                  <a:pt x="2064844" y="212368"/>
                </a:cubicBezTo>
                <a:cubicBezTo>
                  <a:pt x="2056559" y="233188"/>
                  <a:pt x="2039989" y="245680"/>
                  <a:pt x="2023420" y="258173"/>
                </a:cubicBezTo>
                <a:cubicBezTo>
                  <a:pt x="2023420" y="262337"/>
                  <a:pt x="2031705" y="278993"/>
                  <a:pt x="2031705" y="283157"/>
                </a:cubicBezTo>
                <a:cubicBezTo>
                  <a:pt x="2052416" y="278993"/>
                  <a:pt x="2073128" y="278993"/>
                  <a:pt x="2093840" y="283157"/>
                </a:cubicBezTo>
                <a:cubicBezTo>
                  <a:pt x="2097983" y="291485"/>
                  <a:pt x="2102125" y="299813"/>
                  <a:pt x="2102125" y="308141"/>
                </a:cubicBezTo>
                <a:cubicBezTo>
                  <a:pt x="2102125" y="312306"/>
                  <a:pt x="2102125" y="312306"/>
                  <a:pt x="2102125" y="312306"/>
                </a:cubicBezTo>
                <a:cubicBezTo>
                  <a:pt x="2089698" y="324798"/>
                  <a:pt x="2068986" y="337290"/>
                  <a:pt x="2048274" y="341454"/>
                </a:cubicBezTo>
                <a:cubicBezTo>
                  <a:pt x="2048274" y="345618"/>
                  <a:pt x="2052416" y="366438"/>
                  <a:pt x="2052416" y="366438"/>
                </a:cubicBezTo>
                <a:cubicBezTo>
                  <a:pt x="2073128" y="366438"/>
                  <a:pt x="2093840" y="374767"/>
                  <a:pt x="2110410" y="383095"/>
                </a:cubicBezTo>
                <a:cubicBezTo>
                  <a:pt x="2110410" y="387259"/>
                  <a:pt x="2110410" y="387259"/>
                  <a:pt x="2110410" y="387259"/>
                </a:cubicBezTo>
                <a:cubicBezTo>
                  <a:pt x="2114552" y="391423"/>
                  <a:pt x="2114552" y="395587"/>
                  <a:pt x="2114552" y="399751"/>
                </a:cubicBezTo>
                <a:cubicBezTo>
                  <a:pt x="2114552" y="403915"/>
                  <a:pt x="2114552" y="408079"/>
                  <a:pt x="2110410" y="412243"/>
                </a:cubicBezTo>
                <a:cubicBezTo>
                  <a:pt x="2093840" y="424736"/>
                  <a:pt x="2073128" y="428900"/>
                  <a:pt x="2052416" y="428900"/>
                </a:cubicBezTo>
                <a:cubicBezTo>
                  <a:pt x="2048274" y="433064"/>
                  <a:pt x="2048274" y="453884"/>
                  <a:pt x="2048274" y="453884"/>
                </a:cubicBezTo>
                <a:cubicBezTo>
                  <a:pt x="2068986" y="462212"/>
                  <a:pt x="2085556" y="470540"/>
                  <a:pt x="2102125" y="487197"/>
                </a:cubicBezTo>
                <a:cubicBezTo>
                  <a:pt x="2102125" y="495525"/>
                  <a:pt x="2097983" y="508017"/>
                  <a:pt x="2093840" y="512181"/>
                </a:cubicBezTo>
                <a:cubicBezTo>
                  <a:pt x="2093840" y="516345"/>
                  <a:pt x="2093840" y="516345"/>
                  <a:pt x="2093840" y="516345"/>
                </a:cubicBezTo>
                <a:cubicBezTo>
                  <a:pt x="2073128" y="520509"/>
                  <a:pt x="2052416" y="520509"/>
                  <a:pt x="2031705" y="516345"/>
                </a:cubicBezTo>
                <a:cubicBezTo>
                  <a:pt x="2031705" y="516345"/>
                  <a:pt x="2023420" y="537165"/>
                  <a:pt x="2023420" y="537165"/>
                </a:cubicBezTo>
                <a:cubicBezTo>
                  <a:pt x="2039989" y="549658"/>
                  <a:pt x="2056559" y="566314"/>
                  <a:pt x="2064844" y="582970"/>
                </a:cubicBezTo>
                <a:cubicBezTo>
                  <a:pt x="2064844" y="587134"/>
                  <a:pt x="2064844" y="587134"/>
                  <a:pt x="2064844" y="587134"/>
                </a:cubicBezTo>
                <a:cubicBezTo>
                  <a:pt x="2060701" y="591298"/>
                  <a:pt x="2056559" y="599627"/>
                  <a:pt x="2052416" y="607955"/>
                </a:cubicBezTo>
                <a:cubicBezTo>
                  <a:pt x="2031705" y="607955"/>
                  <a:pt x="2010993" y="603791"/>
                  <a:pt x="1990281" y="591298"/>
                </a:cubicBezTo>
                <a:cubicBezTo>
                  <a:pt x="1990281" y="595463"/>
                  <a:pt x="1977853" y="612119"/>
                  <a:pt x="1973711" y="612119"/>
                </a:cubicBezTo>
                <a:cubicBezTo>
                  <a:pt x="1990281" y="628775"/>
                  <a:pt x="2002708" y="649595"/>
                  <a:pt x="2006850" y="666252"/>
                </a:cubicBezTo>
                <a:cubicBezTo>
                  <a:pt x="2006850" y="670416"/>
                  <a:pt x="2006850" y="670416"/>
                  <a:pt x="2006850" y="670416"/>
                </a:cubicBezTo>
                <a:cubicBezTo>
                  <a:pt x="2002708" y="674580"/>
                  <a:pt x="1994423" y="682908"/>
                  <a:pt x="1986138" y="687072"/>
                </a:cubicBezTo>
                <a:cubicBezTo>
                  <a:pt x="1965426" y="682908"/>
                  <a:pt x="1944714" y="670416"/>
                  <a:pt x="1932287" y="657924"/>
                </a:cubicBezTo>
                <a:cubicBezTo>
                  <a:pt x="1928145" y="657924"/>
                  <a:pt x="1911575" y="670416"/>
                  <a:pt x="1911575" y="674580"/>
                </a:cubicBezTo>
                <a:cubicBezTo>
                  <a:pt x="1919860" y="691236"/>
                  <a:pt x="1928145" y="712057"/>
                  <a:pt x="1928145" y="732877"/>
                </a:cubicBezTo>
                <a:cubicBezTo>
                  <a:pt x="1928145" y="732877"/>
                  <a:pt x="1928145" y="737041"/>
                  <a:pt x="1928145" y="737041"/>
                </a:cubicBezTo>
                <a:cubicBezTo>
                  <a:pt x="1924002" y="737041"/>
                  <a:pt x="1924002" y="737041"/>
                  <a:pt x="1924002" y="737041"/>
                </a:cubicBezTo>
                <a:cubicBezTo>
                  <a:pt x="1919860" y="741205"/>
                  <a:pt x="1911575" y="745369"/>
                  <a:pt x="1903291" y="749533"/>
                </a:cubicBezTo>
                <a:cubicBezTo>
                  <a:pt x="1882579" y="737041"/>
                  <a:pt x="1870151" y="724549"/>
                  <a:pt x="1857724" y="703728"/>
                </a:cubicBezTo>
                <a:cubicBezTo>
                  <a:pt x="1853582" y="703728"/>
                  <a:pt x="1837012" y="712057"/>
                  <a:pt x="1832870" y="716221"/>
                </a:cubicBezTo>
                <a:cubicBezTo>
                  <a:pt x="1837012" y="724549"/>
                  <a:pt x="1837012" y="737041"/>
                  <a:pt x="1837012" y="745369"/>
                </a:cubicBezTo>
                <a:cubicBezTo>
                  <a:pt x="1837012" y="757861"/>
                  <a:pt x="1837012" y="766190"/>
                  <a:pt x="1832870" y="778682"/>
                </a:cubicBezTo>
                <a:cubicBezTo>
                  <a:pt x="1824585" y="782846"/>
                  <a:pt x="1816300" y="782846"/>
                  <a:pt x="1808016" y="787010"/>
                </a:cubicBezTo>
                <a:cubicBezTo>
                  <a:pt x="1803873" y="787010"/>
                  <a:pt x="1803873" y="787010"/>
                  <a:pt x="1803873" y="787010"/>
                </a:cubicBezTo>
                <a:cubicBezTo>
                  <a:pt x="1791446" y="770354"/>
                  <a:pt x="1779019" y="749533"/>
                  <a:pt x="1774877" y="732877"/>
                </a:cubicBezTo>
                <a:cubicBezTo>
                  <a:pt x="1770734" y="732877"/>
                  <a:pt x="1750022" y="732877"/>
                  <a:pt x="1750022" y="732877"/>
                </a:cubicBezTo>
                <a:cubicBezTo>
                  <a:pt x="1750022" y="757861"/>
                  <a:pt x="1741737" y="778682"/>
                  <a:pt x="1733453" y="795338"/>
                </a:cubicBezTo>
                <a:cubicBezTo>
                  <a:pt x="1729310" y="795338"/>
                  <a:pt x="1729310" y="795338"/>
                  <a:pt x="1729310" y="795338"/>
                </a:cubicBezTo>
                <a:cubicBezTo>
                  <a:pt x="1725168" y="795338"/>
                  <a:pt x="1712741" y="795338"/>
                  <a:pt x="1704456" y="795338"/>
                </a:cubicBezTo>
                <a:cubicBezTo>
                  <a:pt x="1692029" y="778682"/>
                  <a:pt x="1687886" y="757861"/>
                  <a:pt x="1687886" y="732877"/>
                </a:cubicBezTo>
                <a:cubicBezTo>
                  <a:pt x="1683744" y="732877"/>
                  <a:pt x="1663032" y="732877"/>
                  <a:pt x="1658890" y="732877"/>
                </a:cubicBezTo>
                <a:cubicBezTo>
                  <a:pt x="1654747" y="749533"/>
                  <a:pt x="1642320" y="770354"/>
                  <a:pt x="1629893" y="787010"/>
                </a:cubicBezTo>
                <a:cubicBezTo>
                  <a:pt x="1625751" y="787010"/>
                  <a:pt x="1625751" y="787010"/>
                  <a:pt x="1625751" y="787010"/>
                </a:cubicBezTo>
                <a:cubicBezTo>
                  <a:pt x="1617466" y="782846"/>
                  <a:pt x="1609181" y="782846"/>
                  <a:pt x="1600896" y="778682"/>
                </a:cubicBezTo>
                <a:cubicBezTo>
                  <a:pt x="1596754" y="766190"/>
                  <a:pt x="1596754" y="757861"/>
                  <a:pt x="1596754" y="745369"/>
                </a:cubicBezTo>
                <a:cubicBezTo>
                  <a:pt x="1596754" y="737041"/>
                  <a:pt x="1596754" y="724549"/>
                  <a:pt x="1600896" y="716221"/>
                </a:cubicBezTo>
                <a:cubicBezTo>
                  <a:pt x="1596754" y="712057"/>
                  <a:pt x="1580184" y="707892"/>
                  <a:pt x="1576042" y="703728"/>
                </a:cubicBezTo>
                <a:cubicBezTo>
                  <a:pt x="1567757" y="724549"/>
                  <a:pt x="1551188" y="741205"/>
                  <a:pt x="1534618" y="749533"/>
                </a:cubicBezTo>
                <a:cubicBezTo>
                  <a:pt x="1530476" y="749533"/>
                  <a:pt x="1530476" y="749533"/>
                  <a:pt x="1530476" y="749533"/>
                </a:cubicBezTo>
                <a:cubicBezTo>
                  <a:pt x="1522191" y="745369"/>
                  <a:pt x="1513906" y="741205"/>
                  <a:pt x="1509764" y="737041"/>
                </a:cubicBezTo>
                <a:cubicBezTo>
                  <a:pt x="1509764" y="737041"/>
                  <a:pt x="1509764" y="732877"/>
                  <a:pt x="1509764" y="732877"/>
                </a:cubicBezTo>
                <a:cubicBezTo>
                  <a:pt x="1509764" y="716221"/>
                  <a:pt x="1513906" y="691236"/>
                  <a:pt x="1522191" y="674580"/>
                </a:cubicBezTo>
                <a:cubicBezTo>
                  <a:pt x="1522191" y="674580"/>
                  <a:pt x="1505621" y="657924"/>
                  <a:pt x="1501479" y="657924"/>
                </a:cubicBezTo>
                <a:cubicBezTo>
                  <a:pt x="1489052" y="674580"/>
                  <a:pt x="1468340" y="682908"/>
                  <a:pt x="1447628" y="687072"/>
                </a:cubicBezTo>
                <a:cubicBezTo>
                  <a:pt x="1439343" y="682908"/>
                  <a:pt x="1435201" y="674580"/>
                  <a:pt x="1426916" y="670416"/>
                </a:cubicBezTo>
                <a:cubicBezTo>
                  <a:pt x="1435201" y="649595"/>
                  <a:pt x="1443486" y="628775"/>
                  <a:pt x="1460055" y="616283"/>
                </a:cubicBezTo>
                <a:cubicBezTo>
                  <a:pt x="1455913" y="612119"/>
                  <a:pt x="1443486" y="595463"/>
                  <a:pt x="1443486" y="591298"/>
                </a:cubicBezTo>
                <a:cubicBezTo>
                  <a:pt x="1422774" y="603791"/>
                  <a:pt x="1402062" y="607955"/>
                  <a:pt x="1381350" y="607955"/>
                </a:cubicBezTo>
                <a:cubicBezTo>
                  <a:pt x="1377208" y="603791"/>
                  <a:pt x="1373065" y="591298"/>
                  <a:pt x="1368923" y="587134"/>
                </a:cubicBezTo>
                <a:cubicBezTo>
                  <a:pt x="1368923" y="582970"/>
                  <a:pt x="1368923" y="582970"/>
                  <a:pt x="1368923" y="582970"/>
                </a:cubicBezTo>
                <a:cubicBezTo>
                  <a:pt x="1377208" y="566314"/>
                  <a:pt x="1393777" y="549658"/>
                  <a:pt x="1414489" y="541330"/>
                </a:cubicBezTo>
                <a:cubicBezTo>
                  <a:pt x="1410347" y="537165"/>
                  <a:pt x="1402062" y="516345"/>
                  <a:pt x="1402062" y="516345"/>
                </a:cubicBezTo>
                <a:cubicBezTo>
                  <a:pt x="1381350" y="520509"/>
                  <a:pt x="1360638" y="520509"/>
                  <a:pt x="1339926" y="516345"/>
                </a:cubicBezTo>
                <a:cubicBezTo>
                  <a:pt x="1335784" y="508017"/>
                  <a:pt x="1331641" y="495525"/>
                  <a:pt x="1331641" y="491361"/>
                </a:cubicBezTo>
                <a:cubicBezTo>
                  <a:pt x="1331641" y="487197"/>
                  <a:pt x="1331641" y="487197"/>
                  <a:pt x="1331641" y="487197"/>
                </a:cubicBezTo>
                <a:cubicBezTo>
                  <a:pt x="1344068" y="474704"/>
                  <a:pt x="1364780" y="462212"/>
                  <a:pt x="1385492" y="453884"/>
                </a:cubicBezTo>
                <a:cubicBezTo>
                  <a:pt x="1385492" y="453884"/>
                  <a:pt x="1381350" y="433064"/>
                  <a:pt x="1381350" y="428900"/>
                </a:cubicBezTo>
                <a:cubicBezTo>
                  <a:pt x="1360638" y="428900"/>
                  <a:pt x="1339926" y="424736"/>
                  <a:pt x="1323357" y="412243"/>
                </a:cubicBezTo>
                <a:cubicBezTo>
                  <a:pt x="1319214" y="412243"/>
                  <a:pt x="1319214" y="412243"/>
                  <a:pt x="1319214" y="412243"/>
                </a:cubicBezTo>
                <a:cubicBezTo>
                  <a:pt x="1319214" y="408079"/>
                  <a:pt x="1319214" y="403915"/>
                  <a:pt x="1319214" y="399751"/>
                </a:cubicBezTo>
                <a:cubicBezTo>
                  <a:pt x="1319214" y="391423"/>
                  <a:pt x="1319214" y="387259"/>
                  <a:pt x="1319214" y="383095"/>
                </a:cubicBezTo>
                <a:cubicBezTo>
                  <a:pt x="1323357" y="383095"/>
                  <a:pt x="1323357" y="383095"/>
                  <a:pt x="1323357" y="383095"/>
                </a:cubicBezTo>
                <a:cubicBezTo>
                  <a:pt x="1339926" y="374767"/>
                  <a:pt x="1360638" y="366438"/>
                  <a:pt x="1381350" y="366438"/>
                </a:cubicBezTo>
                <a:cubicBezTo>
                  <a:pt x="1381350" y="362274"/>
                  <a:pt x="1385492" y="345618"/>
                  <a:pt x="1385492" y="341454"/>
                </a:cubicBezTo>
                <a:cubicBezTo>
                  <a:pt x="1364780" y="333126"/>
                  <a:pt x="1344068" y="324798"/>
                  <a:pt x="1331641" y="308141"/>
                </a:cubicBezTo>
                <a:cubicBezTo>
                  <a:pt x="1331641" y="299813"/>
                  <a:pt x="1335784" y="291485"/>
                  <a:pt x="1339926" y="283157"/>
                </a:cubicBezTo>
                <a:cubicBezTo>
                  <a:pt x="1356496" y="274829"/>
                  <a:pt x="1381350" y="274829"/>
                  <a:pt x="1402062" y="283157"/>
                </a:cubicBezTo>
                <a:cubicBezTo>
                  <a:pt x="1402062" y="278993"/>
                  <a:pt x="1410347" y="262337"/>
                  <a:pt x="1410347" y="258173"/>
                </a:cubicBezTo>
                <a:cubicBezTo>
                  <a:pt x="1393777" y="245680"/>
                  <a:pt x="1377208" y="229024"/>
                  <a:pt x="1368923" y="212368"/>
                </a:cubicBezTo>
                <a:cubicBezTo>
                  <a:pt x="1368923" y="204040"/>
                  <a:pt x="1377208" y="195711"/>
                  <a:pt x="1381350" y="187383"/>
                </a:cubicBezTo>
                <a:cubicBezTo>
                  <a:pt x="1402062" y="187383"/>
                  <a:pt x="1422774" y="195711"/>
                  <a:pt x="1443486" y="204040"/>
                </a:cubicBezTo>
                <a:cubicBezTo>
                  <a:pt x="1443486" y="204040"/>
                  <a:pt x="1455913" y="183219"/>
                  <a:pt x="1460055" y="183219"/>
                </a:cubicBezTo>
                <a:cubicBezTo>
                  <a:pt x="1443486" y="166563"/>
                  <a:pt x="1431059" y="145743"/>
                  <a:pt x="1426916" y="129086"/>
                </a:cubicBezTo>
                <a:cubicBezTo>
                  <a:pt x="1426916" y="124922"/>
                  <a:pt x="1426916" y="124922"/>
                  <a:pt x="1426916" y="124922"/>
                </a:cubicBezTo>
                <a:cubicBezTo>
                  <a:pt x="1431059" y="120758"/>
                  <a:pt x="1439343" y="112430"/>
                  <a:pt x="1447628" y="108266"/>
                </a:cubicBezTo>
                <a:cubicBezTo>
                  <a:pt x="1468340" y="112430"/>
                  <a:pt x="1489052" y="124922"/>
                  <a:pt x="1501479" y="137414"/>
                </a:cubicBezTo>
                <a:cubicBezTo>
                  <a:pt x="1505621" y="137414"/>
                  <a:pt x="1518049" y="124922"/>
                  <a:pt x="1522191" y="124922"/>
                </a:cubicBezTo>
                <a:cubicBezTo>
                  <a:pt x="1509764" y="104102"/>
                  <a:pt x="1505621" y="83282"/>
                  <a:pt x="1505621" y="62461"/>
                </a:cubicBezTo>
                <a:cubicBezTo>
                  <a:pt x="1513906" y="58297"/>
                  <a:pt x="1522191" y="49969"/>
                  <a:pt x="1530476" y="49969"/>
                </a:cubicBezTo>
                <a:cubicBezTo>
                  <a:pt x="1547045" y="58297"/>
                  <a:pt x="1563615" y="74953"/>
                  <a:pt x="1576042" y="91610"/>
                </a:cubicBezTo>
                <a:cubicBezTo>
                  <a:pt x="1576042" y="91610"/>
                  <a:pt x="1596754" y="83282"/>
                  <a:pt x="1600896" y="83282"/>
                </a:cubicBezTo>
                <a:cubicBezTo>
                  <a:pt x="1596754" y="70789"/>
                  <a:pt x="1596754" y="62461"/>
                  <a:pt x="1596754" y="49969"/>
                </a:cubicBezTo>
                <a:cubicBezTo>
                  <a:pt x="1596754" y="37477"/>
                  <a:pt x="1596754" y="29149"/>
                  <a:pt x="1600896" y="20820"/>
                </a:cubicBezTo>
                <a:cubicBezTo>
                  <a:pt x="1600896" y="16656"/>
                  <a:pt x="1600896" y="16656"/>
                  <a:pt x="1600896" y="16656"/>
                </a:cubicBezTo>
                <a:cubicBezTo>
                  <a:pt x="1609181" y="16656"/>
                  <a:pt x="1617466" y="12492"/>
                  <a:pt x="1625751" y="12492"/>
                </a:cubicBezTo>
                <a:cubicBezTo>
                  <a:pt x="1629893" y="12492"/>
                  <a:pt x="1629893" y="12492"/>
                  <a:pt x="1629893" y="12492"/>
                </a:cubicBezTo>
                <a:cubicBezTo>
                  <a:pt x="1642320" y="24984"/>
                  <a:pt x="1654747" y="45805"/>
                  <a:pt x="1658890" y="66625"/>
                </a:cubicBezTo>
                <a:cubicBezTo>
                  <a:pt x="1663032" y="66625"/>
                  <a:pt x="1683744" y="62461"/>
                  <a:pt x="1687886" y="62461"/>
                </a:cubicBezTo>
                <a:cubicBezTo>
                  <a:pt x="1687886" y="41641"/>
                  <a:pt x="1692029" y="20820"/>
                  <a:pt x="1704456" y="0"/>
                </a:cubicBezTo>
                <a:close/>
              </a:path>
            </a:pathLst>
          </a:custGeom>
          <a:solidFill>
            <a:srgbClr val="8BD4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800">
              <a:solidFill>
                <a:schemeClr val="tx1"/>
              </a:solidFill>
            </a:endParaRPr>
          </a:p>
        </p:txBody>
      </p:sp>
    </p:spTree>
    <p:extLst>
      <p:ext uri="{BB962C8B-B14F-4D97-AF65-F5344CB8AC3E}">
        <p14:creationId xmlns:p14="http://schemas.microsoft.com/office/powerpoint/2010/main" val="144899056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Lst>
  <p:hf hdr="0" ftr="0" dt="0"/>
  <p:txStyles>
    <p:titleStyle>
      <a:lvl1pPr algn="l" defTabSz="685800" rtl="0" eaLnBrk="1" latinLnBrk="0" hangingPunct="1">
        <a:lnSpc>
          <a:spcPct val="90000"/>
        </a:lnSpc>
        <a:spcBef>
          <a:spcPct val="0"/>
        </a:spcBef>
        <a:buNone/>
        <a:defRPr sz="3300" b="1" kern="1200">
          <a:solidFill>
            <a:schemeClr val="tx1"/>
          </a:solidFill>
          <a:latin typeface="Arial Narrow" panose="020B0606020202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Arial Narrow" panose="020B060602020203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Narrow" panose="020B0606020202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Narrow" panose="020B060602020203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Narrow" panose="020B060602020203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5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oleObject" Target="../embeddings/oleObject3.bin"/><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3" Type="http://schemas.openxmlformats.org/officeDocument/2006/relationships/image" Target="../media/image12.tmp"/><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2.bin"/><Relationship Id="rId1" Type="http://schemas.openxmlformats.org/officeDocument/2006/relationships/slideLayout" Target="../slideLayouts/slideLayout8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icture containing person, outdoor, man, child&#10;&#10;Description automatically generated">
            <a:extLst>
              <a:ext uri="{FF2B5EF4-FFF2-40B4-BE49-F238E27FC236}">
                <a16:creationId xmlns:a16="http://schemas.microsoft.com/office/drawing/2014/main" id="{C1578C56-FB8E-2346-A4D4-CDBCAF377FB6}"/>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28" name="Text Placeholder 27">
            <a:extLst>
              <a:ext uri="{FF2B5EF4-FFF2-40B4-BE49-F238E27FC236}">
                <a16:creationId xmlns:a16="http://schemas.microsoft.com/office/drawing/2014/main" id="{8FB2C63F-7FEF-455A-BD2C-6BA934A0A096}"/>
              </a:ext>
            </a:extLst>
          </p:cNvPr>
          <p:cNvSpPr>
            <a:spLocks noGrp="1"/>
          </p:cNvSpPr>
          <p:nvPr>
            <p:ph type="body" sz="quarter" idx="14"/>
          </p:nvPr>
        </p:nvSpPr>
        <p:spPr/>
        <p:txBody>
          <a:bodyPr/>
          <a:lstStyle/>
          <a:p>
            <a:r>
              <a:rPr lang="en-US" sz="4500" dirty="0">
                <a:latin typeface="Arial" panose="020B0604020202020204" pitchFamily="34" charset="0"/>
                <a:cs typeface="Arial" panose="020B0604020202020204" pitchFamily="34" charset="0"/>
              </a:rPr>
              <a:t>PolioPlus</a:t>
            </a:r>
            <a:r>
              <a:rPr lang="en-US" sz="4500" dirty="0"/>
              <a:t> </a:t>
            </a:r>
            <a:r>
              <a:rPr lang="en-US" sz="4500" dirty="0" err="1">
                <a:latin typeface="Arial" panose="020B0604020202020204" pitchFamily="34" charset="0"/>
                <a:cs typeface="Arial" panose="020B0604020202020204" pitchFamily="34" charset="0"/>
              </a:rPr>
              <a:t>SocietY</a:t>
            </a:r>
            <a:endParaRPr lang="en-US" sz="45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E24E1D7B-A284-F876-651E-B7C3628E70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7093" y="206587"/>
            <a:ext cx="1509346" cy="1058795"/>
          </a:xfrm>
          <a:prstGeom prst="rect">
            <a:avLst/>
          </a:prstGeom>
        </p:spPr>
      </p:pic>
    </p:spTree>
    <p:extLst>
      <p:ext uri="{BB962C8B-B14F-4D97-AF65-F5344CB8AC3E}">
        <p14:creationId xmlns:p14="http://schemas.microsoft.com/office/powerpoint/2010/main" val="354652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descr="Graphical user interface, text, application, timeline&#10;&#10;Description automatically generated">
            <a:extLst>
              <a:ext uri="{FF2B5EF4-FFF2-40B4-BE49-F238E27FC236}">
                <a16:creationId xmlns:a16="http://schemas.microsoft.com/office/drawing/2014/main" id="{0A17F29E-BDE4-49FB-A920-D5BF25AE5368}"/>
              </a:ext>
            </a:extLst>
          </p:cNvPr>
          <p:cNvPicPr>
            <a:picLocks noChangeAspect="1"/>
          </p:cNvPicPr>
          <p:nvPr/>
        </p:nvPicPr>
        <p:blipFill>
          <a:blip r:embed="rId2"/>
          <a:stretch>
            <a:fillRect/>
          </a:stretch>
        </p:blipFill>
        <p:spPr>
          <a:xfrm>
            <a:off x="2381955" y="643466"/>
            <a:ext cx="7428089" cy="5571067"/>
          </a:xfrm>
          <a:prstGeom prst="rect">
            <a:avLst/>
          </a:prstGeom>
        </p:spPr>
      </p:pic>
      <p:sp>
        <p:nvSpPr>
          <p:cNvPr id="4" name="Slide Number Placeholder 3">
            <a:extLst>
              <a:ext uri="{FF2B5EF4-FFF2-40B4-BE49-F238E27FC236}">
                <a16:creationId xmlns:a16="http://schemas.microsoft.com/office/drawing/2014/main" id="{985A461E-3C06-4502-B786-E52A49403E8F}"/>
              </a:ext>
            </a:extLst>
          </p:cNvPr>
          <p:cNvSpPr>
            <a:spLocks noGrp="1"/>
          </p:cNvSpPr>
          <p:nvPr>
            <p:ph type="sldNum" sz="quarter" idx="12"/>
          </p:nvPr>
        </p:nvSpPr>
        <p:spPr>
          <a:xfrm>
            <a:off x="8610600" y="6356350"/>
            <a:ext cx="2743200" cy="365125"/>
          </a:xfrm>
        </p:spPr>
        <p:txBody>
          <a:bodyPr>
            <a:normAutofit/>
          </a:bodyPr>
          <a:lstStyle/>
          <a:p>
            <a:pPr>
              <a:spcAft>
                <a:spcPts val="600"/>
              </a:spcAft>
            </a:pPr>
            <a:fld id="{97A94E25-127B-4C48-AF96-44BA7B823777}" type="slidenum">
              <a:rPr lang="en-US" smtClean="0"/>
              <a:pPr>
                <a:spcAft>
                  <a:spcPts val="600"/>
                </a:spcAft>
              </a:pPr>
              <a:t>10</a:t>
            </a:fld>
            <a:endParaRPr lang="en-US"/>
          </a:p>
        </p:txBody>
      </p:sp>
    </p:spTree>
    <p:extLst>
      <p:ext uri="{BB962C8B-B14F-4D97-AF65-F5344CB8AC3E}">
        <p14:creationId xmlns:p14="http://schemas.microsoft.com/office/powerpoint/2010/main" val="9023058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1F0B098B-F199-42BE-A69F-D3F068839669}"/>
              </a:ext>
            </a:extLst>
          </p:cNvPr>
          <p:cNvGraphicFramePr>
            <a:graphicFrameLocks noChangeAspect="1"/>
          </p:cNvGraphicFramePr>
          <p:nvPr>
            <p:extLst>
              <p:ext uri="{D42A27DB-BD31-4B8C-83A1-F6EECF244321}">
                <p14:modId xmlns:p14="http://schemas.microsoft.com/office/powerpoint/2010/main" val="693398258"/>
              </p:ext>
            </p:extLst>
          </p:nvPr>
        </p:nvGraphicFramePr>
        <p:xfrm>
          <a:off x="873125" y="914400"/>
          <a:ext cx="3886200" cy="5029200"/>
        </p:xfrm>
        <a:graphic>
          <a:graphicData uri="http://schemas.openxmlformats.org/presentationml/2006/ole">
            <mc:AlternateContent xmlns:mc="http://schemas.openxmlformats.org/markup-compatibility/2006">
              <mc:Choice xmlns:v="urn:schemas-microsoft-com:vml" Requires="v">
                <p:oleObj name="Acrobat Document" r:id="rId2" imgW="3886052" imgH="5028936" progId="AcroExch.Document.DC">
                  <p:embed/>
                </p:oleObj>
              </mc:Choice>
              <mc:Fallback>
                <p:oleObj name="Acrobat Document" r:id="rId2" imgW="3886052" imgH="5028936" progId="AcroExch.Document.DC">
                  <p:embed/>
                  <p:pic>
                    <p:nvPicPr>
                      <p:cNvPr id="2" name="Object 1">
                        <a:extLst>
                          <a:ext uri="{FF2B5EF4-FFF2-40B4-BE49-F238E27FC236}">
                            <a16:creationId xmlns:a16="http://schemas.microsoft.com/office/drawing/2014/main" id="{1F0B098B-F199-42BE-A69F-D3F068839669}"/>
                          </a:ext>
                        </a:extLst>
                      </p:cNvPr>
                      <p:cNvPicPr/>
                      <p:nvPr/>
                    </p:nvPicPr>
                    <p:blipFill>
                      <a:blip r:embed="rId3"/>
                      <a:stretch>
                        <a:fillRect/>
                      </a:stretch>
                    </p:blipFill>
                    <p:spPr>
                      <a:xfrm>
                        <a:off x="873125" y="914400"/>
                        <a:ext cx="3886200" cy="5029200"/>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D20C00DB-77A4-43BB-A2BE-DCA94A9078A5}"/>
              </a:ext>
            </a:extLst>
          </p:cNvPr>
          <p:cNvSpPr>
            <a:spLocks noGrp="1"/>
          </p:cNvSpPr>
          <p:nvPr>
            <p:ph type="body" sz="quarter" idx="16"/>
          </p:nvPr>
        </p:nvSpPr>
        <p:spPr/>
        <p:txBody>
          <a:bodyPr/>
          <a:lstStyle/>
          <a:p>
            <a:endParaRPr lang="en-US" dirty="0"/>
          </a:p>
        </p:txBody>
      </p:sp>
      <p:sp>
        <p:nvSpPr>
          <p:cNvPr id="12" name="Text Placeholder 11">
            <a:extLst>
              <a:ext uri="{FF2B5EF4-FFF2-40B4-BE49-F238E27FC236}">
                <a16:creationId xmlns:a16="http://schemas.microsoft.com/office/drawing/2014/main" id="{8161AA8F-5DD0-48DB-96C3-CF2919DC0A30}"/>
              </a:ext>
            </a:extLst>
          </p:cNvPr>
          <p:cNvSpPr>
            <a:spLocks noGrp="1"/>
          </p:cNvSpPr>
          <p:nvPr>
            <p:ph type="body" sz="quarter" idx="14"/>
          </p:nvPr>
        </p:nvSpPr>
        <p:spPr/>
        <p:txBody>
          <a:bodyPr/>
          <a:lstStyle/>
          <a:p>
            <a:r>
              <a:rPr lang="en-US" dirty="0" err="1"/>
              <a:t>CluB</a:t>
            </a:r>
            <a:r>
              <a:rPr lang="en-US" dirty="0"/>
              <a:t> banner for 100% club</a:t>
            </a:r>
          </a:p>
        </p:txBody>
      </p:sp>
    </p:spTree>
    <p:extLst>
      <p:ext uri="{BB962C8B-B14F-4D97-AF65-F5344CB8AC3E}">
        <p14:creationId xmlns:p14="http://schemas.microsoft.com/office/powerpoint/2010/main" val="1297482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picture containing text&#10;&#10;Description automatically generated">
            <a:extLst>
              <a:ext uri="{FF2B5EF4-FFF2-40B4-BE49-F238E27FC236}">
                <a16:creationId xmlns:a16="http://schemas.microsoft.com/office/drawing/2014/main" id="{702B9C3D-3863-4B0D-A64C-6A18F48B56A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43467" y="1016254"/>
            <a:ext cx="10905066" cy="4825491"/>
          </a:xfrm>
          <a:prstGeom prst="rect">
            <a:avLst/>
          </a:prstGeom>
        </p:spPr>
      </p:pic>
    </p:spTree>
    <p:extLst>
      <p:ext uri="{BB962C8B-B14F-4D97-AF65-F5344CB8AC3E}">
        <p14:creationId xmlns:p14="http://schemas.microsoft.com/office/powerpoint/2010/main" val="4063262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524741" y="620392"/>
            <a:ext cx="3808268" cy="5504688"/>
          </a:xfrm>
        </p:spPr>
        <p:txBody>
          <a:bodyPr vert="horz" lIns="91440" tIns="45720" rIns="91440" bIns="45720" rtlCol="0" anchor="ctr">
            <a:normAutofit/>
          </a:bodyPr>
          <a:lstStyle/>
          <a:p>
            <a:r>
              <a:rPr lang="en-US" sz="6000" kern="1200" dirty="0">
                <a:latin typeface="+mj-lt"/>
                <a:ea typeface="+mj-ea"/>
                <a:cs typeface="+mj-cs"/>
              </a:rPr>
              <a:t>Ready to Join?</a:t>
            </a:r>
          </a:p>
        </p:txBody>
      </p:sp>
      <p:sp>
        <p:nvSpPr>
          <p:cNvPr id="4" name="Slide Number Placeholder 3"/>
          <p:cNvSpPr>
            <a:spLocks noGrp="1"/>
          </p:cNvSpPr>
          <p:nvPr>
            <p:ph type="sldNum" sz="quarter" idx="12"/>
          </p:nvPr>
        </p:nvSpPr>
        <p:spPr>
          <a:xfrm>
            <a:off x="5857009" y="1725356"/>
            <a:ext cx="5810250" cy="840863"/>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A94E25-127B-4C48-AF96-44BA7B823777}"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3</a:t>
            </a:fld>
            <a:r>
              <a:rPr kumimoji="0" lang="en-US" sz="1200" b="0" i="0" u="none" strike="noStrike" kern="1200" cap="none" spc="0" normalizeH="0" baseline="0" noProof="0" dirty="0">
                <a:ln>
                  <a:noFill/>
                </a:ln>
                <a:solidFill>
                  <a:prstClr val="black">
                    <a:tint val="75000"/>
                  </a:prstClr>
                </a:solidFill>
                <a:effectLst/>
                <a:uLnTx/>
                <a:uFillTx/>
                <a:latin typeface="Arial" panose="020B0604020202020204"/>
                <a:ea typeface="+mn-ea"/>
                <a:cs typeface="+mn-cs"/>
              </a:rPr>
              <a:t>TA</a:t>
            </a:r>
          </a:p>
        </p:txBody>
      </p:sp>
      <p:graphicFrame>
        <p:nvGraphicFramePr>
          <p:cNvPr id="17" name="Content Placeholder 2">
            <a:extLst>
              <a:ext uri="{FF2B5EF4-FFF2-40B4-BE49-F238E27FC236}">
                <a16:creationId xmlns:a16="http://schemas.microsoft.com/office/drawing/2014/main" id="{E1D6E5D3-40A7-39D6-2BC7-DE76EDCAD0CA}"/>
              </a:ext>
            </a:extLst>
          </p:cNvPr>
          <p:cNvGraphicFramePr>
            <a:graphicFrameLocks noGrp="1"/>
          </p:cNvGraphicFramePr>
          <p:nvPr>
            <p:ph idx="1"/>
            <p:extLst>
              <p:ext uri="{D42A27DB-BD31-4B8C-83A1-F6EECF244321}">
                <p14:modId xmlns:p14="http://schemas.microsoft.com/office/powerpoint/2010/main" val="1034520232"/>
              </p:ext>
            </p:extLst>
          </p:nvPr>
        </p:nvGraphicFramePr>
        <p:xfrm>
          <a:off x="5311072" y="1"/>
          <a:ext cx="6743767" cy="16039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11699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AACA4F-322F-4749-BBC1-C9BC0186403F}"/>
              </a:ext>
            </a:extLst>
          </p:cNvPr>
          <p:cNvSpPr>
            <a:spLocks noGrp="1"/>
          </p:cNvSpPr>
          <p:nvPr>
            <p:ph type="title"/>
          </p:nvPr>
        </p:nvSpPr>
        <p:spPr/>
        <p:txBody>
          <a:bodyPr/>
          <a:lstStyle/>
          <a:p>
            <a:r>
              <a:rPr lang="en-US" b="1" dirty="0"/>
              <a:t>Is your district/club looking for an easy way to fundraise for PolioPlus?</a:t>
            </a:r>
          </a:p>
        </p:txBody>
      </p:sp>
      <p:pic>
        <p:nvPicPr>
          <p:cNvPr id="6" name="Content Placeholder 5" descr="Logo&#10;&#10;Description automatically generated">
            <a:extLst>
              <a:ext uri="{FF2B5EF4-FFF2-40B4-BE49-F238E27FC236}">
                <a16:creationId xmlns:a16="http://schemas.microsoft.com/office/drawing/2014/main" id="{71CFC8B5-8960-937B-D4BD-F83D31A97F3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 y="0"/>
            <a:ext cx="12268607" cy="7060027"/>
          </a:xfrm>
          <a:prstGeom prst="rect">
            <a:avLst/>
          </a:prstGeom>
        </p:spPr>
      </p:pic>
      <p:sp>
        <p:nvSpPr>
          <p:cNvPr id="7" name="Rectangle 6">
            <a:extLst>
              <a:ext uri="{FF2B5EF4-FFF2-40B4-BE49-F238E27FC236}">
                <a16:creationId xmlns:a16="http://schemas.microsoft.com/office/drawing/2014/main" id="{5004EC40-F90D-F890-6164-C0EC7A55207A}"/>
              </a:ext>
            </a:extLst>
          </p:cNvPr>
          <p:cNvSpPr/>
          <p:nvPr/>
        </p:nvSpPr>
        <p:spPr>
          <a:xfrm>
            <a:off x="320040" y="5669280"/>
            <a:ext cx="11452860" cy="731520"/>
          </a:xfrm>
          <a:prstGeom prst="rect">
            <a:avLst/>
          </a:prstGeom>
          <a:solidFill>
            <a:schemeClr val="bg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t>Iis</a:t>
            </a:r>
            <a:r>
              <a:rPr lang="en-US" dirty="0"/>
              <a:t> </a:t>
            </a:r>
          </a:p>
        </p:txBody>
      </p:sp>
      <p:sp>
        <p:nvSpPr>
          <p:cNvPr id="8" name="TextBox 7">
            <a:extLst>
              <a:ext uri="{FF2B5EF4-FFF2-40B4-BE49-F238E27FC236}">
                <a16:creationId xmlns:a16="http://schemas.microsoft.com/office/drawing/2014/main" id="{AF053E25-DD12-C33A-BB94-159067DD8077}"/>
              </a:ext>
            </a:extLst>
          </p:cNvPr>
          <p:cNvSpPr txBox="1"/>
          <p:nvPr/>
        </p:nvSpPr>
        <p:spPr>
          <a:xfrm>
            <a:off x="457402" y="5773430"/>
            <a:ext cx="11353800" cy="523220"/>
          </a:xfrm>
          <a:prstGeom prst="rect">
            <a:avLst/>
          </a:prstGeom>
          <a:noFill/>
        </p:spPr>
        <p:txBody>
          <a:bodyPr wrap="square" rtlCol="0">
            <a:spAutoFit/>
          </a:bodyPr>
          <a:lstStyle/>
          <a:p>
            <a:pPr algn="ctr"/>
            <a:r>
              <a:rPr lang="en-US" sz="2800" b="1" dirty="0">
                <a:solidFill>
                  <a:srgbClr val="000000"/>
                </a:solidFill>
              </a:rPr>
              <a:t>Is Your District/Club looking for an easy way to fundraise for PolioPlus?</a:t>
            </a:r>
            <a:endParaRPr lang="en-US" dirty="0"/>
          </a:p>
        </p:txBody>
      </p:sp>
    </p:spTree>
    <p:extLst>
      <p:ext uri="{BB962C8B-B14F-4D97-AF65-F5344CB8AC3E}">
        <p14:creationId xmlns:p14="http://schemas.microsoft.com/office/powerpoint/2010/main" val="3058790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524741" y="620392"/>
            <a:ext cx="3808268" cy="5504688"/>
          </a:xfrm>
        </p:spPr>
        <p:txBody>
          <a:bodyPr vert="horz" lIns="91440" tIns="45720" rIns="91440" bIns="45720" rtlCol="0" anchor="ctr">
            <a:normAutofit/>
          </a:bodyPr>
          <a:lstStyle/>
          <a:p>
            <a:pPr algn="ctr"/>
            <a:r>
              <a:rPr lang="en-US" sz="4700" kern="1200" dirty="0">
                <a:latin typeface="+mj-lt"/>
                <a:ea typeface="+mj-ea"/>
                <a:cs typeface="+mj-cs"/>
              </a:rPr>
              <a:t>Global PolioPlus Societies</a:t>
            </a:r>
            <a:br>
              <a:rPr lang="en-US" sz="4700" kern="1200" dirty="0">
                <a:latin typeface="+mj-lt"/>
                <a:ea typeface="+mj-ea"/>
                <a:cs typeface="+mj-cs"/>
              </a:rPr>
            </a:br>
            <a:br>
              <a:rPr lang="en-US" sz="4700" kern="1200" dirty="0">
                <a:latin typeface="+mj-lt"/>
                <a:ea typeface="+mj-ea"/>
                <a:cs typeface="+mj-cs"/>
              </a:rPr>
            </a:br>
            <a:endParaRPr lang="en-US" sz="4700" kern="1200" dirty="0">
              <a:latin typeface="+mj-lt"/>
              <a:ea typeface="+mj-ea"/>
              <a:cs typeface="+mj-cs"/>
            </a:endParaRPr>
          </a:p>
        </p:txBody>
      </p:sp>
      <p:graphicFrame>
        <p:nvGraphicFramePr>
          <p:cNvPr id="16" name="Content Placeholder 4">
            <a:extLst>
              <a:ext uri="{FF2B5EF4-FFF2-40B4-BE49-F238E27FC236}">
                <a16:creationId xmlns:a16="http://schemas.microsoft.com/office/drawing/2014/main" id="{1A9342CD-CB8F-76AC-C3C7-CCD3E70F2311}"/>
              </a:ext>
            </a:extLst>
          </p:cNvPr>
          <p:cNvGraphicFramePr>
            <a:graphicFrameLocks noGrp="1"/>
          </p:cNvGraphicFramePr>
          <p:nvPr>
            <p:ph idx="1"/>
            <p:extLst>
              <p:ext uri="{D42A27DB-BD31-4B8C-83A1-F6EECF244321}">
                <p14:modId xmlns:p14="http://schemas.microsoft.com/office/powerpoint/2010/main" val="3985207678"/>
              </p:ext>
            </p:extLst>
          </p:nvPr>
        </p:nvGraphicFramePr>
        <p:xfrm>
          <a:off x="5093208" y="620392"/>
          <a:ext cx="6638821" cy="550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199767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524741" y="620392"/>
            <a:ext cx="3808268" cy="5504688"/>
          </a:xfrm>
        </p:spPr>
        <p:txBody>
          <a:bodyPr vert="horz" lIns="91440" tIns="45720" rIns="91440" bIns="45720" rtlCol="0" anchor="ctr">
            <a:normAutofit/>
          </a:bodyPr>
          <a:lstStyle/>
          <a:p>
            <a:r>
              <a:rPr lang="en-US" sz="6000" kern="1200">
                <a:latin typeface="+mj-lt"/>
                <a:ea typeface="+mj-ea"/>
                <a:cs typeface="+mj-cs"/>
              </a:rPr>
              <a:t>Where dID the idea begin?</a:t>
            </a:r>
          </a:p>
        </p:txBody>
      </p:sp>
      <p:sp>
        <p:nvSpPr>
          <p:cNvPr id="4" name="Slide Number Placeholder 3"/>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A94E25-127B-4C48-AF96-44BA7B823777}"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graphicFrame>
        <p:nvGraphicFramePr>
          <p:cNvPr id="17" name="Content Placeholder 2">
            <a:extLst>
              <a:ext uri="{FF2B5EF4-FFF2-40B4-BE49-F238E27FC236}">
                <a16:creationId xmlns:a16="http://schemas.microsoft.com/office/drawing/2014/main" id="{E1D6E5D3-40A7-39D6-2BC7-DE76EDCAD0CA}"/>
              </a:ext>
            </a:extLst>
          </p:cNvPr>
          <p:cNvGraphicFramePr>
            <a:graphicFrameLocks noGrp="1"/>
          </p:cNvGraphicFramePr>
          <p:nvPr>
            <p:ph idx="1"/>
            <p:extLst>
              <p:ext uri="{D42A27DB-BD31-4B8C-83A1-F6EECF244321}">
                <p14:modId xmlns:p14="http://schemas.microsoft.com/office/powerpoint/2010/main" val="92177439"/>
              </p:ext>
            </p:extLst>
          </p:nvPr>
        </p:nvGraphicFramePr>
        <p:xfrm>
          <a:off x="5093208" y="494675"/>
          <a:ext cx="7098792" cy="5861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302732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7" name="Rectangle 66">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9" name="Freeform: Shape 68">
            <a:extLst>
              <a:ext uri="{FF2B5EF4-FFF2-40B4-BE49-F238E27FC236}">
                <a16:creationId xmlns:a16="http://schemas.microsoft.com/office/drawing/2014/main" id="{DB5B423A-57CC-4C58-AA26-8E2E862B03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5217023" cy="3994777"/>
          </a:xfrm>
          <a:custGeom>
            <a:avLst/>
            <a:gdLst>
              <a:gd name="connsiteX0" fmla="*/ 1945461 w 5217023"/>
              <a:gd name="connsiteY0" fmla="*/ 3787398 h 3994777"/>
              <a:gd name="connsiteX1" fmla="*/ 1942113 w 5217023"/>
              <a:gd name="connsiteY1" fmla="*/ 3790053 h 3994777"/>
              <a:gd name="connsiteX2" fmla="*/ 1946982 w 5217023"/>
              <a:gd name="connsiteY2" fmla="*/ 3787990 h 3994777"/>
              <a:gd name="connsiteX3" fmla="*/ 1945461 w 5217023"/>
              <a:gd name="connsiteY3" fmla="*/ 3787398 h 3994777"/>
              <a:gd name="connsiteX4" fmla="*/ 0 w 5217023"/>
              <a:gd name="connsiteY4" fmla="*/ 0 h 3994777"/>
              <a:gd name="connsiteX5" fmla="*/ 5030958 w 5217023"/>
              <a:gd name="connsiteY5" fmla="*/ 0 h 3994777"/>
              <a:gd name="connsiteX6" fmla="*/ 5046198 w 5217023"/>
              <a:gd name="connsiteY6" fmla="*/ 153449 h 3994777"/>
              <a:gd name="connsiteX7" fmla="*/ 5055729 w 5217023"/>
              <a:gd name="connsiteY7" fmla="*/ 415828 h 3994777"/>
              <a:gd name="connsiteX8" fmla="*/ 4735242 w 5217023"/>
              <a:gd name="connsiteY8" fmla="*/ 1867130 h 3994777"/>
              <a:gd name="connsiteX9" fmla="*/ 3907395 w 5217023"/>
              <a:gd name="connsiteY9" fmla="*/ 2938441 h 3994777"/>
              <a:gd name="connsiteX10" fmla="*/ 3946497 w 5217023"/>
              <a:gd name="connsiteY10" fmla="*/ 2908567 h 3994777"/>
              <a:gd name="connsiteX11" fmla="*/ 4585421 w 5217023"/>
              <a:gd name="connsiteY11" fmla="*/ 2188401 h 3994777"/>
              <a:gd name="connsiteX12" fmla="*/ 5142585 w 5217023"/>
              <a:gd name="connsiteY12" fmla="*/ 276891 h 3994777"/>
              <a:gd name="connsiteX13" fmla="*/ 5121833 w 5217023"/>
              <a:gd name="connsiteY13" fmla="*/ 30208 h 3994777"/>
              <a:gd name="connsiteX14" fmla="*/ 5116229 w 5217023"/>
              <a:gd name="connsiteY14" fmla="*/ 0 h 3994777"/>
              <a:gd name="connsiteX15" fmla="*/ 5184724 w 5217023"/>
              <a:gd name="connsiteY15" fmla="*/ 0 h 3994777"/>
              <a:gd name="connsiteX16" fmla="*/ 5196265 w 5217023"/>
              <a:gd name="connsiteY16" fmla="*/ 66113 h 3994777"/>
              <a:gd name="connsiteX17" fmla="*/ 5058603 w 5217023"/>
              <a:gd name="connsiteY17" fmla="*/ 1368242 h 3994777"/>
              <a:gd name="connsiteX18" fmla="*/ 4096624 w 5217023"/>
              <a:gd name="connsiteY18" fmla="*/ 2870829 h 3994777"/>
              <a:gd name="connsiteX19" fmla="*/ 3833203 w 5217023"/>
              <a:gd name="connsiteY19" fmla="*/ 3092190 h 3994777"/>
              <a:gd name="connsiteX20" fmla="*/ 3536509 w 5217023"/>
              <a:gd name="connsiteY20" fmla="*/ 3297128 h 3994777"/>
              <a:gd name="connsiteX21" fmla="*/ 3148966 w 5217023"/>
              <a:gd name="connsiteY21" fmla="*/ 3485478 h 3994777"/>
              <a:gd name="connsiteX22" fmla="*/ 1860557 w 5217023"/>
              <a:gd name="connsiteY22" fmla="*/ 3880910 h 3994777"/>
              <a:gd name="connsiteX23" fmla="*/ 573715 w 5217023"/>
              <a:gd name="connsiteY23" fmla="*/ 3983764 h 3994777"/>
              <a:gd name="connsiteX24" fmla="*/ 108410 w 5217023"/>
              <a:gd name="connsiteY24" fmla="*/ 3908816 h 3994777"/>
              <a:gd name="connsiteX25" fmla="*/ 0 w 5217023"/>
              <a:gd name="connsiteY25" fmla="*/ 3876793 h 3994777"/>
              <a:gd name="connsiteX26" fmla="*/ 0 w 5217023"/>
              <a:gd name="connsiteY26" fmla="*/ 3802912 h 3994777"/>
              <a:gd name="connsiteX27" fmla="*/ 36975 w 5217023"/>
              <a:gd name="connsiteY27" fmla="*/ 3815954 h 3994777"/>
              <a:gd name="connsiteX28" fmla="*/ 561628 w 5217023"/>
              <a:gd name="connsiteY28" fmla="*/ 3912655 h 3994777"/>
              <a:gd name="connsiteX29" fmla="*/ 1683086 w 5217023"/>
              <a:gd name="connsiteY29" fmla="*/ 3844334 h 3994777"/>
              <a:gd name="connsiteX30" fmla="*/ 1806023 w 5217023"/>
              <a:gd name="connsiteY30" fmla="*/ 3820992 h 3994777"/>
              <a:gd name="connsiteX31" fmla="*/ 1921817 w 5217023"/>
              <a:gd name="connsiteY31" fmla="*/ 3795747 h 3994777"/>
              <a:gd name="connsiteX32" fmla="*/ 1243689 w 5217023"/>
              <a:gd name="connsiteY32" fmla="*/ 3846539 h 3994777"/>
              <a:gd name="connsiteX33" fmla="*/ 62875 w 5217023"/>
              <a:gd name="connsiteY33" fmla="*/ 3668143 h 3994777"/>
              <a:gd name="connsiteX34" fmla="*/ 0 w 5217023"/>
              <a:gd name="connsiteY34" fmla="*/ 3644185 h 399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17023" h="3994777">
                <a:moveTo>
                  <a:pt x="1945461" y="3787398"/>
                </a:moveTo>
                <a:lnTo>
                  <a:pt x="1942113" y="3790053"/>
                </a:lnTo>
                <a:lnTo>
                  <a:pt x="1946982" y="3787990"/>
                </a:lnTo>
                <a:cubicBezTo>
                  <a:pt x="1946982" y="3787990"/>
                  <a:pt x="1946379" y="3787019"/>
                  <a:pt x="1945461" y="3787398"/>
                </a:cubicBezTo>
                <a:close/>
                <a:moveTo>
                  <a:pt x="0" y="0"/>
                </a:moveTo>
                <a:lnTo>
                  <a:pt x="5030958" y="0"/>
                </a:lnTo>
                <a:lnTo>
                  <a:pt x="5046198" y="153449"/>
                </a:lnTo>
                <a:cubicBezTo>
                  <a:pt x="5052189" y="240558"/>
                  <a:pt x="5055458" y="328007"/>
                  <a:pt x="5055729" y="415828"/>
                </a:cubicBezTo>
                <a:cubicBezTo>
                  <a:pt x="5057604" y="923672"/>
                  <a:pt x="4959210" y="1409054"/>
                  <a:pt x="4735242" y="1867130"/>
                </a:cubicBezTo>
                <a:cubicBezTo>
                  <a:pt x="4533284" y="2280198"/>
                  <a:pt x="4248921" y="2629330"/>
                  <a:pt x="3907395" y="2938441"/>
                </a:cubicBezTo>
                <a:cubicBezTo>
                  <a:pt x="3922498" y="2931535"/>
                  <a:pt x="3935859" y="2921330"/>
                  <a:pt x="3946497" y="2908567"/>
                </a:cubicBezTo>
                <a:cubicBezTo>
                  <a:pt x="4193494" y="2700987"/>
                  <a:pt x="4408756" y="2458364"/>
                  <a:pt x="4585421" y="2188401"/>
                </a:cubicBezTo>
                <a:cubicBezTo>
                  <a:pt x="4967641" y="1608533"/>
                  <a:pt x="5169304" y="975361"/>
                  <a:pt x="5142585" y="276891"/>
                </a:cubicBezTo>
                <a:cubicBezTo>
                  <a:pt x="5139764" y="194215"/>
                  <a:pt x="5132824" y="111888"/>
                  <a:pt x="5121833" y="30208"/>
                </a:cubicBezTo>
                <a:lnTo>
                  <a:pt x="5116229" y="0"/>
                </a:lnTo>
                <a:lnTo>
                  <a:pt x="5184724" y="0"/>
                </a:lnTo>
                <a:lnTo>
                  <a:pt x="5196265" y="66113"/>
                </a:lnTo>
                <a:cubicBezTo>
                  <a:pt x="5249921" y="496647"/>
                  <a:pt x="5197997" y="931171"/>
                  <a:pt x="5058603" y="1368242"/>
                </a:cubicBezTo>
                <a:cubicBezTo>
                  <a:pt x="4872414" y="1953929"/>
                  <a:pt x="4544298" y="2451351"/>
                  <a:pt x="4096624" y="2870829"/>
                </a:cubicBezTo>
                <a:cubicBezTo>
                  <a:pt x="4012832" y="2949426"/>
                  <a:pt x="3924415" y="3022439"/>
                  <a:pt x="3833203" y="3092190"/>
                </a:cubicBezTo>
                <a:cubicBezTo>
                  <a:pt x="3741992" y="3161943"/>
                  <a:pt x="3648667" y="3225510"/>
                  <a:pt x="3536509" y="3297128"/>
                </a:cubicBezTo>
                <a:cubicBezTo>
                  <a:pt x="3427215" y="3372735"/>
                  <a:pt x="3288598" y="3430233"/>
                  <a:pt x="3148966" y="3485478"/>
                </a:cubicBezTo>
                <a:cubicBezTo>
                  <a:pt x="2729930" y="3651299"/>
                  <a:pt x="2302194" y="3788890"/>
                  <a:pt x="1860557" y="3880910"/>
                </a:cubicBezTo>
                <a:cubicBezTo>
                  <a:pt x="1435974" y="3969444"/>
                  <a:pt x="1008052" y="4017957"/>
                  <a:pt x="573715" y="3983764"/>
                </a:cubicBezTo>
                <a:cubicBezTo>
                  <a:pt x="415134" y="3971300"/>
                  <a:pt x="259585" y="3947743"/>
                  <a:pt x="108410" y="3908816"/>
                </a:cubicBezTo>
                <a:lnTo>
                  <a:pt x="0" y="3876793"/>
                </a:lnTo>
                <a:lnTo>
                  <a:pt x="0" y="3802912"/>
                </a:lnTo>
                <a:lnTo>
                  <a:pt x="36975" y="3815954"/>
                </a:lnTo>
                <a:cubicBezTo>
                  <a:pt x="206404" y="3867475"/>
                  <a:pt x="382020" y="3897326"/>
                  <a:pt x="561628" y="3912655"/>
                </a:cubicBezTo>
                <a:cubicBezTo>
                  <a:pt x="938583" y="3944832"/>
                  <a:pt x="1311814" y="3910697"/>
                  <a:pt x="1683086" y="3844334"/>
                </a:cubicBezTo>
                <a:cubicBezTo>
                  <a:pt x="1724123" y="3837151"/>
                  <a:pt x="1765097" y="3829374"/>
                  <a:pt x="1806023" y="3820992"/>
                </a:cubicBezTo>
                <a:cubicBezTo>
                  <a:pt x="1844740" y="3813079"/>
                  <a:pt x="1883218" y="3804161"/>
                  <a:pt x="1921817" y="3795747"/>
                </a:cubicBezTo>
                <a:cubicBezTo>
                  <a:pt x="1697011" y="3826435"/>
                  <a:pt x="1470551" y="3843387"/>
                  <a:pt x="1243689" y="3846539"/>
                </a:cubicBezTo>
                <a:cubicBezTo>
                  <a:pt x="839058" y="3849054"/>
                  <a:pt x="443424" y="3800206"/>
                  <a:pt x="62875" y="3668143"/>
                </a:cubicBezTo>
                <a:lnTo>
                  <a:pt x="0" y="364418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247338" y="673731"/>
            <a:ext cx="4722348" cy="2374270"/>
          </a:xfrm>
        </p:spPr>
        <p:txBody>
          <a:bodyPr vert="horz" lIns="91440" tIns="45720" rIns="91440" bIns="45720" rtlCol="0" anchor="t">
            <a:normAutofit fontScale="90000"/>
          </a:bodyPr>
          <a:lstStyle/>
          <a:p>
            <a:pPr algn="ctr"/>
            <a:r>
              <a:rPr lang="en-US" sz="3100" kern="1200" dirty="0">
                <a:solidFill>
                  <a:srgbClr val="FFFFFF"/>
                </a:solidFill>
                <a:latin typeface="+mj-lt"/>
                <a:ea typeface="+mj-ea"/>
                <a:cs typeface="+mj-cs"/>
              </a:rPr>
              <a:t>Today’s</a:t>
            </a:r>
            <a:br>
              <a:rPr lang="en-US" sz="3100" kern="1200" dirty="0">
                <a:solidFill>
                  <a:srgbClr val="FFFFFF"/>
                </a:solidFill>
                <a:latin typeface="+mj-lt"/>
                <a:ea typeface="+mj-ea"/>
                <a:cs typeface="+mj-cs"/>
              </a:rPr>
            </a:br>
            <a:br>
              <a:rPr lang="en-US" sz="3100" kern="1200" dirty="0">
                <a:solidFill>
                  <a:srgbClr val="FFFFFF"/>
                </a:solidFill>
                <a:latin typeface="+mj-lt"/>
                <a:ea typeface="+mj-ea"/>
                <a:cs typeface="+mj-cs"/>
              </a:rPr>
            </a:br>
            <a:r>
              <a:rPr lang="en-US" sz="3100" kern="1200" dirty="0">
                <a:solidFill>
                  <a:srgbClr val="FFFFFF"/>
                </a:solidFill>
                <a:latin typeface="+mj-lt"/>
                <a:ea typeface="+mj-ea"/>
                <a:cs typeface="+mj-cs"/>
              </a:rPr>
              <a:t>global</a:t>
            </a:r>
            <a:br>
              <a:rPr lang="en-US" sz="3100" kern="1200" dirty="0">
                <a:solidFill>
                  <a:srgbClr val="FFFFFF"/>
                </a:solidFill>
                <a:latin typeface="+mj-lt"/>
                <a:ea typeface="+mj-ea"/>
                <a:cs typeface="+mj-cs"/>
              </a:rPr>
            </a:br>
            <a:r>
              <a:rPr lang="en-US" sz="3100" kern="1200" dirty="0">
                <a:solidFill>
                  <a:srgbClr val="FFFFFF"/>
                </a:solidFill>
                <a:latin typeface="+mj-lt"/>
                <a:ea typeface="+mj-ea"/>
                <a:cs typeface="+mj-cs"/>
              </a:rPr>
              <a:t>PolioPlus Societies</a:t>
            </a:r>
            <a:br>
              <a:rPr lang="en-US" sz="3100" kern="1200" dirty="0">
                <a:solidFill>
                  <a:srgbClr val="FFFFFF"/>
                </a:solidFill>
                <a:latin typeface="+mj-lt"/>
                <a:ea typeface="+mj-ea"/>
                <a:cs typeface="+mj-cs"/>
              </a:rPr>
            </a:br>
            <a:r>
              <a:rPr lang="en-US" sz="3100" kern="1200" dirty="0">
                <a:solidFill>
                  <a:srgbClr val="FFFFFF"/>
                </a:solidFill>
                <a:latin typeface="+mj-lt"/>
                <a:ea typeface="+mj-ea"/>
                <a:cs typeface="+mj-cs"/>
              </a:rPr>
              <a:t> </a:t>
            </a:r>
            <a:br>
              <a:rPr lang="en-US" sz="3100" kern="1200" dirty="0">
                <a:solidFill>
                  <a:srgbClr val="FFFFFF"/>
                </a:solidFill>
                <a:latin typeface="+mj-lt"/>
                <a:ea typeface="+mj-ea"/>
                <a:cs typeface="+mj-cs"/>
              </a:rPr>
            </a:br>
            <a:r>
              <a:rPr lang="en-US" sz="3100" kern="1200" dirty="0">
                <a:solidFill>
                  <a:srgbClr val="FFFFFF"/>
                </a:solidFill>
                <a:latin typeface="+mj-lt"/>
                <a:ea typeface="+mj-ea"/>
                <a:cs typeface="+mj-cs"/>
              </a:rPr>
              <a:t>initiative</a:t>
            </a:r>
            <a:br>
              <a:rPr lang="en-US" sz="2200" kern="1200" dirty="0">
                <a:solidFill>
                  <a:srgbClr val="FFFFFF"/>
                </a:solidFill>
                <a:latin typeface="+mj-lt"/>
                <a:ea typeface="+mj-ea"/>
                <a:cs typeface="+mj-cs"/>
              </a:rPr>
            </a:br>
            <a:endParaRPr lang="en-US" sz="2200" kern="1200" dirty="0">
              <a:solidFill>
                <a:srgbClr val="FFFFFF"/>
              </a:solidFill>
              <a:latin typeface="+mj-lt"/>
              <a:ea typeface="+mj-ea"/>
              <a:cs typeface="+mj-cs"/>
            </a:endParaRPr>
          </a:p>
        </p:txBody>
      </p:sp>
      <p:sp>
        <p:nvSpPr>
          <p:cNvPr id="4" name="Slide Number Placeholder 3"/>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A94E25-127B-4C48-AF96-44BA7B823777}"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graphicFrame>
        <p:nvGraphicFramePr>
          <p:cNvPr id="17" name="Content Placeholder 2">
            <a:extLst>
              <a:ext uri="{FF2B5EF4-FFF2-40B4-BE49-F238E27FC236}">
                <a16:creationId xmlns:a16="http://schemas.microsoft.com/office/drawing/2014/main" id="{E1D6E5D3-40A7-39D6-2BC7-DE76EDCAD0CA}"/>
              </a:ext>
            </a:extLst>
          </p:cNvPr>
          <p:cNvGraphicFramePr>
            <a:graphicFrameLocks noGrp="1"/>
          </p:cNvGraphicFramePr>
          <p:nvPr>
            <p:ph idx="1"/>
            <p:extLst>
              <p:ext uri="{D42A27DB-BD31-4B8C-83A1-F6EECF244321}">
                <p14:modId xmlns:p14="http://schemas.microsoft.com/office/powerpoint/2010/main" val="2690128576"/>
              </p:ext>
            </p:extLst>
          </p:nvPr>
        </p:nvGraphicFramePr>
        <p:xfrm>
          <a:off x="5542672" y="541606"/>
          <a:ext cx="5811128" cy="6095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87634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524741" y="620392"/>
            <a:ext cx="3808268" cy="5504688"/>
          </a:xfrm>
        </p:spPr>
        <p:txBody>
          <a:bodyPr vert="horz" lIns="91440" tIns="45720" rIns="91440" bIns="45720" rtlCol="0" anchor="ctr">
            <a:normAutofit/>
          </a:bodyPr>
          <a:lstStyle/>
          <a:p>
            <a:r>
              <a:rPr lang="en-US" sz="6000" kern="1200" dirty="0">
                <a:latin typeface="+mj-lt"/>
                <a:ea typeface="+mj-ea"/>
                <a:cs typeface="+mj-cs"/>
              </a:rPr>
              <a:t>How do we get there?</a:t>
            </a:r>
          </a:p>
        </p:txBody>
      </p:sp>
      <p:sp>
        <p:nvSpPr>
          <p:cNvPr id="4" name="Slide Number Placeholder 3"/>
          <p:cNvSpPr>
            <a:spLocks noGrp="1"/>
          </p:cNvSpPr>
          <p:nvPr>
            <p:ph type="sldNum" sz="quarter" idx="12"/>
          </p:nvPr>
        </p:nvSpPr>
        <p:spPr>
          <a:xfrm>
            <a:off x="5857009" y="1725356"/>
            <a:ext cx="5810250" cy="840863"/>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A94E25-127B-4C48-AF96-44BA7B823777}"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6</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graphicFrame>
        <p:nvGraphicFramePr>
          <p:cNvPr id="17" name="Content Placeholder 2">
            <a:extLst>
              <a:ext uri="{FF2B5EF4-FFF2-40B4-BE49-F238E27FC236}">
                <a16:creationId xmlns:a16="http://schemas.microsoft.com/office/drawing/2014/main" id="{E1D6E5D3-40A7-39D6-2BC7-DE76EDCAD0CA}"/>
              </a:ext>
            </a:extLst>
          </p:cNvPr>
          <p:cNvGraphicFramePr>
            <a:graphicFrameLocks noGrp="1"/>
          </p:cNvGraphicFramePr>
          <p:nvPr>
            <p:ph idx="1"/>
          </p:nvPr>
        </p:nvGraphicFramePr>
        <p:xfrm>
          <a:off x="4906429" y="0"/>
          <a:ext cx="7406639" cy="62941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2E7C9CEE-3FF1-EC5A-3FE0-D38F030A6009}"/>
              </a:ext>
            </a:extLst>
          </p:cNvPr>
          <p:cNvSpPr txBox="1"/>
          <p:nvPr/>
        </p:nvSpPr>
        <p:spPr>
          <a:xfrm>
            <a:off x="5212752" y="1725356"/>
            <a:ext cx="6793992" cy="526297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Communications with staff has begu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Report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Enhanced Contribution Detail Report</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Additional reports may be possible later</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a:ea typeface="+mn-ea"/>
                <a:cs typeface="+mn-cs"/>
              </a:rPr>
              <a:t>Resource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A Power Point Presentation on how to begin a PolioPlus Society</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Best Practice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Digital sample recognition certificates for Individuals and Clubs</a:t>
            </a:r>
          </a:p>
          <a:p>
            <a:pPr marL="1200150" marR="0" lvl="2"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3532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524741" y="620392"/>
            <a:ext cx="3808268" cy="5504688"/>
          </a:xfrm>
        </p:spPr>
        <p:txBody>
          <a:bodyPr vert="horz" lIns="91440" tIns="45720" rIns="91440" bIns="45720" rtlCol="0" anchor="ctr">
            <a:normAutofit/>
          </a:bodyPr>
          <a:lstStyle/>
          <a:p>
            <a:r>
              <a:rPr lang="en-US" sz="6000" kern="1200" dirty="0">
                <a:latin typeface="+mj-lt"/>
                <a:ea typeface="+mj-ea"/>
                <a:cs typeface="+mj-cs"/>
              </a:rPr>
              <a:t>How do you get started?</a:t>
            </a:r>
          </a:p>
        </p:txBody>
      </p:sp>
      <p:sp>
        <p:nvSpPr>
          <p:cNvPr id="4" name="Slide Number Placeholder 3"/>
          <p:cNvSpPr>
            <a:spLocks noGrp="1"/>
          </p:cNvSpPr>
          <p:nvPr>
            <p:ph type="sldNum" sz="quarter" idx="12"/>
          </p:nvPr>
        </p:nvSpPr>
        <p:spPr>
          <a:xfrm>
            <a:off x="5857009" y="1725356"/>
            <a:ext cx="5810250" cy="840863"/>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A94E25-127B-4C48-AF96-44BA7B823777}"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a:t>
            </a:fld>
            <a:r>
              <a:rPr kumimoji="0" lang="en-US" sz="1200" b="0" i="0" u="none" strike="noStrike" kern="1200" cap="none" spc="0" normalizeH="0" baseline="0" noProof="0" dirty="0">
                <a:ln>
                  <a:noFill/>
                </a:ln>
                <a:solidFill>
                  <a:prstClr val="black">
                    <a:tint val="75000"/>
                  </a:prstClr>
                </a:solidFill>
                <a:effectLst/>
                <a:uLnTx/>
                <a:uFillTx/>
                <a:latin typeface="Arial" panose="020B0604020202020204"/>
                <a:ea typeface="+mn-ea"/>
                <a:cs typeface="+mn-cs"/>
              </a:rPr>
              <a:t>TA</a:t>
            </a:r>
          </a:p>
        </p:txBody>
      </p:sp>
      <p:graphicFrame>
        <p:nvGraphicFramePr>
          <p:cNvPr id="17" name="Content Placeholder 2">
            <a:extLst>
              <a:ext uri="{FF2B5EF4-FFF2-40B4-BE49-F238E27FC236}">
                <a16:creationId xmlns:a16="http://schemas.microsoft.com/office/drawing/2014/main" id="{E1D6E5D3-40A7-39D6-2BC7-DE76EDCAD0CA}"/>
              </a:ext>
            </a:extLst>
          </p:cNvPr>
          <p:cNvGraphicFramePr>
            <a:graphicFrameLocks noGrp="1"/>
          </p:cNvGraphicFramePr>
          <p:nvPr>
            <p:ph idx="1"/>
          </p:nvPr>
        </p:nvGraphicFramePr>
        <p:xfrm>
          <a:off x="5311072" y="1"/>
          <a:ext cx="6743767" cy="16039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TextBox 2">
            <a:extLst>
              <a:ext uri="{FF2B5EF4-FFF2-40B4-BE49-F238E27FC236}">
                <a16:creationId xmlns:a16="http://schemas.microsoft.com/office/drawing/2014/main" id="{44967B3A-F3A7-6D74-8E0B-0FCD7FEAF7A3}"/>
              </a:ext>
            </a:extLst>
          </p:cNvPr>
          <p:cNvGraphicFramePr/>
          <p:nvPr/>
        </p:nvGraphicFramePr>
        <p:xfrm>
          <a:off x="5093208" y="1603949"/>
          <a:ext cx="6961631" cy="52014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4044394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0988788-8298-44CE-A987-E6394FF8BFD6}"/>
              </a:ext>
            </a:extLst>
          </p:cNvPr>
          <p:cNvSpPr>
            <a:spLocks noGrp="1"/>
          </p:cNvSpPr>
          <p:nvPr>
            <p:ph type="body" sz="quarter" idx="12"/>
          </p:nvPr>
        </p:nvSpPr>
        <p:spPr/>
        <p:txBody>
          <a:bodyPr/>
          <a:lstStyle/>
          <a:p>
            <a:endParaRPr lang="en-US"/>
          </a:p>
        </p:txBody>
      </p:sp>
      <p:sp>
        <p:nvSpPr>
          <p:cNvPr id="8" name="Text Placeholder 7">
            <a:extLst>
              <a:ext uri="{FF2B5EF4-FFF2-40B4-BE49-F238E27FC236}">
                <a16:creationId xmlns:a16="http://schemas.microsoft.com/office/drawing/2014/main" id="{67A4BE93-2237-48DD-A7B5-F17936AB26FC}"/>
              </a:ext>
            </a:extLst>
          </p:cNvPr>
          <p:cNvSpPr>
            <a:spLocks noGrp="1"/>
          </p:cNvSpPr>
          <p:nvPr>
            <p:ph type="body" sz="quarter" idx="14"/>
          </p:nvPr>
        </p:nvSpPr>
        <p:spPr>
          <a:xfrm>
            <a:off x="558800" y="685800"/>
            <a:ext cx="5410200" cy="4432300"/>
          </a:xfrm>
        </p:spPr>
        <p:txBody>
          <a:bodyPr/>
          <a:lstStyle/>
          <a:p>
            <a:r>
              <a:rPr lang="en-US" sz="6000" dirty="0">
                <a:ea typeface="+mj-ea"/>
                <a:cs typeface="+mj-cs"/>
              </a:rPr>
              <a:t>PolioPlus</a:t>
            </a:r>
            <a:r>
              <a:rPr lang="en-US" dirty="0"/>
              <a:t> </a:t>
            </a:r>
            <a:r>
              <a:rPr lang="en-US" sz="6000" dirty="0">
                <a:ea typeface="+mj-ea"/>
                <a:cs typeface="+mj-cs"/>
              </a:rPr>
              <a:t>Society Membership Form</a:t>
            </a:r>
          </a:p>
        </p:txBody>
      </p:sp>
      <p:sp>
        <p:nvSpPr>
          <p:cNvPr id="4" name="Slide Number Placeholder 3">
            <a:extLst>
              <a:ext uri="{FF2B5EF4-FFF2-40B4-BE49-F238E27FC236}">
                <a16:creationId xmlns:a16="http://schemas.microsoft.com/office/drawing/2014/main" id="{B8DBFD99-2BD6-4CAF-AFA4-8AFC9DA84983}"/>
              </a:ext>
            </a:extLst>
          </p:cNvPr>
          <p:cNvSpPr>
            <a:spLocks noGrp="1"/>
          </p:cNvSpPr>
          <p:nvPr>
            <p:ph type="sldNum" sz="quarter" idx="4294967295"/>
          </p:nvPr>
        </p:nvSpPr>
        <p:spPr>
          <a:xfrm>
            <a:off x="9448800" y="6356350"/>
            <a:ext cx="2743200" cy="365125"/>
          </a:xfrm>
        </p:spPr>
        <p:txBody>
          <a:bodyPr/>
          <a:lstStyle/>
          <a:p>
            <a:fld id="{97A94E25-127B-4C48-AF96-44BA7B823777}" type="slidenum">
              <a:rPr lang="en-US" smtClean="0"/>
              <a:pPr/>
              <a:t>8</a:t>
            </a:fld>
            <a:endParaRPr lang="en-US" dirty="0"/>
          </a:p>
        </p:txBody>
      </p:sp>
      <p:graphicFrame>
        <p:nvGraphicFramePr>
          <p:cNvPr id="5" name="Object 4">
            <a:extLst>
              <a:ext uri="{FF2B5EF4-FFF2-40B4-BE49-F238E27FC236}">
                <a16:creationId xmlns:a16="http://schemas.microsoft.com/office/drawing/2014/main" id="{4206ABD2-5EC3-40E6-AD48-8CAF552D7215}"/>
              </a:ext>
            </a:extLst>
          </p:cNvPr>
          <p:cNvGraphicFramePr>
            <a:graphicFrameLocks noChangeAspect="1"/>
          </p:cNvGraphicFramePr>
          <p:nvPr>
            <p:extLst>
              <p:ext uri="{D42A27DB-BD31-4B8C-83A1-F6EECF244321}">
                <p14:modId xmlns:p14="http://schemas.microsoft.com/office/powerpoint/2010/main" val="2383464728"/>
              </p:ext>
            </p:extLst>
          </p:nvPr>
        </p:nvGraphicFramePr>
        <p:xfrm>
          <a:off x="6375401" y="136525"/>
          <a:ext cx="5257799" cy="6804211"/>
        </p:xfrm>
        <a:graphic>
          <a:graphicData uri="http://schemas.openxmlformats.org/presentationml/2006/ole">
            <mc:AlternateContent xmlns:mc="http://schemas.openxmlformats.org/markup-compatibility/2006">
              <mc:Choice xmlns:v="urn:schemas-microsoft-com:vml" Requires="v">
                <p:oleObj name="Acrobat Document" r:id="rId2" imgW="3886052" imgH="5028936" progId="AcroExch.Document.DC">
                  <p:embed/>
                </p:oleObj>
              </mc:Choice>
              <mc:Fallback>
                <p:oleObj name="Acrobat Document" r:id="rId2" imgW="3886052" imgH="5028936" progId="AcroExch.Document.DC">
                  <p:embed/>
                  <p:pic>
                    <p:nvPicPr>
                      <p:cNvPr id="5" name="Object 4">
                        <a:extLst>
                          <a:ext uri="{FF2B5EF4-FFF2-40B4-BE49-F238E27FC236}">
                            <a16:creationId xmlns:a16="http://schemas.microsoft.com/office/drawing/2014/main" id="{4206ABD2-5EC3-40E6-AD48-8CAF552D7215}"/>
                          </a:ext>
                        </a:extLst>
                      </p:cNvPr>
                      <p:cNvPicPr/>
                      <p:nvPr/>
                    </p:nvPicPr>
                    <p:blipFill>
                      <a:blip r:embed="rId3"/>
                      <a:stretch>
                        <a:fillRect/>
                      </a:stretch>
                    </p:blipFill>
                    <p:spPr>
                      <a:xfrm>
                        <a:off x="6375401" y="136525"/>
                        <a:ext cx="5257799" cy="6804211"/>
                      </a:xfrm>
                      <a:prstGeom prst="rect">
                        <a:avLst/>
                      </a:prstGeom>
                    </p:spPr>
                  </p:pic>
                </p:oleObj>
              </mc:Fallback>
            </mc:AlternateContent>
          </a:graphicData>
        </a:graphic>
      </p:graphicFrame>
    </p:spTree>
    <p:extLst>
      <p:ext uri="{BB962C8B-B14F-4D97-AF65-F5344CB8AC3E}">
        <p14:creationId xmlns:p14="http://schemas.microsoft.com/office/powerpoint/2010/main" val="855958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819A166-7571-4003-A6B8-B62034C3ED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09320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p:cNvSpPr>
            <a:spLocks noGrp="1"/>
          </p:cNvSpPr>
          <p:nvPr>
            <p:ph type="title"/>
          </p:nvPr>
        </p:nvSpPr>
        <p:spPr>
          <a:xfrm>
            <a:off x="524741" y="620392"/>
            <a:ext cx="3808268" cy="5504688"/>
          </a:xfrm>
        </p:spPr>
        <p:txBody>
          <a:bodyPr vert="horz" lIns="91440" tIns="45720" rIns="91440" bIns="45720" rtlCol="0" anchor="ctr">
            <a:normAutofit/>
          </a:bodyPr>
          <a:lstStyle/>
          <a:p>
            <a:r>
              <a:rPr lang="en-US" sz="6000" kern="1200" dirty="0">
                <a:latin typeface="+mj-lt"/>
                <a:ea typeface="+mj-ea"/>
                <a:cs typeface="+mj-cs"/>
              </a:rPr>
              <a:t>Tools to help  You</a:t>
            </a:r>
          </a:p>
        </p:txBody>
      </p:sp>
      <p:sp>
        <p:nvSpPr>
          <p:cNvPr id="4" name="Slide Number Placeholder 3"/>
          <p:cNvSpPr>
            <a:spLocks noGrp="1"/>
          </p:cNvSpPr>
          <p:nvPr>
            <p:ph type="sldNum" sz="quarter" idx="12"/>
          </p:nvPr>
        </p:nvSpPr>
        <p:spPr>
          <a:xfrm>
            <a:off x="5719423" y="1748802"/>
            <a:ext cx="5947836" cy="840863"/>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A94E25-127B-4C48-AF96-44BA7B823777}"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9</a:t>
            </a:fld>
            <a:r>
              <a:rPr kumimoji="0" lang="en-US" sz="1200" b="0" i="0" u="none" strike="noStrike" kern="1200" cap="none" spc="0" normalizeH="0" baseline="0" noProof="0" dirty="0">
                <a:ln>
                  <a:noFill/>
                </a:ln>
                <a:solidFill>
                  <a:prstClr val="black">
                    <a:tint val="75000"/>
                  </a:prstClr>
                </a:solidFill>
                <a:effectLst/>
                <a:uLnTx/>
                <a:uFillTx/>
                <a:latin typeface="Arial" panose="020B0604020202020204"/>
                <a:ea typeface="+mn-ea"/>
                <a:cs typeface="+mn-cs"/>
              </a:rPr>
              <a:t>TA</a:t>
            </a:r>
          </a:p>
        </p:txBody>
      </p:sp>
      <p:sp>
        <p:nvSpPr>
          <p:cNvPr id="10" name="TextBox 9">
            <a:extLst>
              <a:ext uri="{FF2B5EF4-FFF2-40B4-BE49-F238E27FC236}">
                <a16:creationId xmlns:a16="http://schemas.microsoft.com/office/drawing/2014/main" id="{390FA823-EC3B-4113-85A8-815F44BCC31C}"/>
              </a:ext>
            </a:extLst>
          </p:cNvPr>
          <p:cNvSpPr txBox="1"/>
          <p:nvPr/>
        </p:nvSpPr>
        <p:spPr>
          <a:xfrm>
            <a:off x="5617950" y="1597414"/>
            <a:ext cx="6013197" cy="507831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3600" b="1" i="0" u="none" strike="noStrike" kern="1200" cap="none" spc="0" normalizeH="0" baseline="0" noProof="0" dirty="0">
                <a:ln>
                  <a:noFill/>
                </a:ln>
                <a:solidFill>
                  <a:prstClr val="black"/>
                </a:solidFill>
                <a:effectLst/>
                <a:uLnTx/>
                <a:uFillTx/>
                <a:latin typeface="Arial" panose="020B0604020202020204"/>
                <a:ea typeface="+mn-ea"/>
                <a:cs typeface="+mn-cs"/>
              </a:rPr>
              <a:t>Report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3600" b="0" i="0" u="none" strike="noStrike" kern="1200" cap="none" spc="0" normalizeH="0" baseline="0" noProof="0" dirty="0">
                <a:ln>
                  <a:noFill/>
                </a:ln>
                <a:solidFill>
                  <a:prstClr val="black"/>
                </a:solidFill>
                <a:effectLst/>
                <a:uLnTx/>
                <a:uFillTx/>
                <a:latin typeface="Arial" panose="020B0604020202020204"/>
                <a:ea typeface="+mn-ea"/>
                <a:cs typeface="+mn-cs"/>
              </a:rPr>
              <a:t>Contribution Detail Report</a:t>
            </a:r>
          </a:p>
          <a:p>
            <a:pPr marR="0" lvl="2" algn="l" defTabSz="914400" rtl="0" eaLnBrk="1" fontAlgn="auto" latinLnBrk="0" hangingPunct="1">
              <a:lnSpc>
                <a:spcPct val="100000"/>
              </a:lnSpc>
              <a:spcBef>
                <a:spcPts val="0"/>
              </a:spcBef>
              <a:spcAft>
                <a:spcPts val="0"/>
              </a:spcAft>
              <a:buClrTx/>
              <a:buSzTx/>
              <a:tabLst/>
              <a:defRPr/>
            </a:pPr>
            <a:endParaRPr kumimoji="0" lang="en-US" sz="3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3600" b="1" i="0" u="none" strike="noStrike" kern="1200" cap="none" spc="0" normalizeH="0" baseline="0" noProof="0" dirty="0">
                <a:ln>
                  <a:noFill/>
                </a:ln>
                <a:solidFill>
                  <a:prstClr val="black"/>
                </a:solidFill>
                <a:effectLst/>
                <a:uLnTx/>
                <a:uFillTx/>
                <a:latin typeface="Arial" panose="020B0604020202020204"/>
                <a:ea typeface="+mn-ea"/>
                <a:cs typeface="+mn-cs"/>
              </a:rPr>
              <a:t>Resource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3600" b="0" i="0" u="none" strike="noStrike" kern="1200" cap="none" spc="0" normalizeH="0" baseline="0" noProof="0" dirty="0">
                <a:ln>
                  <a:noFill/>
                </a:ln>
                <a:solidFill>
                  <a:prstClr val="black"/>
                </a:solidFill>
                <a:effectLst/>
                <a:uLnTx/>
                <a:uFillTx/>
                <a:latin typeface="Arial" panose="020B0604020202020204"/>
                <a:ea typeface="+mn-ea"/>
                <a:cs typeface="+mn-cs"/>
              </a:rPr>
              <a:t>Best Practice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3600" b="0" i="0" u="none" strike="noStrike" kern="1200" cap="none" spc="0" normalizeH="0" baseline="0" noProof="0" dirty="0">
                <a:ln>
                  <a:noFill/>
                </a:ln>
                <a:solidFill>
                  <a:prstClr val="black"/>
                </a:solidFill>
                <a:effectLst/>
                <a:uLnTx/>
                <a:uFillTx/>
                <a:latin typeface="Arial" panose="020B0604020202020204"/>
                <a:ea typeface="+mn-ea"/>
                <a:cs typeface="+mn-cs"/>
              </a:rPr>
              <a:t>Digital sample recognition certificates for Individuals and Clubs</a:t>
            </a:r>
          </a:p>
        </p:txBody>
      </p:sp>
    </p:spTree>
    <p:extLst>
      <p:ext uri="{BB962C8B-B14F-4D97-AF65-F5344CB8AC3E}">
        <p14:creationId xmlns:p14="http://schemas.microsoft.com/office/powerpoint/2010/main" val="4136758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otary">
      <a:dk1>
        <a:sysClr val="windowText" lastClr="000000"/>
      </a:dk1>
      <a:lt1>
        <a:sysClr val="window" lastClr="FFFFFF"/>
      </a:lt1>
      <a:dk2>
        <a:srgbClr val="44546A"/>
      </a:dk2>
      <a:lt2>
        <a:srgbClr val="E7E6E6"/>
      </a:lt2>
      <a:accent1>
        <a:srgbClr val="17458F"/>
      </a:accent1>
      <a:accent2>
        <a:srgbClr val="872175"/>
      </a:accent2>
      <a:accent3>
        <a:srgbClr val="F7A81B"/>
      </a:accent3>
      <a:accent4>
        <a:srgbClr val="FF7600"/>
      </a:accent4>
      <a:accent5>
        <a:srgbClr val="C6BCD0"/>
      </a:accent5>
      <a:accent6>
        <a:srgbClr val="C9DEE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Rotary-NewBrand_Pallette">
      <a:dk1>
        <a:srgbClr val="958D85"/>
      </a:dk1>
      <a:lt1>
        <a:sysClr val="window" lastClr="FFFFFF"/>
      </a:lt1>
      <a:dk2>
        <a:srgbClr val="00246C"/>
      </a:dk2>
      <a:lt2>
        <a:srgbClr val="E6E5D8"/>
      </a:lt2>
      <a:accent1>
        <a:srgbClr val="01B4E7"/>
      </a:accent1>
      <a:accent2>
        <a:srgbClr val="FEBD11"/>
      </a:accent2>
      <a:accent3>
        <a:srgbClr val="009999"/>
      </a:accent3>
      <a:accent4>
        <a:srgbClr val="872175"/>
      </a:accent4>
      <a:accent5>
        <a:srgbClr val="D91B5C"/>
      </a:accent5>
      <a:accent6>
        <a:srgbClr val="FF76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Rotary Palette">
      <a:dk1>
        <a:srgbClr val="01B4E7"/>
      </a:dk1>
      <a:lt1>
        <a:srgbClr val="FFFFFF"/>
      </a:lt1>
      <a:dk2>
        <a:srgbClr val="01B4E7"/>
      </a:dk2>
      <a:lt2>
        <a:srgbClr val="FFFFFF"/>
      </a:lt2>
      <a:accent1>
        <a:srgbClr val="F7A81B"/>
      </a:accent1>
      <a:accent2>
        <a:srgbClr val="D91B5C"/>
      </a:accent2>
      <a:accent3>
        <a:srgbClr val="009999"/>
      </a:accent3>
      <a:accent4>
        <a:srgbClr val="872175"/>
      </a:accent4>
      <a:accent5>
        <a:srgbClr val="FF7600"/>
      </a:accent5>
      <a:accent6>
        <a:srgbClr val="005DAA"/>
      </a:accent6>
      <a:hlink>
        <a:srgbClr val="17458F"/>
      </a:hlink>
      <a:folHlink>
        <a:srgbClr val="C9DEE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Custom Design">
  <a:themeElements>
    <a:clrScheme name="Rotary-NewBrand_Pallette">
      <a:dk1>
        <a:srgbClr val="958D85"/>
      </a:dk1>
      <a:lt1>
        <a:sysClr val="window" lastClr="FFFFFF"/>
      </a:lt1>
      <a:dk2>
        <a:srgbClr val="00246C"/>
      </a:dk2>
      <a:lt2>
        <a:srgbClr val="E6E5D8"/>
      </a:lt2>
      <a:accent1>
        <a:srgbClr val="01B4E7"/>
      </a:accent1>
      <a:accent2>
        <a:srgbClr val="FEBD11"/>
      </a:accent2>
      <a:accent3>
        <a:srgbClr val="009999"/>
      </a:accent3>
      <a:accent4>
        <a:srgbClr val="872175"/>
      </a:accent4>
      <a:accent5>
        <a:srgbClr val="D91B5C"/>
      </a:accent5>
      <a:accent6>
        <a:srgbClr val="FF76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Custom Design">
  <a:themeElements>
    <a:clrScheme name="Rotary-NewBrand_Pallette">
      <a:dk1>
        <a:srgbClr val="958D85"/>
      </a:dk1>
      <a:lt1>
        <a:sysClr val="window" lastClr="FFFFFF"/>
      </a:lt1>
      <a:dk2>
        <a:srgbClr val="00246C"/>
      </a:dk2>
      <a:lt2>
        <a:srgbClr val="E6E5D8"/>
      </a:lt2>
      <a:accent1>
        <a:srgbClr val="01B4E7"/>
      </a:accent1>
      <a:accent2>
        <a:srgbClr val="FEBD11"/>
      </a:accent2>
      <a:accent3>
        <a:srgbClr val="009999"/>
      </a:accent3>
      <a:accent4>
        <a:srgbClr val="872175"/>
      </a:accent4>
      <a:accent5>
        <a:srgbClr val="D91B5C"/>
      </a:accent5>
      <a:accent6>
        <a:srgbClr val="FF76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_Office Theme">
  <a:themeElements>
    <a:clrScheme name="Rotary">
      <a:dk1>
        <a:sysClr val="windowText" lastClr="000000"/>
      </a:dk1>
      <a:lt1>
        <a:sysClr val="window" lastClr="FFFFFF"/>
      </a:lt1>
      <a:dk2>
        <a:srgbClr val="44546A"/>
      </a:dk2>
      <a:lt2>
        <a:srgbClr val="E7E6E6"/>
      </a:lt2>
      <a:accent1>
        <a:srgbClr val="17458F"/>
      </a:accent1>
      <a:accent2>
        <a:srgbClr val="872175"/>
      </a:accent2>
      <a:accent3>
        <a:srgbClr val="F7A81B"/>
      </a:accent3>
      <a:accent4>
        <a:srgbClr val="FF7600"/>
      </a:accent4>
      <a:accent5>
        <a:srgbClr val="C6BCD0"/>
      </a:accent5>
      <a:accent6>
        <a:srgbClr val="C9DEE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f95d37c-d922-4f89-998a-92b1834ecad6">
      <Terms xmlns="http://schemas.microsoft.com/office/infopath/2007/PartnerControls"/>
    </lcf76f155ced4ddcb4097134ff3c332f>
    <TaxCatchAll xmlns="df2f7486-9420-4303-a9a5-97c04038903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2EA8B15E6DC5943B12EB14CB9753A1A" ma:contentTypeVersion="14" ma:contentTypeDescription="Create a new document." ma:contentTypeScope="" ma:versionID="288e8e421b1ae89cc7add450a2333e36">
  <xsd:schema xmlns:xsd="http://www.w3.org/2001/XMLSchema" xmlns:xs="http://www.w3.org/2001/XMLSchema" xmlns:p="http://schemas.microsoft.com/office/2006/metadata/properties" xmlns:ns2="4f95d37c-d922-4f89-998a-92b1834ecad6" xmlns:ns3="df2f7486-9420-4303-a9a5-97c040389037" targetNamespace="http://schemas.microsoft.com/office/2006/metadata/properties" ma:root="true" ma:fieldsID="9b241551ec7d3a53776c5e3b858a4d84" ns2:_="" ns3:_="">
    <xsd:import namespace="4f95d37c-d922-4f89-998a-92b1834ecad6"/>
    <xsd:import namespace="df2f7486-9420-4303-a9a5-97c04038903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95d37c-d922-4f89-998a-92b1834eca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4da3dff2-d67e-4dd5-8f2c-5f78cca4fd2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f2f7486-9420-4303-a9a5-97c040389037"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539c1631-2344-420e-82fc-812fcb46af2e}" ma:internalName="TaxCatchAll" ma:showField="CatchAllData" ma:web="df2f7486-9420-4303-a9a5-97c0403890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0DC917-550B-433B-9C3A-7ABC12196287}">
  <ds:schemaRefs>
    <ds:schemaRef ds:uri="http://purl.org/dc/terms/"/>
    <ds:schemaRef ds:uri="4f95d37c-d922-4f89-998a-92b1834ecad6"/>
    <ds:schemaRef ds:uri="http://purl.org/dc/dcmitype/"/>
    <ds:schemaRef ds:uri="http://schemas.microsoft.com/office/2006/documentManagement/types"/>
    <ds:schemaRef ds:uri="http://schemas.microsoft.com/office/2006/metadata/properties"/>
    <ds:schemaRef ds:uri="http://purl.org/dc/elements/1.1/"/>
    <ds:schemaRef ds:uri="df2f7486-9420-4303-a9a5-97c040389037"/>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70356E4-9DE1-4948-B8BC-59E578E2755A}">
  <ds:schemaRefs>
    <ds:schemaRef ds:uri="http://schemas.microsoft.com/sharepoint/v3/contenttype/forms"/>
  </ds:schemaRefs>
</ds:datastoreItem>
</file>

<file path=customXml/itemProps3.xml><?xml version="1.0" encoding="utf-8"?>
<ds:datastoreItem xmlns:ds="http://schemas.openxmlformats.org/officeDocument/2006/customXml" ds:itemID="{198CD804-4061-4607-BB7F-31F202160F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95d37c-d922-4f89-998a-92b1834ecad6"/>
    <ds:schemaRef ds:uri="df2f7486-9420-4303-a9a5-97c0403890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521</TotalTime>
  <Words>1230</Words>
  <Application>Microsoft Office PowerPoint</Application>
  <PresentationFormat>Widescreen</PresentationFormat>
  <Paragraphs>155</Paragraphs>
  <Slides>13</Slides>
  <Notes>10</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2</vt:i4>
      </vt:variant>
      <vt:variant>
        <vt:lpstr>Slide Titles</vt:lpstr>
      </vt:variant>
      <vt:variant>
        <vt:i4>13</vt:i4>
      </vt:variant>
    </vt:vector>
  </HeadingPairs>
  <TitlesOfParts>
    <vt:vector size="29" baseType="lpstr">
      <vt:lpstr>Arial</vt:lpstr>
      <vt:lpstr>Arial Narrow</vt:lpstr>
      <vt:lpstr>Calibri</vt:lpstr>
      <vt:lpstr>Calibri Light</vt:lpstr>
      <vt:lpstr>Georgia</vt:lpstr>
      <vt:lpstr>Tahoma</vt:lpstr>
      <vt:lpstr>Times New Roman</vt:lpstr>
      <vt:lpstr>Wingdings</vt:lpstr>
      <vt:lpstr>Office Theme</vt:lpstr>
      <vt:lpstr>1_Custom Design</vt:lpstr>
      <vt:lpstr>1_Office Theme</vt:lpstr>
      <vt:lpstr>6_Custom Design</vt:lpstr>
      <vt:lpstr>4_Custom Design</vt:lpstr>
      <vt:lpstr>2_Office Theme</vt:lpstr>
      <vt:lpstr>think-cell Slide</vt:lpstr>
      <vt:lpstr>Acrobat Document</vt:lpstr>
      <vt:lpstr>PowerPoint Presentation</vt:lpstr>
      <vt:lpstr>Is your district/club looking for an easy way to fundraise for PolioPlus?</vt:lpstr>
      <vt:lpstr>Global PolioPlus Societies  </vt:lpstr>
      <vt:lpstr>Where dID the idea begin?</vt:lpstr>
      <vt:lpstr>Today’s  global PolioPlus Societies   initiative </vt:lpstr>
      <vt:lpstr>How do we get there?</vt:lpstr>
      <vt:lpstr>How do you get started?</vt:lpstr>
      <vt:lpstr>PowerPoint Presentation</vt:lpstr>
      <vt:lpstr>Tools to help  You</vt:lpstr>
      <vt:lpstr>PowerPoint Presentation</vt:lpstr>
      <vt:lpstr>PowerPoint Presentation</vt:lpstr>
      <vt:lpstr>PowerPoint Presentation</vt:lpstr>
      <vt:lpstr>Ready to Joi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K B</dc:creator>
  <cp:lastModifiedBy>Tasha Sargent</cp:lastModifiedBy>
  <cp:revision>147</cp:revision>
  <cp:lastPrinted>2022-10-07T17:03:36Z</cp:lastPrinted>
  <dcterms:created xsi:type="dcterms:W3CDTF">2019-11-18T03:22:22Z</dcterms:created>
  <dcterms:modified xsi:type="dcterms:W3CDTF">2023-06-28T13:1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EA8B15E6DC5943B12EB14CB9753A1A</vt:lpwstr>
  </property>
  <property fmtid="{D5CDD505-2E9C-101B-9397-08002B2CF9AE}" pid="3" name="MediaServiceImageTags">
    <vt:lpwstr/>
  </property>
</Properties>
</file>